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notesSlides/notesSlide4.xml" ContentType="application/vnd.openxmlformats-officedocument.presentationml.notesSlide+xml"/>
  <Override PartName="/ppt/tags/tag14.xml" ContentType="application/vnd.openxmlformats-officedocument.presentationml.tags+xml"/>
  <Override PartName="/ppt/charts/chart6.xml" ContentType="application/vnd.openxmlformats-officedocument.drawingml.chart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8" r:id="rId5"/>
  </p:sldMasterIdLst>
  <p:notesMasterIdLst>
    <p:notesMasterId r:id="rId22"/>
  </p:notesMasterIdLst>
  <p:handoutMasterIdLst>
    <p:handoutMasterId r:id="rId23"/>
  </p:handoutMasterIdLst>
  <p:sldIdLst>
    <p:sldId id="259" r:id="rId6"/>
    <p:sldId id="260" r:id="rId7"/>
    <p:sldId id="261" r:id="rId8"/>
    <p:sldId id="277" r:id="rId9"/>
    <p:sldId id="263" r:id="rId10"/>
    <p:sldId id="264" r:id="rId11"/>
    <p:sldId id="265" r:id="rId12"/>
    <p:sldId id="267" r:id="rId13"/>
    <p:sldId id="268" r:id="rId14"/>
    <p:sldId id="269" r:id="rId15"/>
    <p:sldId id="270" r:id="rId16"/>
    <p:sldId id="271" r:id="rId17"/>
    <p:sldId id="272" r:id="rId18"/>
    <p:sldId id="273" r:id="rId19"/>
    <p:sldId id="274" r:id="rId20"/>
    <p:sldId id="275" r:id="rId2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All Layouts" id="{0DEF4E69-36BE-48A8-83D9-33B50F25152B}">
          <p14:sldIdLst>
            <p14:sldId id="259"/>
            <p14:sldId id="260"/>
            <p14:sldId id="261"/>
            <p14:sldId id="277"/>
            <p14:sldId id="263"/>
            <p14:sldId id="264"/>
            <p14:sldId id="265"/>
            <p14:sldId id="267"/>
            <p14:sldId id="268"/>
            <p14:sldId id="269"/>
            <p14:sldId id="270"/>
            <p14:sldId id="271"/>
            <p14:sldId id="272"/>
            <p14:sldId id="273"/>
            <p14:sldId id="274"/>
            <p14:sldId id="275"/>
          </p14:sldIdLst>
        </p14:section>
        <p14:section name="Instructions" id="{5E6572B7-AD74-485A-9D22-3E725B93C072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137" userDrawn="1">
          <p15:clr>
            <a:srgbClr val="A4A3A4"/>
          </p15:clr>
        </p15:guide>
        <p15:guide id="2" pos="381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33B5A52-5AC4-48D6-96F6-BCFF6D6B56A1}" v="274" dt="2022-11-30T11:44:03.88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orient="horz" pos="2137"/>
        <p:guide pos="3817"/>
      </p:guideLst>
    </p:cSldViewPr>
  </p:slide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handoutMaster" Target="handoutMasters/handoutMaster1.xml"/><Relationship Id="rId28" Type="http://schemas.microsoft.com/office/2016/11/relationships/changesInfo" Target="changesInfos/changesInfo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ders Göransson" userId="93a96f3e-514e-4798-ab14-ea38ecca289b" providerId="ADAL" clId="{933B5A52-5AC4-48D6-96F6-BCFF6D6B56A1}"/>
    <pc:docChg chg="undo custSel addSld delSld modSld modSection">
      <pc:chgData name="Anders Göransson" userId="93a96f3e-514e-4798-ab14-ea38ecca289b" providerId="ADAL" clId="{933B5A52-5AC4-48D6-96F6-BCFF6D6B56A1}" dt="2022-11-30T11:44:03.886" v="273" actId="47"/>
      <pc:docMkLst>
        <pc:docMk/>
      </pc:docMkLst>
      <pc:sldChg chg="del">
        <pc:chgData name="Anders Göransson" userId="93a96f3e-514e-4798-ab14-ea38ecca289b" providerId="ADAL" clId="{933B5A52-5AC4-48D6-96F6-BCFF6D6B56A1}" dt="2022-11-30T11:44:03.886" v="273" actId="47"/>
        <pc:sldMkLst>
          <pc:docMk/>
          <pc:sldMk cId="3802992424" sldId="257"/>
        </pc:sldMkLst>
      </pc:sldChg>
      <pc:sldChg chg="del">
        <pc:chgData name="Anders Göransson" userId="93a96f3e-514e-4798-ab14-ea38ecca289b" providerId="ADAL" clId="{933B5A52-5AC4-48D6-96F6-BCFF6D6B56A1}" dt="2022-11-30T11:44:03.886" v="273" actId="47"/>
        <pc:sldMkLst>
          <pc:docMk/>
          <pc:sldMk cId="1259952784" sldId="258"/>
        </pc:sldMkLst>
      </pc:sldChg>
      <pc:sldChg chg="del">
        <pc:chgData name="Anders Göransson" userId="93a96f3e-514e-4798-ab14-ea38ecca289b" providerId="ADAL" clId="{933B5A52-5AC4-48D6-96F6-BCFF6D6B56A1}" dt="2022-11-30T11:42:44.567" v="272" actId="47"/>
        <pc:sldMkLst>
          <pc:docMk/>
          <pc:sldMk cId="49820693" sldId="262"/>
        </pc:sldMkLst>
      </pc:sldChg>
      <pc:sldChg chg="modSp mod modAnim">
        <pc:chgData name="Anders Göransson" userId="93a96f3e-514e-4798-ab14-ea38ecca289b" providerId="ADAL" clId="{933B5A52-5AC4-48D6-96F6-BCFF6D6B56A1}" dt="2022-11-30T11:31:50.157" v="104"/>
        <pc:sldMkLst>
          <pc:docMk/>
          <pc:sldMk cId="2547407481" sldId="263"/>
        </pc:sldMkLst>
        <pc:spChg chg="mod">
          <ac:chgData name="Anders Göransson" userId="93a96f3e-514e-4798-ab14-ea38ecca289b" providerId="ADAL" clId="{933B5A52-5AC4-48D6-96F6-BCFF6D6B56A1}" dt="2022-11-30T11:27:48.682" v="7" actId="20577"/>
          <ac:spMkLst>
            <pc:docMk/>
            <pc:sldMk cId="2547407481" sldId="263"/>
            <ac:spMk id="3" creationId="{49CE7F18-9574-9327-571F-84F1F81D4E85}"/>
          </ac:spMkLst>
        </pc:spChg>
        <pc:spChg chg="mod">
          <ac:chgData name="Anders Göransson" userId="93a96f3e-514e-4798-ab14-ea38ecca289b" providerId="ADAL" clId="{933B5A52-5AC4-48D6-96F6-BCFF6D6B56A1}" dt="2022-11-30T11:30:27.838" v="83" actId="14100"/>
          <ac:spMkLst>
            <pc:docMk/>
            <pc:sldMk cId="2547407481" sldId="263"/>
            <ac:spMk id="4" creationId="{DE8DFB32-70B8-C161-3A0C-572D01AF2C9B}"/>
          </ac:spMkLst>
        </pc:spChg>
        <pc:spChg chg="mod">
          <ac:chgData name="Anders Göransson" userId="93a96f3e-514e-4798-ab14-ea38ecca289b" providerId="ADAL" clId="{933B5A52-5AC4-48D6-96F6-BCFF6D6B56A1}" dt="2022-11-30T11:31:23.955" v="101" actId="1038"/>
          <ac:spMkLst>
            <pc:docMk/>
            <pc:sldMk cId="2547407481" sldId="263"/>
            <ac:spMk id="5" creationId="{F7E5D27F-2541-B4D6-A632-01924FACE9E1}"/>
          </ac:spMkLst>
        </pc:spChg>
        <pc:picChg chg="mod">
          <ac:chgData name="Anders Göransson" userId="93a96f3e-514e-4798-ab14-ea38ecca289b" providerId="ADAL" clId="{933B5A52-5AC4-48D6-96F6-BCFF6D6B56A1}" dt="2022-11-30T11:30:22.499" v="82" actId="1038"/>
          <ac:picMkLst>
            <pc:docMk/>
            <pc:sldMk cId="2547407481" sldId="263"/>
            <ac:picMk id="10" creationId="{7683E016-4385-C7FB-3EA8-7D5D4825AD49}"/>
          </ac:picMkLst>
        </pc:picChg>
      </pc:sldChg>
      <pc:sldChg chg="modSp mod">
        <pc:chgData name="Anders Göransson" userId="93a96f3e-514e-4798-ab14-ea38ecca289b" providerId="ADAL" clId="{933B5A52-5AC4-48D6-96F6-BCFF6D6B56A1}" dt="2022-11-30T11:34:59.359" v="200" actId="20577"/>
        <pc:sldMkLst>
          <pc:docMk/>
          <pc:sldMk cId="675483802" sldId="265"/>
        </pc:sldMkLst>
        <pc:spChg chg="mod">
          <ac:chgData name="Anders Göransson" userId="93a96f3e-514e-4798-ab14-ea38ecca289b" providerId="ADAL" clId="{933B5A52-5AC4-48D6-96F6-BCFF6D6B56A1}" dt="2022-11-30T11:34:59.359" v="200" actId="20577"/>
          <ac:spMkLst>
            <pc:docMk/>
            <pc:sldMk cId="675483802" sldId="265"/>
            <ac:spMk id="4" creationId="{88EF19CA-16AA-73F4-3404-6B68FD78B579}"/>
          </ac:spMkLst>
        </pc:spChg>
        <pc:spChg chg="mod">
          <ac:chgData name="Anders Göransson" userId="93a96f3e-514e-4798-ab14-ea38ecca289b" providerId="ADAL" clId="{933B5A52-5AC4-48D6-96F6-BCFF6D6B56A1}" dt="2022-11-30T11:34:32.908" v="116" actId="20577"/>
          <ac:spMkLst>
            <pc:docMk/>
            <pc:sldMk cId="675483802" sldId="265"/>
            <ac:spMk id="78" creationId="{4062D1A2-2E40-F8B2-62CA-C8F135AB4028}"/>
          </ac:spMkLst>
        </pc:spChg>
      </pc:sldChg>
      <pc:sldChg chg="modAnim">
        <pc:chgData name="Anders Göransson" userId="93a96f3e-514e-4798-ab14-ea38ecca289b" providerId="ADAL" clId="{933B5A52-5AC4-48D6-96F6-BCFF6D6B56A1}" dt="2022-11-30T11:37:41.328" v="201"/>
        <pc:sldMkLst>
          <pc:docMk/>
          <pc:sldMk cId="3869120572" sldId="268"/>
        </pc:sldMkLst>
      </pc:sldChg>
      <pc:sldChg chg="modSp mod">
        <pc:chgData name="Anders Göransson" userId="93a96f3e-514e-4798-ab14-ea38ecca289b" providerId="ADAL" clId="{933B5A52-5AC4-48D6-96F6-BCFF6D6B56A1}" dt="2022-11-30T11:32:55.988" v="105" actId="108"/>
        <pc:sldMkLst>
          <pc:docMk/>
          <pc:sldMk cId="3533147296" sldId="269"/>
        </pc:sldMkLst>
        <pc:spChg chg="mod">
          <ac:chgData name="Anders Göransson" userId="93a96f3e-514e-4798-ab14-ea38ecca289b" providerId="ADAL" clId="{933B5A52-5AC4-48D6-96F6-BCFF6D6B56A1}" dt="2022-11-30T11:32:55.988" v="105" actId="108"/>
          <ac:spMkLst>
            <pc:docMk/>
            <pc:sldMk cId="3533147296" sldId="269"/>
            <ac:spMk id="6" creationId="{FD3E03C2-BC14-65A0-EECC-BC209A11043F}"/>
          </ac:spMkLst>
        </pc:spChg>
      </pc:sldChg>
      <pc:sldChg chg="modSp add del mod">
        <pc:chgData name="Anders Göransson" userId="93a96f3e-514e-4798-ab14-ea38ecca289b" providerId="ADAL" clId="{933B5A52-5AC4-48D6-96F6-BCFF6D6B56A1}" dt="2022-11-30T11:42:29.214" v="271" actId="47"/>
        <pc:sldMkLst>
          <pc:docMk/>
          <pc:sldMk cId="1161545633" sldId="276"/>
        </pc:sldMkLst>
        <pc:spChg chg="mod">
          <ac:chgData name="Anders Göransson" userId="93a96f3e-514e-4798-ab14-ea38ecca289b" providerId="ADAL" clId="{933B5A52-5AC4-48D6-96F6-BCFF6D6B56A1}" dt="2022-11-30T11:40:03.082" v="209" actId="1076"/>
          <ac:spMkLst>
            <pc:docMk/>
            <pc:sldMk cId="1161545633" sldId="276"/>
            <ac:spMk id="6" creationId="{840EDBD0-393F-5564-2C97-1A1E57280007}"/>
          </ac:spMkLst>
        </pc:spChg>
        <pc:spChg chg="mod">
          <ac:chgData name="Anders Göransson" userId="93a96f3e-514e-4798-ab14-ea38ecca289b" providerId="ADAL" clId="{933B5A52-5AC4-48D6-96F6-BCFF6D6B56A1}" dt="2022-11-30T11:40:13.478" v="210" actId="1076"/>
          <ac:spMkLst>
            <pc:docMk/>
            <pc:sldMk cId="1161545633" sldId="276"/>
            <ac:spMk id="7" creationId="{7F4FADF1-5793-4C7C-4BDD-DE875C0B6DBA}"/>
          </ac:spMkLst>
        </pc:spChg>
        <pc:spChg chg="mod">
          <ac:chgData name="Anders Göransson" userId="93a96f3e-514e-4798-ab14-ea38ecca289b" providerId="ADAL" clId="{933B5A52-5AC4-48D6-96F6-BCFF6D6B56A1}" dt="2022-11-30T11:39:47.670" v="206" actId="1076"/>
          <ac:spMkLst>
            <pc:docMk/>
            <pc:sldMk cId="1161545633" sldId="276"/>
            <ac:spMk id="8" creationId="{4044BC8A-9C9C-1C9B-B2BD-E93F5FE213A7}"/>
          </ac:spMkLst>
        </pc:spChg>
        <pc:spChg chg="mod">
          <ac:chgData name="Anders Göransson" userId="93a96f3e-514e-4798-ab14-ea38ecca289b" providerId="ADAL" clId="{933B5A52-5AC4-48D6-96F6-BCFF6D6B56A1}" dt="2022-11-30T11:40:03.082" v="209" actId="1076"/>
          <ac:spMkLst>
            <pc:docMk/>
            <pc:sldMk cId="1161545633" sldId="276"/>
            <ac:spMk id="14" creationId="{E58807EF-AB15-E05D-B7B7-6AE15CF84855}"/>
          </ac:spMkLst>
        </pc:spChg>
        <pc:spChg chg="mod">
          <ac:chgData name="Anders Göransson" userId="93a96f3e-514e-4798-ab14-ea38ecca289b" providerId="ADAL" clId="{933B5A52-5AC4-48D6-96F6-BCFF6D6B56A1}" dt="2022-11-30T11:39:47.670" v="206" actId="1076"/>
          <ac:spMkLst>
            <pc:docMk/>
            <pc:sldMk cId="1161545633" sldId="276"/>
            <ac:spMk id="19" creationId="{D365310F-D340-9E8F-BE40-2A3E35D1EAAC}"/>
          </ac:spMkLst>
        </pc:spChg>
        <pc:spChg chg="mod">
          <ac:chgData name="Anders Göransson" userId="93a96f3e-514e-4798-ab14-ea38ecca289b" providerId="ADAL" clId="{933B5A52-5AC4-48D6-96F6-BCFF6D6B56A1}" dt="2022-11-30T11:39:47.670" v="206" actId="1076"/>
          <ac:spMkLst>
            <pc:docMk/>
            <pc:sldMk cId="1161545633" sldId="276"/>
            <ac:spMk id="20" creationId="{37CC8505-83A6-7362-9329-FA84F494A9C2}"/>
          </ac:spMkLst>
        </pc:spChg>
        <pc:spChg chg="mod">
          <ac:chgData name="Anders Göransson" userId="93a96f3e-514e-4798-ab14-ea38ecca289b" providerId="ADAL" clId="{933B5A52-5AC4-48D6-96F6-BCFF6D6B56A1}" dt="2022-11-30T11:39:47.670" v="206" actId="1076"/>
          <ac:spMkLst>
            <pc:docMk/>
            <pc:sldMk cId="1161545633" sldId="276"/>
            <ac:spMk id="21" creationId="{DD2EF99B-A856-88B7-C253-0859560C6C3B}"/>
          </ac:spMkLst>
        </pc:spChg>
        <pc:spChg chg="mod">
          <ac:chgData name="Anders Göransson" userId="93a96f3e-514e-4798-ab14-ea38ecca289b" providerId="ADAL" clId="{933B5A52-5AC4-48D6-96F6-BCFF6D6B56A1}" dt="2022-11-30T11:40:13.478" v="210" actId="1076"/>
          <ac:spMkLst>
            <pc:docMk/>
            <pc:sldMk cId="1161545633" sldId="276"/>
            <ac:spMk id="26" creationId="{14BFDE6D-6241-9EEE-9A5C-25A553D8FE04}"/>
          </ac:spMkLst>
        </pc:spChg>
        <pc:spChg chg="mod">
          <ac:chgData name="Anders Göransson" userId="93a96f3e-514e-4798-ab14-ea38ecca289b" providerId="ADAL" clId="{933B5A52-5AC4-48D6-96F6-BCFF6D6B56A1}" dt="2022-11-30T11:40:26.073" v="211" actId="1076"/>
          <ac:spMkLst>
            <pc:docMk/>
            <pc:sldMk cId="1161545633" sldId="276"/>
            <ac:spMk id="28" creationId="{204ABC14-A34B-FF45-21B7-58D95DC5E001}"/>
          </ac:spMkLst>
        </pc:spChg>
        <pc:picChg chg="mod">
          <ac:chgData name="Anders Göransson" userId="93a96f3e-514e-4798-ab14-ea38ecca289b" providerId="ADAL" clId="{933B5A52-5AC4-48D6-96F6-BCFF6D6B56A1}" dt="2022-11-30T11:40:03.082" v="209" actId="1076"/>
          <ac:picMkLst>
            <pc:docMk/>
            <pc:sldMk cId="1161545633" sldId="276"/>
            <ac:picMk id="15" creationId="{266B0CBA-8575-FB5D-A216-18FED3BF81AB}"/>
          </ac:picMkLst>
        </pc:picChg>
        <pc:picChg chg="mod">
          <ac:chgData name="Anders Göransson" userId="93a96f3e-514e-4798-ab14-ea38ecca289b" providerId="ADAL" clId="{933B5A52-5AC4-48D6-96F6-BCFF6D6B56A1}" dt="2022-11-30T11:40:13.478" v="210" actId="1076"/>
          <ac:picMkLst>
            <pc:docMk/>
            <pc:sldMk cId="1161545633" sldId="276"/>
            <ac:picMk id="24" creationId="{88460104-D428-917B-CB85-572566735402}"/>
          </ac:picMkLst>
        </pc:picChg>
        <pc:picChg chg="mod">
          <ac:chgData name="Anders Göransson" userId="93a96f3e-514e-4798-ab14-ea38ecca289b" providerId="ADAL" clId="{933B5A52-5AC4-48D6-96F6-BCFF6D6B56A1}" dt="2022-11-30T11:40:13.478" v="210" actId="1076"/>
          <ac:picMkLst>
            <pc:docMk/>
            <pc:sldMk cId="1161545633" sldId="276"/>
            <ac:picMk id="25" creationId="{B48657C6-3C27-F718-9015-801933B6E1AE}"/>
          </ac:picMkLst>
        </pc:picChg>
        <pc:picChg chg="mod">
          <ac:chgData name="Anders Göransson" userId="93a96f3e-514e-4798-ab14-ea38ecca289b" providerId="ADAL" clId="{933B5A52-5AC4-48D6-96F6-BCFF6D6B56A1}" dt="2022-11-30T11:40:26.073" v="211" actId="1076"/>
          <ac:picMkLst>
            <pc:docMk/>
            <pc:sldMk cId="1161545633" sldId="276"/>
            <ac:picMk id="27" creationId="{B941CC65-69E1-8E29-7D27-ABE5F2083C7E}"/>
          </ac:picMkLst>
        </pc:picChg>
        <pc:picChg chg="mod">
          <ac:chgData name="Anders Göransson" userId="93a96f3e-514e-4798-ab14-ea38ecca289b" providerId="ADAL" clId="{933B5A52-5AC4-48D6-96F6-BCFF6D6B56A1}" dt="2022-11-30T11:40:13.478" v="210" actId="1076"/>
          <ac:picMkLst>
            <pc:docMk/>
            <pc:sldMk cId="1161545633" sldId="276"/>
            <ac:picMk id="29" creationId="{298F1A6D-E42F-3D3F-A588-5276BDAD9748}"/>
          </ac:picMkLst>
        </pc:picChg>
      </pc:sldChg>
      <pc:sldChg chg="modSp add mod">
        <pc:chgData name="Anders Göransson" userId="93a96f3e-514e-4798-ab14-ea38ecca289b" providerId="ADAL" clId="{933B5A52-5AC4-48D6-96F6-BCFF6D6B56A1}" dt="2022-11-30T11:42:25.198" v="270" actId="1036"/>
        <pc:sldMkLst>
          <pc:docMk/>
          <pc:sldMk cId="432925046" sldId="277"/>
        </pc:sldMkLst>
        <pc:spChg chg="mod">
          <ac:chgData name="Anders Göransson" userId="93a96f3e-514e-4798-ab14-ea38ecca289b" providerId="ADAL" clId="{933B5A52-5AC4-48D6-96F6-BCFF6D6B56A1}" dt="2022-11-30T11:42:06.344" v="262" actId="1076"/>
          <ac:spMkLst>
            <pc:docMk/>
            <pc:sldMk cId="432925046" sldId="277"/>
            <ac:spMk id="6" creationId="{840EDBD0-393F-5564-2C97-1A1E57280007}"/>
          </ac:spMkLst>
        </pc:spChg>
        <pc:spChg chg="mod">
          <ac:chgData name="Anders Göransson" userId="93a96f3e-514e-4798-ab14-ea38ecca289b" providerId="ADAL" clId="{933B5A52-5AC4-48D6-96F6-BCFF6D6B56A1}" dt="2022-11-30T11:41:20.884" v="258" actId="1035"/>
          <ac:spMkLst>
            <pc:docMk/>
            <pc:sldMk cId="432925046" sldId="277"/>
            <ac:spMk id="7" creationId="{7F4FADF1-5793-4C7C-4BDD-DE875C0B6DBA}"/>
          </ac:spMkLst>
        </pc:spChg>
        <pc:spChg chg="mod">
          <ac:chgData name="Anders Göransson" userId="93a96f3e-514e-4798-ab14-ea38ecca289b" providerId="ADAL" clId="{933B5A52-5AC4-48D6-96F6-BCFF6D6B56A1}" dt="2022-11-30T11:42:25.198" v="270" actId="1036"/>
          <ac:spMkLst>
            <pc:docMk/>
            <pc:sldMk cId="432925046" sldId="277"/>
            <ac:spMk id="8" creationId="{4044BC8A-9C9C-1C9B-B2BD-E93F5FE213A7}"/>
          </ac:spMkLst>
        </pc:spChg>
        <pc:spChg chg="mod">
          <ac:chgData name="Anders Göransson" userId="93a96f3e-514e-4798-ab14-ea38ecca289b" providerId="ADAL" clId="{933B5A52-5AC4-48D6-96F6-BCFF6D6B56A1}" dt="2022-11-30T11:41:58.792" v="261" actId="1076"/>
          <ac:spMkLst>
            <pc:docMk/>
            <pc:sldMk cId="432925046" sldId="277"/>
            <ac:spMk id="10" creationId="{8B33815B-BD05-C672-3D78-F5D9590001AA}"/>
          </ac:spMkLst>
        </pc:spChg>
        <pc:spChg chg="mod">
          <ac:chgData name="Anders Göransson" userId="93a96f3e-514e-4798-ab14-ea38ecca289b" providerId="ADAL" clId="{933B5A52-5AC4-48D6-96F6-BCFF6D6B56A1}" dt="2022-11-30T11:42:06.344" v="262" actId="1076"/>
          <ac:spMkLst>
            <pc:docMk/>
            <pc:sldMk cId="432925046" sldId="277"/>
            <ac:spMk id="14" creationId="{E58807EF-AB15-E05D-B7B7-6AE15CF84855}"/>
          </ac:spMkLst>
        </pc:spChg>
        <pc:spChg chg="mod">
          <ac:chgData name="Anders Göransson" userId="93a96f3e-514e-4798-ab14-ea38ecca289b" providerId="ADAL" clId="{933B5A52-5AC4-48D6-96F6-BCFF6D6B56A1}" dt="2022-11-30T11:42:25.198" v="270" actId="1036"/>
          <ac:spMkLst>
            <pc:docMk/>
            <pc:sldMk cId="432925046" sldId="277"/>
            <ac:spMk id="19" creationId="{D365310F-D340-9E8F-BE40-2A3E35D1EAAC}"/>
          </ac:spMkLst>
        </pc:spChg>
        <pc:spChg chg="mod">
          <ac:chgData name="Anders Göransson" userId="93a96f3e-514e-4798-ab14-ea38ecca289b" providerId="ADAL" clId="{933B5A52-5AC4-48D6-96F6-BCFF6D6B56A1}" dt="2022-11-30T11:42:25.198" v="270" actId="1036"/>
          <ac:spMkLst>
            <pc:docMk/>
            <pc:sldMk cId="432925046" sldId="277"/>
            <ac:spMk id="20" creationId="{37CC8505-83A6-7362-9329-FA84F494A9C2}"/>
          </ac:spMkLst>
        </pc:spChg>
        <pc:spChg chg="mod">
          <ac:chgData name="Anders Göransson" userId="93a96f3e-514e-4798-ab14-ea38ecca289b" providerId="ADAL" clId="{933B5A52-5AC4-48D6-96F6-BCFF6D6B56A1}" dt="2022-11-30T11:42:25.198" v="270" actId="1036"/>
          <ac:spMkLst>
            <pc:docMk/>
            <pc:sldMk cId="432925046" sldId="277"/>
            <ac:spMk id="21" creationId="{DD2EF99B-A856-88B7-C253-0859560C6C3B}"/>
          </ac:spMkLst>
        </pc:spChg>
        <pc:spChg chg="mod">
          <ac:chgData name="Anders Göransson" userId="93a96f3e-514e-4798-ab14-ea38ecca289b" providerId="ADAL" clId="{933B5A52-5AC4-48D6-96F6-BCFF6D6B56A1}" dt="2022-11-30T11:41:20.884" v="258" actId="1035"/>
          <ac:spMkLst>
            <pc:docMk/>
            <pc:sldMk cId="432925046" sldId="277"/>
            <ac:spMk id="26" creationId="{14BFDE6D-6241-9EEE-9A5C-25A553D8FE04}"/>
          </ac:spMkLst>
        </pc:spChg>
        <pc:spChg chg="mod">
          <ac:chgData name="Anders Göransson" userId="93a96f3e-514e-4798-ab14-ea38ecca289b" providerId="ADAL" clId="{933B5A52-5AC4-48D6-96F6-BCFF6D6B56A1}" dt="2022-11-30T11:41:58.792" v="261" actId="1076"/>
          <ac:spMkLst>
            <pc:docMk/>
            <pc:sldMk cId="432925046" sldId="277"/>
            <ac:spMk id="28" creationId="{204ABC14-A34B-FF45-21B7-58D95DC5E001}"/>
          </ac:spMkLst>
        </pc:spChg>
        <pc:spChg chg="mod">
          <ac:chgData name="Anders Göransson" userId="93a96f3e-514e-4798-ab14-ea38ecca289b" providerId="ADAL" clId="{933B5A52-5AC4-48D6-96F6-BCFF6D6B56A1}" dt="2022-11-30T11:42:09.655" v="264" actId="20577"/>
          <ac:spMkLst>
            <pc:docMk/>
            <pc:sldMk cId="432925046" sldId="277"/>
            <ac:spMk id="31" creationId="{FF531093-EA8A-E2A6-010F-970A9C4783AF}"/>
          </ac:spMkLst>
        </pc:spChg>
        <pc:picChg chg="mod">
          <ac:chgData name="Anders Göransson" userId="93a96f3e-514e-4798-ab14-ea38ecca289b" providerId="ADAL" clId="{933B5A52-5AC4-48D6-96F6-BCFF6D6B56A1}" dt="2022-11-30T11:42:06.344" v="262" actId="1076"/>
          <ac:picMkLst>
            <pc:docMk/>
            <pc:sldMk cId="432925046" sldId="277"/>
            <ac:picMk id="15" creationId="{266B0CBA-8575-FB5D-A216-18FED3BF81AB}"/>
          </ac:picMkLst>
        </pc:picChg>
        <pc:picChg chg="mod">
          <ac:chgData name="Anders Göransson" userId="93a96f3e-514e-4798-ab14-ea38ecca289b" providerId="ADAL" clId="{933B5A52-5AC4-48D6-96F6-BCFF6D6B56A1}" dt="2022-11-30T11:41:20.884" v="258" actId="1035"/>
          <ac:picMkLst>
            <pc:docMk/>
            <pc:sldMk cId="432925046" sldId="277"/>
            <ac:picMk id="24" creationId="{88460104-D428-917B-CB85-572566735402}"/>
          </ac:picMkLst>
        </pc:picChg>
        <pc:picChg chg="mod">
          <ac:chgData name="Anders Göransson" userId="93a96f3e-514e-4798-ab14-ea38ecca289b" providerId="ADAL" clId="{933B5A52-5AC4-48D6-96F6-BCFF6D6B56A1}" dt="2022-11-30T11:41:20.884" v="258" actId="1035"/>
          <ac:picMkLst>
            <pc:docMk/>
            <pc:sldMk cId="432925046" sldId="277"/>
            <ac:picMk id="25" creationId="{B48657C6-3C27-F718-9015-801933B6E1AE}"/>
          </ac:picMkLst>
        </pc:picChg>
        <pc:picChg chg="mod">
          <ac:chgData name="Anders Göransson" userId="93a96f3e-514e-4798-ab14-ea38ecca289b" providerId="ADAL" clId="{933B5A52-5AC4-48D6-96F6-BCFF6D6B56A1}" dt="2022-11-30T11:41:58.792" v="261" actId="1076"/>
          <ac:picMkLst>
            <pc:docMk/>
            <pc:sldMk cId="432925046" sldId="277"/>
            <ac:picMk id="27" creationId="{B941CC65-69E1-8E29-7D27-ABE5F2083C7E}"/>
          </ac:picMkLst>
        </pc:picChg>
        <pc:picChg chg="mod">
          <ac:chgData name="Anders Göransson" userId="93a96f3e-514e-4798-ab14-ea38ecca289b" providerId="ADAL" clId="{933B5A52-5AC4-48D6-96F6-BCFF6D6B56A1}" dt="2022-11-30T11:41:20.884" v="258" actId="1035"/>
          <ac:picMkLst>
            <pc:docMk/>
            <pc:sldMk cId="432925046" sldId="277"/>
            <ac:picMk id="29" creationId="{298F1A6D-E42F-3D3F-A588-5276BDAD9748}"/>
          </ac:picMkLst>
        </pc:pic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109_2843109A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109_2843109A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109_2843109A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109_2843109A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109_2843109A4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10F_6ACCB558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8245614035087718E-2"/>
          <c:y val="0.10077519379844961"/>
          <c:w val="0.96350877192982454"/>
          <c:h val="0.79844961240310075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</c:f>
              <c:numCache>
                <c:formatCode>General</c:formatCode>
                <c:ptCount val="1"/>
                <c:pt idx="0">
                  <c:v>11491.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C36-4AF2-8FB4-245166156FEE}"/>
            </c:ext>
          </c:extLst>
        </c:ser>
        <c:ser>
          <c:idx val="1"/>
          <c:order val="1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2</c:f>
              <c:numCache>
                <c:formatCode>General</c:formatCode>
                <c:ptCount val="1"/>
                <c:pt idx="0">
                  <c:v>2012.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C36-4AF2-8FB4-245166156FEE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3</c:f>
              <c:numCache>
                <c:formatCode>General</c:formatCode>
                <c:ptCount val="1"/>
                <c:pt idx="0">
                  <c:v>8176.71000000000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C36-4AF2-8FB4-245166156FEE}"/>
            </c:ext>
          </c:extLst>
        </c:ser>
        <c:ser>
          <c:idx val="3"/>
          <c:order val="3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4</c:f>
              <c:numCache>
                <c:formatCode>General</c:formatCode>
                <c:ptCount val="1"/>
                <c:pt idx="0">
                  <c:v>9555.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C36-4AF2-8FB4-245166156FEE}"/>
            </c:ext>
          </c:extLst>
        </c:ser>
        <c:ser>
          <c:idx val="4"/>
          <c:order val="4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5</c:f>
              <c:numCache>
                <c:formatCode>General</c:formatCode>
                <c:ptCount val="1"/>
                <c:pt idx="0">
                  <c:v>1472.65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C36-4AF2-8FB4-245166156FEE}"/>
            </c:ext>
          </c:extLst>
        </c:ser>
        <c:ser>
          <c:idx val="5"/>
          <c:order val="5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6</c:f>
              <c:numCache>
                <c:formatCode>General</c:formatCode>
                <c:ptCount val="1"/>
                <c:pt idx="0">
                  <c:v>1743.95360951285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0C36-4AF2-8FB4-245166156F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149815919"/>
        <c:axId val="1"/>
      </c:barChart>
      <c:catAx>
        <c:axId val="1149815919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4452.493609512858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14981591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8245614035087718E-2"/>
          <c:y val="0.10077519379844961"/>
          <c:w val="0.96350877192982454"/>
          <c:h val="0.79844961240310075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</c:f>
              <c:numCache>
                <c:formatCode>General</c:formatCode>
                <c:ptCount val="1"/>
                <c:pt idx="0">
                  <c:v>333.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2D5-4EE0-B6C2-33F89FA6CEED}"/>
            </c:ext>
          </c:extLst>
        </c:ser>
        <c:ser>
          <c:idx val="1"/>
          <c:order val="1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2</c:f>
              <c:numCache>
                <c:formatCode>General</c:formatCode>
                <c:ptCount val="1"/>
                <c:pt idx="0">
                  <c:v>2744.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2D5-4EE0-B6C2-33F89FA6CEE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149819663"/>
        <c:axId val="1"/>
      </c:barChart>
      <c:catAx>
        <c:axId val="1149819663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5000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14981966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8245614035087718E-2"/>
          <c:y val="0.10077519379844961"/>
          <c:w val="0.96350877192982454"/>
          <c:h val="0.79844961240310075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</c:f>
              <c:numCache>
                <c:formatCode>General</c:formatCode>
                <c:ptCount val="1"/>
                <c:pt idx="0">
                  <c:v>2165.715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280-40C2-852C-F93E0FA6F9A3}"/>
            </c:ext>
          </c:extLst>
        </c:ser>
        <c:ser>
          <c:idx val="1"/>
          <c:order val="1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2</c:f>
              <c:numCache>
                <c:formatCode>General</c:formatCode>
                <c:ptCount val="1"/>
                <c:pt idx="0">
                  <c:v>6374.36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280-40C2-852C-F93E0FA6F9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149816335"/>
        <c:axId val="1"/>
      </c:barChart>
      <c:catAx>
        <c:axId val="1149816335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5000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14981633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8245614035087718E-2"/>
          <c:y val="0.10077519379844961"/>
          <c:w val="0.96350877192982454"/>
          <c:h val="0.79844961240310075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</c:f>
              <c:numCache>
                <c:formatCode>General</c:formatCode>
                <c:ptCount val="1"/>
                <c:pt idx="0">
                  <c:v>8034.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B63-4BC8-B259-6C1F96C6FCFA}"/>
            </c:ext>
          </c:extLst>
        </c:ser>
        <c:ser>
          <c:idx val="1"/>
          <c:order val="1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2</c:f>
              <c:numCache>
                <c:formatCode>General</c:formatCode>
                <c:ptCount val="1"/>
                <c:pt idx="0">
                  <c:v>1012.6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B63-4BC8-B259-6C1F96C6FCFA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3</c:f>
              <c:numCache>
                <c:formatCode>General</c:formatCode>
                <c:ptCount val="1"/>
                <c:pt idx="0">
                  <c:v>220.059999999999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B63-4BC8-B259-6C1F96C6FCFA}"/>
            </c:ext>
          </c:extLst>
        </c:ser>
        <c:ser>
          <c:idx val="3"/>
          <c:order val="3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4</c:f>
              <c:numCache>
                <c:formatCode>General</c:formatCode>
                <c:ptCount val="1"/>
                <c:pt idx="0">
                  <c:v>528.079999999999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B63-4BC8-B259-6C1F96C6FCFA}"/>
            </c:ext>
          </c:extLst>
        </c:ser>
        <c:ser>
          <c:idx val="4"/>
          <c:order val="4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5</c:f>
              <c:numCache>
                <c:formatCode>General</c:formatCode>
                <c:ptCount val="1"/>
                <c:pt idx="0">
                  <c:v>1504.85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B63-4BC8-B259-6C1F96C6FCFA}"/>
            </c:ext>
          </c:extLst>
        </c:ser>
        <c:ser>
          <c:idx val="5"/>
          <c:order val="5"/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6-DB63-4BC8-B259-6C1F96C6FCFA}"/>
              </c:ext>
            </c:extLst>
          </c:dPt>
          <c:val>
            <c:numRef>
              <c:f>Sheet1!$A$6</c:f>
              <c:numCache>
                <c:formatCode>General</c:formatCode>
                <c:ptCount val="1"/>
                <c:pt idx="0">
                  <c:v>7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DB63-4BC8-B259-6C1F96C6FCF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149817167"/>
        <c:axId val="1"/>
      </c:barChart>
      <c:catAx>
        <c:axId val="1149817167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5000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149817167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8245614035087718E-2"/>
          <c:y val="0.10077519379844961"/>
          <c:w val="0.96350877192982454"/>
          <c:h val="0.79844961240310075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</c:f>
              <c:numCache>
                <c:formatCode>General</c:formatCode>
                <c:ptCount val="1"/>
                <c:pt idx="0">
                  <c:v>4055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331-4297-B67B-71DFA5CE24A3}"/>
            </c:ext>
          </c:extLst>
        </c:ser>
        <c:ser>
          <c:idx val="1"/>
          <c:order val="1"/>
          <c:spPr>
            <a:solidFill>
              <a:schemeClr val="tx2"/>
            </a:solidFill>
            <a:ln>
              <a:noFill/>
            </a:ln>
          </c:spPr>
          <c:invertIfNegative val="0"/>
          <c:val>
            <c:numRef>
              <c:f>Sheet1!$A$2</c:f>
              <c:numCache>
                <c:formatCode>General</c:formatCode>
                <c:ptCount val="1"/>
                <c:pt idx="0">
                  <c:v>4070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331-4297-B67B-71DFA5CE24A3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3</c:f>
              <c:numCache>
                <c:formatCode>General</c:formatCode>
                <c:ptCount val="1"/>
                <c:pt idx="0">
                  <c:v>2000.00000000000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331-4297-B67B-71DFA5CE24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149831311"/>
        <c:axId val="1"/>
      </c:barChart>
      <c:catAx>
        <c:axId val="1149831311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5000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14983131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929348863853351E-3"/>
          <c:y val="1.9969278033794162E-2"/>
          <c:w val="0.98014130227229335"/>
          <c:h val="0.96006144393241166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val>
            <c:numRef>
              <c:f>Sheet1!$A$1:$J$1</c:f>
              <c:numCache>
                <c:formatCode>General</c:formatCode>
                <c:ptCount val="10"/>
                <c:pt idx="0">
                  <c:v>100</c:v>
                </c:pt>
                <c:pt idx="1">
                  <c:v>105</c:v>
                </c:pt>
                <c:pt idx="2">
                  <c:v>120</c:v>
                </c:pt>
                <c:pt idx="3">
                  <c:v>140</c:v>
                </c:pt>
                <c:pt idx="4">
                  <c:v>157.14285714285717</c:v>
                </c:pt>
                <c:pt idx="5">
                  <c:v>185.71428571428575</c:v>
                </c:pt>
                <c:pt idx="6">
                  <c:v>214.28571428571433</c:v>
                </c:pt>
                <c:pt idx="7">
                  <c:v>242.85714285714292</c:v>
                </c:pt>
                <c:pt idx="8">
                  <c:v>271.4285714285715</c:v>
                </c:pt>
                <c:pt idx="9">
                  <c:v>300.00000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A61-4C5E-8B46-532AEA96AC10}"/>
            </c:ext>
          </c:extLst>
        </c:ser>
        <c:ser>
          <c:idx val="1"/>
          <c:order val="1"/>
          <c:spPr>
            <a:solidFill>
              <a:srgbClr val="69B690"/>
            </a:solidFill>
            <a:ln>
              <a:noFill/>
            </a:ln>
          </c:spPr>
          <c:val>
            <c:numRef>
              <c:f>Sheet1!$A$2:$J$2</c:f>
              <c:numCache>
                <c:formatCode>General</c:formatCode>
                <c:ptCount val="10"/>
                <c:pt idx="0">
                  <c:v>3</c:v>
                </c:pt>
                <c:pt idx="1">
                  <c:v>5</c:v>
                </c:pt>
                <c:pt idx="2">
                  <c:v>10</c:v>
                </c:pt>
                <c:pt idx="3">
                  <c:v>20</c:v>
                </c:pt>
                <c:pt idx="4">
                  <c:v>40</c:v>
                </c:pt>
                <c:pt idx="5">
                  <c:v>75</c:v>
                </c:pt>
                <c:pt idx="6">
                  <c:v>110</c:v>
                </c:pt>
                <c:pt idx="7">
                  <c:v>150</c:v>
                </c:pt>
                <c:pt idx="8">
                  <c:v>190</c:v>
                </c:pt>
                <c:pt idx="9">
                  <c:v>2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A61-4C5E-8B46-532AEA96AC10}"/>
            </c:ext>
          </c:extLst>
        </c:ser>
        <c:ser>
          <c:idx val="2"/>
          <c:order val="2"/>
          <c:spPr>
            <a:solidFill>
              <a:schemeClr val="bg2"/>
            </a:solidFill>
            <a:ln>
              <a:noFill/>
            </a:ln>
          </c:spPr>
          <c:val>
            <c:numRef>
              <c:f>Sheet1!$A$3:$J$3</c:f>
              <c:numCache>
                <c:formatCode>General</c:formatCode>
                <c:ptCount val="10"/>
                <c:pt idx="0">
                  <c:v>45</c:v>
                </c:pt>
                <c:pt idx="1">
                  <c:v>50</c:v>
                </c:pt>
                <c:pt idx="2">
                  <c:v>75</c:v>
                </c:pt>
                <c:pt idx="3">
                  <c:v>100</c:v>
                </c:pt>
                <c:pt idx="4">
                  <c:v>125</c:v>
                </c:pt>
                <c:pt idx="5">
                  <c:v>150</c:v>
                </c:pt>
                <c:pt idx="6">
                  <c:v>175</c:v>
                </c:pt>
                <c:pt idx="7">
                  <c:v>200</c:v>
                </c:pt>
                <c:pt idx="8">
                  <c:v>225.00000000000006</c:v>
                </c:pt>
                <c:pt idx="9">
                  <c:v>2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A61-4C5E-8B46-532AEA96AC1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371592255"/>
        <c:axId val="1"/>
      </c:areaChart>
      <c:catAx>
        <c:axId val="137159225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71592255"/>
        <c:crosses val="min"/>
        <c:crossBetween val="midCat"/>
        <c:majorUnit val="100"/>
      </c:valAx>
    </c:plotArea>
    <c:plotVisOnly val="0"/>
    <c:dispBlanksAs val="zero"/>
    <c:showDLblsOverMax val="1"/>
  </c:chart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5023AEF-0701-4B59-803F-2EE34E97E40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 sz="10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5AF48A7-5D65-477C-A92A-3672CB98B71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C25DBDD-74ED-47F8-B068-217AD788BEEF}" type="datetimeFigureOut">
              <a:rPr lang="sv-SE" sz="1000" smtClean="0"/>
              <a:t>2022-11-30</a:t>
            </a:fld>
            <a:endParaRPr lang="sv-SE" sz="10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0E373C-AC9A-413D-9571-D364BC11F5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 sz="10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150A59B-786A-4DDE-BC0A-F409D397A61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2F4422C-11C6-4500-B83E-9C130646660F}" type="slidenum">
              <a:rPr lang="sv-SE" sz="1000" smtClean="0"/>
              <a:t>‹#›</a:t>
            </a:fld>
            <a:endParaRPr lang="sv-SE" sz="1000"/>
          </a:p>
        </p:txBody>
      </p:sp>
    </p:spTree>
    <p:extLst>
      <p:ext uri="{BB962C8B-B14F-4D97-AF65-F5344CB8AC3E}">
        <p14:creationId xmlns:p14="http://schemas.microsoft.com/office/powerpoint/2010/main" val="397859737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/>
            </a:lvl1pPr>
          </a:lstStyle>
          <a:p>
            <a:fld id="{5D3735D9-C622-4B5D-97D0-D3B8DD4D43DF}" type="datetimeFigureOut">
              <a:rPr lang="en-US" smtClean="0"/>
              <a:pPr/>
              <a:t>11/30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/>
            </a:lvl1pPr>
          </a:lstStyle>
          <a:p>
            <a:fld id="{BCA3599A-B860-4459-8435-0DA526491C6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88861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sz="1200" err="1"/>
              <a:t>Our</a:t>
            </a:r>
            <a:r>
              <a:rPr lang="sv-SE" sz="1200"/>
              <a:t> </a:t>
            </a:r>
            <a:r>
              <a:rPr lang="sv-SE" sz="1200" err="1"/>
              <a:t>unique</a:t>
            </a:r>
            <a:r>
              <a:rPr lang="sv-SE" sz="1200"/>
              <a:t> </a:t>
            </a:r>
            <a:r>
              <a:rPr lang="sv-SE" sz="1200" err="1"/>
              <a:t>technology</a:t>
            </a:r>
            <a:r>
              <a:rPr lang="sv-SE" sz="1200"/>
              <a:t> for </a:t>
            </a:r>
            <a:r>
              <a:rPr lang="sv-SE" sz="1200" err="1"/>
              <a:t>infection</a:t>
            </a:r>
            <a:r>
              <a:rPr lang="sv-SE" sz="1200"/>
              <a:t> prevention is </a:t>
            </a:r>
            <a:r>
              <a:rPr lang="sv-SE" sz="1200" err="1"/>
              <a:t>effective</a:t>
            </a:r>
            <a:r>
              <a:rPr lang="sv-SE" sz="1200"/>
              <a:t>, </a:t>
            </a:r>
            <a:r>
              <a:rPr lang="sv-SE" sz="1200" err="1"/>
              <a:t>safe</a:t>
            </a:r>
            <a:r>
              <a:rPr lang="sv-SE" sz="1200"/>
              <a:t> and </a:t>
            </a:r>
            <a:r>
              <a:rPr lang="sv-SE" sz="1200" err="1"/>
              <a:t>well</a:t>
            </a:r>
            <a:r>
              <a:rPr lang="sv-SE" sz="1200"/>
              <a:t> </a:t>
            </a:r>
            <a:r>
              <a:rPr lang="sv-SE" sz="1200" err="1"/>
              <a:t>protected</a:t>
            </a:r>
            <a:r>
              <a:rPr lang="sv-SE" sz="1200"/>
              <a:t>.</a:t>
            </a:r>
          </a:p>
          <a:p>
            <a:endParaRPr lang="sv-SE" sz="1200"/>
          </a:p>
          <a:p>
            <a:r>
              <a:rPr lang="sv-SE" sz="1200"/>
              <a:t>It </a:t>
            </a:r>
            <a:r>
              <a:rPr lang="sv-SE" sz="1200" err="1"/>
              <a:t>consists</a:t>
            </a:r>
            <a:r>
              <a:rPr lang="sv-SE" sz="1200"/>
              <a:t> of a </a:t>
            </a:r>
            <a:r>
              <a:rPr lang="sv-SE" sz="1200" err="1"/>
              <a:t>very</a:t>
            </a:r>
            <a:r>
              <a:rPr lang="sv-SE" sz="1200"/>
              <a:t> </a:t>
            </a:r>
            <a:r>
              <a:rPr lang="sv-SE" sz="1200" err="1"/>
              <a:t>thin</a:t>
            </a:r>
            <a:r>
              <a:rPr lang="sv-SE" sz="1200"/>
              <a:t> </a:t>
            </a:r>
            <a:r>
              <a:rPr lang="sv-SE" sz="1200" err="1"/>
              <a:t>coating</a:t>
            </a:r>
            <a:r>
              <a:rPr lang="sv-SE" sz="1200"/>
              <a:t> of </a:t>
            </a:r>
            <a:r>
              <a:rPr lang="sv-SE" sz="1200" err="1"/>
              <a:t>gold</a:t>
            </a:r>
            <a:r>
              <a:rPr lang="sv-SE" sz="1200"/>
              <a:t>, palladium and silver – </a:t>
            </a:r>
            <a:r>
              <a:rPr lang="sv-SE" sz="1200" err="1"/>
              <a:t>firmly</a:t>
            </a:r>
            <a:r>
              <a:rPr lang="sv-SE" sz="1200"/>
              <a:t> </a:t>
            </a:r>
            <a:r>
              <a:rPr lang="sv-SE" sz="1200" err="1"/>
              <a:t>attached</a:t>
            </a:r>
            <a:r>
              <a:rPr lang="sv-SE" sz="1200"/>
              <a:t> to the </a:t>
            </a:r>
            <a:r>
              <a:rPr lang="sv-SE" sz="1200" err="1"/>
              <a:t>surface</a:t>
            </a:r>
            <a:r>
              <a:rPr lang="sv-SE" sz="1200"/>
              <a:t> of </a:t>
            </a:r>
            <a:r>
              <a:rPr lang="sv-SE" sz="1200" err="1"/>
              <a:t>medical</a:t>
            </a:r>
            <a:r>
              <a:rPr lang="sv-SE" sz="1200"/>
              <a:t> </a:t>
            </a:r>
            <a:r>
              <a:rPr lang="sv-SE" sz="1200" err="1"/>
              <a:t>devices</a:t>
            </a:r>
            <a:r>
              <a:rPr lang="sv-SE" sz="1200"/>
              <a:t> – </a:t>
            </a:r>
            <a:r>
              <a:rPr lang="sv-SE" sz="1200" err="1"/>
              <a:t>which</a:t>
            </a:r>
            <a:r>
              <a:rPr lang="sv-SE" sz="1200"/>
              <a:t> </a:t>
            </a:r>
            <a:r>
              <a:rPr lang="sv-SE" sz="1200" err="1"/>
              <a:t>prevents</a:t>
            </a:r>
            <a:r>
              <a:rPr lang="sv-SE" sz="1200"/>
              <a:t> </a:t>
            </a:r>
            <a:r>
              <a:rPr lang="sv-SE" sz="1200" err="1"/>
              <a:t>bacteria</a:t>
            </a:r>
            <a:r>
              <a:rPr lang="sv-SE" sz="1200"/>
              <a:t> and </a:t>
            </a:r>
            <a:r>
              <a:rPr lang="sv-SE" sz="1200" err="1"/>
              <a:t>other</a:t>
            </a:r>
            <a:r>
              <a:rPr lang="sv-SE" sz="1200"/>
              <a:t> </a:t>
            </a:r>
            <a:r>
              <a:rPr lang="sv-SE" sz="1200" err="1"/>
              <a:t>microbes</a:t>
            </a:r>
            <a:r>
              <a:rPr lang="sv-SE" sz="1200"/>
              <a:t> from </a:t>
            </a:r>
            <a:r>
              <a:rPr lang="sv-SE" sz="1200" err="1"/>
              <a:t>colonizing</a:t>
            </a:r>
            <a:r>
              <a:rPr lang="sv-SE" sz="1200"/>
              <a:t> on the </a:t>
            </a:r>
            <a:r>
              <a:rPr lang="sv-SE" sz="1200" err="1"/>
              <a:t>surface</a:t>
            </a:r>
            <a:r>
              <a:rPr lang="sv-SE" sz="1200"/>
              <a:t> and </a:t>
            </a:r>
            <a:r>
              <a:rPr lang="sv-SE" sz="1200" err="1"/>
              <a:t>creating</a:t>
            </a:r>
            <a:r>
              <a:rPr lang="sv-SE" sz="1200"/>
              <a:t> biofilm.</a:t>
            </a:r>
          </a:p>
          <a:p>
            <a:endParaRPr lang="sv-SE" sz="1200"/>
          </a:p>
          <a:p>
            <a:r>
              <a:rPr lang="sv-SE" sz="1200" err="1"/>
              <a:t>Imagine</a:t>
            </a:r>
            <a:r>
              <a:rPr lang="sv-SE" sz="1200"/>
              <a:t> </a:t>
            </a:r>
            <a:r>
              <a:rPr lang="sv-SE" sz="1200" err="1"/>
              <a:t>sticking</a:t>
            </a:r>
            <a:r>
              <a:rPr lang="sv-SE" sz="1200"/>
              <a:t> </a:t>
            </a:r>
            <a:r>
              <a:rPr lang="sv-SE" sz="1200" err="1"/>
              <a:t>your</a:t>
            </a:r>
            <a:r>
              <a:rPr lang="sv-SE" sz="1200"/>
              <a:t> </a:t>
            </a:r>
            <a:r>
              <a:rPr lang="sv-SE" sz="1200" err="1"/>
              <a:t>tongue</a:t>
            </a:r>
            <a:r>
              <a:rPr lang="sv-SE" sz="1200"/>
              <a:t> on a </a:t>
            </a:r>
            <a:r>
              <a:rPr lang="sv-SE" sz="1200" err="1"/>
              <a:t>battery</a:t>
            </a:r>
            <a:r>
              <a:rPr lang="sv-SE" sz="1200"/>
              <a:t> (like </a:t>
            </a:r>
            <a:r>
              <a:rPr lang="sv-SE" sz="1200" err="1"/>
              <a:t>this</a:t>
            </a:r>
            <a:r>
              <a:rPr lang="sv-SE" sz="1200"/>
              <a:t>) or </a:t>
            </a:r>
            <a:r>
              <a:rPr lang="sv-SE" sz="1200" err="1"/>
              <a:t>touching</a:t>
            </a:r>
            <a:r>
              <a:rPr lang="sv-SE" sz="1200"/>
              <a:t> an </a:t>
            </a:r>
            <a:r>
              <a:rPr lang="sv-SE" sz="1200" err="1"/>
              <a:t>electrial</a:t>
            </a:r>
            <a:r>
              <a:rPr lang="sv-SE" sz="1200"/>
              <a:t> </a:t>
            </a:r>
            <a:r>
              <a:rPr lang="sv-SE" sz="1200" err="1"/>
              <a:t>fence</a:t>
            </a:r>
            <a:r>
              <a:rPr lang="sv-SE" sz="1200"/>
              <a:t> – it </a:t>
            </a:r>
            <a:r>
              <a:rPr lang="sv-SE" sz="1200" err="1"/>
              <a:t>doesn’t</a:t>
            </a:r>
            <a:r>
              <a:rPr lang="sv-SE" sz="1200"/>
              <a:t> </a:t>
            </a:r>
            <a:r>
              <a:rPr lang="sv-SE" sz="1200" err="1"/>
              <a:t>kill</a:t>
            </a:r>
            <a:r>
              <a:rPr lang="sv-SE" sz="1200"/>
              <a:t> </a:t>
            </a:r>
            <a:r>
              <a:rPr lang="sv-SE" sz="1200" err="1"/>
              <a:t>you</a:t>
            </a:r>
            <a:r>
              <a:rPr lang="sv-SE" sz="1200"/>
              <a:t> </a:t>
            </a:r>
            <a:r>
              <a:rPr lang="sv-SE" sz="1200" err="1"/>
              <a:t>but</a:t>
            </a:r>
            <a:r>
              <a:rPr lang="sv-SE" sz="1200"/>
              <a:t> it hurts and </a:t>
            </a:r>
            <a:r>
              <a:rPr lang="sv-SE" sz="1200" err="1"/>
              <a:t>you</a:t>
            </a:r>
            <a:r>
              <a:rPr lang="sv-SE" sz="1200"/>
              <a:t> </a:t>
            </a:r>
            <a:r>
              <a:rPr lang="sv-SE" sz="1200" err="1"/>
              <a:t>will</a:t>
            </a:r>
            <a:r>
              <a:rPr lang="sv-SE" sz="1200"/>
              <a:t> </a:t>
            </a:r>
            <a:r>
              <a:rPr lang="sv-SE" sz="1200" err="1"/>
              <a:t>stay</a:t>
            </a:r>
            <a:r>
              <a:rPr lang="sv-SE" sz="1200"/>
              <a:t> </a:t>
            </a:r>
            <a:r>
              <a:rPr lang="sv-SE" sz="1200" err="1"/>
              <a:t>away</a:t>
            </a:r>
            <a:r>
              <a:rPr lang="sv-SE" sz="1200"/>
              <a:t> from it. </a:t>
            </a:r>
            <a:r>
              <a:rPr lang="sv-SE" sz="1200" err="1"/>
              <a:t>That’s</a:t>
            </a:r>
            <a:r>
              <a:rPr lang="sv-SE" sz="1200"/>
              <a:t> </a:t>
            </a:r>
            <a:r>
              <a:rPr lang="sv-SE" sz="1200" err="1"/>
              <a:t>exactly</a:t>
            </a:r>
            <a:r>
              <a:rPr lang="sv-SE" sz="1200"/>
              <a:t> </a:t>
            </a:r>
            <a:r>
              <a:rPr lang="sv-SE" sz="1200" err="1"/>
              <a:t>what</a:t>
            </a:r>
            <a:r>
              <a:rPr lang="sv-SE" sz="1200"/>
              <a:t> </a:t>
            </a:r>
            <a:r>
              <a:rPr lang="sv-SE" sz="1200" err="1"/>
              <a:t>happens</a:t>
            </a:r>
            <a:r>
              <a:rPr lang="sv-SE" sz="1200"/>
              <a:t> to the </a:t>
            </a:r>
            <a:r>
              <a:rPr lang="sv-SE" sz="1200" err="1"/>
              <a:t>the</a:t>
            </a:r>
            <a:r>
              <a:rPr lang="sv-SE" sz="1200"/>
              <a:t> </a:t>
            </a:r>
            <a:r>
              <a:rPr lang="sv-SE" sz="1200" err="1"/>
              <a:t>microbes</a:t>
            </a:r>
            <a:r>
              <a:rPr lang="sv-SE" sz="1200"/>
              <a:t> – </a:t>
            </a:r>
            <a:r>
              <a:rPr lang="sv-SE" sz="1200" err="1"/>
              <a:t>they</a:t>
            </a:r>
            <a:r>
              <a:rPr lang="sv-SE" sz="1200"/>
              <a:t> </a:t>
            </a:r>
            <a:r>
              <a:rPr lang="sv-SE" sz="1200" err="1"/>
              <a:t>stay</a:t>
            </a:r>
            <a:r>
              <a:rPr lang="sv-SE" sz="1200"/>
              <a:t> </a:t>
            </a:r>
            <a:r>
              <a:rPr lang="sv-SE" sz="1200" err="1"/>
              <a:t>away</a:t>
            </a:r>
            <a:r>
              <a:rPr lang="sv-SE" sz="1200"/>
              <a:t> – </a:t>
            </a:r>
            <a:r>
              <a:rPr lang="sv-SE" sz="1200" err="1"/>
              <a:t>even</a:t>
            </a:r>
            <a:r>
              <a:rPr lang="sv-SE" sz="1200"/>
              <a:t> the </a:t>
            </a:r>
            <a:r>
              <a:rPr lang="sv-SE" sz="1200" err="1"/>
              <a:t>most</a:t>
            </a:r>
            <a:r>
              <a:rPr lang="sv-SE" sz="1200"/>
              <a:t> </a:t>
            </a:r>
            <a:r>
              <a:rPr lang="sv-SE" sz="1200" err="1"/>
              <a:t>evil</a:t>
            </a:r>
            <a:r>
              <a:rPr lang="sv-SE" sz="1200"/>
              <a:t> multi </a:t>
            </a:r>
            <a:r>
              <a:rPr lang="sv-SE" sz="1200" err="1"/>
              <a:t>resitant</a:t>
            </a:r>
            <a:r>
              <a:rPr lang="sv-SE" sz="1200"/>
              <a:t> </a:t>
            </a:r>
            <a:r>
              <a:rPr lang="sv-SE" sz="1200" err="1"/>
              <a:t>bacteria</a:t>
            </a:r>
            <a:r>
              <a:rPr lang="sv-SE" sz="1200"/>
              <a:t> or </a:t>
            </a:r>
            <a:r>
              <a:rPr lang="sv-SE" sz="1200" err="1"/>
              <a:t>fungi</a:t>
            </a:r>
            <a:r>
              <a:rPr lang="sv-SE" sz="1200"/>
              <a:t>.</a:t>
            </a:r>
          </a:p>
          <a:p>
            <a:endParaRPr lang="sv-SE" sz="1200"/>
          </a:p>
          <a:p>
            <a:r>
              <a:rPr lang="sv-SE" sz="1200"/>
              <a:t>As the </a:t>
            </a:r>
            <a:r>
              <a:rPr lang="sv-SE" sz="1200" err="1"/>
              <a:t>coating</a:t>
            </a:r>
            <a:r>
              <a:rPr lang="sv-SE" sz="1200"/>
              <a:t> is non-</a:t>
            </a:r>
            <a:r>
              <a:rPr lang="sv-SE" sz="1200" err="1"/>
              <a:t>releasing</a:t>
            </a:r>
            <a:r>
              <a:rPr lang="sv-SE" sz="1200"/>
              <a:t> it lasts </a:t>
            </a:r>
            <a:r>
              <a:rPr lang="sv-SE" sz="1200" err="1"/>
              <a:t>longer</a:t>
            </a:r>
            <a:r>
              <a:rPr lang="sv-SE" sz="1200"/>
              <a:t> and it is </a:t>
            </a:r>
            <a:r>
              <a:rPr lang="sv-SE" sz="1200" err="1"/>
              <a:t>tissue</a:t>
            </a:r>
            <a:r>
              <a:rPr lang="sv-SE" sz="1200"/>
              <a:t> </a:t>
            </a:r>
            <a:r>
              <a:rPr lang="sv-SE" sz="1200" err="1"/>
              <a:t>friendly</a:t>
            </a:r>
            <a:r>
              <a:rPr lang="sv-SE" sz="1200"/>
              <a:t> and </a:t>
            </a:r>
            <a:r>
              <a:rPr lang="sv-SE" sz="1200" err="1"/>
              <a:t>safe</a:t>
            </a:r>
            <a:r>
              <a:rPr lang="sv-SE" sz="1200"/>
              <a:t> for </a:t>
            </a:r>
            <a:r>
              <a:rPr lang="sv-SE" sz="1200" err="1"/>
              <a:t>both</a:t>
            </a:r>
            <a:r>
              <a:rPr lang="sv-SE" sz="1200"/>
              <a:t> short and long term </a:t>
            </a:r>
            <a:r>
              <a:rPr lang="sv-SE" sz="1200" err="1"/>
              <a:t>use</a:t>
            </a:r>
            <a:r>
              <a:rPr lang="sv-SE" sz="1200"/>
              <a:t>.</a:t>
            </a:r>
          </a:p>
          <a:p>
            <a:endParaRPr lang="sv-SE" sz="1200"/>
          </a:p>
          <a:p>
            <a:r>
              <a:rPr lang="sv-SE" sz="1200" err="1"/>
              <a:t>This</a:t>
            </a:r>
            <a:r>
              <a:rPr lang="sv-SE" sz="1200"/>
              <a:t> is </a:t>
            </a:r>
            <a:r>
              <a:rPr lang="sv-SE" sz="1200" err="1"/>
              <a:t>what</a:t>
            </a:r>
            <a:r>
              <a:rPr lang="sv-SE" sz="1200"/>
              <a:t> makes </a:t>
            </a:r>
            <a:r>
              <a:rPr lang="sv-SE" sz="1200" err="1"/>
              <a:t>us</a:t>
            </a:r>
            <a:r>
              <a:rPr lang="sv-SE" sz="1200"/>
              <a:t> </a:t>
            </a:r>
            <a:r>
              <a:rPr lang="sv-SE" sz="1200" err="1"/>
              <a:t>unique</a:t>
            </a:r>
            <a:r>
              <a:rPr lang="sv-SE" sz="1200"/>
              <a:t> – </a:t>
            </a:r>
            <a:r>
              <a:rPr lang="sv-SE" sz="1200" err="1"/>
              <a:t>there</a:t>
            </a:r>
            <a:r>
              <a:rPr lang="sv-SE" sz="1200"/>
              <a:t> </a:t>
            </a:r>
            <a:r>
              <a:rPr lang="sv-SE" sz="1200" err="1"/>
              <a:t>are</a:t>
            </a:r>
            <a:r>
              <a:rPr lang="sv-SE" sz="1200"/>
              <a:t> </a:t>
            </a:r>
            <a:r>
              <a:rPr lang="sv-SE" sz="1200" err="1"/>
              <a:t>other</a:t>
            </a:r>
            <a:r>
              <a:rPr lang="sv-SE" sz="1200"/>
              <a:t> </a:t>
            </a:r>
            <a:r>
              <a:rPr lang="sv-SE" sz="1200" err="1"/>
              <a:t>safe</a:t>
            </a:r>
            <a:r>
              <a:rPr lang="sv-SE" sz="1200"/>
              <a:t> solutions and </a:t>
            </a:r>
            <a:r>
              <a:rPr lang="sv-SE" sz="1200" err="1"/>
              <a:t>other</a:t>
            </a:r>
            <a:r>
              <a:rPr lang="sv-SE" sz="1200"/>
              <a:t> </a:t>
            </a:r>
            <a:r>
              <a:rPr lang="sv-SE" sz="1200" err="1"/>
              <a:t>effective</a:t>
            </a:r>
            <a:r>
              <a:rPr lang="sv-SE" sz="1200"/>
              <a:t> solutions, </a:t>
            </a:r>
            <a:r>
              <a:rPr lang="sv-SE" sz="1200" err="1"/>
              <a:t>but</a:t>
            </a:r>
            <a:r>
              <a:rPr lang="sv-SE" sz="1200"/>
              <a:t> </a:t>
            </a:r>
            <a:r>
              <a:rPr lang="sv-SE" sz="1200" err="1"/>
              <a:t>none</a:t>
            </a:r>
            <a:r>
              <a:rPr lang="sv-SE" sz="1200"/>
              <a:t> </a:t>
            </a:r>
            <a:r>
              <a:rPr lang="sv-SE" sz="1200" err="1"/>
              <a:t>that</a:t>
            </a:r>
            <a:r>
              <a:rPr lang="sv-SE" sz="1200"/>
              <a:t> </a:t>
            </a:r>
            <a:r>
              <a:rPr lang="sv-SE" sz="1200" err="1"/>
              <a:t>combine</a:t>
            </a:r>
            <a:r>
              <a:rPr lang="sv-SE" sz="1200"/>
              <a:t> </a:t>
            </a:r>
            <a:r>
              <a:rPr lang="sv-SE" sz="1200" err="1"/>
              <a:t>both</a:t>
            </a:r>
            <a:r>
              <a:rPr lang="sv-SE" sz="1200"/>
              <a:t>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A3599A-B860-4459-8435-0DA526491C60}" type="slidenum">
              <a:rPr lang="en-GB" smtClean="0"/>
              <a:pPr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089876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A3599A-B860-4459-8435-0DA526491C60}" type="slidenum">
              <a:rPr lang="en-GB" smtClean="0"/>
              <a:pPr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188091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A3599A-B860-4459-8435-0DA526491C60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10799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spc="-5">
                <a:cs typeface="Arial"/>
              </a:rPr>
              <a:t>Q3: Strong revenue growth of 46%, adjusted for currency effects 15% compared to Q3 2021</a:t>
            </a:r>
          </a:p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A3599A-B860-4459-8435-0DA526491C60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130320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631825" lvl="1" indent="-187325">
              <a:buFont typeface="Arial"/>
              <a:buChar char="•"/>
            </a:pPr>
            <a:r>
              <a:rPr lang="en-US" sz="1200">
                <a:ea typeface="+mn-lt"/>
                <a:cs typeface="+mn-lt"/>
              </a:rPr>
              <a:t>Infection prevention more important than ever</a:t>
            </a:r>
            <a:endParaRPr lang="en-US">
              <a:ea typeface="+mn-lt"/>
              <a:cs typeface="+mn-lt"/>
            </a:endParaRPr>
          </a:p>
          <a:p>
            <a:pPr marL="631825" lvl="1" indent="-174625"/>
            <a:endParaRPr lang="en-US">
              <a:ea typeface="+mn-lt"/>
              <a:cs typeface="+mn-lt"/>
            </a:endParaRPr>
          </a:p>
          <a:p>
            <a:pPr marL="631825" lvl="1" indent="-174625">
              <a:buFont typeface="Arial"/>
              <a:buChar char="•"/>
            </a:pPr>
            <a:r>
              <a:rPr lang="en-US" sz="1200" err="1">
                <a:ea typeface="+mn-lt"/>
                <a:cs typeface="+mn-lt"/>
              </a:rPr>
              <a:t>Bactiguards</a:t>
            </a:r>
            <a:r>
              <a:rPr lang="en-US" sz="1200">
                <a:ea typeface="+mn-lt"/>
                <a:cs typeface="+mn-lt"/>
              </a:rPr>
              <a:t> unique coating has a key role to play</a:t>
            </a:r>
            <a:endParaRPr lang="en-US">
              <a:cs typeface="Arial"/>
            </a:endParaRPr>
          </a:p>
          <a:p>
            <a:pPr marL="631825" lvl="1" indent="-174625">
              <a:buFont typeface="Arial"/>
              <a:buChar char="•"/>
            </a:pPr>
            <a:endParaRPr lang="en-US" sz="1200">
              <a:ea typeface="+mn-lt"/>
              <a:cs typeface="+mn-lt"/>
            </a:endParaRPr>
          </a:p>
          <a:p>
            <a:pPr marL="631825" lvl="1" indent="-174625">
              <a:buFont typeface="Arial"/>
              <a:buChar char="•"/>
            </a:pPr>
            <a:r>
              <a:rPr lang="en-US" sz="1200">
                <a:ea typeface="+mn-lt"/>
                <a:cs typeface="+mn-lt"/>
              </a:rPr>
              <a:t>Strong license partners</a:t>
            </a:r>
          </a:p>
          <a:p>
            <a:pPr marL="631825" lvl="1" indent="-174625">
              <a:buFont typeface="Arial"/>
              <a:buChar char="•"/>
            </a:pPr>
            <a:endParaRPr lang="en-US" sz="1200">
              <a:ea typeface="+mn-lt"/>
              <a:cs typeface="+mn-lt"/>
            </a:endParaRPr>
          </a:p>
          <a:p>
            <a:pPr marL="631825" lvl="1" indent="-174625">
              <a:buFont typeface="Arial"/>
              <a:buChar char="•"/>
            </a:pPr>
            <a:r>
              <a:rPr lang="en-US" sz="1200">
                <a:ea typeface="+mn-lt"/>
                <a:cs typeface="+mn-lt"/>
              </a:rPr>
              <a:t>Wound care portfolio to leverage </a:t>
            </a:r>
          </a:p>
          <a:p>
            <a:pPr marL="631825" lvl="1" indent="-174625">
              <a:buFont typeface="Arial"/>
              <a:buChar char="•"/>
            </a:pPr>
            <a:endParaRPr lang="en-US" sz="1200">
              <a:ea typeface="+mn-lt"/>
              <a:cs typeface="+mn-lt"/>
            </a:endParaRPr>
          </a:p>
          <a:p>
            <a:pPr marL="631825" lvl="1" indent="-174625">
              <a:buFont typeface="Arial"/>
              <a:buChar char="•"/>
            </a:pPr>
            <a:r>
              <a:rPr lang="en-US" sz="1200">
                <a:ea typeface="+mn-lt"/>
                <a:cs typeface="+mn-lt"/>
              </a:rPr>
              <a:t>Strong leadership and team</a:t>
            </a:r>
          </a:p>
          <a:p>
            <a:pPr marL="631825" lvl="1" indent="-174625">
              <a:buFont typeface="Arial"/>
              <a:buChar char="•"/>
            </a:pPr>
            <a:endParaRPr lang="en-US" sz="1200">
              <a:ea typeface="+mn-lt"/>
              <a:cs typeface="+mn-lt"/>
            </a:endParaRPr>
          </a:p>
          <a:p>
            <a:pPr marL="631825" lvl="1" indent="-174625">
              <a:buFont typeface="Arial"/>
              <a:buChar char="•"/>
            </a:pPr>
            <a:r>
              <a:rPr lang="en-US" sz="1200">
                <a:ea typeface="+mn-lt"/>
                <a:cs typeface="+mn-lt"/>
              </a:rPr>
              <a:t>Financial muscles to drive future growth</a:t>
            </a:r>
          </a:p>
          <a:p>
            <a:pPr marL="631825" lvl="1" indent="-174625">
              <a:buFont typeface="Arial"/>
              <a:buChar char="•"/>
            </a:pPr>
            <a:endParaRPr lang="en-US" sz="1200">
              <a:ea typeface="+mn-lt"/>
              <a:cs typeface="+mn-lt"/>
            </a:endParaRPr>
          </a:p>
          <a:p>
            <a:r>
              <a:rPr lang="en-US" sz="1200" i="1"/>
              <a:t>"I am proud and energized to lead Bactiguard in this exciting phase of the company's development! </a:t>
            </a:r>
            <a:endParaRPr lang="en-US" sz="1200" i="1">
              <a:cs typeface="Arial"/>
            </a:endParaRPr>
          </a:p>
          <a:p>
            <a:endParaRPr lang="en-US" sz="1200" i="1">
              <a:cs typeface="Arial"/>
            </a:endParaRPr>
          </a:p>
          <a:p>
            <a:r>
              <a:rPr lang="en-US" sz="1200" i="1"/>
              <a:t>We are now investing to accelerate growth and take Bactiguard to the next level!"</a:t>
            </a:r>
            <a:endParaRPr lang="en-US" sz="1200" i="1">
              <a:cs typeface="Arial"/>
            </a:endParaRPr>
          </a:p>
          <a:p>
            <a:r>
              <a:rPr lang="en-US" sz="1200" i="1">
                <a:cs typeface="Arial"/>
              </a:rPr>
              <a:t> - Anders Göransson, CEO</a:t>
            </a:r>
          </a:p>
          <a:p>
            <a:pPr marL="631825" lvl="1" indent="-174625">
              <a:buFont typeface="Arial"/>
              <a:buChar char="•"/>
            </a:pPr>
            <a:endParaRPr lang="en-US"/>
          </a:p>
          <a:p>
            <a:endParaRPr lang="sv-SE"/>
          </a:p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A3599A-B860-4459-8435-0DA526491C60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05506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Intr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62B8C3-AB66-4396-9216-8340CD2AFD5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36947" y="2422318"/>
            <a:ext cx="5359053" cy="1865342"/>
          </a:xfrm>
        </p:spPr>
        <p:txBody>
          <a:bodyPr anchor="t"/>
          <a:lstStyle>
            <a:lvl1pPr algn="l">
              <a:defRPr sz="40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03714EC-AB0B-4181-8FD5-C691C15FD59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36945" y="4904054"/>
            <a:ext cx="5329238" cy="1080822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7E6083-2857-450F-BF57-DBEB0D412A1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37702" y="4483038"/>
            <a:ext cx="5329238" cy="276999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 b="1" i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7813B82C-B479-4D03-9942-242EE0573BF4}"/>
              </a:ext>
            </a:extLst>
          </p:cNvPr>
          <p:cNvGrpSpPr/>
          <p:nvPr userDrawn="1"/>
        </p:nvGrpSpPr>
        <p:grpSpPr>
          <a:xfrm>
            <a:off x="766763" y="891450"/>
            <a:ext cx="3677915" cy="807552"/>
            <a:chOff x="1986356" y="5225861"/>
            <a:chExt cx="913559" cy="200588"/>
          </a:xfrm>
          <a:solidFill>
            <a:schemeClr val="tx1"/>
          </a:solidFill>
        </p:grpSpPr>
        <p:grpSp>
          <p:nvGrpSpPr>
            <p:cNvPr id="9" name="Bild 26">
              <a:extLst>
                <a:ext uri="{FF2B5EF4-FFF2-40B4-BE49-F238E27FC236}">
                  <a16:creationId xmlns:a16="http://schemas.microsoft.com/office/drawing/2014/main" id="{48E7590B-2E07-489C-8DD1-649C8DEF5975}"/>
                </a:ext>
              </a:extLst>
            </p:cNvPr>
            <p:cNvGrpSpPr/>
            <p:nvPr/>
          </p:nvGrpSpPr>
          <p:grpSpPr>
            <a:xfrm>
              <a:off x="1986356" y="5225861"/>
              <a:ext cx="875916" cy="200588"/>
              <a:chOff x="1986356" y="5225861"/>
              <a:chExt cx="875916" cy="200588"/>
            </a:xfrm>
            <a:grpFill/>
          </p:grpSpPr>
          <p:sp>
            <p:nvSpPr>
              <p:cNvPr id="13" name="Bild 26">
                <a:extLst>
                  <a:ext uri="{FF2B5EF4-FFF2-40B4-BE49-F238E27FC236}">
                    <a16:creationId xmlns:a16="http://schemas.microsoft.com/office/drawing/2014/main" id="{ABA0C3EB-D677-4164-BECF-AD5636249A3F}"/>
                  </a:ext>
                </a:extLst>
              </p:cNvPr>
              <p:cNvSpPr/>
              <p:nvPr/>
            </p:nvSpPr>
            <p:spPr>
              <a:xfrm>
                <a:off x="1986356" y="5235865"/>
                <a:ext cx="100968" cy="143590"/>
              </a:xfrm>
              <a:custGeom>
                <a:avLst/>
                <a:gdLst>
                  <a:gd name="connsiteX0" fmla="*/ 0 w 100968"/>
                  <a:gd name="connsiteY0" fmla="*/ 10702 h 143590"/>
                  <a:gd name="connsiteX1" fmla="*/ 4560 w 100968"/>
                  <a:gd name="connsiteY1" fmla="*/ 3164 h 143590"/>
                  <a:gd name="connsiteX2" fmla="*/ 37549 w 100968"/>
                  <a:gd name="connsiteY2" fmla="*/ 0 h 143590"/>
                  <a:gd name="connsiteX3" fmla="*/ 79286 w 100968"/>
                  <a:gd name="connsiteY3" fmla="*/ 7538 h 143590"/>
                  <a:gd name="connsiteX4" fmla="*/ 94780 w 100968"/>
                  <a:gd name="connsiteY4" fmla="*/ 35176 h 143590"/>
                  <a:gd name="connsiteX5" fmla="*/ 73935 w 100968"/>
                  <a:gd name="connsiteY5" fmla="*/ 65560 h 143590"/>
                  <a:gd name="connsiteX6" fmla="*/ 69562 w 100968"/>
                  <a:gd name="connsiteY6" fmla="*/ 67561 h 143590"/>
                  <a:gd name="connsiteX7" fmla="*/ 73749 w 100968"/>
                  <a:gd name="connsiteY7" fmla="*/ 68538 h 143590"/>
                  <a:gd name="connsiteX8" fmla="*/ 100969 w 100968"/>
                  <a:gd name="connsiteY8" fmla="*/ 104086 h 143590"/>
                  <a:gd name="connsiteX9" fmla="*/ 77704 w 100968"/>
                  <a:gd name="connsiteY9" fmla="*/ 138053 h 143590"/>
                  <a:gd name="connsiteX10" fmla="*/ 38759 w 100968"/>
                  <a:gd name="connsiteY10" fmla="*/ 143590 h 143590"/>
                  <a:gd name="connsiteX11" fmla="*/ 5397 w 100968"/>
                  <a:gd name="connsiteY11" fmla="*/ 141031 h 143590"/>
                  <a:gd name="connsiteX12" fmla="*/ 47 w 100968"/>
                  <a:gd name="connsiteY12" fmla="*/ 131911 h 143590"/>
                  <a:gd name="connsiteX13" fmla="*/ 47 w 100968"/>
                  <a:gd name="connsiteY13" fmla="*/ 10702 h 143590"/>
                  <a:gd name="connsiteX14" fmla="*/ 33967 w 100968"/>
                  <a:gd name="connsiteY14" fmla="*/ 60581 h 143590"/>
                  <a:gd name="connsiteX15" fmla="*/ 61605 w 100968"/>
                  <a:gd name="connsiteY15" fmla="*/ 39504 h 143590"/>
                  <a:gd name="connsiteX16" fmla="*/ 56440 w 100968"/>
                  <a:gd name="connsiteY16" fmla="*/ 24614 h 143590"/>
                  <a:gd name="connsiteX17" fmla="*/ 41318 w 100968"/>
                  <a:gd name="connsiteY17" fmla="*/ 19449 h 143590"/>
                  <a:gd name="connsiteX18" fmla="*/ 33967 w 100968"/>
                  <a:gd name="connsiteY18" fmla="*/ 20054 h 143590"/>
                  <a:gd name="connsiteX19" fmla="*/ 33967 w 100968"/>
                  <a:gd name="connsiteY19" fmla="*/ 60581 h 143590"/>
                  <a:gd name="connsiteX20" fmla="*/ 33967 w 100968"/>
                  <a:gd name="connsiteY20" fmla="*/ 122000 h 143590"/>
                  <a:gd name="connsiteX21" fmla="*/ 42900 w 100968"/>
                  <a:gd name="connsiteY21" fmla="*/ 122605 h 143590"/>
                  <a:gd name="connsiteX22" fmla="*/ 58022 w 100968"/>
                  <a:gd name="connsiteY22" fmla="*/ 119022 h 143590"/>
                  <a:gd name="connsiteX23" fmla="*/ 66165 w 100968"/>
                  <a:gd name="connsiteY23" fmla="*/ 101527 h 143590"/>
                  <a:gd name="connsiteX24" fmla="*/ 62210 w 100968"/>
                  <a:gd name="connsiteY24" fmla="*/ 86638 h 143590"/>
                  <a:gd name="connsiteX25" fmla="*/ 39364 w 100968"/>
                  <a:gd name="connsiteY25" fmla="*/ 77099 h 143590"/>
                  <a:gd name="connsiteX26" fmla="*/ 34013 w 100968"/>
                  <a:gd name="connsiteY26" fmla="*/ 77286 h 143590"/>
                  <a:gd name="connsiteX27" fmla="*/ 34013 w 100968"/>
                  <a:gd name="connsiteY27" fmla="*/ 122000 h 1435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00968" h="143590">
                    <a:moveTo>
                      <a:pt x="0" y="10702"/>
                    </a:moveTo>
                    <a:cubicBezTo>
                      <a:pt x="0" y="6142"/>
                      <a:pt x="1210" y="4327"/>
                      <a:pt x="4560" y="3164"/>
                    </a:cubicBezTo>
                    <a:cubicBezTo>
                      <a:pt x="8934" y="1582"/>
                      <a:pt x="22241" y="0"/>
                      <a:pt x="37549" y="0"/>
                    </a:cubicBezTo>
                    <a:cubicBezTo>
                      <a:pt x="54021" y="0"/>
                      <a:pt x="68724" y="1210"/>
                      <a:pt x="79286" y="7538"/>
                    </a:cubicBezTo>
                    <a:cubicBezTo>
                      <a:pt x="87615" y="12703"/>
                      <a:pt x="94780" y="21450"/>
                      <a:pt x="94780" y="35176"/>
                    </a:cubicBezTo>
                    <a:cubicBezTo>
                      <a:pt x="94780" y="50485"/>
                      <a:pt x="85056" y="60209"/>
                      <a:pt x="73935" y="65560"/>
                    </a:cubicBezTo>
                    <a:cubicBezTo>
                      <a:pt x="72539" y="66351"/>
                      <a:pt x="71144" y="66956"/>
                      <a:pt x="69562" y="67561"/>
                    </a:cubicBezTo>
                    <a:cubicBezTo>
                      <a:pt x="70957" y="67747"/>
                      <a:pt x="72353" y="68166"/>
                      <a:pt x="73749" y="68538"/>
                    </a:cubicBezTo>
                    <a:cubicBezTo>
                      <a:pt x="92035" y="73517"/>
                      <a:pt x="100969" y="88034"/>
                      <a:pt x="100969" y="104086"/>
                    </a:cubicBezTo>
                    <a:cubicBezTo>
                      <a:pt x="100969" y="120372"/>
                      <a:pt x="91617" y="132097"/>
                      <a:pt x="77704" y="138053"/>
                    </a:cubicBezTo>
                    <a:cubicBezTo>
                      <a:pt x="69562" y="141636"/>
                      <a:pt x="58813" y="143590"/>
                      <a:pt x="38759" y="143590"/>
                    </a:cubicBezTo>
                    <a:cubicBezTo>
                      <a:pt x="27452" y="143590"/>
                      <a:pt x="11353" y="142613"/>
                      <a:pt x="5397" y="141031"/>
                    </a:cubicBezTo>
                    <a:cubicBezTo>
                      <a:pt x="419" y="139635"/>
                      <a:pt x="233" y="137448"/>
                      <a:pt x="47" y="131911"/>
                    </a:cubicBezTo>
                    <a:lnTo>
                      <a:pt x="47" y="10702"/>
                    </a:lnTo>
                    <a:close/>
                    <a:moveTo>
                      <a:pt x="33967" y="60581"/>
                    </a:moveTo>
                    <a:cubicBezTo>
                      <a:pt x="40341" y="61000"/>
                      <a:pt x="61605" y="61977"/>
                      <a:pt x="61605" y="39504"/>
                    </a:cubicBezTo>
                    <a:cubicBezTo>
                      <a:pt x="61605" y="33548"/>
                      <a:pt x="59837" y="28197"/>
                      <a:pt x="56440" y="24614"/>
                    </a:cubicBezTo>
                    <a:cubicBezTo>
                      <a:pt x="51880" y="20054"/>
                      <a:pt x="46111" y="19449"/>
                      <a:pt x="41318" y="19449"/>
                    </a:cubicBezTo>
                    <a:cubicBezTo>
                      <a:pt x="38712" y="19449"/>
                      <a:pt x="36339" y="19635"/>
                      <a:pt x="33967" y="20054"/>
                    </a:cubicBezTo>
                    <a:lnTo>
                      <a:pt x="33967" y="60581"/>
                    </a:lnTo>
                    <a:close/>
                    <a:moveTo>
                      <a:pt x="33967" y="122000"/>
                    </a:moveTo>
                    <a:cubicBezTo>
                      <a:pt x="37363" y="122419"/>
                      <a:pt x="40108" y="122605"/>
                      <a:pt x="42900" y="122605"/>
                    </a:cubicBezTo>
                    <a:cubicBezTo>
                      <a:pt x="46669" y="122605"/>
                      <a:pt x="52857" y="122186"/>
                      <a:pt x="58022" y="119022"/>
                    </a:cubicBezTo>
                    <a:cubicBezTo>
                      <a:pt x="64955" y="114463"/>
                      <a:pt x="66165" y="106692"/>
                      <a:pt x="66165" y="101527"/>
                    </a:cubicBezTo>
                    <a:cubicBezTo>
                      <a:pt x="66165" y="96549"/>
                      <a:pt x="65188" y="91198"/>
                      <a:pt x="62210" y="86638"/>
                    </a:cubicBezTo>
                    <a:cubicBezTo>
                      <a:pt x="59837" y="83055"/>
                      <a:pt x="54672" y="77099"/>
                      <a:pt x="39364" y="77099"/>
                    </a:cubicBezTo>
                    <a:cubicBezTo>
                      <a:pt x="37177" y="77099"/>
                      <a:pt x="35781" y="77099"/>
                      <a:pt x="34013" y="77286"/>
                    </a:cubicBezTo>
                    <a:lnTo>
                      <a:pt x="34013" y="122000"/>
                    </a:lnTo>
                    <a:close/>
                  </a:path>
                </a:pathLst>
              </a:custGeom>
              <a:grpFill/>
              <a:ln w="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4" name="Bild 26">
                <a:extLst>
                  <a:ext uri="{FF2B5EF4-FFF2-40B4-BE49-F238E27FC236}">
                    <a16:creationId xmlns:a16="http://schemas.microsoft.com/office/drawing/2014/main" id="{568DAB7A-B483-4975-9EA5-BE845957B716}"/>
                  </a:ext>
                </a:extLst>
              </p:cNvPr>
              <p:cNvSpPr/>
              <p:nvPr/>
            </p:nvSpPr>
            <p:spPr>
              <a:xfrm>
                <a:off x="2096678" y="5272251"/>
                <a:ext cx="81891" cy="108460"/>
              </a:xfrm>
              <a:custGeom>
                <a:avLst/>
                <a:gdLst>
                  <a:gd name="connsiteX0" fmla="*/ 81845 w 81891"/>
                  <a:gd name="connsiteY0" fmla="*/ 84405 h 108460"/>
                  <a:gd name="connsiteX1" fmla="*/ 78681 w 81891"/>
                  <a:gd name="connsiteY1" fmla="*/ 97526 h 108460"/>
                  <a:gd name="connsiteX2" fmla="*/ 42528 w 81891"/>
                  <a:gd name="connsiteY2" fmla="*/ 108460 h 108460"/>
                  <a:gd name="connsiteX3" fmla="*/ 0 w 81891"/>
                  <a:gd name="connsiteY3" fmla="*/ 79426 h 108460"/>
                  <a:gd name="connsiteX4" fmla="*/ 52253 w 81891"/>
                  <a:gd name="connsiteY4" fmla="*/ 41690 h 108460"/>
                  <a:gd name="connsiteX5" fmla="*/ 52253 w 81891"/>
                  <a:gd name="connsiteY5" fmla="*/ 31361 h 108460"/>
                  <a:gd name="connsiteX6" fmla="*/ 42714 w 81891"/>
                  <a:gd name="connsiteY6" fmla="*/ 16658 h 108460"/>
                  <a:gd name="connsiteX7" fmla="*/ 31780 w 81891"/>
                  <a:gd name="connsiteY7" fmla="*/ 25777 h 108460"/>
                  <a:gd name="connsiteX8" fmla="*/ 18286 w 81891"/>
                  <a:gd name="connsiteY8" fmla="*/ 37131 h 108460"/>
                  <a:gd name="connsiteX9" fmla="*/ 4793 w 81891"/>
                  <a:gd name="connsiteY9" fmla="*/ 24428 h 108460"/>
                  <a:gd name="connsiteX10" fmla="*/ 48111 w 81891"/>
                  <a:gd name="connsiteY10" fmla="*/ 0 h 108460"/>
                  <a:gd name="connsiteX11" fmla="*/ 70957 w 81891"/>
                  <a:gd name="connsiteY11" fmla="*/ 4793 h 108460"/>
                  <a:gd name="connsiteX12" fmla="*/ 81892 w 81891"/>
                  <a:gd name="connsiteY12" fmla="*/ 29453 h 108460"/>
                  <a:gd name="connsiteX13" fmla="*/ 81892 w 81891"/>
                  <a:gd name="connsiteY13" fmla="*/ 84405 h 108460"/>
                  <a:gd name="connsiteX14" fmla="*/ 52253 w 81891"/>
                  <a:gd name="connsiteY14" fmla="*/ 55417 h 108460"/>
                  <a:gd name="connsiteX15" fmla="*/ 30384 w 81891"/>
                  <a:gd name="connsiteY15" fmla="*/ 76681 h 108460"/>
                  <a:gd name="connsiteX16" fmla="*/ 42900 w 81891"/>
                  <a:gd name="connsiteY16" fmla="*/ 91803 h 108460"/>
                  <a:gd name="connsiteX17" fmla="*/ 52253 w 81891"/>
                  <a:gd name="connsiteY17" fmla="*/ 79472 h 108460"/>
                  <a:gd name="connsiteX18" fmla="*/ 52253 w 81891"/>
                  <a:gd name="connsiteY18" fmla="*/ 55417 h 1084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81891" h="108460">
                    <a:moveTo>
                      <a:pt x="81845" y="84405"/>
                    </a:moveTo>
                    <a:cubicBezTo>
                      <a:pt x="81845" y="88778"/>
                      <a:pt x="81659" y="93757"/>
                      <a:pt x="78681" y="97526"/>
                    </a:cubicBezTo>
                    <a:cubicBezTo>
                      <a:pt x="75285" y="102086"/>
                      <a:pt x="63978" y="108460"/>
                      <a:pt x="42528" y="108460"/>
                    </a:cubicBezTo>
                    <a:cubicBezTo>
                      <a:pt x="34199" y="108460"/>
                      <a:pt x="0" y="108274"/>
                      <a:pt x="0" y="79426"/>
                    </a:cubicBezTo>
                    <a:cubicBezTo>
                      <a:pt x="0" y="53416"/>
                      <a:pt x="26429" y="47414"/>
                      <a:pt x="52253" y="41690"/>
                    </a:cubicBezTo>
                    <a:lnTo>
                      <a:pt x="52253" y="31361"/>
                    </a:lnTo>
                    <a:cubicBezTo>
                      <a:pt x="52253" y="25219"/>
                      <a:pt x="52066" y="16658"/>
                      <a:pt x="42714" y="16658"/>
                    </a:cubicBezTo>
                    <a:cubicBezTo>
                      <a:pt x="35362" y="16658"/>
                      <a:pt x="32989" y="22427"/>
                      <a:pt x="31780" y="25777"/>
                    </a:cubicBezTo>
                    <a:cubicBezTo>
                      <a:pt x="29593" y="31361"/>
                      <a:pt x="27406" y="37131"/>
                      <a:pt x="18286" y="37131"/>
                    </a:cubicBezTo>
                    <a:cubicBezTo>
                      <a:pt x="9539" y="37131"/>
                      <a:pt x="4793" y="30989"/>
                      <a:pt x="4793" y="24428"/>
                    </a:cubicBezTo>
                    <a:cubicBezTo>
                      <a:pt x="4793" y="13307"/>
                      <a:pt x="17914" y="0"/>
                      <a:pt x="48111" y="0"/>
                    </a:cubicBezTo>
                    <a:cubicBezTo>
                      <a:pt x="55277" y="0"/>
                      <a:pt x="64397" y="791"/>
                      <a:pt x="70957" y="4793"/>
                    </a:cubicBezTo>
                    <a:cubicBezTo>
                      <a:pt x="81706" y="11539"/>
                      <a:pt x="81892" y="22660"/>
                      <a:pt x="81892" y="29453"/>
                    </a:cubicBezTo>
                    <a:lnTo>
                      <a:pt x="81892" y="84405"/>
                    </a:lnTo>
                    <a:close/>
                    <a:moveTo>
                      <a:pt x="52253" y="55417"/>
                    </a:moveTo>
                    <a:cubicBezTo>
                      <a:pt x="41318" y="58813"/>
                      <a:pt x="30384" y="62163"/>
                      <a:pt x="30384" y="76681"/>
                    </a:cubicBezTo>
                    <a:cubicBezTo>
                      <a:pt x="30384" y="87615"/>
                      <a:pt x="37131" y="91803"/>
                      <a:pt x="42900" y="91803"/>
                    </a:cubicBezTo>
                    <a:cubicBezTo>
                      <a:pt x="52020" y="91803"/>
                      <a:pt x="52253" y="84032"/>
                      <a:pt x="52253" y="79472"/>
                    </a:cubicBezTo>
                    <a:lnTo>
                      <a:pt x="52253" y="55417"/>
                    </a:lnTo>
                    <a:close/>
                  </a:path>
                </a:pathLst>
              </a:custGeom>
              <a:grpFill/>
              <a:ln w="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5" name="Bild 26">
                <a:extLst>
                  <a:ext uri="{FF2B5EF4-FFF2-40B4-BE49-F238E27FC236}">
                    <a16:creationId xmlns:a16="http://schemas.microsoft.com/office/drawing/2014/main" id="{113609F7-B0C8-498C-B5A7-BDC6E19C10C2}"/>
                  </a:ext>
                </a:extLst>
              </p:cNvPr>
              <p:cNvSpPr/>
              <p:nvPr/>
            </p:nvSpPr>
            <p:spPr>
              <a:xfrm>
                <a:off x="2192110" y="5272158"/>
                <a:ext cx="78867" cy="108506"/>
              </a:xfrm>
              <a:custGeom>
                <a:avLst/>
                <a:gdLst>
                  <a:gd name="connsiteX0" fmla="*/ 41272 w 78867"/>
                  <a:gd name="connsiteY0" fmla="*/ 19728 h 108506"/>
                  <a:gd name="connsiteX1" fmla="*/ 26382 w 78867"/>
                  <a:gd name="connsiteY1" fmla="*/ 45366 h 108506"/>
                  <a:gd name="connsiteX2" fmla="*/ 48856 w 78867"/>
                  <a:gd name="connsiteY2" fmla="*/ 79938 h 108506"/>
                  <a:gd name="connsiteX3" fmla="*/ 65374 w 78867"/>
                  <a:gd name="connsiteY3" fmla="*/ 69189 h 108506"/>
                  <a:gd name="connsiteX4" fmla="*/ 72307 w 78867"/>
                  <a:gd name="connsiteY4" fmla="*/ 63606 h 108506"/>
                  <a:gd name="connsiteX5" fmla="*/ 78867 w 78867"/>
                  <a:gd name="connsiteY5" fmla="*/ 72539 h 108506"/>
                  <a:gd name="connsiteX6" fmla="*/ 41318 w 78867"/>
                  <a:gd name="connsiteY6" fmla="*/ 108507 h 108506"/>
                  <a:gd name="connsiteX7" fmla="*/ 0 w 78867"/>
                  <a:gd name="connsiteY7" fmla="*/ 54858 h 108506"/>
                  <a:gd name="connsiteX8" fmla="*/ 45506 w 78867"/>
                  <a:gd name="connsiteY8" fmla="*/ 0 h 108506"/>
                  <a:gd name="connsiteX9" fmla="*/ 78681 w 78867"/>
                  <a:gd name="connsiteY9" fmla="*/ 26429 h 108506"/>
                  <a:gd name="connsiteX10" fmla="*/ 65560 w 78867"/>
                  <a:gd name="connsiteY10" fmla="*/ 40713 h 108506"/>
                  <a:gd name="connsiteX11" fmla="*/ 53835 w 78867"/>
                  <a:gd name="connsiteY11" fmla="*/ 32385 h 108506"/>
                  <a:gd name="connsiteX12" fmla="*/ 41272 w 78867"/>
                  <a:gd name="connsiteY12" fmla="*/ 19728 h 108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8867" h="108506">
                    <a:moveTo>
                      <a:pt x="41272" y="19728"/>
                    </a:moveTo>
                    <a:cubicBezTo>
                      <a:pt x="31547" y="19728"/>
                      <a:pt x="26382" y="33222"/>
                      <a:pt x="26382" y="45366"/>
                    </a:cubicBezTo>
                    <a:cubicBezTo>
                      <a:pt x="26382" y="60256"/>
                      <a:pt x="33920" y="79938"/>
                      <a:pt x="48856" y="79938"/>
                    </a:cubicBezTo>
                    <a:cubicBezTo>
                      <a:pt x="58394" y="79938"/>
                      <a:pt x="62396" y="73796"/>
                      <a:pt x="65374" y="69189"/>
                    </a:cubicBezTo>
                    <a:cubicBezTo>
                      <a:pt x="67561" y="66025"/>
                      <a:pt x="69143" y="63606"/>
                      <a:pt x="72307" y="63606"/>
                    </a:cubicBezTo>
                    <a:cubicBezTo>
                      <a:pt x="75099" y="63606"/>
                      <a:pt x="78867" y="65607"/>
                      <a:pt x="78867" y="72539"/>
                    </a:cubicBezTo>
                    <a:cubicBezTo>
                      <a:pt x="78867" y="86638"/>
                      <a:pt x="68119" y="108507"/>
                      <a:pt x="41318" y="108507"/>
                    </a:cubicBezTo>
                    <a:cubicBezTo>
                      <a:pt x="11307" y="108507"/>
                      <a:pt x="0" y="79705"/>
                      <a:pt x="0" y="54858"/>
                    </a:cubicBezTo>
                    <a:cubicBezTo>
                      <a:pt x="0" y="34990"/>
                      <a:pt x="8143" y="0"/>
                      <a:pt x="45506" y="0"/>
                    </a:cubicBezTo>
                    <a:cubicBezTo>
                      <a:pt x="68771" y="0"/>
                      <a:pt x="78681" y="15494"/>
                      <a:pt x="78681" y="26429"/>
                    </a:cubicBezTo>
                    <a:cubicBezTo>
                      <a:pt x="78681" y="34758"/>
                      <a:pt x="72726" y="40713"/>
                      <a:pt x="65560" y="40713"/>
                    </a:cubicBezTo>
                    <a:cubicBezTo>
                      <a:pt x="62163" y="40713"/>
                      <a:pt x="56626" y="39317"/>
                      <a:pt x="53835" y="32385"/>
                    </a:cubicBezTo>
                    <a:cubicBezTo>
                      <a:pt x="51601" y="26661"/>
                      <a:pt x="48623" y="19728"/>
                      <a:pt x="41272" y="19728"/>
                    </a:cubicBezTo>
                    <a:close/>
                  </a:path>
                </a:pathLst>
              </a:custGeom>
              <a:grpFill/>
              <a:ln w="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6" name="Bild 26">
                <a:extLst>
                  <a:ext uri="{FF2B5EF4-FFF2-40B4-BE49-F238E27FC236}">
                    <a16:creationId xmlns:a16="http://schemas.microsoft.com/office/drawing/2014/main" id="{417F07D2-3646-4648-807E-9F65C348B422}"/>
                  </a:ext>
                </a:extLst>
              </p:cNvPr>
              <p:cNvSpPr/>
              <p:nvPr/>
            </p:nvSpPr>
            <p:spPr>
              <a:xfrm>
                <a:off x="2272838" y="5246381"/>
                <a:ext cx="65606" cy="134330"/>
              </a:xfrm>
              <a:custGeom>
                <a:avLst/>
                <a:gdLst>
                  <a:gd name="connsiteX0" fmla="*/ 43970 w 65606"/>
                  <a:gd name="connsiteY0" fmla="*/ 41737 h 134330"/>
                  <a:gd name="connsiteX1" fmla="*/ 43970 w 65606"/>
                  <a:gd name="connsiteY1" fmla="*/ 98782 h 134330"/>
                  <a:gd name="connsiteX2" fmla="*/ 57278 w 65606"/>
                  <a:gd name="connsiteY2" fmla="*/ 117068 h 134330"/>
                  <a:gd name="connsiteX3" fmla="*/ 65607 w 65606"/>
                  <a:gd name="connsiteY3" fmla="*/ 123210 h 134330"/>
                  <a:gd name="connsiteX4" fmla="*/ 42156 w 65606"/>
                  <a:gd name="connsiteY4" fmla="*/ 134331 h 134330"/>
                  <a:gd name="connsiteX5" fmla="*/ 19682 w 65606"/>
                  <a:gd name="connsiteY5" fmla="*/ 125769 h 134330"/>
                  <a:gd name="connsiteX6" fmla="*/ 12935 w 65606"/>
                  <a:gd name="connsiteY6" fmla="*/ 103900 h 134330"/>
                  <a:gd name="connsiteX7" fmla="*/ 12935 w 65606"/>
                  <a:gd name="connsiteY7" fmla="*/ 41737 h 134330"/>
                  <a:gd name="connsiteX8" fmla="*/ 2187 w 65606"/>
                  <a:gd name="connsiteY8" fmla="*/ 41551 h 134330"/>
                  <a:gd name="connsiteX9" fmla="*/ 0 w 65606"/>
                  <a:gd name="connsiteY9" fmla="*/ 38154 h 134330"/>
                  <a:gd name="connsiteX10" fmla="*/ 2187 w 65606"/>
                  <a:gd name="connsiteY10" fmla="*/ 28802 h 134330"/>
                  <a:gd name="connsiteX11" fmla="*/ 12935 w 65606"/>
                  <a:gd name="connsiteY11" fmla="*/ 28616 h 134330"/>
                  <a:gd name="connsiteX12" fmla="*/ 12935 w 65606"/>
                  <a:gd name="connsiteY12" fmla="*/ 18286 h 134330"/>
                  <a:gd name="connsiteX13" fmla="*/ 16704 w 65606"/>
                  <a:gd name="connsiteY13" fmla="*/ 11539 h 134330"/>
                  <a:gd name="connsiteX14" fmla="*/ 36991 w 65606"/>
                  <a:gd name="connsiteY14" fmla="*/ 1210 h 134330"/>
                  <a:gd name="connsiteX15" fmla="*/ 40388 w 65606"/>
                  <a:gd name="connsiteY15" fmla="*/ 0 h 134330"/>
                  <a:gd name="connsiteX16" fmla="*/ 43970 w 65606"/>
                  <a:gd name="connsiteY16" fmla="*/ 5770 h 134330"/>
                  <a:gd name="connsiteX17" fmla="*/ 43970 w 65606"/>
                  <a:gd name="connsiteY17" fmla="*/ 28616 h 134330"/>
                  <a:gd name="connsiteX18" fmla="*/ 57278 w 65606"/>
                  <a:gd name="connsiteY18" fmla="*/ 28616 h 134330"/>
                  <a:gd name="connsiteX19" fmla="*/ 61652 w 65606"/>
                  <a:gd name="connsiteY19" fmla="*/ 30803 h 134330"/>
                  <a:gd name="connsiteX20" fmla="*/ 61652 w 65606"/>
                  <a:gd name="connsiteY20" fmla="*/ 38154 h 134330"/>
                  <a:gd name="connsiteX21" fmla="*/ 57278 w 65606"/>
                  <a:gd name="connsiteY21" fmla="*/ 41737 h 134330"/>
                  <a:gd name="connsiteX22" fmla="*/ 43970 w 65606"/>
                  <a:gd name="connsiteY22" fmla="*/ 41737 h 1343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65606" h="134330">
                    <a:moveTo>
                      <a:pt x="43970" y="41737"/>
                    </a:moveTo>
                    <a:lnTo>
                      <a:pt x="43970" y="98782"/>
                    </a:lnTo>
                    <a:cubicBezTo>
                      <a:pt x="43970" y="105343"/>
                      <a:pt x="44156" y="116277"/>
                      <a:pt x="57278" y="117068"/>
                    </a:cubicBezTo>
                    <a:cubicBezTo>
                      <a:pt x="60442" y="117068"/>
                      <a:pt x="65607" y="117068"/>
                      <a:pt x="65607" y="123210"/>
                    </a:cubicBezTo>
                    <a:cubicBezTo>
                      <a:pt x="65607" y="129585"/>
                      <a:pt x="53695" y="134331"/>
                      <a:pt x="42156" y="134331"/>
                    </a:cubicBezTo>
                    <a:cubicBezTo>
                      <a:pt x="37596" y="134331"/>
                      <a:pt x="27266" y="133726"/>
                      <a:pt x="19682" y="125769"/>
                    </a:cubicBezTo>
                    <a:cubicBezTo>
                      <a:pt x="13121" y="118604"/>
                      <a:pt x="12935" y="110880"/>
                      <a:pt x="12935" y="103900"/>
                    </a:cubicBezTo>
                    <a:lnTo>
                      <a:pt x="12935" y="41737"/>
                    </a:lnTo>
                    <a:cubicBezTo>
                      <a:pt x="9352" y="41737"/>
                      <a:pt x="2792" y="41737"/>
                      <a:pt x="2187" y="41551"/>
                    </a:cubicBezTo>
                    <a:cubicBezTo>
                      <a:pt x="186" y="41365"/>
                      <a:pt x="0" y="39969"/>
                      <a:pt x="0" y="38154"/>
                    </a:cubicBezTo>
                    <a:cubicBezTo>
                      <a:pt x="0" y="29221"/>
                      <a:pt x="0" y="29221"/>
                      <a:pt x="2187" y="28802"/>
                    </a:cubicBezTo>
                    <a:cubicBezTo>
                      <a:pt x="2606" y="28616"/>
                      <a:pt x="9352" y="28616"/>
                      <a:pt x="12935" y="28616"/>
                    </a:cubicBezTo>
                    <a:lnTo>
                      <a:pt x="12935" y="18286"/>
                    </a:lnTo>
                    <a:cubicBezTo>
                      <a:pt x="12935" y="14517"/>
                      <a:pt x="13307" y="13540"/>
                      <a:pt x="16704" y="11539"/>
                    </a:cubicBezTo>
                    <a:lnTo>
                      <a:pt x="36991" y="1210"/>
                    </a:lnTo>
                    <a:cubicBezTo>
                      <a:pt x="37968" y="605"/>
                      <a:pt x="39178" y="0"/>
                      <a:pt x="40388" y="0"/>
                    </a:cubicBezTo>
                    <a:cubicBezTo>
                      <a:pt x="43784" y="0"/>
                      <a:pt x="43970" y="3955"/>
                      <a:pt x="43970" y="5770"/>
                    </a:cubicBezTo>
                    <a:lnTo>
                      <a:pt x="43970" y="28616"/>
                    </a:lnTo>
                    <a:lnTo>
                      <a:pt x="57278" y="28616"/>
                    </a:lnTo>
                    <a:cubicBezTo>
                      <a:pt x="59883" y="28616"/>
                      <a:pt x="61047" y="28802"/>
                      <a:pt x="61652" y="30803"/>
                    </a:cubicBezTo>
                    <a:lnTo>
                      <a:pt x="61652" y="38154"/>
                    </a:lnTo>
                    <a:cubicBezTo>
                      <a:pt x="61652" y="41318"/>
                      <a:pt x="60070" y="41737"/>
                      <a:pt x="57278" y="41737"/>
                    </a:cubicBezTo>
                    <a:lnTo>
                      <a:pt x="43970" y="41737"/>
                    </a:lnTo>
                    <a:close/>
                  </a:path>
                </a:pathLst>
              </a:custGeom>
              <a:grpFill/>
              <a:ln w="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7" name="Bild 26">
                <a:extLst>
                  <a:ext uri="{FF2B5EF4-FFF2-40B4-BE49-F238E27FC236}">
                    <a16:creationId xmlns:a16="http://schemas.microsoft.com/office/drawing/2014/main" id="{F216B39D-A32D-4781-9FBB-E38992B24034}"/>
                  </a:ext>
                </a:extLst>
              </p:cNvPr>
              <p:cNvSpPr/>
              <p:nvPr/>
            </p:nvSpPr>
            <p:spPr>
              <a:xfrm>
                <a:off x="2345424" y="5236237"/>
                <a:ext cx="32384" cy="141682"/>
              </a:xfrm>
              <a:custGeom>
                <a:avLst/>
                <a:gdLst>
                  <a:gd name="connsiteX0" fmla="*/ 16518 w 32384"/>
                  <a:gd name="connsiteY0" fmla="*/ 27825 h 141682"/>
                  <a:gd name="connsiteX1" fmla="*/ 0 w 32384"/>
                  <a:gd name="connsiteY1" fmla="*/ 14098 h 141682"/>
                  <a:gd name="connsiteX2" fmla="*/ 16285 w 32384"/>
                  <a:gd name="connsiteY2" fmla="*/ 0 h 141682"/>
                  <a:gd name="connsiteX3" fmla="*/ 31780 w 32384"/>
                  <a:gd name="connsiteY3" fmla="*/ 13912 h 141682"/>
                  <a:gd name="connsiteX4" fmla="*/ 16518 w 32384"/>
                  <a:gd name="connsiteY4" fmla="*/ 27825 h 141682"/>
                  <a:gd name="connsiteX5" fmla="*/ 32385 w 32384"/>
                  <a:gd name="connsiteY5" fmla="*/ 136704 h 141682"/>
                  <a:gd name="connsiteX6" fmla="*/ 27406 w 32384"/>
                  <a:gd name="connsiteY6" fmla="*/ 141682 h 141682"/>
                  <a:gd name="connsiteX7" fmla="*/ 3955 w 32384"/>
                  <a:gd name="connsiteY7" fmla="*/ 141682 h 141682"/>
                  <a:gd name="connsiteX8" fmla="*/ 0 w 32384"/>
                  <a:gd name="connsiteY8" fmla="*/ 136936 h 141682"/>
                  <a:gd name="connsiteX9" fmla="*/ 0 w 32384"/>
                  <a:gd name="connsiteY9" fmla="*/ 43133 h 141682"/>
                  <a:gd name="connsiteX10" fmla="*/ 4188 w 32384"/>
                  <a:gd name="connsiteY10" fmla="*/ 38759 h 141682"/>
                  <a:gd name="connsiteX11" fmla="*/ 27639 w 32384"/>
                  <a:gd name="connsiteY11" fmla="*/ 38759 h 141682"/>
                  <a:gd name="connsiteX12" fmla="*/ 32385 w 32384"/>
                  <a:gd name="connsiteY12" fmla="*/ 43319 h 141682"/>
                  <a:gd name="connsiteX13" fmla="*/ 32385 w 32384"/>
                  <a:gd name="connsiteY13" fmla="*/ 136704 h 1416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2384" h="141682">
                    <a:moveTo>
                      <a:pt x="16518" y="27825"/>
                    </a:moveTo>
                    <a:cubicBezTo>
                      <a:pt x="7398" y="27825"/>
                      <a:pt x="0" y="23079"/>
                      <a:pt x="0" y="14098"/>
                    </a:cubicBezTo>
                    <a:cubicBezTo>
                      <a:pt x="0" y="6328"/>
                      <a:pt x="5351" y="0"/>
                      <a:pt x="16285" y="0"/>
                    </a:cubicBezTo>
                    <a:cubicBezTo>
                      <a:pt x="27034" y="0"/>
                      <a:pt x="31594" y="6561"/>
                      <a:pt x="31780" y="13912"/>
                    </a:cubicBezTo>
                    <a:cubicBezTo>
                      <a:pt x="31826" y="23451"/>
                      <a:pt x="24475" y="27825"/>
                      <a:pt x="16518" y="27825"/>
                    </a:cubicBezTo>
                    <a:close/>
                    <a:moveTo>
                      <a:pt x="32385" y="136704"/>
                    </a:moveTo>
                    <a:cubicBezTo>
                      <a:pt x="32385" y="140891"/>
                      <a:pt x="30803" y="141682"/>
                      <a:pt x="27406" y="141682"/>
                    </a:cubicBezTo>
                    <a:lnTo>
                      <a:pt x="3955" y="141682"/>
                    </a:lnTo>
                    <a:cubicBezTo>
                      <a:pt x="186" y="141682"/>
                      <a:pt x="0" y="139914"/>
                      <a:pt x="0" y="136936"/>
                    </a:cubicBezTo>
                    <a:lnTo>
                      <a:pt x="0" y="43133"/>
                    </a:lnTo>
                    <a:cubicBezTo>
                      <a:pt x="0" y="40341"/>
                      <a:pt x="419" y="38759"/>
                      <a:pt x="4188" y="38759"/>
                    </a:cubicBezTo>
                    <a:lnTo>
                      <a:pt x="27639" y="38759"/>
                    </a:lnTo>
                    <a:cubicBezTo>
                      <a:pt x="31407" y="38759"/>
                      <a:pt x="32385" y="39550"/>
                      <a:pt x="32385" y="43319"/>
                    </a:cubicBezTo>
                    <a:lnTo>
                      <a:pt x="32385" y="136704"/>
                    </a:lnTo>
                    <a:close/>
                  </a:path>
                </a:pathLst>
              </a:custGeom>
              <a:grpFill/>
              <a:ln w="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8" name="Bild 26">
                <a:extLst>
                  <a:ext uri="{FF2B5EF4-FFF2-40B4-BE49-F238E27FC236}">
                    <a16:creationId xmlns:a16="http://schemas.microsoft.com/office/drawing/2014/main" id="{D70E6F7F-672C-4470-B4A2-D5F8C0941CFB}"/>
                  </a:ext>
                </a:extLst>
              </p:cNvPr>
              <p:cNvSpPr/>
              <p:nvPr/>
            </p:nvSpPr>
            <p:spPr>
              <a:xfrm>
                <a:off x="2389906" y="5272251"/>
                <a:ext cx="101945" cy="154198"/>
              </a:xfrm>
              <a:custGeom>
                <a:avLst/>
                <a:gdLst>
                  <a:gd name="connsiteX0" fmla="*/ 81101 w 101945"/>
                  <a:gd name="connsiteY0" fmla="*/ 20426 h 154198"/>
                  <a:gd name="connsiteX1" fmla="*/ 85056 w 101945"/>
                  <a:gd name="connsiteY1" fmla="*/ 36898 h 154198"/>
                  <a:gd name="connsiteX2" fmla="*/ 45692 w 101945"/>
                  <a:gd name="connsiteY2" fmla="*/ 71283 h 154198"/>
                  <a:gd name="connsiteX3" fmla="*/ 34757 w 101945"/>
                  <a:gd name="connsiteY3" fmla="*/ 70306 h 154198"/>
                  <a:gd name="connsiteX4" fmla="*/ 31407 w 101945"/>
                  <a:gd name="connsiteY4" fmla="*/ 77658 h 154198"/>
                  <a:gd name="connsiteX5" fmla="*/ 49880 w 101945"/>
                  <a:gd name="connsiteY5" fmla="*/ 84032 h 154198"/>
                  <a:gd name="connsiteX6" fmla="*/ 64769 w 101945"/>
                  <a:gd name="connsiteY6" fmla="*/ 84823 h 154198"/>
                  <a:gd name="connsiteX7" fmla="*/ 101946 w 101945"/>
                  <a:gd name="connsiteY7" fmla="*/ 111857 h 154198"/>
                  <a:gd name="connsiteX8" fmla="*/ 40341 w 101945"/>
                  <a:gd name="connsiteY8" fmla="*/ 154199 h 154198"/>
                  <a:gd name="connsiteX9" fmla="*/ 0 w 101945"/>
                  <a:gd name="connsiteY9" fmla="*/ 130748 h 154198"/>
                  <a:gd name="connsiteX10" fmla="*/ 16704 w 101945"/>
                  <a:gd name="connsiteY10" fmla="*/ 108693 h 154198"/>
                  <a:gd name="connsiteX11" fmla="*/ 4188 w 101945"/>
                  <a:gd name="connsiteY11" fmla="*/ 92594 h 154198"/>
                  <a:gd name="connsiteX12" fmla="*/ 22660 w 101945"/>
                  <a:gd name="connsiteY12" fmla="*/ 66770 h 154198"/>
                  <a:gd name="connsiteX13" fmla="*/ 4188 w 101945"/>
                  <a:gd name="connsiteY13" fmla="*/ 35362 h 154198"/>
                  <a:gd name="connsiteX14" fmla="*/ 44715 w 101945"/>
                  <a:gd name="connsiteY14" fmla="*/ 0 h 154198"/>
                  <a:gd name="connsiteX15" fmla="*/ 64769 w 101945"/>
                  <a:gd name="connsiteY15" fmla="*/ 3397 h 154198"/>
                  <a:gd name="connsiteX16" fmla="*/ 76308 w 101945"/>
                  <a:gd name="connsiteY16" fmla="*/ 6002 h 154198"/>
                  <a:gd name="connsiteX17" fmla="*/ 83474 w 101945"/>
                  <a:gd name="connsiteY17" fmla="*/ 5211 h 154198"/>
                  <a:gd name="connsiteX18" fmla="*/ 94594 w 101945"/>
                  <a:gd name="connsiteY18" fmla="*/ 3024 h 154198"/>
                  <a:gd name="connsiteX19" fmla="*/ 96967 w 101945"/>
                  <a:gd name="connsiteY19" fmla="*/ 5630 h 154198"/>
                  <a:gd name="connsiteX20" fmla="*/ 98735 w 101945"/>
                  <a:gd name="connsiteY20" fmla="*/ 13401 h 154198"/>
                  <a:gd name="connsiteX21" fmla="*/ 95758 w 101945"/>
                  <a:gd name="connsiteY21" fmla="*/ 16006 h 154198"/>
                  <a:gd name="connsiteX22" fmla="*/ 81101 w 101945"/>
                  <a:gd name="connsiteY22" fmla="*/ 20426 h 154198"/>
                  <a:gd name="connsiteX23" fmla="*/ 25498 w 101945"/>
                  <a:gd name="connsiteY23" fmla="*/ 122187 h 154198"/>
                  <a:gd name="connsiteX24" fmla="*/ 48530 w 101945"/>
                  <a:gd name="connsiteY24" fmla="*/ 135308 h 154198"/>
                  <a:gd name="connsiteX25" fmla="*/ 73377 w 101945"/>
                  <a:gd name="connsiteY25" fmla="*/ 122187 h 154198"/>
                  <a:gd name="connsiteX26" fmla="*/ 60674 w 101945"/>
                  <a:gd name="connsiteY26" fmla="*/ 113858 h 154198"/>
                  <a:gd name="connsiteX27" fmla="*/ 30663 w 101945"/>
                  <a:gd name="connsiteY27" fmla="*/ 112276 h 154198"/>
                  <a:gd name="connsiteX28" fmla="*/ 25498 w 101945"/>
                  <a:gd name="connsiteY28" fmla="*/ 122187 h 154198"/>
                  <a:gd name="connsiteX29" fmla="*/ 43179 w 101945"/>
                  <a:gd name="connsiteY29" fmla="*/ 16239 h 154198"/>
                  <a:gd name="connsiteX30" fmla="*/ 32059 w 101945"/>
                  <a:gd name="connsiteY30" fmla="*/ 30570 h 154198"/>
                  <a:gd name="connsiteX31" fmla="*/ 46157 w 101945"/>
                  <a:gd name="connsiteY31" fmla="*/ 52439 h 154198"/>
                  <a:gd name="connsiteX32" fmla="*/ 57092 w 101945"/>
                  <a:gd name="connsiteY32" fmla="*/ 38526 h 154198"/>
                  <a:gd name="connsiteX33" fmla="*/ 56487 w 101945"/>
                  <a:gd name="connsiteY33" fmla="*/ 31594 h 154198"/>
                  <a:gd name="connsiteX34" fmla="*/ 43179 w 101945"/>
                  <a:gd name="connsiteY34" fmla="*/ 16239 h 154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101945" h="154198">
                    <a:moveTo>
                      <a:pt x="81101" y="20426"/>
                    </a:moveTo>
                    <a:cubicBezTo>
                      <a:pt x="82683" y="24195"/>
                      <a:pt x="85056" y="29360"/>
                      <a:pt x="85056" y="36898"/>
                    </a:cubicBezTo>
                    <a:cubicBezTo>
                      <a:pt x="85056" y="61140"/>
                      <a:pt x="63792" y="71283"/>
                      <a:pt x="45692" y="71283"/>
                    </a:cubicBezTo>
                    <a:cubicBezTo>
                      <a:pt x="41737" y="71283"/>
                      <a:pt x="37922" y="70864"/>
                      <a:pt x="34757" y="70306"/>
                    </a:cubicBezTo>
                    <a:cubicBezTo>
                      <a:pt x="32757" y="73284"/>
                      <a:pt x="31407" y="75471"/>
                      <a:pt x="31407" y="77658"/>
                    </a:cubicBezTo>
                    <a:cubicBezTo>
                      <a:pt x="31407" y="83195"/>
                      <a:pt x="37177" y="83427"/>
                      <a:pt x="49880" y="84032"/>
                    </a:cubicBezTo>
                    <a:lnTo>
                      <a:pt x="64769" y="84823"/>
                    </a:lnTo>
                    <a:cubicBezTo>
                      <a:pt x="74726" y="85428"/>
                      <a:pt x="101946" y="87196"/>
                      <a:pt x="101946" y="111857"/>
                    </a:cubicBezTo>
                    <a:cubicBezTo>
                      <a:pt x="101946" y="125769"/>
                      <a:pt x="88452" y="154199"/>
                      <a:pt x="40341" y="154199"/>
                    </a:cubicBezTo>
                    <a:cubicBezTo>
                      <a:pt x="34757" y="154199"/>
                      <a:pt x="0" y="154199"/>
                      <a:pt x="0" y="130748"/>
                    </a:cubicBezTo>
                    <a:cubicBezTo>
                      <a:pt x="0" y="122000"/>
                      <a:pt x="6142" y="114463"/>
                      <a:pt x="16704" y="108693"/>
                    </a:cubicBezTo>
                    <a:cubicBezTo>
                      <a:pt x="12516" y="106925"/>
                      <a:pt x="4188" y="103528"/>
                      <a:pt x="4188" y="92594"/>
                    </a:cubicBezTo>
                    <a:cubicBezTo>
                      <a:pt x="4188" y="82636"/>
                      <a:pt x="13912" y="73331"/>
                      <a:pt x="22660" y="66770"/>
                    </a:cubicBezTo>
                    <a:cubicBezTo>
                      <a:pt x="4792" y="58022"/>
                      <a:pt x="4188" y="40155"/>
                      <a:pt x="4188" y="35362"/>
                    </a:cubicBezTo>
                    <a:cubicBezTo>
                      <a:pt x="4188" y="17681"/>
                      <a:pt x="15494" y="0"/>
                      <a:pt x="44715" y="0"/>
                    </a:cubicBezTo>
                    <a:cubicBezTo>
                      <a:pt x="54858" y="0"/>
                      <a:pt x="60628" y="2001"/>
                      <a:pt x="64769" y="3397"/>
                    </a:cubicBezTo>
                    <a:cubicBezTo>
                      <a:pt x="69329" y="5165"/>
                      <a:pt x="71935" y="6002"/>
                      <a:pt x="76308" y="6002"/>
                    </a:cubicBezTo>
                    <a:cubicBezTo>
                      <a:pt x="78914" y="6002"/>
                      <a:pt x="81101" y="5584"/>
                      <a:pt x="83474" y="5211"/>
                    </a:cubicBezTo>
                    <a:cubicBezTo>
                      <a:pt x="84451" y="5025"/>
                      <a:pt x="94222" y="3024"/>
                      <a:pt x="94594" y="3024"/>
                    </a:cubicBezTo>
                    <a:cubicBezTo>
                      <a:pt x="96362" y="3024"/>
                      <a:pt x="96781" y="5025"/>
                      <a:pt x="96967" y="5630"/>
                    </a:cubicBezTo>
                    <a:cubicBezTo>
                      <a:pt x="97758" y="8236"/>
                      <a:pt x="98735" y="12563"/>
                      <a:pt x="98735" y="13401"/>
                    </a:cubicBezTo>
                    <a:cubicBezTo>
                      <a:pt x="98735" y="14796"/>
                      <a:pt x="98131" y="15169"/>
                      <a:pt x="95758" y="16006"/>
                    </a:cubicBezTo>
                    <a:lnTo>
                      <a:pt x="81101" y="20426"/>
                    </a:lnTo>
                    <a:close/>
                    <a:moveTo>
                      <a:pt x="25498" y="122187"/>
                    </a:moveTo>
                    <a:cubicBezTo>
                      <a:pt x="25498" y="128561"/>
                      <a:pt x="31640" y="135308"/>
                      <a:pt x="48530" y="135308"/>
                    </a:cubicBezTo>
                    <a:cubicBezTo>
                      <a:pt x="61465" y="135308"/>
                      <a:pt x="73377" y="130143"/>
                      <a:pt x="73377" y="122187"/>
                    </a:cubicBezTo>
                    <a:cubicBezTo>
                      <a:pt x="73377" y="115254"/>
                      <a:pt x="65839" y="114416"/>
                      <a:pt x="60674" y="113858"/>
                    </a:cubicBezTo>
                    <a:cubicBezTo>
                      <a:pt x="56487" y="113439"/>
                      <a:pt x="35455" y="112648"/>
                      <a:pt x="30663" y="112276"/>
                    </a:cubicBezTo>
                    <a:cubicBezTo>
                      <a:pt x="28057" y="115207"/>
                      <a:pt x="25498" y="118185"/>
                      <a:pt x="25498" y="122187"/>
                    </a:cubicBezTo>
                    <a:close/>
                    <a:moveTo>
                      <a:pt x="43179" y="16239"/>
                    </a:moveTo>
                    <a:cubicBezTo>
                      <a:pt x="37224" y="16239"/>
                      <a:pt x="32059" y="21404"/>
                      <a:pt x="32059" y="30570"/>
                    </a:cubicBezTo>
                    <a:cubicBezTo>
                      <a:pt x="32059" y="39504"/>
                      <a:pt x="36805" y="52439"/>
                      <a:pt x="46157" y="52439"/>
                    </a:cubicBezTo>
                    <a:cubicBezTo>
                      <a:pt x="53695" y="52439"/>
                      <a:pt x="57092" y="45878"/>
                      <a:pt x="57092" y="38526"/>
                    </a:cubicBezTo>
                    <a:cubicBezTo>
                      <a:pt x="57092" y="36153"/>
                      <a:pt x="56905" y="33967"/>
                      <a:pt x="56487" y="31594"/>
                    </a:cubicBezTo>
                    <a:cubicBezTo>
                      <a:pt x="55091" y="24614"/>
                      <a:pt x="50903" y="16239"/>
                      <a:pt x="43179" y="16239"/>
                    </a:cubicBezTo>
                    <a:close/>
                  </a:path>
                </a:pathLst>
              </a:custGeom>
              <a:grpFill/>
              <a:ln w="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9" name="Bild 26">
                <a:extLst>
                  <a:ext uri="{FF2B5EF4-FFF2-40B4-BE49-F238E27FC236}">
                    <a16:creationId xmlns:a16="http://schemas.microsoft.com/office/drawing/2014/main" id="{C1285CF8-9E80-4244-BD2B-C149A1A8B583}"/>
                  </a:ext>
                </a:extLst>
              </p:cNvPr>
              <p:cNvSpPr/>
              <p:nvPr/>
            </p:nvSpPr>
            <p:spPr>
              <a:xfrm>
                <a:off x="2498413" y="5274996"/>
                <a:ext cx="86451" cy="105715"/>
              </a:xfrm>
              <a:custGeom>
                <a:avLst/>
                <a:gdLst>
                  <a:gd name="connsiteX0" fmla="*/ 86452 w 86451"/>
                  <a:gd name="connsiteY0" fmla="*/ 78495 h 105715"/>
                  <a:gd name="connsiteX1" fmla="*/ 79286 w 86451"/>
                  <a:gd name="connsiteY1" fmla="*/ 97154 h 105715"/>
                  <a:gd name="connsiteX2" fmla="*/ 42947 w 86451"/>
                  <a:gd name="connsiteY2" fmla="*/ 105715 h 105715"/>
                  <a:gd name="connsiteX3" fmla="*/ 0 w 86451"/>
                  <a:gd name="connsiteY3" fmla="*/ 72726 h 105715"/>
                  <a:gd name="connsiteX4" fmla="*/ 0 w 86451"/>
                  <a:gd name="connsiteY4" fmla="*/ 3769 h 105715"/>
                  <a:gd name="connsiteX5" fmla="*/ 4374 w 86451"/>
                  <a:gd name="connsiteY5" fmla="*/ 0 h 105715"/>
                  <a:gd name="connsiteX6" fmla="*/ 26847 w 86451"/>
                  <a:gd name="connsiteY6" fmla="*/ 0 h 105715"/>
                  <a:gd name="connsiteX7" fmla="*/ 31826 w 86451"/>
                  <a:gd name="connsiteY7" fmla="*/ 4188 h 105715"/>
                  <a:gd name="connsiteX8" fmla="*/ 31826 w 86451"/>
                  <a:gd name="connsiteY8" fmla="*/ 71330 h 105715"/>
                  <a:gd name="connsiteX9" fmla="*/ 43738 w 86451"/>
                  <a:gd name="connsiteY9" fmla="*/ 84637 h 105715"/>
                  <a:gd name="connsiteX10" fmla="*/ 54672 w 86451"/>
                  <a:gd name="connsiteY10" fmla="*/ 72726 h 105715"/>
                  <a:gd name="connsiteX11" fmla="*/ 54672 w 86451"/>
                  <a:gd name="connsiteY11" fmla="*/ 4374 h 105715"/>
                  <a:gd name="connsiteX12" fmla="*/ 58627 w 86451"/>
                  <a:gd name="connsiteY12" fmla="*/ 0 h 105715"/>
                  <a:gd name="connsiteX13" fmla="*/ 81892 w 86451"/>
                  <a:gd name="connsiteY13" fmla="*/ 0 h 105715"/>
                  <a:gd name="connsiteX14" fmla="*/ 86452 w 86451"/>
                  <a:gd name="connsiteY14" fmla="*/ 3955 h 105715"/>
                  <a:gd name="connsiteX15" fmla="*/ 86452 w 86451"/>
                  <a:gd name="connsiteY15" fmla="*/ 78495 h 105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86451" h="105715">
                    <a:moveTo>
                      <a:pt x="86452" y="78495"/>
                    </a:moveTo>
                    <a:cubicBezTo>
                      <a:pt x="86452" y="86638"/>
                      <a:pt x="86266" y="91989"/>
                      <a:pt x="79286" y="97154"/>
                    </a:cubicBezTo>
                    <a:cubicBezTo>
                      <a:pt x="73517" y="101341"/>
                      <a:pt x="60395" y="105715"/>
                      <a:pt x="42947" y="105715"/>
                    </a:cubicBezTo>
                    <a:cubicBezTo>
                      <a:pt x="7584" y="105715"/>
                      <a:pt x="0" y="90826"/>
                      <a:pt x="0" y="72726"/>
                    </a:cubicBezTo>
                    <a:lnTo>
                      <a:pt x="0" y="3769"/>
                    </a:lnTo>
                    <a:cubicBezTo>
                      <a:pt x="0" y="186"/>
                      <a:pt x="2187" y="0"/>
                      <a:pt x="4374" y="0"/>
                    </a:cubicBezTo>
                    <a:lnTo>
                      <a:pt x="26847" y="0"/>
                    </a:lnTo>
                    <a:cubicBezTo>
                      <a:pt x="29407" y="0"/>
                      <a:pt x="31826" y="186"/>
                      <a:pt x="31826" y="4188"/>
                    </a:cubicBezTo>
                    <a:lnTo>
                      <a:pt x="31826" y="71330"/>
                    </a:lnTo>
                    <a:cubicBezTo>
                      <a:pt x="31826" y="76308"/>
                      <a:pt x="32012" y="84637"/>
                      <a:pt x="43738" y="84637"/>
                    </a:cubicBezTo>
                    <a:cubicBezTo>
                      <a:pt x="54486" y="84637"/>
                      <a:pt x="54672" y="77472"/>
                      <a:pt x="54672" y="72726"/>
                    </a:cubicBezTo>
                    <a:lnTo>
                      <a:pt x="54672" y="4374"/>
                    </a:lnTo>
                    <a:cubicBezTo>
                      <a:pt x="54672" y="1396"/>
                      <a:pt x="55277" y="0"/>
                      <a:pt x="58627" y="0"/>
                    </a:cubicBezTo>
                    <a:lnTo>
                      <a:pt x="81892" y="0"/>
                    </a:lnTo>
                    <a:cubicBezTo>
                      <a:pt x="84451" y="0"/>
                      <a:pt x="86452" y="372"/>
                      <a:pt x="86452" y="3955"/>
                    </a:cubicBezTo>
                    <a:lnTo>
                      <a:pt x="86452" y="78495"/>
                    </a:lnTo>
                    <a:close/>
                  </a:path>
                </a:pathLst>
              </a:custGeom>
              <a:grpFill/>
              <a:ln w="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0" name="Bild 26">
                <a:extLst>
                  <a:ext uri="{FF2B5EF4-FFF2-40B4-BE49-F238E27FC236}">
                    <a16:creationId xmlns:a16="http://schemas.microsoft.com/office/drawing/2014/main" id="{1F6E58F3-3005-4070-A993-0765AE9A0A50}"/>
                  </a:ext>
                </a:extLst>
              </p:cNvPr>
              <p:cNvSpPr/>
              <p:nvPr/>
            </p:nvSpPr>
            <p:spPr>
              <a:xfrm>
                <a:off x="2597614" y="5272251"/>
                <a:ext cx="81891" cy="108460"/>
              </a:xfrm>
              <a:custGeom>
                <a:avLst/>
                <a:gdLst>
                  <a:gd name="connsiteX0" fmla="*/ 81845 w 81891"/>
                  <a:gd name="connsiteY0" fmla="*/ 84405 h 108460"/>
                  <a:gd name="connsiteX1" fmla="*/ 78681 w 81891"/>
                  <a:gd name="connsiteY1" fmla="*/ 97526 h 108460"/>
                  <a:gd name="connsiteX2" fmla="*/ 42528 w 81891"/>
                  <a:gd name="connsiteY2" fmla="*/ 108460 h 108460"/>
                  <a:gd name="connsiteX3" fmla="*/ 0 w 81891"/>
                  <a:gd name="connsiteY3" fmla="*/ 79426 h 108460"/>
                  <a:gd name="connsiteX4" fmla="*/ 52253 w 81891"/>
                  <a:gd name="connsiteY4" fmla="*/ 41690 h 108460"/>
                  <a:gd name="connsiteX5" fmla="*/ 52253 w 81891"/>
                  <a:gd name="connsiteY5" fmla="*/ 31361 h 108460"/>
                  <a:gd name="connsiteX6" fmla="*/ 42714 w 81891"/>
                  <a:gd name="connsiteY6" fmla="*/ 16658 h 108460"/>
                  <a:gd name="connsiteX7" fmla="*/ 31780 w 81891"/>
                  <a:gd name="connsiteY7" fmla="*/ 25777 h 108460"/>
                  <a:gd name="connsiteX8" fmla="*/ 18286 w 81891"/>
                  <a:gd name="connsiteY8" fmla="*/ 37131 h 108460"/>
                  <a:gd name="connsiteX9" fmla="*/ 4793 w 81891"/>
                  <a:gd name="connsiteY9" fmla="*/ 24428 h 108460"/>
                  <a:gd name="connsiteX10" fmla="*/ 48112 w 81891"/>
                  <a:gd name="connsiteY10" fmla="*/ 0 h 108460"/>
                  <a:gd name="connsiteX11" fmla="*/ 70957 w 81891"/>
                  <a:gd name="connsiteY11" fmla="*/ 4793 h 108460"/>
                  <a:gd name="connsiteX12" fmla="*/ 81892 w 81891"/>
                  <a:gd name="connsiteY12" fmla="*/ 29453 h 108460"/>
                  <a:gd name="connsiteX13" fmla="*/ 81892 w 81891"/>
                  <a:gd name="connsiteY13" fmla="*/ 84405 h 108460"/>
                  <a:gd name="connsiteX14" fmla="*/ 52253 w 81891"/>
                  <a:gd name="connsiteY14" fmla="*/ 55417 h 108460"/>
                  <a:gd name="connsiteX15" fmla="*/ 30384 w 81891"/>
                  <a:gd name="connsiteY15" fmla="*/ 76681 h 108460"/>
                  <a:gd name="connsiteX16" fmla="*/ 42900 w 81891"/>
                  <a:gd name="connsiteY16" fmla="*/ 91803 h 108460"/>
                  <a:gd name="connsiteX17" fmla="*/ 52253 w 81891"/>
                  <a:gd name="connsiteY17" fmla="*/ 79472 h 108460"/>
                  <a:gd name="connsiteX18" fmla="*/ 52253 w 81891"/>
                  <a:gd name="connsiteY18" fmla="*/ 55417 h 1084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81891" h="108460">
                    <a:moveTo>
                      <a:pt x="81845" y="84405"/>
                    </a:moveTo>
                    <a:cubicBezTo>
                      <a:pt x="81845" y="88778"/>
                      <a:pt x="81659" y="93757"/>
                      <a:pt x="78681" y="97526"/>
                    </a:cubicBezTo>
                    <a:cubicBezTo>
                      <a:pt x="75285" y="102086"/>
                      <a:pt x="63978" y="108460"/>
                      <a:pt x="42528" y="108460"/>
                    </a:cubicBezTo>
                    <a:cubicBezTo>
                      <a:pt x="34199" y="108460"/>
                      <a:pt x="0" y="108274"/>
                      <a:pt x="0" y="79426"/>
                    </a:cubicBezTo>
                    <a:cubicBezTo>
                      <a:pt x="0" y="53416"/>
                      <a:pt x="26429" y="47414"/>
                      <a:pt x="52253" y="41690"/>
                    </a:cubicBezTo>
                    <a:lnTo>
                      <a:pt x="52253" y="31361"/>
                    </a:lnTo>
                    <a:cubicBezTo>
                      <a:pt x="52253" y="25219"/>
                      <a:pt x="52067" y="16658"/>
                      <a:pt x="42714" y="16658"/>
                    </a:cubicBezTo>
                    <a:cubicBezTo>
                      <a:pt x="35362" y="16658"/>
                      <a:pt x="32989" y="22427"/>
                      <a:pt x="31780" y="25777"/>
                    </a:cubicBezTo>
                    <a:cubicBezTo>
                      <a:pt x="29593" y="31361"/>
                      <a:pt x="27406" y="37131"/>
                      <a:pt x="18286" y="37131"/>
                    </a:cubicBezTo>
                    <a:cubicBezTo>
                      <a:pt x="9539" y="37131"/>
                      <a:pt x="4793" y="30989"/>
                      <a:pt x="4793" y="24428"/>
                    </a:cubicBezTo>
                    <a:cubicBezTo>
                      <a:pt x="4793" y="13307"/>
                      <a:pt x="17914" y="0"/>
                      <a:pt x="48112" y="0"/>
                    </a:cubicBezTo>
                    <a:cubicBezTo>
                      <a:pt x="55277" y="0"/>
                      <a:pt x="64397" y="791"/>
                      <a:pt x="70957" y="4793"/>
                    </a:cubicBezTo>
                    <a:cubicBezTo>
                      <a:pt x="81706" y="11539"/>
                      <a:pt x="81892" y="22660"/>
                      <a:pt x="81892" y="29453"/>
                    </a:cubicBezTo>
                    <a:lnTo>
                      <a:pt x="81892" y="84405"/>
                    </a:lnTo>
                    <a:close/>
                    <a:moveTo>
                      <a:pt x="52253" y="55417"/>
                    </a:moveTo>
                    <a:cubicBezTo>
                      <a:pt x="41318" y="58813"/>
                      <a:pt x="30384" y="62163"/>
                      <a:pt x="30384" y="76681"/>
                    </a:cubicBezTo>
                    <a:cubicBezTo>
                      <a:pt x="30384" y="87615"/>
                      <a:pt x="37131" y="91803"/>
                      <a:pt x="42900" y="91803"/>
                    </a:cubicBezTo>
                    <a:cubicBezTo>
                      <a:pt x="52020" y="91803"/>
                      <a:pt x="52253" y="84032"/>
                      <a:pt x="52253" y="79472"/>
                    </a:cubicBezTo>
                    <a:lnTo>
                      <a:pt x="52253" y="55417"/>
                    </a:lnTo>
                    <a:close/>
                  </a:path>
                </a:pathLst>
              </a:custGeom>
              <a:grpFill/>
              <a:ln w="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1" name="Bild 26">
                <a:extLst>
                  <a:ext uri="{FF2B5EF4-FFF2-40B4-BE49-F238E27FC236}">
                    <a16:creationId xmlns:a16="http://schemas.microsoft.com/office/drawing/2014/main" id="{FEA8702B-69B2-4FF6-9634-AC7BD6D35BE1}"/>
                  </a:ext>
                </a:extLst>
              </p:cNvPr>
              <p:cNvSpPr/>
              <p:nvPr/>
            </p:nvSpPr>
            <p:spPr>
              <a:xfrm>
                <a:off x="2697745" y="5272204"/>
                <a:ext cx="71143" cy="105715"/>
              </a:xfrm>
              <a:custGeom>
                <a:avLst/>
                <a:gdLst>
                  <a:gd name="connsiteX0" fmla="*/ 31780 w 71143"/>
                  <a:gd name="connsiteY0" fmla="*/ 101341 h 105715"/>
                  <a:gd name="connsiteX1" fmla="*/ 27406 w 71143"/>
                  <a:gd name="connsiteY1" fmla="*/ 105715 h 105715"/>
                  <a:gd name="connsiteX2" fmla="*/ 4560 w 71143"/>
                  <a:gd name="connsiteY2" fmla="*/ 105715 h 105715"/>
                  <a:gd name="connsiteX3" fmla="*/ 0 w 71143"/>
                  <a:gd name="connsiteY3" fmla="*/ 101155 h 105715"/>
                  <a:gd name="connsiteX4" fmla="*/ 0 w 71143"/>
                  <a:gd name="connsiteY4" fmla="*/ 18705 h 105715"/>
                  <a:gd name="connsiteX5" fmla="*/ 5770 w 71143"/>
                  <a:gd name="connsiteY5" fmla="*/ 7352 h 105715"/>
                  <a:gd name="connsiteX6" fmla="*/ 44901 w 71143"/>
                  <a:gd name="connsiteY6" fmla="*/ 0 h 105715"/>
                  <a:gd name="connsiteX7" fmla="*/ 71144 w 71143"/>
                  <a:gd name="connsiteY7" fmla="*/ 18286 h 105715"/>
                  <a:gd name="connsiteX8" fmla="*/ 59418 w 71143"/>
                  <a:gd name="connsiteY8" fmla="*/ 31221 h 105715"/>
                  <a:gd name="connsiteX9" fmla="*/ 48298 w 71143"/>
                  <a:gd name="connsiteY9" fmla="*/ 21683 h 105715"/>
                  <a:gd name="connsiteX10" fmla="*/ 40155 w 71143"/>
                  <a:gd name="connsiteY10" fmla="*/ 15541 h 105715"/>
                  <a:gd name="connsiteX11" fmla="*/ 31780 w 71143"/>
                  <a:gd name="connsiteY11" fmla="*/ 25684 h 105715"/>
                  <a:gd name="connsiteX12" fmla="*/ 31780 w 71143"/>
                  <a:gd name="connsiteY12" fmla="*/ 101341 h 105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1143" h="105715">
                    <a:moveTo>
                      <a:pt x="31780" y="101341"/>
                    </a:moveTo>
                    <a:cubicBezTo>
                      <a:pt x="31780" y="104924"/>
                      <a:pt x="30570" y="105715"/>
                      <a:pt x="27406" y="105715"/>
                    </a:cubicBezTo>
                    <a:lnTo>
                      <a:pt x="4560" y="105715"/>
                    </a:lnTo>
                    <a:cubicBezTo>
                      <a:pt x="977" y="105715"/>
                      <a:pt x="0" y="104924"/>
                      <a:pt x="0" y="101155"/>
                    </a:cubicBezTo>
                    <a:lnTo>
                      <a:pt x="0" y="18705"/>
                    </a:lnTo>
                    <a:cubicBezTo>
                      <a:pt x="0" y="12144"/>
                      <a:pt x="1210" y="9771"/>
                      <a:pt x="5770" y="7352"/>
                    </a:cubicBezTo>
                    <a:cubicBezTo>
                      <a:pt x="17076" y="1396"/>
                      <a:pt x="35595" y="0"/>
                      <a:pt x="44901" y="0"/>
                    </a:cubicBezTo>
                    <a:cubicBezTo>
                      <a:pt x="50252" y="0"/>
                      <a:pt x="71144" y="0"/>
                      <a:pt x="71144" y="18286"/>
                    </a:cubicBezTo>
                    <a:cubicBezTo>
                      <a:pt x="71144" y="25452"/>
                      <a:pt x="66770" y="31221"/>
                      <a:pt x="59418" y="31221"/>
                    </a:cubicBezTo>
                    <a:cubicBezTo>
                      <a:pt x="52485" y="31221"/>
                      <a:pt x="50484" y="26661"/>
                      <a:pt x="48298" y="21683"/>
                    </a:cubicBezTo>
                    <a:cubicBezTo>
                      <a:pt x="46716" y="18286"/>
                      <a:pt x="44901" y="15541"/>
                      <a:pt x="40155" y="15541"/>
                    </a:cubicBezTo>
                    <a:cubicBezTo>
                      <a:pt x="32012" y="15541"/>
                      <a:pt x="31780" y="20892"/>
                      <a:pt x="31780" y="25684"/>
                    </a:cubicBezTo>
                    <a:lnTo>
                      <a:pt x="31780" y="101341"/>
                    </a:lnTo>
                    <a:close/>
                  </a:path>
                </a:pathLst>
              </a:custGeom>
              <a:grpFill/>
              <a:ln w="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2" name="Bild 26">
                <a:extLst>
                  <a:ext uri="{FF2B5EF4-FFF2-40B4-BE49-F238E27FC236}">
                    <a16:creationId xmlns:a16="http://schemas.microsoft.com/office/drawing/2014/main" id="{57186E1A-CB48-4375-A242-3883C56CA994}"/>
                  </a:ext>
                </a:extLst>
              </p:cNvPr>
              <p:cNvSpPr/>
              <p:nvPr/>
            </p:nvSpPr>
            <p:spPr>
              <a:xfrm>
                <a:off x="2771634" y="5225861"/>
                <a:ext cx="90639" cy="154850"/>
              </a:xfrm>
              <a:custGeom>
                <a:avLst/>
                <a:gdLst>
                  <a:gd name="connsiteX0" fmla="*/ 90639 w 90639"/>
                  <a:gd name="connsiteY0" fmla="*/ 131585 h 154850"/>
                  <a:gd name="connsiteX1" fmla="*/ 84079 w 90639"/>
                  <a:gd name="connsiteY1" fmla="*/ 146708 h 154850"/>
                  <a:gd name="connsiteX2" fmla="*/ 48903 w 90639"/>
                  <a:gd name="connsiteY2" fmla="*/ 154850 h 154850"/>
                  <a:gd name="connsiteX3" fmla="*/ 0 w 90639"/>
                  <a:gd name="connsiteY3" fmla="*/ 103202 h 154850"/>
                  <a:gd name="connsiteX4" fmla="*/ 43505 w 90639"/>
                  <a:gd name="connsiteY4" fmla="*/ 46157 h 154850"/>
                  <a:gd name="connsiteX5" fmla="*/ 59232 w 90639"/>
                  <a:gd name="connsiteY5" fmla="*/ 50112 h 154850"/>
                  <a:gd name="connsiteX6" fmla="*/ 59232 w 90639"/>
                  <a:gd name="connsiteY6" fmla="*/ 4979 h 154850"/>
                  <a:gd name="connsiteX7" fmla="*/ 64397 w 90639"/>
                  <a:gd name="connsiteY7" fmla="*/ 0 h 154850"/>
                  <a:gd name="connsiteX8" fmla="*/ 85289 w 90639"/>
                  <a:gd name="connsiteY8" fmla="*/ 0 h 154850"/>
                  <a:gd name="connsiteX9" fmla="*/ 90639 w 90639"/>
                  <a:gd name="connsiteY9" fmla="*/ 4374 h 154850"/>
                  <a:gd name="connsiteX10" fmla="*/ 90639 w 90639"/>
                  <a:gd name="connsiteY10" fmla="*/ 131585 h 154850"/>
                  <a:gd name="connsiteX11" fmla="*/ 59279 w 90639"/>
                  <a:gd name="connsiteY11" fmla="*/ 65420 h 154850"/>
                  <a:gd name="connsiteX12" fmla="*/ 51136 w 90639"/>
                  <a:gd name="connsiteY12" fmla="*/ 62815 h 154850"/>
                  <a:gd name="connsiteX13" fmla="*/ 31873 w 90639"/>
                  <a:gd name="connsiteY13" fmla="*/ 98968 h 154850"/>
                  <a:gd name="connsiteX14" fmla="*/ 50764 w 90639"/>
                  <a:gd name="connsiteY14" fmla="*/ 134936 h 154850"/>
                  <a:gd name="connsiteX15" fmla="*/ 59325 w 90639"/>
                  <a:gd name="connsiteY15" fmla="*/ 123210 h 154850"/>
                  <a:gd name="connsiteX16" fmla="*/ 59325 w 90639"/>
                  <a:gd name="connsiteY16" fmla="*/ 65420 h 154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90639" h="154850">
                    <a:moveTo>
                      <a:pt x="90639" y="131585"/>
                    </a:moveTo>
                    <a:cubicBezTo>
                      <a:pt x="90453" y="137541"/>
                      <a:pt x="90221" y="142520"/>
                      <a:pt x="84079" y="146708"/>
                    </a:cubicBezTo>
                    <a:cubicBezTo>
                      <a:pt x="78495" y="150476"/>
                      <a:pt x="64397" y="154850"/>
                      <a:pt x="48903" y="154850"/>
                    </a:cubicBezTo>
                    <a:cubicBezTo>
                      <a:pt x="14703" y="154850"/>
                      <a:pt x="0" y="133586"/>
                      <a:pt x="0" y="103202"/>
                    </a:cubicBezTo>
                    <a:cubicBezTo>
                      <a:pt x="0" y="73191"/>
                      <a:pt x="15913" y="46157"/>
                      <a:pt x="43505" y="46157"/>
                    </a:cubicBezTo>
                    <a:cubicBezTo>
                      <a:pt x="51880" y="46157"/>
                      <a:pt x="56208" y="48530"/>
                      <a:pt x="59232" y="50112"/>
                    </a:cubicBezTo>
                    <a:lnTo>
                      <a:pt x="59232" y="4979"/>
                    </a:lnTo>
                    <a:cubicBezTo>
                      <a:pt x="59232" y="605"/>
                      <a:pt x="61605" y="0"/>
                      <a:pt x="64397" y="0"/>
                    </a:cubicBezTo>
                    <a:lnTo>
                      <a:pt x="85289" y="0"/>
                    </a:lnTo>
                    <a:cubicBezTo>
                      <a:pt x="88871" y="186"/>
                      <a:pt x="90639" y="186"/>
                      <a:pt x="90639" y="4374"/>
                    </a:cubicBezTo>
                    <a:lnTo>
                      <a:pt x="90639" y="131585"/>
                    </a:lnTo>
                    <a:close/>
                    <a:moveTo>
                      <a:pt x="59279" y="65420"/>
                    </a:moveTo>
                    <a:cubicBezTo>
                      <a:pt x="57278" y="64211"/>
                      <a:pt x="54719" y="62815"/>
                      <a:pt x="51136" y="62815"/>
                    </a:cubicBezTo>
                    <a:cubicBezTo>
                      <a:pt x="37828" y="62815"/>
                      <a:pt x="31873" y="80310"/>
                      <a:pt x="31873" y="98968"/>
                    </a:cubicBezTo>
                    <a:cubicBezTo>
                      <a:pt x="31873" y="117673"/>
                      <a:pt x="37828" y="134936"/>
                      <a:pt x="50764" y="134936"/>
                    </a:cubicBezTo>
                    <a:cubicBezTo>
                      <a:pt x="59092" y="134936"/>
                      <a:pt x="59325" y="127584"/>
                      <a:pt x="59325" y="123210"/>
                    </a:cubicBezTo>
                    <a:lnTo>
                      <a:pt x="59325" y="65420"/>
                    </a:lnTo>
                    <a:close/>
                  </a:path>
                </a:pathLst>
              </a:custGeom>
              <a:grpFill/>
              <a:ln w="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  <p:grpSp>
          <p:nvGrpSpPr>
            <p:cNvPr id="10" name="Bild 26">
              <a:extLst>
                <a:ext uri="{FF2B5EF4-FFF2-40B4-BE49-F238E27FC236}">
                  <a16:creationId xmlns:a16="http://schemas.microsoft.com/office/drawing/2014/main" id="{CB627CBA-04CD-4C17-913E-043DEF00B4FB}"/>
                </a:ext>
              </a:extLst>
            </p:cNvPr>
            <p:cNvGrpSpPr/>
            <p:nvPr userDrawn="1"/>
          </p:nvGrpSpPr>
          <p:grpSpPr>
            <a:xfrm>
              <a:off x="2872556" y="5228048"/>
              <a:ext cx="27359" cy="27359"/>
              <a:chOff x="2872556" y="5228048"/>
              <a:chExt cx="27359" cy="27359"/>
            </a:xfrm>
            <a:grpFill/>
          </p:grpSpPr>
          <p:sp>
            <p:nvSpPr>
              <p:cNvPr id="11" name="Bild 26">
                <a:extLst>
                  <a:ext uri="{FF2B5EF4-FFF2-40B4-BE49-F238E27FC236}">
                    <a16:creationId xmlns:a16="http://schemas.microsoft.com/office/drawing/2014/main" id="{2C7C8B21-6F46-4315-A0AE-B2077E3C344B}"/>
                  </a:ext>
                </a:extLst>
              </p:cNvPr>
              <p:cNvSpPr/>
              <p:nvPr/>
            </p:nvSpPr>
            <p:spPr>
              <a:xfrm>
                <a:off x="2872556" y="5228048"/>
                <a:ext cx="27359" cy="27359"/>
              </a:xfrm>
              <a:custGeom>
                <a:avLst/>
                <a:gdLst>
                  <a:gd name="connsiteX0" fmla="*/ 0 w 27359"/>
                  <a:gd name="connsiteY0" fmla="*/ 13680 h 27359"/>
                  <a:gd name="connsiteX1" fmla="*/ 13680 w 27359"/>
                  <a:gd name="connsiteY1" fmla="*/ 27359 h 27359"/>
                  <a:gd name="connsiteX2" fmla="*/ 27359 w 27359"/>
                  <a:gd name="connsiteY2" fmla="*/ 13680 h 27359"/>
                  <a:gd name="connsiteX3" fmla="*/ 13680 w 27359"/>
                  <a:gd name="connsiteY3" fmla="*/ 0 h 27359"/>
                  <a:gd name="connsiteX4" fmla="*/ 0 w 27359"/>
                  <a:gd name="connsiteY4" fmla="*/ 13680 h 27359"/>
                  <a:gd name="connsiteX5" fmla="*/ 1908 w 27359"/>
                  <a:gd name="connsiteY5" fmla="*/ 13680 h 27359"/>
                  <a:gd name="connsiteX6" fmla="*/ 13633 w 27359"/>
                  <a:gd name="connsiteY6" fmla="*/ 1954 h 27359"/>
                  <a:gd name="connsiteX7" fmla="*/ 25405 w 27359"/>
                  <a:gd name="connsiteY7" fmla="*/ 13680 h 27359"/>
                  <a:gd name="connsiteX8" fmla="*/ 13633 w 27359"/>
                  <a:gd name="connsiteY8" fmla="*/ 25405 h 27359"/>
                  <a:gd name="connsiteX9" fmla="*/ 1908 w 27359"/>
                  <a:gd name="connsiteY9" fmla="*/ 13680 h 27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7359" h="27359">
                    <a:moveTo>
                      <a:pt x="0" y="13680"/>
                    </a:moveTo>
                    <a:cubicBezTo>
                      <a:pt x="0" y="21217"/>
                      <a:pt x="6142" y="27359"/>
                      <a:pt x="13680" y="27359"/>
                    </a:cubicBezTo>
                    <a:cubicBezTo>
                      <a:pt x="21217" y="27359"/>
                      <a:pt x="27359" y="21217"/>
                      <a:pt x="27359" y="13680"/>
                    </a:cubicBezTo>
                    <a:cubicBezTo>
                      <a:pt x="27359" y="6142"/>
                      <a:pt x="21217" y="0"/>
                      <a:pt x="13680" y="0"/>
                    </a:cubicBezTo>
                    <a:cubicBezTo>
                      <a:pt x="6142" y="0"/>
                      <a:pt x="0" y="6142"/>
                      <a:pt x="0" y="13680"/>
                    </a:cubicBezTo>
                    <a:close/>
                    <a:moveTo>
                      <a:pt x="1908" y="13680"/>
                    </a:moveTo>
                    <a:cubicBezTo>
                      <a:pt x="1908" y="7212"/>
                      <a:pt x="7165" y="1954"/>
                      <a:pt x="13633" y="1954"/>
                    </a:cubicBezTo>
                    <a:cubicBezTo>
                      <a:pt x="20101" y="1954"/>
                      <a:pt x="25405" y="7212"/>
                      <a:pt x="25405" y="13680"/>
                    </a:cubicBezTo>
                    <a:cubicBezTo>
                      <a:pt x="25405" y="20147"/>
                      <a:pt x="20147" y="25405"/>
                      <a:pt x="13633" y="25405"/>
                    </a:cubicBezTo>
                    <a:cubicBezTo>
                      <a:pt x="7165" y="25452"/>
                      <a:pt x="1908" y="20194"/>
                      <a:pt x="1908" y="13680"/>
                    </a:cubicBezTo>
                    <a:close/>
                  </a:path>
                </a:pathLst>
              </a:custGeom>
              <a:grpFill/>
              <a:ln w="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2" name="Bild 26">
                <a:extLst>
                  <a:ext uri="{FF2B5EF4-FFF2-40B4-BE49-F238E27FC236}">
                    <a16:creationId xmlns:a16="http://schemas.microsoft.com/office/drawing/2014/main" id="{104CD94D-674B-46D3-B731-A25FF4F69292}"/>
                  </a:ext>
                </a:extLst>
              </p:cNvPr>
              <p:cNvSpPr/>
              <p:nvPr/>
            </p:nvSpPr>
            <p:spPr>
              <a:xfrm>
                <a:off x="2880513" y="5234283"/>
                <a:ext cx="12190" cy="15122"/>
              </a:xfrm>
              <a:custGeom>
                <a:avLst/>
                <a:gdLst>
                  <a:gd name="connsiteX0" fmla="*/ 7119 w 12190"/>
                  <a:gd name="connsiteY0" fmla="*/ 0 h 15122"/>
                  <a:gd name="connsiteX1" fmla="*/ 10469 w 12190"/>
                  <a:gd name="connsiteY1" fmla="*/ 1070 h 15122"/>
                  <a:gd name="connsiteX2" fmla="*/ 11679 w 12190"/>
                  <a:gd name="connsiteY2" fmla="*/ 3955 h 15122"/>
                  <a:gd name="connsiteX3" fmla="*/ 11074 w 12190"/>
                  <a:gd name="connsiteY3" fmla="*/ 6375 h 15122"/>
                  <a:gd name="connsiteX4" fmla="*/ 9073 w 12190"/>
                  <a:gd name="connsiteY4" fmla="*/ 7770 h 15122"/>
                  <a:gd name="connsiteX5" fmla="*/ 9073 w 12190"/>
                  <a:gd name="connsiteY5" fmla="*/ 7817 h 15122"/>
                  <a:gd name="connsiteX6" fmla="*/ 10143 w 12190"/>
                  <a:gd name="connsiteY6" fmla="*/ 8236 h 15122"/>
                  <a:gd name="connsiteX7" fmla="*/ 10795 w 12190"/>
                  <a:gd name="connsiteY7" fmla="*/ 8934 h 15122"/>
                  <a:gd name="connsiteX8" fmla="*/ 11167 w 12190"/>
                  <a:gd name="connsiteY8" fmla="*/ 9864 h 15122"/>
                  <a:gd name="connsiteX9" fmla="*/ 11353 w 12190"/>
                  <a:gd name="connsiteY9" fmla="*/ 10934 h 15122"/>
                  <a:gd name="connsiteX10" fmla="*/ 11400 w 12190"/>
                  <a:gd name="connsiteY10" fmla="*/ 12051 h 15122"/>
                  <a:gd name="connsiteX11" fmla="*/ 11493 w 12190"/>
                  <a:gd name="connsiteY11" fmla="*/ 13168 h 15122"/>
                  <a:gd name="connsiteX12" fmla="*/ 11725 w 12190"/>
                  <a:gd name="connsiteY12" fmla="*/ 14238 h 15122"/>
                  <a:gd name="connsiteX13" fmla="*/ 12191 w 12190"/>
                  <a:gd name="connsiteY13" fmla="*/ 15122 h 15122"/>
                  <a:gd name="connsiteX14" fmla="*/ 9957 w 12190"/>
                  <a:gd name="connsiteY14" fmla="*/ 15122 h 15122"/>
                  <a:gd name="connsiteX15" fmla="*/ 9678 w 12190"/>
                  <a:gd name="connsiteY15" fmla="*/ 14471 h 15122"/>
                  <a:gd name="connsiteX16" fmla="*/ 9585 w 12190"/>
                  <a:gd name="connsiteY16" fmla="*/ 13587 h 15122"/>
                  <a:gd name="connsiteX17" fmla="*/ 9539 w 12190"/>
                  <a:gd name="connsiteY17" fmla="*/ 12516 h 15122"/>
                  <a:gd name="connsiteX18" fmla="*/ 9399 w 12190"/>
                  <a:gd name="connsiteY18" fmla="*/ 11400 h 15122"/>
                  <a:gd name="connsiteX19" fmla="*/ 9166 w 12190"/>
                  <a:gd name="connsiteY19" fmla="*/ 10330 h 15122"/>
                  <a:gd name="connsiteX20" fmla="*/ 8748 w 12190"/>
                  <a:gd name="connsiteY20" fmla="*/ 9445 h 15122"/>
                  <a:gd name="connsiteX21" fmla="*/ 8050 w 12190"/>
                  <a:gd name="connsiteY21" fmla="*/ 8841 h 15122"/>
                  <a:gd name="connsiteX22" fmla="*/ 6886 w 12190"/>
                  <a:gd name="connsiteY22" fmla="*/ 8608 h 15122"/>
                  <a:gd name="connsiteX23" fmla="*/ 2001 w 12190"/>
                  <a:gd name="connsiteY23" fmla="*/ 8608 h 15122"/>
                  <a:gd name="connsiteX24" fmla="*/ 2001 w 12190"/>
                  <a:gd name="connsiteY24" fmla="*/ 15076 h 15122"/>
                  <a:gd name="connsiteX25" fmla="*/ 0 w 12190"/>
                  <a:gd name="connsiteY25" fmla="*/ 15076 h 15122"/>
                  <a:gd name="connsiteX26" fmla="*/ 0 w 12190"/>
                  <a:gd name="connsiteY26" fmla="*/ 0 h 15122"/>
                  <a:gd name="connsiteX27" fmla="*/ 7119 w 12190"/>
                  <a:gd name="connsiteY27" fmla="*/ 0 h 15122"/>
                  <a:gd name="connsiteX28" fmla="*/ 7538 w 12190"/>
                  <a:gd name="connsiteY28" fmla="*/ 6840 h 15122"/>
                  <a:gd name="connsiteX29" fmla="*/ 8655 w 12190"/>
                  <a:gd name="connsiteY29" fmla="*/ 6421 h 15122"/>
                  <a:gd name="connsiteX30" fmla="*/ 9399 w 12190"/>
                  <a:gd name="connsiteY30" fmla="*/ 5584 h 15122"/>
                  <a:gd name="connsiteX31" fmla="*/ 9678 w 12190"/>
                  <a:gd name="connsiteY31" fmla="*/ 4234 h 15122"/>
                  <a:gd name="connsiteX32" fmla="*/ 9027 w 12190"/>
                  <a:gd name="connsiteY32" fmla="*/ 2373 h 15122"/>
                  <a:gd name="connsiteX33" fmla="*/ 6979 w 12190"/>
                  <a:gd name="connsiteY33" fmla="*/ 1675 h 15122"/>
                  <a:gd name="connsiteX34" fmla="*/ 2001 w 12190"/>
                  <a:gd name="connsiteY34" fmla="*/ 1675 h 15122"/>
                  <a:gd name="connsiteX35" fmla="*/ 2001 w 12190"/>
                  <a:gd name="connsiteY35" fmla="*/ 6933 h 15122"/>
                  <a:gd name="connsiteX36" fmla="*/ 6188 w 12190"/>
                  <a:gd name="connsiteY36" fmla="*/ 6933 h 15122"/>
                  <a:gd name="connsiteX37" fmla="*/ 7538 w 12190"/>
                  <a:gd name="connsiteY37" fmla="*/ 6840 h 151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12190" h="15122">
                    <a:moveTo>
                      <a:pt x="7119" y="0"/>
                    </a:moveTo>
                    <a:cubicBezTo>
                      <a:pt x="8561" y="0"/>
                      <a:pt x="9678" y="372"/>
                      <a:pt x="10469" y="1070"/>
                    </a:cubicBezTo>
                    <a:cubicBezTo>
                      <a:pt x="11260" y="1768"/>
                      <a:pt x="11679" y="2745"/>
                      <a:pt x="11679" y="3955"/>
                    </a:cubicBezTo>
                    <a:cubicBezTo>
                      <a:pt x="11679" y="4886"/>
                      <a:pt x="11493" y="5677"/>
                      <a:pt x="11074" y="6375"/>
                    </a:cubicBezTo>
                    <a:cubicBezTo>
                      <a:pt x="10655" y="7072"/>
                      <a:pt x="10004" y="7538"/>
                      <a:pt x="9073" y="7770"/>
                    </a:cubicBezTo>
                    <a:lnTo>
                      <a:pt x="9073" y="7817"/>
                    </a:lnTo>
                    <a:cubicBezTo>
                      <a:pt x="9492" y="7910"/>
                      <a:pt x="9864" y="8050"/>
                      <a:pt x="10143" y="8236"/>
                    </a:cubicBezTo>
                    <a:cubicBezTo>
                      <a:pt x="10423" y="8422"/>
                      <a:pt x="10655" y="8654"/>
                      <a:pt x="10795" y="8934"/>
                    </a:cubicBezTo>
                    <a:cubicBezTo>
                      <a:pt x="10981" y="9213"/>
                      <a:pt x="11074" y="9539"/>
                      <a:pt x="11167" y="9864"/>
                    </a:cubicBezTo>
                    <a:cubicBezTo>
                      <a:pt x="11260" y="10190"/>
                      <a:pt x="11307" y="10562"/>
                      <a:pt x="11353" y="10934"/>
                    </a:cubicBezTo>
                    <a:cubicBezTo>
                      <a:pt x="11400" y="11307"/>
                      <a:pt x="11400" y="11679"/>
                      <a:pt x="11400" y="12051"/>
                    </a:cubicBezTo>
                    <a:cubicBezTo>
                      <a:pt x="11400" y="12423"/>
                      <a:pt x="11446" y="12796"/>
                      <a:pt x="11493" y="13168"/>
                    </a:cubicBezTo>
                    <a:cubicBezTo>
                      <a:pt x="11539" y="13540"/>
                      <a:pt x="11632" y="13866"/>
                      <a:pt x="11725" y="14238"/>
                    </a:cubicBezTo>
                    <a:cubicBezTo>
                      <a:pt x="11819" y="14564"/>
                      <a:pt x="12005" y="14843"/>
                      <a:pt x="12191" y="15122"/>
                    </a:cubicBezTo>
                    <a:lnTo>
                      <a:pt x="9957" y="15122"/>
                    </a:lnTo>
                    <a:cubicBezTo>
                      <a:pt x="9818" y="14983"/>
                      <a:pt x="9725" y="14750"/>
                      <a:pt x="9678" y="14471"/>
                    </a:cubicBezTo>
                    <a:cubicBezTo>
                      <a:pt x="9632" y="14192"/>
                      <a:pt x="9585" y="13912"/>
                      <a:pt x="9585" y="13587"/>
                    </a:cubicBezTo>
                    <a:cubicBezTo>
                      <a:pt x="9585" y="13261"/>
                      <a:pt x="9539" y="12889"/>
                      <a:pt x="9539" y="12516"/>
                    </a:cubicBezTo>
                    <a:cubicBezTo>
                      <a:pt x="9539" y="12144"/>
                      <a:pt x="9492" y="11772"/>
                      <a:pt x="9399" y="11400"/>
                    </a:cubicBezTo>
                    <a:cubicBezTo>
                      <a:pt x="9352" y="11027"/>
                      <a:pt x="9259" y="10702"/>
                      <a:pt x="9166" y="10330"/>
                    </a:cubicBezTo>
                    <a:cubicBezTo>
                      <a:pt x="9073" y="10004"/>
                      <a:pt x="8934" y="9725"/>
                      <a:pt x="8748" y="9445"/>
                    </a:cubicBezTo>
                    <a:cubicBezTo>
                      <a:pt x="8561" y="9213"/>
                      <a:pt x="8329" y="8980"/>
                      <a:pt x="8050" y="8841"/>
                    </a:cubicBezTo>
                    <a:cubicBezTo>
                      <a:pt x="7770" y="8701"/>
                      <a:pt x="7352" y="8608"/>
                      <a:pt x="6886" y="8608"/>
                    </a:cubicBezTo>
                    <a:lnTo>
                      <a:pt x="2001" y="8608"/>
                    </a:lnTo>
                    <a:lnTo>
                      <a:pt x="2001" y="15076"/>
                    </a:lnTo>
                    <a:lnTo>
                      <a:pt x="0" y="15076"/>
                    </a:lnTo>
                    <a:lnTo>
                      <a:pt x="0" y="0"/>
                    </a:lnTo>
                    <a:lnTo>
                      <a:pt x="7119" y="0"/>
                    </a:lnTo>
                    <a:close/>
                    <a:moveTo>
                      <a:pt x="7538" y="6840"/>
                    </a:moveTo>
                    <a:cubicBezTo>
                      <a:pt x="7957" y="6747"/>
                      <a:pt x="8329" y="6654"/>
                      <a:pt x="8655" y="6421"/>
                    </a:cubicBezTo>
                    <a:cubicBezTo>
                      <a:pt x="8980" y="6235"/>
                      <a:pt x="9213" y="5956"/>
                      <a:pt x="9399" y="5584"/>
                    </a:cubicBezTo>
                    <a:cubicBezTo>
                      <a:pt x="9585" y="5258"/>
                      <a:pt x="9678" y="4793"/>
                      <a:pt x="9678" y="4234"/>
                    </a:cubicBezTo>
                    <a:cubicBezTo>
                      <a:pt x="9678" y="3490"/>
                      <a:pt x="9446" y="2838"/>
                      <a:pt x="9027" y="2373"/>
                    </a:cubicBezTo>
                    <a:cubicBezTo>
                      <a:pt x="8608" y="1908"/>
                      <a:pt x="7910" y="1675"/>
                      <a:pt x="6979" y="1675"/>
                    </a:cubicBezTo>
                    <a:lnTo>
                      <a:pt x="2001" y="1675"/>
                    </a:lnTo>
                    <a:lnTo>
                      <a:pt x="2001" y="6933"/>
                    </a:lnTo>
                    <a:lnTo>
                      <a:pt x="6188" y="6933"/>
                    </a:lnTo>
                    <a:cubicBezTo>
                      <a:pt x="6700" y="6933"/>
                      <a:pt x="7119" y="6933"/>
                      <a:pt x="7538" y="6840"/>
                    </a:cubicBezTo>
                    <a:close/>
                  </a:path>
                </a:pathLst>
              </a:custGeom>
              <a:grpFill/>
              <a:ln w="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</p:grpSp>
      <p:sp>
        <p:nvSpPr>
          <p:cNvPr id="39" name="Rectangle 38">
            <a:extLst>
              <a:ext uri="{FF2B5EF4-FFF2-40B4-BE49-F238E27FC236}">
                <a16:creationId xmlns:a16="http://schemas.microsoft.com/office/drawing/2014/main" id="{1D318581-E2A3-4384-8F72-59BBBAB28539}"/>
              </a:ext>
            </a:extLst>
          </p:cNvPr>
          <p:cNvSpPr/>
          <p:nvPr userDrawn="1"/>
        </p:nvSpPr>
        <p:spPr>
          <a:xfrm>
            <a:off x="6871389" y="0"/>
            <a:ext cx="5320612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30" name="Bild 26">
            <a:extLst>
              <a:ext uri="{FF2B5EF4-FFF2-40B4-BE49-F238E27FC236}">
                <a16:creationId xmlns:a16="http://schemas.microsoft.com/office/drawing/2014/main" id="{4FCDCF54-0F4C-4463-B652-9A1635AAAA77}"/>
              </a:ext>
            </a:extLst>
          </p:cNvPr>
          <p:cNvGrpSpPr/>
          <p:nvPr userDrawn="1"/>
        </p:nvGrpSpPr>
        <p:grpSpPr>
          <a:xfrm>
            <a:off x="10598464" y="5003330"/>
            <a:ext cx="995315" cy="1233958"/>
            <a:chOff x="1512687" y="4966506"/>
            <a:chExt cx="382890" cy="474694"/>
          </a:xfrm>
          <a:solidFill>
            <a:srgbClr val="BFD464"/>
          </a:solidFill>
        </p:grpSpPr>
        <p:sp>
          <p:nvSpPr>
            <p:cNvPr id="31" name="Bild 26">
              <a:extLst>
                <a:ext uri="{FF2B5EF4-FFF2-40B4-BE49-F238E27FC236}">
                  <a16:creationId xmlns:a16="http://schemas.microsoft.com/office/drawing/2014/main" id="{5A2F975F-5116-47E5-8578-68A4BDB269F9}"/>
                </a:ext>
              </a:extLst>
            </p:cNvPr>
            <p:cNvSpPr/>
            <p:nvPr/>
          </p:nvSpPr>
          <p:spPr>
            <a:xfrm>
              <a:off x="1659208" y="5105210"/>
              <a:ext cx="188072" cy="126281"/>
            </a:xfrm>
            <a:custGeom>
              <a:avLst/>
              <a:gdLst>
                <a:gd name="connsiteX0" fmla="*/ 188072 w 188072"/>
                <a:gd name="connsiteY0" fmla="*/ 59837 h 126281"/>
                <a:gd name="connsiteX1" fmla="*/ 96409 w 188072"/>
                <a:gd name="connsiteY1" fmla="*/ 5490 h 126281"/>
                <a:gd name="connsiteX2" fmla="*/ 69329 w 188072"/>
                <a:gd name="connsiteY2" fmla="*/ 0 h 126281"/>
                <a:gd name="connsiteX3" fmla="*/ 0 w 188072"/>
                <a:gd name="connsiteY3" fmla="*/ 68817 h 126281"/>
                <a:gd name="connsiteX4" fmla="*/ 95758 w 188072"/>
                <a:gd name="connsiteY4" fmla="*/ 126281 h 126281"/>
                <a:gd name="connsiteX5" fmla="*/ 166994 w 188072"/>
                <a:gd name="connsiteY5" fmla="*/ 56626 h 126281"/>
                <a:gd name="connsiteX6" fmla="*/ 188072 w 188072"/>
                <a:gd name="connsiteY6" fmla="*/ 59837 h 126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8072" h="126281">
                  <a:moveTo>
                    <a:pt x="188072" y="59837"/>
                  </a:moveTo>
                  <a:cubicBezTo>
                    <a:pt x="167971" y="47925"/>
                    <a:pt x="96409" y="5490"/>
                    <a:pt x="96409" y="5490"/>
                  </a:cubicBezTo>
                  <a:cubicBezTo>
                    <a:pt x="87848" y="1861"/>
                    <a:pt x="78728" y="0"/>
                    <a:pt x="69329" y="0"/>
                  </a:cubicBezTo>
                  <a:cubicBezTo>
                    <a:pt x="31268" y="0"/>
                    <a:pt x="279" y="30803"/>
                    <a:pt x="0" y="68817"/>
                  </a:cubicBezTo>
                  <a:cubicBezTo>
                    <a:pt x="977" y="69422"/>
                    <a:pt x="93105" y="124653"/>
                    <a:pt x="95758" y="126281"/>
                  </a:cubicBezTo>
                  <a:cubicBezTo>
                    <a:pt x="96642" y="87755"/>
                    <a:pt x="128235" y="56626"/>
                    <a:pt x="166994" y="56626"/>
                  </a:cubicBezTo>
                  <a:cubicBezTo>
                    <a:pt x="174346" y="56673"/>
                    <a:pt x="181418" y="57743"/>
                    <a:pt x="188072" y="59837"/>
                  </a:cubicBezTo>
                  <a:close/>
                </a:path>
              </a:pathLst>
            </a:custGeom>
            <a:grpFill/>
            <a:ln w="4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" name="Bild 26">
              <a:extLst>
                <a:ext uri="{FF2B5EF4-FFF2-40B4-BE49-F238E27FC236}">
                  <a16:creationId xmlns:a16="http://schemas.microsoft.com/office/drawing/2014/main" id="{83FBEEDB-E6E1-432C-8506-24AD8224ECE7}"/>
                </a:ext>
              </a:extLst>
            </p:cNvPr>
            <p:cNvSpPr/>
            <p:nvPr/>
          </p:nvSpPr>
          <p:spPr>
            <a:xfrm>
              <a:off x="1616587" y="5183984"/>
              <a:ext cx="138332" cy="126327"/>
            </a:xfrm>
            <a:custGeom>
              <a:avLst/>
              <a:gdLst>
                <a:gd name="connsiteX0" fmla="*/ 138332 w 138332"/>
                <a:gd name="connsiteY0" fmla="*/ 57510 h 126327"/>
                <a:gd name="connsiteX1" fmla="*/ 42528 w 138332"/>
                <a:gd name="connsiteY1" fmla="*/ 0 h 126327"/>
                <a:gd name="connsiteX2" fmla="*/ 0 w 138332"/>
                <a:gd name="connsiteY2" fmla="*/ 63606 h 126327"/>
                <a:gd name="connsiteX3" fmla="*/ 69003 w 138332"/>
                <a:gd name="connsiteY3" fmla="*/ 126328 h 126327"/>
                <a:gd name="connsiteX4" fmla="*/ 138332 w 138332"/>
                <a:gd name="connsiteY4" fmla="*/ 57510 h 126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8332" h="126327">
                  <a:moveTo>
                    <a:pt x="138332" y="57510"/>
                  </a:moveTo>
                  <a:cubicBezTo>
                    <a:pt x="137355" y="56906"/>
                    <a:pt x="45134" y="1582"/>
                    <a:pt x="42528" y="0"/>
                  </a:cubicBezTo>
                  <a:cubicBezTo>
                    <a:pt x="41877" y="27685"/>
                    <a:pt x="25405" y="52439"/>
                    <a:pt x="0" y="63606"/>
                  </a:cubicBezTo>
                  <a:cubicBezTo>
                    <a:pt x="3350" y="98829"/>
                    <a:pt x="33548" y="126328"/>
                    <a:pt x="69003" y="126328"/>
                  </a:cubicBezTo>
                  <a:cubicBezTo>
                    <a:pt x="107064" y="126328"/>
                    <a:pt x="138006" y="95525"/>
                    <a:pt x="138332" y="57510"/>
                  </a:cubicBezTo>
                  <a:close/>
                </a:path>
              </a:pathLst>
            </a:custGeom>
            <a:grpFill/>
            <a:ln w="4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" name="Bild 26">
              <a:extLst>
                <a:ext uri="{FF2B5EF4-FFF2-40B4-BE49-F238E27FC236}">
                  <a16:creationId xmlns:a16="http://schemas.microsoft.com/office/drawing/2014/main" id="{2FAF8016-0EA4-4BED-BD08-45F182768F27}"/>
                </a:ext>
              </a:extLst>
            </p:cNvPr>
            <p:cNvSpPr/>
            <p:nvPr/>
          </p:nvSpPr>
          <p:spPr>
            <a:xfrm>
              <a:off x="1757199" y="5169653"/>
              <a:ext cx="138378" cy="271546"/>
            </a:xfrm>
            <a:custGeom>
              <a:avLst/>
              <a:gdLst>
                <a:gd name="connsiteX0" fmla="*/ 69050 w 138378"/>
                <a:gd name="connsiteY0" fmla="*/ 0 h 271546"/>
                <a:gd name="connsiteX1" fmla="*/ 42435 w 138378"/>
                <a:gd name="connsiteY1" fmla="*/ 5304 h 271546"/>
                <a:gd name="connsiteX2" fmla="*/ 42668 w 138378"/>
                <a:gd name="connsiteY2" fmla="*/ 10748 h 271546"/>
                <a:gd name="connsiteX3" fmla="*/ 42668 w 138378"/>
                <a:gd name="connsiteY3" fmla="*/ 143590 h 271546"/>
                <a:gd name="connsiteX4" fmla="*/ 0 w 138378"/>
                <a:gd name="connsiteY4" fmla="*/ 208871 h 271546"/>
                <a:gd name="connsiteX5" fmla="*/ 69003 w 138378"/>
                <a:gd name="connsiteY5" fmla="*/ 271546 h 271546"/>
                <a:gd name="connsiteX6" fmla="*/ 138379 w 138378"/>
                <a:gd name="connsiteY6" fmla="*/ 202217 h 271546"/>
                <a:gd name="connsiteX7" fmla="*/ 138379 w 138378"/>
                <a:gd name="connsiteY7" fmla="*/ 69376 h 271546"/>
                <a:gd name="connsiteX8" fmla="*/ 69050 w 138378"/>
                <a:gd name="connsiteY8" fmla="*/ 0 h 271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8378" h="271546">
                  <a:moveTo>
                    <a:pt x="69050" y="0"/>
                  </a:moveTo>
                  <a:cubicBezTo>
                    <a:pt x="59604" y="0"/>
                    <a:pt x="50624" y="1908"/>
                    <a:pt x="42435" y="5304"/>
                  </a:cubicBezTo>
                  <a:lnTo>
                    <a:pt x="42668" y="10748"/>
                  </a:lnTo>
                  <a:lnTo>
                    <a:pt x="42668" y="143590"/>
                  </a:lnTo>
                  <a:cubicBezTo>
                    <a:pt x="42668" y="171973"/>
                    <a:pt x="25963" y="197471"/>
                    <a:pt x="0" y="208871"/>
                  </a:cubicBezTo>
                  <a:cubicBezTo>
                    <a:pt x="3350" y="244047"/>
                    <a:pt x="33548" y="271546"/>
                    <a:pt x="69003" y="271546"/>
                  </a:cubicBezTo>
                  <a:cubicBezTo>
                    <a:pt x="107250" y="271546"/>
                    <a:pt x="138379" y="240418"/>
                    <a:pt x="138379" y="202217"/>
                  </a:cubicBezTo>
                  <a:lnTo>
                    <a:pt x="138379" y="69376"/>
                  </a:lnTo>
                  <a:cubicBezTo>
                    <a:pt x="138379" y="31128"/>
                    <a:pt x="107250" y="0"/>
                    <a:pt x="69050" y="0"/>
                  </a:cubicBezTo>
                  <a:close/>
                </a:path>
              </a:pathLst>
            </a:custGeom>
            <a:grpFill/>
            <a:ln w="4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" name="Bild 26">
              <a:extLst>
                <a:ext uri="{FF2B5EF4-FFF2-40B4-BE49-F238E27FC236}">
                  <a16:creationId xmlns:a16="http://schemas.microsoft.com/office/drawing/2014/main" id="{ADE826A2-7AE5-4FCC-AFEC-EFA65C30BBD5}"/>
                </a:ext>
              </a:extLst>
            </p:cNvPr>
            <p:cNvSpPr/>
            <p:nvPr/>
          </p:nvSpPr>
          <p:spPr>
            <a:xfrm>
              <a:off x="1654555" y="5316873"/>
              <a:ext cx="110647" cy="101434"/>
            </a:xfrm>
            <a:custGeom>
              <a:avLst/>
              <a:gdLst>
                <a:gd name="connsiteX0" fmla="*/ 0 w 110647"/>
                <a:gd name="connsiteY0" fmla="*/ 0 h 101434"/>
                <a:gd name="connsiteX1" fmla="*/ 93571 w 110647"/>
                <a:gd name="connsiteY1" fmla="*/ 56161 h 101434"/>
                <a:gd name="connsiteX2" fmla="*/ 93803 w 110647"/>
                <a:gd name="connsiteY2" fmla="*/ 61233 h 101434"/>
                <a:gd name="connsiteX3" fmla="*/ 110647 w 110647"/>
                <a:gd name="connsiteY3" fmla="*/ 101434 h 101434"/>
                <a:gd name="connsiteX4" fmla="*/ 27127 w 110647"/>
                <a:gd name="connsiteY4" fmla="*/ 51182 h 101434"/>
                <a:gd name="connsiteX5" fmla="*/ 0 w 110647"/>
                <a:gd name="connsiteY5" fmla="*/ 0 h 101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647" h="101434">
                  <a:moveTo>
                    <a:pt x="0" y="0"/>
                  </a:moveTo>
                  <a:cubicBezTo>
                    <a:pt x="3164" y="1908"/>
                    <a:pt x="93012" y="55789"/>
                    <a:pt x="93571" y="56161"/>
                  </a:cubicBezTo>
                  <a:cubicBezTo>
                    <a:pt x="93617" y="57045"/>
                    <a:pt x="93803" y="61233"/>
                    <a:pt x="93803" y="61233"/>
                  </a:cubicBezTo>
                  <a:cubicBezTo>
                    <a:pt x="95060" y="75983"/>
                    <a:pt x="101015" y="90035"/>
                    <a:pt x="110647" y="101434"/>
                  </a:cubicBezTo>
                  <a:cubicBezTo>
                    <a:pt x="100364" y="95246"/>
                    <a:pt x="27266" y="51229"/>
                    <a:pt x="27127" y="51182"/>
                  </a:cubicBezTo>
                  <a:cubicBezTo>
                    <a:pt x="10841" y="38945"/>
                    <a:pt x="1070" y="20380"/>
                    <a:pt x="0" y="0"/>
                  </a:cubicBezTo>
                  <a:close/>
                </a:path>
              </a:pathLst>
            </a:custGeom>
            <a:grpFill/>
            <a:ln w="4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" name="Bild 26">
              <a:extLst>
                <a:ext uri="{FF2B5EF4-FFF2-40B4-BE49-F238E27FC236}">
                  <a16:creationId xmlns:a16="http://schemas.microsoft.com/office/drawing/2014/main" id="{F3620C34-B8A3-4119-B047-A04CFC54562D}"/>
                </a:ext>
              </a:extLst>
            </p:cNvPr>
            <p:cNvSpPr/>
            <p:nvPr/>
          </p:nvSpPr>
          <p:spPr>
            <a:xfrm>
              <a:off x="1512687" y="4966506"/>
              <a:ext cx="138378" cy="325241"/>
            </a:xfrm>
            <a:custGeom>
              <a:avLst/>
              <a:gdLst>
                <a:gd name="connsiteX0" fmla="*/ 95711 w 138378"/>
                <a:gd name="connsiteY0" fmla="*/ 274478 h 325241"/>
                <a:gd name="connsiteX1" fmla="*/ 95711 w 138378"/>
                <a:gd name="connsiteY1" fmla="*/ 113904 h 325241"/>
                <a:gd name="connsiteX2" fmla="*/ 95711 w 138378"/>
                <a:gd name="connsiteY2" fmla="*/ 127956 h 325241"/>
                <a:gd name="connsiteX3" fmla="*/ 138379 w 138378"/>
                <a:gd name="connsiteY3" fmla="*/ 62675 h 325241"/>
                <a:gd name="connsiteX4" fmla="*/ 69375 w 138378"/>
                <a:gd name="connsiteY4" fmla="*/ 0 h 325241"/>
                <a:gd name="connsiteX5" fmla="*/ 0 w 138378"/>
                <a:gd name="connsiteY5" fmla="*/ 69329 h 325241"/>
                <a:gd name="connsiteX6" fmla="*/ 0 w 138378"/>
                <a:gd name="connsiteY6" fmla="*/ 89662 h 325241"/>
                <a:gd name="connsiteX7" fmla="*/ 0 w 138378"/>
                <a:gd name="connsiteY7" fmla="*/ 215850 h 325241"/>
                <a:gd name="connsiteX8" fmla="*/ 27825 w 138378"/>
                <a:gd name="connsiteY8" fmla="*/ 271407 h 325241"/>
                <a:gd name="connsiteX9" fmla="*/ 117301 w 138378"/>
                <a:gd name="connsiteY9" fmla="*/ 325241 h 325241"/>
                <a:gd name="connsiteX10" fmla="*/ 96037 w 138378"/>
                <a:gd name="connsiteY10" fmla="*/ 280619 h 325241"/>
                <a:gd name="connsiteX11" fmla="*/ 95711 w 138378"/>
                <a:gd name="connsiteY11" fmla="*/ 274478 h 3252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8378" h="325241">
                  <a:moveTo>
                    <a:pt x="95711" y="274478"/>
                  </a:moveTo>
                  <a:cubicBezTo>
                    <a:pt x="95711" y="274478"/>
                    <a:pt x="95711" y="114649"/>
                    <a:pt x="95711" y="113904"/>
                  </a:cubicBezTo>
                  <a:lnTo>
                    <a:pt x="95711" y="127956"/>
                  </a:lnTo>
                  <a:cubicBezTo>
                    <a:pt x="95711" y="99573"/>
                    <a:pt x="112415" y="74075"/>
                    <a:pt x="138379" y="62675"/>
                  </a:cubicBezTo>
                  <a:cubicBezTo>
                    <a:pt x="134982" y="27499"/>
                    <a:pt x="104831" y="0"/>
                    <a:pt x="69375" y="0"/>
                  </a:cubicBezTo>
                  <a:cubicBezTo>
                    <a:pt x="31128" y="0"/>
                    <a:pt x="0" y="31128"/>
                    <a:pt x="0" y="69329"/>
                  </a:cubicBezTo>
                  <a:lnTo>
                    <a:pt x="0" y="89662"/>
                  </a:lnTo>
                  <a:cubicBezTo>
                    <a:pt x="0" y="91849"/>
                    <a:pt x="0" y="215850"/>
                    <a:pt x="0" y="215850"/>
                  </a:cubicBezTo>
                  <a:cubicBezTo>
                    <a:pt x="0" y="237952"/>
                    <a:pt x="10190" y="258192"/>
                    <a:pt x="27825" y="271407"/>
                  </a:cubicBezTo>
                  <a:cubicBezTo>
                    <a:pt x="27825" y="271407"/>
                    <a:pt x="101481" y="315749"/>
                    <a:pt x="117301" y="325241"/>
                  </a:cubicBezTo>
                  <a:cubicBezTo>
                    <a:pt x="105436" y="313655"/>
                    <a:pt x="97526" y="298068"/>
                    <a:pt x="96037" y="280619"/>
                  </a:cubicBezTo>
                  <a:lnTo>
                    <a:pt x="95711" y="274478"/>
                  </a:lnTo>
                  <a:close/>
                </a:path>
              </a:pathLst>
            </a:custGeom>
            <a:grpFill/>
            <a:ln w="4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" name="Bild 26">
              <a:extLst>
                <a:ext uri="{FF2B5EF4-FFF2-40B4-BE49-F238E27FC236}">
                  <a16:creationId xmlns:a16="http://schemas.microsoft.com/office/drawing/2014/main" id="{8932E2D7-60B2-441E-8134-CDF71E01C291}"/>
                </a:ext>
              </a:extLst>
            </p:cNvPr>
            <p:cNvSpPr/>
            <p:nvPr/>
          </p:nvSpPr>
          <p:spPr>
            <a:xfrm>
              <a:off x="1643062" y="4989445"/>
              <a:ext cx="110647" cy="101434"/>
            </a:xfrm>
            <a:custGeom>
              <a:avLst/>
              <a:gdLst>
                <a:gd name="connsiteX0" fmla="*/ 110647 w 110647"/>
                <a:gd name="connsiteY0" fmla="*/ 101434 h 101434"/>
                <a:gd name="connsiteX1" fmla="*/ 17076 w 110647"/>
                <a:gd name="connsiteY1" fmla="*/ 45273 h 101434"/>
                <a:gd name="connsiteX2" fmla="*/ 16844 w 110647"/>
                <a:gd name="connsiteY2" fmla="*/ 40201 h 101434"/>
                <a:gd name="connsiteX3" fmla="*/ 0 w 110647"/>
                <a:gd name="connsiteY3" fmla="*/ 0 h 101434"/>
                <a:gd name="connsiteX4" fmla="*/ 83520 w 110647"/>
                <a:gd name="connsiteY4" fmla="*/ 50252 h 101434"/>
                <a:gd name="connsiteX5" fmla="*/ 110647 w 110647"/>
                <a:gd name="connsiteY5" fmla="*/ 101434 h 101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647" h="101434">
                  <a:moveTo>
                    <a:pt x="110647" y="101434"/>
                  </a:moveTo>
                  <a:cubicBezTo>
                    <a:pt x="107483" y="99527"/>
                    <a:pt x="17635" y="45645"/>
                    <a:pt x="17076" y="45273"/>
                  </a:cubicBezTo>
                  <a:cubicBezTo>
                    <a:pt x="17030" y="44389"/>
                    <a:pt x="16844" y="40201"/>
                    <a:pt x="16844" y="40201"/>
                  </a:cubicBezTo>
                  <a:cubicBezTo>
                    <a:pt x="15587" y="25452"/>
                    <a:pt x="9632" y="11400"/>
                    <a:pt x="0" y="0"/>
                  </a:cubicBezTo>
                  <a:cubicBezTo>
                    <a:pt x="10283" y="6188"/>
                    <a:pt x="83381" y="50205"/>
                    <a:pt x="83520" y="50252"/>
                  </a:cubicBezTo>
                  <a:cubicBezTo>
                    <a:pt x="99806" y="62489"/>
                    <a:pt x="109577" y="81054"/>
                    <a:pt x="110647" y="101434"/>
                  </a:cubicBezTo>
                  <a:close/>
                </a:path>
              </a:pathLst>
            </a:custGeom>
            <a:grpFill/>
            <a:ln w="4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6015412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50C2D1-275B-4019-B54F-7317D85935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9" name="Subheader">
            <a:extLst>
              <a:ext uri="{FF2B5EF4-FFF2-40B4-BE49-F238E27FC236}">
                <a16:creationId xmlns:a16="http://schemas.microsoft.com/office/drawing/2014/main" id="{8AA22376-8374-48C8-B333-2AF7066BF73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66761" y="1411923"/>
            <a:ext cx="10658477" cy="249238"/>
          </a:xfrm>
        </p:spPr>
        <p:txBody>
          <a:bodyPr lIns="0" tIns="0" rIns="0" bIns="0" anchor="t">
            <a:noAutofit/>
          </a:bodyPr>
          <a:lstStyle>
            <a:lvl1pPr marL="0" indent="0">
              <a:buFontTx/>
              <a:buNone/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err="1"/>
              <a:t>Subheader</a:t>
            </a:r>
            <a:endParaRPr lang="en-GB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ABC739BB-1242-471F-B4BE-04677381F739}"/>
              </a:ext>
            </a:extLst>
          </p:cNvPr>
          <p:cNvSpPr>
            <a:spLocks noGrp="1" noChangeAspect="1"/>
          </p:cNvSpPr>
          <p:nvPr>
            <p:ph type="body" sz="quarter" idx="27" hasCustomPrompt="1"/>
          </p:nvPr>
        </p:nvSpPr>
        <p:spPr>
          <a:xfrm>
            <a:off x="774121" y="6000750"/>
            <a:ext cx="5340351" cy="684765"/>
          </a:xfrm>
        </p:spPr>
        <p:txBody>
          <a:bodyPr>
            <a:noAutofit/>
          </a:bodyPr>
          <a:lstStyle>
            <a:lvl1pPr marL="90488" indent="-90488">
              <a:spcBef>
                <a:spcPts val="0"/>
              </a:spcBef>
              <a:buFont typeface="+mj-lt"/>
              <a:buAutoNum type="arabicPeriod"/>
              <a:defRPr sz="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265113" indent="0">
              <a:buNone/>
              <a:defRPr/>
            </a:lvl2pPr>
            <a:lvl3pPr marL="452437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GB"/>
              <a:t>Add footnot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7217C6E-3B19-414F-9ABE-220AB1979F89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8B22D6A4-62EF-4C48-BE1E-2A6C2B13A49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195329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Green Backgroun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50C2D1-275B-4019-B54F-7317D85935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9" name="Subheader">
            <a:extLst>
              <a:ext uri="{FF2B5EF4-FFF2-40B4-BE49-F238E27FC236}">
                <a16:creationId xmlns:a16="http://schemas.microsoft.com/office/drawing/2014/main" id="{8AA22376-8374-48C8-B333-2AF7066BF73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66761" y="1411923"/>
            <a:ext cx="10658477" cy="249238"/>
          </a:xfrm>
        </p:spPr>
        <p:txBody>
          <a:bodyPr lIns="0" tIns="0" rIns="0" bIns="0" anchor="t">
            <a:noAutofit/>
          </a:bodyPr>
          <a:lstStyle>
            <a:lvl1pPr marL="0" indent="0">
              <a:buFontTx/>
              <a:buNone/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err="1"/>
              <a:t>Subheader</a:t>
            </a:r>
            <a:endParaRPr lang="en-GB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1A5E0DF6-DDAA-4DDB-9769-58111D0C6719}"/>
              </a:ext>
            </a:extLst>
          </p:cNvPr>
          <p:cNvSpPr>
            <a:spLocks noGrp="1" noChangeAspect="1"/>
          </p:cNvSpPr>
          <p:nvPr>
            <p:ph type="body" sz="quarter" idx="27" hasCustomPrompt="1"/>
          </p:nvPr>
        </p:nvSpPr>
        <p:spPr>
          <a:xfrm>
            <a:off x="774121" y="6000750"/>
            <a:ext cx="5340351" cy="684765"/>
          </a:xfrm>
        </p:spPr>
        <p:txBody>
          <a:bodyPr>
            <a:noAutofit/>
          </a:bodyPr>
          <a:lstStyle>
            <a:lvl1pPr marL="90488" indent="-90488">
              <a:spcBef>
                <a:spcPts val="0"/>
              </a:spcBef>
              <a:buFont typeface="+mj-lt"/>
              <a:buAutoNum type="arabicPeriod"/>
              <a:defRPr sz="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265113" indent="0">
              <a:buNone/>
              <a:defRPr/>
            </a:lvl2pPr>
            <a:lvl3pPr marL="452437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GB"/>
              <a:t>Add footnot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2956B45-5FD7-42A5-AA62-8783944BB322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8B22D6A4-62EF-4C48-BE1E-2A6C2B13A49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156616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5FD7F879-1F21-4C41-A001-DCAB9E1FE526}"/>
              </a:ext>
            </a:extLst>
          </p:cNvPr>
          <p:cNvSpPr>
            <a:spLocks noGrp="1" noChangeAspect="1"/>
          </p:cNvSpPr>
          <p:nvPr>
            <p:ph type="body" sz="quarter" idx="27" hasCustomPrompt="1"/>
          </p:nvPr>
        </p:nvSpPr>
        <p:spPr>
          <a:xfrm>
            <a:off x="774121" y="6000750"/>
            <a:ext cx="5340351" cy="684765"/>
          </a:xfrm>
        </p:spPr>
        <p:txBody>
          <a:bodyPr>
            <a:noAutofit/>
          </a:bodyPr>
          <a:lstStyle>
            <a:lvl1pPr marL="90488" indent="-90488">
              <a:spcBef>
                <a:spcPts val="0"/>
              </a:spcBef>
              <a:buFont typeface="+mj-lt"/>
              <a:buAutoNum type="arabicPeriod"/>
              <a:defRPr sz="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265113" indent="0">
              <a:buNone/>
              <a:defRPr/>
            </a:lvl2pPr>
            <a:lvl3pPr marL="452437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GB"/>
              <a:t>Add footnot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8B1163C-7FE9-454F-B748-DBA5B490ACF1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8B22D6A4-62EF-4C48-BE1E-2A6C2B13A49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4431424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Platshållare för bild 30">
            <a:extLst>
              <a:ext uri="{FF2B5EF4-FFF2-40B4-BE49-F238E27FC236}">
                <a16:creationId xmlns:a16="http://schemas.microsoft.com/office/drawing/2014/main" id="{7511311D-CF3C-4FDF-8A8B-0C0D21CE735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1999" cy="6857999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r>
              <a:rPr lang="en-GB"/>
              <a:t>Click icon to add pictur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BFB74B6-1B32-4C55-9371-3416F5EB3D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0987073-A0A8-441D-9672-5019A040D6B7}"/>
              </a:ext>
            </a:extLst>
          </p:cNvPr>
          <p:cNvSpPr>
            <a:spLocks noGrp="1" noChangeAspect="1"/>
          </p:cNvSpPr>
          <p:nvPr>
            <p:ph type="body" sz="quarter" idx="27" hasCustomPrompt="1"/>
          </p:nvPr>
        </p:nvSpPr>
        <p:spPr>
          <a:xfrm>
            <a:off x="774121" y="6000750"/>
            <a:ext cx="5340351" cy="684765"/>
          </a:xfrm>
        </p:spPr>
        <p:txBody>
          <a:bodyPr>
            <a:noAutofit/>
          </a:bodyPr>
          <a:lstStyle>
            <a:lvl1pPr marL="90488" indent="-90488">
              <a:spcBef>
                <a:spcPts val="0"/>
              </a:spcBef>
              <a:buFont typeface="+mj-lt"/>
              <a:buAutoNum type="arabicPeriod"/>
              <a:defRPr sz="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265113" indent="0">
              <a:buNone/>
              <a:defRPr/>
            </a:lvl2pPr>
            <a:lvl3pPr marL="452437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GB"/>
              <a:t>Add footnot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C67CFAF-B5D9-43A0-989B-E968053DE99D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>
          <a:xfrm>
            <a:off x="32544" y="7023311"/>
            <a:ext cx="671511" cy="122400"/>
          </a:xfrm>
        </p:spPr>
        <p:txBody>
          <a:bodyPr/>
          <a:lstStyle/>
          <a:p>
            <a:fld id="{8B22D6A4-62EF-4C48-BE1E-2A6C2B13A49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1645961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Inf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EED34D-8BF8-45C4-8A81-CC0DA6AD5D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B118C58E-3A04-4E4D-8207-D5F4D6CE9AE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66763" y="1808163"/>
            <a:ext cx="1800225" cy="3421062"/>
          </a:xfrm>
          <a:custGeom>
            <a:avLst/>
            <a:gdLst>
              <a:gd name="connsiteX0" fmla="*/ 0 w 1800225"/>
              <a:gd name="connsiteY0" fmla="*/ 0 h 3421062"/>
              <a:gd name="connsiteX1" fmla="*/ 1800225 w 1800225"/>
              <a:gd name="connsiteY1" fmla="*/ 0 h 3421062"/>
              <a:gd name="connsiteX2" fmla="*/ 1800225 w 1800225"/>
              <a:gd name="connsiteY2" fmla="*/ 3421062 h 3421062"/>
              <a:gd name="connsiteX3" fmla="*/ 0 w 1800225"/>
              <a:gd name="connsiteY3" fmla="*/ 3421062 h 3421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0225" h="3421062">
                <a:moveTo>
                  <a:pt x="0" y="0"/>
                </a:moveTo>
                <a:lnTo>
                  <a:pt x="1800225" y="0"/>
                </a:lnTo>
                <a:lnTo>
                  <a:pt x="1800225" y="3421062"/>
                </a:lnTo>
                <a:lnTo>
                  <a:pt x="0" y="342106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GB"/>
              <a:t>Click icon to add pictur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5520CDA8-5A64-4FCB-8366-95AA7F106CB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988" y="1808163"/>
            <a:ext cx="3529012" cy="3421062"/>
          </a:xfrm>
          <a:custGeom>
            <a:avLst/>
            <a:gdLst>
              <a:gd name="connsiteX0" fmla="*/ 0 w 3529012"/>
              <a:gd name="connsiteY0" fmla="*/ 0 h 3421062"/>
              <a:gd name="connsiteX1" fmla="*/ 3529012 w 3529012"/>
              <a:gd name="connsiteY1" fmla="*/ 0 h 3421062"/>
              <a:gd name="connsiteX2" fmla="*/ 3529012 w 3529012"/>
              <a:gd name="connsiteY2" fmla="*/ 3421062 h 3421062"/>
              <a:gd name="connsiteX3" fmla="*/ 0 w 3529012"/>
              <a:gd name="connsiteY3" fmla="*/ 3421062 h 3421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29012" h="3421062">
                <a:moveTo>
                  <a:pt x="0" y="0"/>
                </a:moveTo>
                <a:lnTo>
                  <a:pt x="3529012" y="0"/>
                </a:lnTo>
                <a:lnTo>
                  <a:pt x="3529012" y="3421062"/>
                </a:lnTo>
                <a:lnTo>
                  <a:pt x="0" y="3421062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108000" tIns="360000" rIns="108000" bIns="108000" anchor="b">
            <a:noAutofit/>
          </a:bodyPr>
          <a:lstStyle>
            <a:lvl1pPr marL="0" indent="0">
              <a:buFontTx/>
              <a:buNone/>
              <a:defRPr sz="1400"/>
            </a:lvl1pPr>
            <a:lvl2pPr marL="265113" indent="0">
              <a:buFontTx/>
              <a:buNone/>
              <a:defRPr/>
            </a:lvl2pPr>
            <a:lvl3pPr marL="452437" indent="0">
              <a:buFontTx/>
              <a:buNone/>
              <a:defRPr/>
            </a:lvl3pPr>
            <a:lvl4pPr marL="628650" indent="0">
              <a:buFontTx/>
              <a:buNone/>
              <a:defRPr/>
            </a:lvl4pPr>
            <a:lvl5pPr marL="806450" indent="0">
              <a:buFontTx/>
              <a:buNone/>
              <a:defRPr/>
            </a:lvl5pPr>
          </a:lstStyle>
          <a:p>
            <a:pPr lvl="0"/>
            <a:r>
              <a:rPr lang="en-GB"/>
              <a:t>Title</a:t>
            </a:r>
            <a:br>
              <a:rPr lang="en-GB"/>
            </a:br>
            <a:r>
              <a:rPr lang="en-GB"/>
              <a:t>Phone</a:t>
            </a:r>
            <a:br>
              <a:rPr lang="en-GB"/>
            </a:br>
            <a:r>
              <a:rPr lang="en-GB"/>
              <a:t>Mail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16BBD0CA-A42E-410A-860E-C4F2439554C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665413" y="4038733"/>
            <a:ext cx="3128962" cy="222250"/>
          </a:xfrm>
        </p:spPr>
        <p:txBody>
          <a:bodyPr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65113" indent="0">
              <a:buNone/>
              <a:defRPr/>
            </a:lvl2pPr>
            <a:lvl3pPr marL="452437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BD4EAAC2-E3EB-48DB-8CD6-7460031C994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107113" y="1808163"/>
            <a:ext cx="1800225" cy="3421062"/>
          </a:xfrm>
          <a:custGeom>
            <a:avLst/>
            <a:gdLst>
              <a:gd name="connsiteX0" fmla="*/ 0 w 1800225"/>
              <a:gd name="connsiteY0" fmla="*/ 0 h 3421062"/>
              <a:gd name="connsiteX1" fmla="*/ 1800225 w 1800225"/>
              <a:gd name="connsiteY1" fmla="*/ 0 h 3421062"/>
              <a:gd name="connsiteX2" fmla="*/ 1800225 w 1800225"/>
              <a:gd name="connsiteY2" fmla="*/ 3421062 h 3421062"/>
              <a:gd name="connsiteX3" fmla="*/ 0 w 1800225"/>
              <a:gd name="connsiteY3" fmla="*/ 3421062 h 3421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0225" h="3421062">
                <a:moveTo>
                  <a:pt x="0" y="0"/>
                </a:moveTo>
                <a:lnTo>
                  <a:pt x="1800225" y="0"/>
                </a:lnTo>
                <a:lnTo>
                  <a:pt x="1800225" y="3421062"/>
                </a:lnTo>
                <a:lnTo>
                  <a:pt x="0" y="342106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GB"/>
              <a:t>Click icon to add picture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4B142D2E-6D37-4DE3-856C-E29C0B9F930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907338" y="1808163"/>
            <a:ext cx="3529012" cy="3421062"/>
          </a:xfrm>
          <a:custGeom>
            <a:avLst/>
            <a:gdLst>
              <a:gd name="connsiteX0" fmla="*/ 0 w 3529012"/>
              <a:gd name="connsiteY0" fmla="*/ 0 h 3421062"/>
              <a:gd name="connsiteX1" fmla="*/ 3529012 w 3529012"/>
              <a:gd name="connsiteY1" fmla="*/ 0 h 3421062"/>
              <a:gd name="connsiteX2" fmla="*/ 3529012 w 3529012"/>
              <a:gd name="connsiteY2" fmla="*/ 3421062 h 3421062"/>
              <a:gd name="connsiteX3" fmla="*/ 0 w 3529012"/>
              <a:gd name="connsiteY3" fmla="*/ 3421062 h 3421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29012" h="3421062">
                <a:moveTo>
                  <a:pt x="0" y="0"/>
                </a:moveTo>
                <a:lnTo>
                  <a:pt x="3529012" y="0"/>
                </a:lnTo>
                <a:lnTo>
                  <a:pt x="3529012" y="3421062"/>
                </a:lnTo>
                <a:lnTo>
                  <a:pt x="0" y="3421062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108000" tIns="360000" rIns="108000" bIns="108000" anchor="b">
            <a:noAutofit/>
          </a:bodyPr>
          <a:lstStyle>
            <a:lvl1pPr marL="0" indent="0">
              <a:buFontTx/>
              <a:buNone/>
              <a:defRPr sz="1400"/>
            </a:lvl1pPr>
            <a:lvl2pPr marL="265113" indent="0">
              <a:buFontTx/>
              <a:buNone/>
              <a:defRPr/>
            </a:lvl2pPr>
            <a:lvl3pPr marL="452437" indent="0">
              <a:buFontTx/>
              <a:buNone/>
              <a:defRPr/>
            </a:lvl3pPr>
            <a:lvl4pPr marL="628650" indent="0">
              <a:buFontTx/>
              <a:buNone/>
              <a:defRPr/>
            </a:lvl4pPr>
            <a:lvl5pPr marL="806450" indent="0">
              <a:buFontTx/>
              <a:buNone/>
              <a:defRPr/>
            </a:lvl5pPr>
          </a:lstStyle>
          <a:p>
            <a:pPr lvl="0"/>
            <a:r>
              <a:rPr lang="en-GB"/>
              <a:t>Title</a:t>
            </a:r>
            <a:br>
              <a:rPr lang="en-GB"/>
            </a:br>
            <a:r>
              <a:rPr lang="en-GB"/>
              <a:t>Phone</a:t>
            </a:r>
            <a:br>
              <a:rPr lang="en-GB"/>
            </a:br>
            <a:r>
              <a:rPr lang="en-GB"/>
              <a:t>Mail</a:t>
            </a:r>
          </a:p>
        </p:txBody>
      </p:sp>
      <p:sp>
        <p:nvSpPr>
          <p:cNvPr id="24" name="Text Placeholder 18">
            <a:extLst>
              <a:ext uri="{FF2B5EF4-FFF2-40B4-BE49-F238E27FC236}">
                <a16:creationId xmlns:a16="http://schemas.microsoft.com/office/drawing/2014/main" id="{1528EA29-139D-4ADC-8975-BEBE5F38543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04973" y="4038733"/>
            <a:ext cx="3128962" cy="222250"/>
          </a:xfrm>
        </p:spPr>
        <p:txBody>
          <a:bodyPr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65113" indent="0">
              <a:buNone/>
              <a:defRPr/>
            </a:lvl2pPr>
            <a:lvl3pPr marL="452437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43FA3D8-D302-4359-990F-87C71E916B5D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8B22D6A4-62EF-4C48-BE1E-2A6C2B13A49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788797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Hea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17">
            <a:extLst>
              <a:ext uri="{FF2B5EF4-FFF2-40B4-BE49-F238E27FC236}">
                <a16:creationId xmlns:a16="http://schemas.microsoft.com/office/drawing/2014/main" id="{695CC1E2-4175-4C08-A52B-91C52228792E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6871388" y="-1"/>
            <a:ext cx="5320612" cy="6858001"/>
          </a:xfrm>
          <a:custGeom>
            <a:avLst/>
            <a:gdLst>
              <a:gd name="connsiteX0" fmla="*/ 0 w 6096000"/>
              <a:gd name="connsiteY0" fmla="*/ 0 h 3428806"/>
              <a:gd name="connsiteX1" fmla="*/ 6096000 w 6096000"/>
              <a:gd name="connsiteY1" fmla="*/ 0 h 3428806"/>
              <a:gd name="connsiteX2" fmla="*/ 6096000 w 6096000"/>
              <a:gd name="connsiteY2" fmla="*/ 3428806 h 3428806"/>
              <a:gd name="connsiteX3" fmla="*/ 0 w 6096000"/>
              <a:gd name="connsiteY3" fmla="*/ 3428806 h 3428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6000" h="3428806">
                <a:moveTo>
                  <a:pt x="0" y="0"/>
                </a:moveTo>
                <a:lnTo>
                  <a:pt x="6096000" y="0"/>
                </a:lnTo>
                <a:lnTo>
                  <a:pt x="6096000" y="3428806"/>
                </a:lnTo>
                <a:lnTo>
                  <a:pt x="0" y="3428806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405F82-510F-4BE7-8658-AD5878CDEE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7098" y="2351167"/>
            <a:ext cx="5328902" cy="2590223"/>
          </a:xfrm>
        </p:spPr>
        <p:txBody>
          <a:bodyPr anchor="b"/>
          <a:lstStyle>
            <a:lvl1pPr>
              <a:defRPr sz="4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39B308-96C7-4268-A0E3-39C93BCEAED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66763" y="5062347"/>
            <a:ext cx="5329237" cy="1170022"/>
          </a:xfrm>
        </p:spPr>
        <p:txBody>
          <a:bodyPr/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8AC4B38B-0406-461B-B38B-50C0E21A2A1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B22D6A4-62EF-4C48-BE1E-2A6C2B13A49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209294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header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105F88-292B-4BDA-8A3A-AB28C38A97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2" y="476250"/>
            <a:ext cx="7986713" cy="865188"/>
          </a:xfrm>
        </p:spPr>
        <p:txBody>
          <a:bodyPr/>
          <a:lstStyle>
            <a:lvl1pPr>
              <a:defRPr sz="3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Subheader">
            <a:extLst>
              <a:ext uri="{FF2B5EF4-FFF2-40B4-BE49-F238E27FC236}">
                <a16:creationId xmlns:a16="http://schemas.microsoft.com/office/drawing/2014/main" id="{9384EB17-8B7F-4C62-A40E-BC70E2D2332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66762" y="1411923"/>
            <a:ext cx="7986714" cy="249238"/>
          </a:xfrm>
        </p:spPr>
        <p:txBody>
          <a:bodyPr lIns="0" tIns="0" rIns="0" bIns="0" anchor="t">
            <a:noAutofit/>
          </a:bodyPr>
          <a:lstStyle>
            <a:lvl1pPr marL="0" indent="0">
              <a:buFontTx/>
              <a:buNone/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err="1"/>
              <a:t>Subheader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C8DB62-8866-4ACD-98C2-6CDC5BCAF63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6762" y="1889125"/>
            <a:ext cx="7986713" cy="40925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60B208C1-834B-43B6-B17B-6B9F9C60939B}"/>
              </a:ext>
            </a:extLst>
          </p:cNvPr>
          <p:cNvSpPr>
            <a:spLocks noGrp="1" noChangeAspect="1"/>
          </p:cNvSpPr>
          <p:nvPr>
            <p:ph type="body" sz="quarter" idx="27" hasCustomPrompt="1"/>
          </p:nvPr>
        </p:nvSpPr>
        <p:spPr>
          <a:xfrm>
            <a:off x="774121" y="6000750"/>
            <a:ext cx="5340351" cy="684765"/>
          </a:xfrm>
        </p:spPr>
        <p:txBody>
          <a:bodyPr>
            <a:noAutofit/>
          </a:bodyPr>
          <a:lstStyle>
            <a:lvl1pPr marL="90488" indent="-90488">
              <a:spcBef>
                <a:spcPts val="0"/>
              </a:spcBef>
              <a:buFont typeface="+mj-lt"/>
              <a:buAutoNum type="arabicPeriod"/>
              <a:defRPr sz="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265113" indent="0">
              <a:buNone/>
              <a:defRPr/>
            </a:lvl2pPr>
            <a:lvl3pPr marL="452437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GB"/>
              <a:t>Add footnote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FA61A09F-A3E0-4898-A4D8-12CDED942624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8B22D6A4-62EF-4C48-BE1E-2A6C2B13A49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620271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Beig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105F88-292B-4BDA-8A3A-AB28C38A97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2" y="476250"/>
            <a:ext cx="7986713" cy="865188"/>
          </a:xfrm>
        </p:spPr>
        <p:txBody>
          <a:bodyPr/>
          <a:lstStyle>
            <a:lvl1pPr>
              <a:defRPr sz="3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Subheader">
            <a:extLst>
              <a:ext uri="{FF2B5EF4-FFF2-40B4-BE49-F238E27FC236}">
                <a16:creationId xmlns:a16="http://schemas.microsoft.com/office/drawing/2014/main" id="{9384EB17-8B7F-4C62-A40E-BC70E2D2332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66762" y="1411923"/>
            <a:ext cx="7986714" cy="249238"/>
          </a:xfrm>
        </p:spPr>
        <p:txBody>
          <a:bodyPr lIns="0" tIns="0" rIns="0" bIns="0" anchor="t">
            <a:noAutofit/>
          </a:bodyPr>
          <a:lstStyle>
            <a:lvl1pPr marL="0" indent="0">
              <a:buFontTx/>
              <a:buNone/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err="1"/>
              <a:t>Subheader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C8DB62-8866-4ACD-98C2-6CDC5BCAF63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6762" y="1889125"/>
            <a:ext cx="7986713" cy="40925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01DCDF64-8AE7-4625-A04A-56D2B39070EA}"/>
              </a:ext>
            </a:extLst>
          </p:cNvPr>
          <p:cNvSpPr>
            <a:spLocks noGrp="1" noChangeAspect="1"/>
          </p:cNvSpPr>
          <p:nvPr>
            <p:ph type="body" sz="quarter" idx="27" hasCustomPrompt="1"/>
          </p:nvPr>
        </p:nvSpPr>
        <p:spPr>
          <a:xfrm>
            <a:off x="774121" y="6000750"/>
            <a:ext cx="5340351" cy="684765"/>
          </a:xfrm>
        </p:spPr>
        <p:txBody>
          <a:bodyPr>
            <a:noAutofit/>
          </a:bodyPr>
          <a:lstStyle>
            <a:lvl1pPr marL="90488" indent="-90488">
              <a:spcBef>
                <a:spcPts val="0"/>
              </a:spcBef>
              <a:buFont typeface="+mj-lt"/>
              <a:buAutoNum type="arabicPeriod"/>
              <a:defRPr sz="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265113" indent="0">
              <a:buNone/>
              <a:defRPr/>
            </a:lvl2pPr>
            <a:lvl3pPr marL="452437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GB"/>
              <a:t>Add footnote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623E788-A1F9-47C1-B138-695E2C9CEA5C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8B22D6A4-62EF-4C48-BE1E-2A6C2B13A49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85350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6F00EE-4725-4622-9963-4E973FCDDF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2" y="476250"/>
            <a:ext cx="10658477" cy="8651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Subheader">
            <a:extLst>
              <a:ext uri="{FF2B5EF4-FFF2-40B4-BE49-F238E27FC236}">
                <a16:creationId xmlns:a16="http://schemas.microsoft.com/office/drawing/2014/main" id="{C599D4AE-8984-42E9-8FA4-F900F98BD71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66761" y="1411923"/>
            <a:ext cx="10658477" cy="249238"/>
          </a:xfrm>
        </p:spPr>
        <p:txBody>
          <a:bodyPr lIns="0" tIns="0" rIns="0" bIns="0" anchor="t">
            <a:noAutofit/>
          </a:bodyPr>
          <a:lstStyle>
            <a:lvl1pPr marL="0" indent="0">
              <a:buFontTx/>
              <a:buNone/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err="1"/>
              <a:t>Subheader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96F2E9-95A3-4473-9884-71F14FBFA40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66762" y="1889125"/>
            <a:ext cx="5181600" cy="40925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9C714C6-A2AB-4A85-B898-3F3C0B053E7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43639" y="1889125"/>
            <a:ext cx="5181600" cy="40925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5AAABFC-1735-43A9-8213-386DFB41F3F8}"/>
              </a:ext>
            </a:extLst>
          </p:cNvPr>
          <p:cNvSpPr>
            <a:spLocks noGrp="1" noChangeAspect="1"/>
          </p:cNvSpPr>
          <p:nvPr>
            <p:ph type="body" sz="quarter" idx="27" hasCustomPrompt="1"/>
          </p:nvPr>
        </p:nvSpPr>
        <p:spPr>
          <a:xfrm>
            <a:off x="774121" y="6000750"/>
            <a:ext cx="5340351" cy="684765"/>
          </a:xfrm>
        </p:spPr>
        <p:txBody>
          <a:bodyPr>
            <a:noAutofit/>
          </a:bodyPr>
          <a:lstStyle>
            <a:lvl1pPr marL="90488" indent="-90488">
              <a:spcBef>
                <a:spcPts val="0"/>
              </a:spcBef>
              <a:buFont typeface="+mj-lt"/>
              <a:buAutoNum type="arabicPeriod"/>
              <a:defRPr sz="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265113" indent="0">
              <a:buNone/>
              <a:defRPr/>
            </a:lvl2pPr>
            <a:lvl3pPr marL="452437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GB"/>
              <a:t>Add footnot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2156FC0-B306-4F38-B02F-640CC2F53E62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8B22D6A4-62EF-4C48-BE1E-2A6C2B13A49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5701557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Beig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6F00EE-4725-4622-9963-4E973FCDDF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2" y="476250"/>
            <a:ext cx="10658477" cy="8651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Subheader">
            <a:extLst>
              <a:ext uri="{FF2B5EF4-FFF2-40B4-BE49-F238E27FC236}">
                <a16:creationId xmlns:a16="http://schemas.microsoft.com/office/drawing/2014/main" id="{C599D4AE-8984-42E9-8FA4-F900F98BD71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66761" y="1411923"/>
            <a:ext cx="10658477" cy="249238"/>
          </a:xfrm>
        </p:spPr>
        <p:txBody>
          <a:bodyPr lIns="0" tIns="0" rIns="0" bIns="0" anchor="t">
            <a:noAutofit/>
          </a:bodyPr>
          <a:lstStyle>
            <a:lvl1pPr marL="0" indent="0">
              <a:buFontTx/>
              <a:buNone/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err="1"/>
              <a:t>Subheader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96F2E9-95A3-4473-9884-71F14FBFA40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66762" y="1889125"/>
            <a:ext cx="5181600" cy="40925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9C714C6-A2AB-4A85-B898-3F3C0B053E7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43639" y="1889125"/>
            <a:ext cx="5181600" cy="40925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8AF31503-72B2-4BC5-8EE2-30C2D997FD92}"/>
              </a:ext>
            </a:extLst>
          </p:cNvPr>
          <p:cNvSpPr>
            <a:spLocks noGrp="1" noChangeAspect="1"/>
          </p:cNvSpPr>
          <p:nvPr>
            <p:ph type="body" sz="quarter" idx="27" hasCustomPrompt="1"/>
          </p:nvPr>
        </p:nvSpPr>
        <p:spPr>
          <a:xfrm>
            <a:off x="774121" y="6000750"/>
            <a:ext cx="5340351" cy="684765"/>
          </a:xfrm>
        </p:spPr>
        <p:txBody>
          <a:bodyPr>
            <a:noAutofit/>
          </a:bodyPr>
          <a:lstStyle>
            <a:lvl1pPr marL="90488" indent="-90488">
              <a:spcBef>
                <a:spcPts val="0"/>
              </a:spcBef>
              <a:buFont typeface="+mj-lt"/>
              <a:buAutoNum type="arabicPeriod"/>
              <a:defRPr sz="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265113" indent="0">
              <a:buNone/>
              <a:defRPr/>
            </a:lvl2pPr>
            <a:lvl3pPr marL="452437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GB"/>
              <a:t>Add footnot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2156FC0-B306-4F38-B02F-640CC2F53E62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8B22D6A4-62EF-4C48-BE1E-2A6C2B13A49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861330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105F88-292B-4BDA-8A3A-AB28C38A97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4121" y="476250"/>
            <a:ext cx="5999797" cy="865188"/>
          </a:xfrm>
        </p:spPr>
        <p:txBody>
          <a:bodyPr/>
          <a:lstStyle>
            <a:lvl1pPr>
              <a:defRPr sz="3000" b="1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7" name="Subheader">
            <a:extLst>
              <a:ext uri="{FF2B5EF4-FFF2-40B4-BE49-F238E27FC236}">
                <a16:creationId xmlns:a16="http://schemas.microsoft.com/office/drawing/2014/main" id="{9384EB17-8B7F-4C62-A40E-BC70E2D2332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74120" y="1411923"/>
            <a:ext cx="5999797" cy="249238"/>
          </a:xfrm>
        </p:spPr>
        <p:txBody>
          <a:bodyPr lIns="0" tIns="0" rIns="0" bIns="0" anchor="t">
            <a:noAutofit/>
          </a:bodyPr>
          <a:lstStyle>
            <a:lvl1pPr marL="0" indent="0">
              <a:buFontTx/>
              <a:buNone/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err="1"/>
              <a:t>Subheader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C8DB62-8866-4ACD-98C2-6CDC5BCAF63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74121" y="1889125"/>
            <a:ext cx="5999797" cy="4092575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631E5B0B-99EA-4C1D-8828-9B013AE3F380}"/>
              </a:ext>
            </a:extLst>
          </p:cNvPr>
          <p:cNvSpPr>
            <a:spLocks noGrp="1" noChangeAspect="1"/>
          </p:cNvSpPr>
          <p:nvPr>
            <p:ph type="body" sz="quarter" idx="32" hasCustomPrompt="1"/>
          </p:nvPr>
        </p:nvSpPr>
        <p:spPr>
          <a:xfrm>
            <a:off x="774121" y="6000750"/>
            <a:ext cx="5340351" cy="684765"/>
          </a:xfrm>
        </p:spPr>
        <p:txBody>
          <a:bodyPr>
            <a:noAutofit/>
          </a:bodyPr>
          <a:lstStyle>
            <a:lvl1pPr marL="90488" indent="-90488">
              <a:spcBef>
                <a:spcPts val="0"/>
              </a:spcBef>
              <a:buFont typeface="+mj-lt"/>
              <a:buAutoNum type="arabicPeriod"/>
              <a:defRPr sz="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265113" indent="0">
              <a:buNone/>
              <a:defRPr/>
            </a:lvl2pPr>
            <a:lvl3pPr marL="452437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GB"/>
              <a:t>Add footnot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274A17D-15A3-4019-81C3-6515622B0493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8B22D6A4-62EF-4C48-BE1E-2A6C2B13A49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79D00F9-EDC2-4560-A51B-1744E9012ECB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7217727" y="0"/>
            <a:ext cx="4218623" cy="5981700"/>
          </a:xfrm>
          <a:custGeom>
            <a:avLst/>
            <a:gdLst>
              <a:gd name="connsiteX0" fmla="*/ 0 w 4218623"/>
              <a:gd name="connsiteY0" fmla="*/ 0 h 5981700"/>
              <a:gd name="connsiteX1" fmla="*/ 4218623 w 4218623"/>
              <a:gd name="connsiteY1" fmla="*/ 0 h 5981700"/>
              <a:gd name="connsiteX2" fmla="*/ 4218623 w 4218623"/>
              <a:gd name="connsiteY2" fmla="*/ 5981700 h 5981700"/>
              <a:gd name="connsiteX3" fmla="*/ 0 w 4218623"/>
              <a:gd name="connsiteY3" fmla="*/ 5981700 h 598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18623" h="5981700">
                <a:moveTo>
                  <a:pt x="0" y="0"/>
                </a:moveTo>
                <a:lnTo>
                  <a:pt x="4218623" y="0"/>
                </a:lnTo>
                <a:lnTo>
                  <a:pt x="4218623" y="5981700"/>
                </a:lnTo>
                <a:lnTo>
                  <a:pt x="0" y="59817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180000" tIns="1836000" rIns="180000" bIns="18000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2560339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6F00EE-4725-4622-9963-4E973FCDDF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2" y="476250"/>
            <a:ext cx="10658477" cy="86518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Subheader">
            <a:extLst>
              <a:ext uri="{FF2B5EF4-FFF2-40B4-BE49-F238E27FC236}">
                <a16:creationId xmlns:a16="http://schemas.microsoft.com/office/drawing/2014/main" id="{C599D4AE-8984-42E9-8FA4-F900F98BD71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66761" y="1411923"/>
            <a:ext cx="10658477" cy="249238"/>
          </a:xfrm>
        </p:spPr>
        <p:txBody>
          <a:bodyPr lIns="0" tIns="0" rIns="0" bIns="0" anchor="t">
            <a:noAutofit/>
          </a:bodyPr>
          <a:lstStyle>
            <a:lvl1pPr marL="0" indent="0">
              <a:buFontTx/>
              <a:buNone/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err="1"/>
              <a:t>Subheader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96F2E9-95A3-4473-9884-71F14FBFA40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66762" y="1889125"/>
            <a:ext cx="3420000" cy="4092575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34613460-339F-4B58-814B-9F5CC459C0B1}"/>
              </a:ext>
            </a:extLst>
          </p:cNvPr>
          <p:cNvSpPr>
            <a:spLocks noGrp="1"/>
          </p:cNvSpPr>
          <p:nvPr>
            <p:ph sz="half" idx="28"/>
          </p:nvPr>
        </p:nvSpPr>
        <p:spPr>
          <a:xfrm>
            <a:off x="4391556" y="1889125"/>
            <a:ext cx="3420000" cy="4092575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4A38B40E-5CB5-457C-B420-D0CBA25CE090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8016350" y="1889125"/>
            <a:ext cx="3420000" cy="4092575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75156EAD-4E0D-415E-B08D-FE438C20CA57}"/>
              </a:ext>
            </a:extLst>
          </p:cNvPr>
          <p:cNvSpPr>
            <a:spLocks noGrp="1" noChangeAspect="1"/>
          </p:cNvSpPr>
          <p:nvPr>
            <p:ph type="body" sz="quarter" idx="27" hasCustomPrompt="1"/>
          </p:nvPr>
        </p:nvSpPr>
        <p:spPr>
          <a:xfrm>
            <a:off x="774121" y="6000750"/>
            <a:ext cx="5340351" cy="684765"/>
          </a:xfrm>
        </p:spPr>
        <p:txBody>
          <a:bodyPr>
            <a:noAutofit/>
          </a:bodyPr>
          <a:lstStyle>
            <a:lvl1pPr marL="90488" indent="-90488">
              <a:spcBef>
                <a:spcPts val="0"/>
              </a:spcBef>
              <a:buFont typeface="+mj-lt"/>
              <a:buAutoNum type="arabicPeriod"/>
              <a:defRPr sz="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265113" indent="0">
              <a:buNone/>
              <a:defRPr/>
            </a:lvl2pPr>
            <a:lvl3pPr marL="452437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GB"/>
              <a:t>Add footnot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49CA8E4-C557-4C1A-83A5-BC249362F5FC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8B22D6A4-62EF-4C48-BE1E-2A6C2B13A49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344568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EF0CE5F-67F3-420F-A0F5-D15F7BC938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2" y="476250"/>
            <a:ext cx="5340351" cy="86518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Subheader">
            <a:extLst>
              <a:ext uri="{FF2B5EF4-FFF2-40B4-BE49-F238E27FC236}">
                <a16:creationId xmlns:a16="http://schemas.microsoft.com/office/drawing/2014/main" id="{E018B137-AAFD-45FF-82C2-CE09F34666F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66761" y="1411923"/>
            <a:ext cx="5329239" cy="249238"/>
          </a:xfrm>
        </p:spPr>
        <p:txBody>
          <a:bodyPr lIns="0" tIns="0" rIns="0" bIns="0" anchor="t">
            <a:noAutofit/>
          </a:bodyPr>
          <a:lstStyle>
            <a:lvl1pPr marL="0" indent="0">
              <a:buFontTx/>
              <a:buNone/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err="1"/>
              <a:t>Subheader</a:t>
            </a:r>
            <a:endParaRPr lang="en-GB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B3930E0B-B179-4265-9ADD-46C7D358249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6762" y="1889125"/>
            <a:ext cx="5329238" cy="4092575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7" name="Picture Placeholder 17">
            <a:extLst>
              <a:ext uri="{FF2B5EF4-FFF2-40B4-BE49-F238E27FC236}">
                <a16:creationId xmlns:a16="http://schemas.microsoft.com/office/drawing/2014/main" id="{40B3E8FE-BEEF-4209-BF70-30A07709934D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6871388" y="-1"/>
            <a:ext cx="5320612" cy="6858001"/>
          </a:xfrm>
          <a:custGeom>
            <a:avLst/>
            <a:gdLst>
              <a:gd name="connsiteX0" fmla="*/ 0 w 6096000"/>
              <a:gd name="connsiteY0" fmla="*/ 0 h 3428806"/>
              <a:gd name="connsiteX1" fmla="*/ 6096000 w 6096000"/>
              <a:gd name="connsiteY1" fmla="*/ 0 h 3428806"/>
              <a:gd name="connsiteX2" fmla="*/ 6096000 w 6096000"/>
              <a:gd name="connsiteY2" fmla="*/ 3428806 h 3428806"/>
              <a:gd name="connsiteX3" fmla="*/ 0 w 6096000"/>
              <a:gd name="connsiteY3" fmla="*/ 3428806 h 3428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6000" h="3428806">
                <a:moveTo>
                  <a:pt x="0" y="0"/>
                </a:moveTo>
                <a:lnTo>
                  <a:pt x="6096000" y="0"/>
                </a:lnTo>
                <a:lnTo>
                  <a:pt x="6096000" y="3428806"/>
                </a:lnTo>
                <a:lnTo>
                  <a:pt x="0" y="342880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/>
          <a:p>
            <a:r>
              <a:rPr lang="en-GB"/>
              <a:t>Click icon to add picture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7AB25621-A716-44B9-9B4E-71E7D4FDE27F}"/>
              </a:ext>
            </a:extLst>
          </p:cNvPr>
          <p:cNvSpPr>
            <a:spLocks noGrp="1" noChangeAspect="1"/>
          </p:cNvSpPr>
          <p:nvPr>
            <p:ph type="body" sz="quarter" idx="32" hasCustomPrompt="1"/>
          </p:nvPr>
        </p:nvSpPr>
        <p:spPr>
          <a:xfrm>
            <a:off x="774121" y="6000750"/>
            <a:ext cx="5340351" cy="684765"/>
          </a:xfrm>
        </p:spPr>
        <p:txBody>
          <a:bodyPr>
            <a:noAutofit/>
          </a:bodyPr>
          <a:lstStyle>
            <a:lvl1pPr marL="90488" indent="-90488">
              <a:spcBef>
                <a:spcPts val="0"/>
              </a:spcBef>
              <a:buFont typeface="+mj-lt"/>
              <a:buAutoNum type="arabicPeriod"/>
              <a:defRPr sz="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265113" indent="0">
              <a:buNone/>
              <a:defRPr/>
            </a:lvl2pPr>
            <a:lvl3pPr marL="452437" indent="0">
              <a:buNone/>
              <a:defRPr/>
            </a:lvl3pPr>
            <a:lvl4pPr marL="628650" indent="0">
              <a:buNone/>
              <a:defRPr/>
            </a:lvl4pPr>
            <a:lvl5pPr marL="806450" indent="0">
              <a:buNone/>
              <a:defRPr/>
            </a:lvl5pPr>
          </a:lstStyle>
          <a:p>
            <a:pPr lvl="0"/>
            <a:r>
              <a:rPr lang="en-GB"/>
              <a:t>Add footnote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F3FFB20-C07D-4090-8E8C-80E4E39832A4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8B22D6A4-62EF-4C48-BE1E-2A6C2B13A49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82408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5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0.xml"/><Relationship Id="rId9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F25EE51-B9E4-4CE9-B81B-C3EBAEFD26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2" y="476250"/>
            <a:ext cx="10658477" cy="86518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D5590DA-E662-4AC9-9802-1C01A2B6B14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66762" y="1889125"/>
            <a:ext cx="7982746" cy="40960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grpSp>
        <p:nvGrpSpPr>
          <p:cNvPr id="19" name="Bild 26">
            <a:extLst>
              <a:ext uri="{FF2B5EF4-FFF2-40B4-BE49-F238E27FC236}">
                <a16:creationId xmlns:a16="http://schemas.microsoft.com/office/drawing/2014/main" id="{8D9A3CB7-C8EC-4832-A51F-0F9BA6504F3E}"/>
              </a:ext>
            </a:extLst>
          </p:cNvPr>
          <p:cNvGrpSpPr/>
          <p:nvPr userDrawn="1"/>
        </p:nvGrpSpPr>
        <p:grpSpPr>
          <a:xfrm>
            <a:off x="245324" y="240140"/>
            <a:ext cx="247335" cy="306637"/>
            <a:chOff x="10459917" y="209311"/>
            <a:chExt cx="382890" cy="474694"/>
          </a:xfrm>
          <a:solidFill>
            <a:srgbClr val="BFD464"/>
          </a:solidFill>
        </p:grpSpPr>
        <p:sp>
          <p:nvSpPr>
            <p:cNvPr id="20" name="Bild 26">
              <a:extLst>
                <a:ext uri="{FF2B5EF4-FFF2-40B4-BE49-F238E27FC236}">
                  <a16:creationId xmlns:a16="http://schemas.microsoft.com/office/drawing/2014/main" id="{932695F6-1949-43E5-8480-B0B256F4FDBB}"/>
                </a:ext>
              </a:extLst>
            </p:cNvPr>
            <p:cNvSpPr/>
            <p:nvPr/>
          </p:nvSpPr>
          <p:spPr>
            <a:xfrm>
              <a:off x="10606438" y="348015"/>
              <a:ext cx="188072" cy="126281"/>
            </a:xfrm>
            <a:custGeom>
              <a:avLst/>
              <a:gdLst>
                <a:gd name="connsiteX0" fmla="*/ 188072 w 188072"/>
                <a:gd name="connsiteY0" fmla="*/ 59837 h 126281"/>
                <a:gd name="connsiteX1" fmla="*/ 96409 w 188072"/>
                <a:gd name="connsiteY1" fmla="*/ 5490 h 126281"/>
                <a:gd name="connsiteX2" fmla="*/ 69329 w 188072"/>
                <a:gd name="connsiteY2" fmla="*/ 0 h 126281"/>
                <a:gd name="connsiteX3" fmla="*/ 0 w 188072"/>
                <a:gd name="connsiteY3" fmla="*/ 68817 h 126281"/>
                <a:gd name="connsiteX4" fmla="*/ 95758 w 188072"/>
                <a:gd name="connsiteY4" fmla="*/ 126281 h 126281"/>
                <a:gd name="connsiteX5" fmla="*/ 166994 w 188072"/>
                <a:gd name="connsiteY5" fmla="*/ 56626 h 126281"/>
                <a:gd name="connsiteX6" fmla="*/ 188072 w 188072"/>
                <a:gd name="connsiteY6" fmla="*/ 59837 h 126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8072" h="126281">
                  <a:moveTo>
                    <a:pt x="188072" y="59837"/>
                  </a:moveTo>
                  <a:cubicBezTo>
                    <a:pt x="167971" y="47925"/>
                    <a:pt x="96409" y="5490"/>
                    <a:pt x="96409" y="5490"/>
                  </a:cubicBezTo>
                  <a:cubicBezTo>
                    <a:pt x="87848" y="1861"/>
                    <a:pt x="78728" y="0"/>
                    <a:pt x="69329" y="0"/>
                  </a:cubicBezTo>
                  <a:cubicBezTo>
                    <a:pt x="31268" y="0"/>
                    <a:pt x="279" y="30803"/>
                    <a:pt x="0" y="68817"/>
                  </a:cubicBezTo>
                  <a:cubicBezTo>
                    <a:pt x="977" y="69422"/>
                    <a:pt x="93105" y="124653"/>
                    <a:pt x="95758" y="126281"/>
                  </a:cubicBezTo>
                  <a:cubicBezTo>
                    <a:pt x="96642" y="87755"/>
                    <a:pt x="128235" y="56626"/>
                    <a:pt x="166994" y="56626"/>
                  </a:cubicBezTo>
                  <a:cubicBezTo>
                    <a:pt x="174346" y="56673"/>
                    <a:pt x="181418" y="57743"/>
                    <a:pt x="188072" y="59837"/>
                  </a:cubicBezTo>
                  <a:close/>
                </a:path>
              </a:pathLst>
            </a:custGeom>
            <a:solidFill>
              <a:srgbClr val="BFD464"/>
            </a:solidFill>
            <a:ln w="463" cap="flat">
              <a:noFill/>
              <a:prstDash val="solid"/>
              <a:miter/>
            </a:ln>
          </p:spPr>
          <p:txBody>
            <a:bodyPr wrap="none" lIns="0" tIns="0" rIns="0" bIns="0" rtlCol="0" anchor="ctr"/>
            <a:lstStyle/>
            <a:p>
              <a:endParaRPr lang="en-GB"/>
            </a:p>
          </p:txBody>
        </p:sp>
        <p:sp>
          <p:nvSpPr>
            <p:cNvPr id="21" name="Bild 26">
              <a:extLst>
                <a:ext uri="{FF2B5EF4-FFF2-40B4-BE49-F238E27FC236}">
                  <a16:creationId xmlns:a16="http://schemas.microsoft.com/office/drawing/2014/main" id="{0C0BA89A-13C2-4BDC-954E-F8A6C48F2EA3}"/>
                </a:ext>
              </a:extLst>
            </p:cNvPr>
            <p:cNvSpPr/>
            <p:nvPr/>
          </p:nvSpPr>
          <p:spPr>
            <a:xfrm>
              <a:off x="10563817" y="426789"/>
              <a:ext cx="138332" cy="126327"/>
            </a:xfrm>
            <a:custGeom>
              <a:avLst/>
              <a:gdLst>
                <a:gd name="connsiteX0" fmla="*/ 138332 w 138332"/>
                <a:gd name="connsiteY0" fmla="*/ 57510 h 126327"/>
                <a:gd name="connsiteX1" fmla="*/ 42528 w 138332"/>
                <a:gd name="connsiteY1" fmla="*/ 0 h 126327"/>
                <a:gd name="connsiteX2" fmla="*/ 0 w 138332"/>
                <a:gd name="connsiteY2" fmla="*/ 63606 h 126327"/>
                <a:gd name="connsiteX3" fmla="*/ 69003 w 138332"/>
                <a:gd name="connsiteY3" fmla="*/ 126328 h 126327"/>
                <a:gd name="connsiteX4" fmla="*/ 138332 w 138332"/>
                <a:gd name="connsiteY4" fmla="*/ 57510 h 126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8332" h="126327">
                  <a:moveTo>
                    <a:pt x="138332" y="57510"/>
                  </a:moveTo>
                  <a:cubicBezTo>
                    <a:pt x="137355" y="56906"/>
                    <a:pt x="45134" y="1582"/>
                    <a:pt x="42528" y="0"/>
                  </a:cubicBezTo>
                  <a:cubicBezTo>
                    <a:pt x="41877" y="27685"/>
                    <a:pt x="25405" y="52439"/>
                    <a:pt x="0" y="63606"/>
                  </a:cubicBezTo>
                  <a:cubicBezTo>
                    <a:pt x="3350" y="98829"/>
                    <a:pt x="33548" y="126328"/>
                    <a:pt x="69003" y="126328"/>
                  </a:cubicBezTo>
                  <a:cubicBezTo>
                    <a:pt x="107064" y="126328"/>
                    <a:pt x="138006" y="95525"/>
                    <a:pt x="138332" y="57510"/>
                  </a:cubicBezTo>
                  <a:close/>
                </a:path>
              </a:pathLst>
            </a:custGeom>
            <a:solidFill>
              <a:srgbClr val="BFD464"/>
            </a:solidFill>
            <a:ln w="463" cap="flat">
              <a:noFill/>
              <a:prstDash val="solid"/>
              <a:miter/>
            </a:ln>
          </p:spPr>
          <p:txBody>
            <a:bodyPr wrap="none" lIns="0" tIns="0" rIns="0" bIns="0" rtlCol="0" anchor="ctr"/>
            <a:lstStyle/>
            <a:p>
              <a:endParaRPr lang="en-GB"/>
            </a:p>
          </p:txBody>
        </p:sp>
        <p:sp>
          <p:nvSpPr>
            <p:cNvPr id="22" name="Bild 26">
              <a:extLst>
                <a:ext uri="{FF2B5EF4-FFF2-40B4-BE49-F238E27FC236}">
                  <a16:creationId xmlns:a16="http://schemas.microsoft.com/office/drawing/2014/main" id="{7CA7AF68-57A4-4A0C-B05F-A586C0FFD0EA}"/>
                </a:ext>
              </a:extLst>
            </p:cNvPr>
            <p:cNvSpPr/>
            <p:nvPr/>
          </p:nvSpPr>
          <p:spPr>
            <a:xfrm>
              <a:off x="10704429" y="412458"/>
              <a:ext cx="138378" cy="271546"/>
            </a:xfrm>
            <a:custGeom>
              <a:avLst/>
              <a:gdLst>
                <a:gd name="connsiteX0" fmla="*/ 69050 w 138378"/>
                <a:gd name="connsiteY0" fmla="*/ 0 h 271546"/>
                <a:gd name="connsiteX1" fmla="*/ 42435 w 138378"/>
                <a:gd name="connsiteY1" fmla="*/ 5304 h 271546"/>
                <a:gd name="connsiteX2" fmla="*/ 42668 w 138378"/>
                <a:gd name="connsiteY2" fmla="*/ 10748 h 271546"/>
                <a:gd name="connsiteX3" fmla="*/ 42668 w 138378"/>
                <a:gd name="connsiteY3" fmla="*/ 143590 h 271546"/>
                <a:gd name="connsiteX4" fmla="*/ 0 w 138378"/>
                <a:gd name="connsiteY4" fmla="*/ 208871 h 271546"/>
                <a:gd name="connsiteX5" fmla="*/ 69003 w 138378"/>
                <a:gd name="connsiteY5" fmla="*/ 271546 h 271546"/>
                <a:gd name="connsiteX6" fmla="*/ 138379 w 138378"/>
                <a:gd name="connsiteY6" fmla="*/ 202217 h 271546"/>
                <a:gd name="connsiteX7" fmla="*/ 138379 w 138378"/>
                <a:gd name="connsiteY7" fmla="*/ 69376 h 271546"/>
                <a:gd name="connsiteX8" fmla="*/ 69050 w 138378"/>
                <a:gd name="connsiteY8" fmla="*/ 0 h 271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8378" h="271546">
                  <a:moveTo>
                    <a:pt x="69050" y="0"/>
                  </a:moveTo>
                  <a:cubicBezTo>
                    <a:pt x="59604" y="0"/>
                    <a:pt x="50624" y="1908"/>
                    <a:pt x="42435" y="5304"/>
                  </a:cubicBezTo>
                  <a:lnTo>
                    <a:pt x="42668" y="10748"/>
                  </a:lnTo>
                  <a:lnTo>
                    <a:pt x="42668" y="143590"/>
                  </a:lnTo>
                  <a:cubicBezTo>
                    <a:pt x="42668" y="171973"/>
                    <a:pt x="25963" y="197471"/>
                    <a:pt x="0" y="208871"/>
                  </a:cubicBezTo>
                  <a:cubicBezTo>
                    <a:pt x="3350" y="244047"/>
                    <a:pt x="33548" y="271546"/>
                    <a:pt x="69003" y="271546"/>
                  </a:cubicBezTo>
                  <a:cubicBezTo>
                    <a:pt x="107250" y="271546"/>
                    <a:pt x="138379" y="240418"/>
                    <a:pt x="138379" y="202217"/>
                  </a:cubicBezTo>
                  <a:lnTo>
                    <a:pt x="138379" y="69376"/>
                  </a:lnTo>
                  <a:cubicBezTo>
                    <a:pt x="138379" y="31128"/>
                    <a:pt x="107250" y="0"/>
                    <a:pt x="69050" y="0"/>
                  </a:cubicBezTo>
                  <a:close/>
                </a:path>
              </a:pathLst>
            </a:custGeom>
            <a:solidFill>
              <a:srgbClr val="BFD464"/>
            </a:solidFill>
            <a:ln w="463" cap="flat">
              <a:noFill/>
              <a:prstDash val="solid"/>
              <a:miter/>
            </a:ln>
          </p:spPr>
          <p:txBody>
            <a:bodyPr wrap="none" lIns="0" tIns="0" rIns="0" bIns="0" rtlCol="0" anchor="ctr"/>
            <a:lstStyle/>
            <a:p>
              <a:endParaRPr lang="en-GB"/>
            </a:p>
          </p:txBody>
        </p:sp>
        <p:sp>
          <p:nvSpPr>
            <p:cNvPr id="23" name="Bild 26">
              <a:extLst>
                <a:ext uri="{FF2B5EF4-FFF2-40B4-BE49-F238E27FC236}">
                  <a16:creationId xmlns:a16="http://schemas.microsoft.com/office/drawing/2014/main" id="{1DAE337D-0517-48C1-A178-E396D5E106E0}"/>
                </a:ext>
              </a:extLst>
            </p:cNvPr>
            <p:cNvSpPr/>
            <p:nvPr/>
          </p:nvSpPr>
          <p:spPr>
            <a:xfrm>
              <a:off x="10601785" y="559678"/>
              <a:ext cx="110647" cy="101434"/>
            </a:xfrm>
            <a:custGeom>
              <a:avLst/>
              <a:gdLst>
                <a:gd name="connsiteX0" fmla="*/ 0 w 110647"/>
                <a:gd name="connsiteY0" fmla="*/ 0 h 101434"/>
                <a:gd name="connsiteX1" fmla="*/ 93571 w 110647"/>
                <a:gd name="connsiteY1" fmla="*/ 56161 h 101434"/>
                <a:gd name="connsiteX2" fmla="*/ 93803 w 110647"/>
                <a:gd name="connsiteY2" fmla="*/ 61233 h 101434"/>
                <a:gd name="connsiteX3" fmla="*/ 110647 w 110647"/>
                <a:gd name="connsiteY3" fmla="*/ 101434 h 101434"/>
                <a:gd name="connsiteX4" fmla="*/ 27127 w 110647"/>
                <a:gd name="connsiteY4" fmla="*/ 51182 h 101434"/>
                <a:gd name="connsiteX5" fmla="*/ 0 w 110647"/>
                <a:gd name="connsiteY5" fmla="*/ 0 h 101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647" h="101434">
                  <a:moveTo>
                    <a:pt x="0" y="0"/>
                  </a:moveTo>
                  <a:cubicBezTo>
                    <a:pt x="3164" y="1908"/>
                    <a:pt x="93012" y="55789"/>
                    <a:pt x="93571" y="56161"/>
                  </a:cubicBezTo>
                  <a:cubicBezTo>
                    <a:pt x="93617" y="57045"/>
                    <a:pt x="93803" y="61233"/>
                    <a:pt x="93803" y="61233"/>
                  </a:cubicBezTo>
                  <a:cubicBezTo>
                    <a:pt x="95060" y="75983"/>
                    <a:pt x="101015" y="90035"/>
                    <a:pt x="110647" y="101434"/>
                  </a:cubicBezTo>
                  <a:cubicBezTo>
                    <a:pt x="100364" y="95246"/>
                    <a:pt x="27266" y="51229"/>
                    <a:pt x="27127" y="51182"/>
                  </a:cubicBezTo>
                  <a:cubicBezTo>
                    <a:pt x="10841" y="38945"/>
                    <a:pt x="1070" y="20380"/>
                    <a:pt x="0" y="0"/>
                  </a:cubicBezTo>
                  <a:close/>
                </a:path>
              </a:pathLst>
            </a:custGeom>
            <a:solidFill>
              <a:srgbClr val="BFD464"/>
            </a:solidFill>
            <a:ln w="463" cap="flat">
              <a:noFill/>
              <a:prstDash val="solid"/>
              <a:miter/>
            </a:ln>
          </p:spPr>
          <p:txBody>
            <a:bodyPr wrap="none" lIns="0" tIns="0" rIns="0" bIns="0" rtlCol="0" anchor="ctr"/>
            <a:lstStyle/>
            <a:p>
              <a:endParaRPr lang="en-GB"/>
            </a:p>
          </p:txBody>
        </p:sp>
        <p:sp>
          <p:nvSpPr>
            <p:cNvPr id="24" name="Bild 26">
              <a:extLst>
                <a:ext uri="{FF2B5EF4-FFF2-40B4-BE49-F238E27FC236}">
                  <a16:creationId xmlns:a16="http://schemas.microsoft.com/office/drawing/2014/main" id="{C27AEC09-3621-435D-A155-FC8183150A12}"/>
                </a:ext>
              </a:extLst>
            </p:cNvPr>
            <p:cNvSpPr/>
            <p:nvPr/>
          </p:nvSpPr>
          <p:spPr>
            <a:xfrm>
              <a:off x="10459917" y="209311"/>
              <a:ext cx="138378" cy="325241"/>
            </a:xfrm>
            <a:custGeom>
              <a:avLst/>
              <a:gdLst>
                <a:gd name="connsiteX0" fmla="*/ 95711 w 138378"/>
                <a:gd name="connsiteY0" fmla="*/ 274478 h 325241"/>
                <a:gd name="connsiteX1" fmla="*/ 95711 w 138378"/>
                <a:gd name="connsiteY1" fmla="*/ 113904 h 325241"/>
                <a:gd name="connsiteX2" fmla="*/ 95711 w 138378"/>
                <a:gd name="connsiteY2" fmla="*/ 127956 h 325241"/>
                <a:gd name="connsiteX3" fmla="*/ 138379 w 138378"/>
                <a:gd name="connsiteY3" fmla="*/ 62675 h 325241"/>
                <a:gd name="connsiteX4" fmla="*/ 69375 w 138378"/>
                <a:gd name="connsiteY4" fmla="*/ 0 h 325241"/>
                <a:gd name="connsiteX5" fmla="*/ 0 w 138378"/>
                <a:gd name="connsiteY5" fmla="*/ 69329 h 325241"/>
                <a:gd name="connsiteX6" fmla="*/ 0 w 138378"/>
                <a:gd name="connsiteY6" fmla="*/ 89662 h 325241"/>
                <a:gd name="connsiteX7" fmla="*/ 0 w 138378"/>
                <a:gd name="connsiteY7" fmla="*/ 215850 h 325241"/>
                <a:gd name="connsiteX8" fmla="*/ 27825 w 138378"/>
                <a:gd name="connsiteY8" fmla="*/ 271407 h 325241"/>
                <a:gd name="connsiteX9" fmla="*/ 117301 w 138378"/>
                <a:gd name="connsiteY9" fmla="*/ 325241 h 325241"/>
                <a:gd name="connsiteX10" fmla="*/ 96037 w 138378"/>
                <a:gd name="connsiteY10" fmla="*/ 280619 h 325241"/>
                <a:gd name="connsiteX11" fmla="*/ 95711 w 138378"/>
                <a:gd name="connsiteY11" fmla="*/ 274478 h 3252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8378" h="325241">
                  <a:moveTo>
                    <a:pt x="95711" y="274478"/>
                  </a:moveTo>
                  <a:cubicBezTo>
                    <a:pt x="95711" y="274478"/>
                    <a:pt x="95711" y="114649"/>
                    <a:pt x="95711" y="113904"/>
                  </a:cubicBezTo>
                  <a:lnTo>
                    <a:pt x="95711" y="127956"/>
                  </a:lnTo>
                  <a:cubicBezTo>
                    <a:pt x="95711" y="99573"/>
                    <a:pt x="112415" y="74075"/>
                    <a:pt x="138379" y="62675"/>
                  </a:cubicBezTo>
                  <a:cubicBezTo>
                    <a:pt x="134982" y="27499"/>
                    <a:pt x="104831" y="0"/>
                    <a:pt x="69375" y="0"/>
                  </a:cubicBezTo>
                  <a:cubicBezTo>
                    <a:pt x="31128" y="0"/>
                    <a:pt x="0" y="31128"/>
                    <a:pt x="0" y="69329"/>
                  </a:cubicBezTo>
                  <a:lnTo>
                    <a:pt x="0" y="89662"/>
                  </a:lnTo>
                  <a:cubicBezTo>
                    <a:pt x="0" y="91849"/>
                    <a:pt x="0" y="215850"/>
                    <a:pt x="0" y="215850"/>
                  </a:cubicBezTo>
                  <a:cubicBezTo>
                    <a:pt x="0" y="237952"/>
                    <a:pt x="10190" y="258192"/>
                    <a:pt x="27825" y="271407"/>
                  </a:cubicBezTo>
                  <a:cubicBezTo>
                    <a:pt x="27825" y="271407"/>
                    <a:pt x="101481" y="315749"/>
                    <a:pt x="117301" y="325241"/>
                  </a:cubicBezTo>
                  <a:cubicBezTo>
                    <a:pt x="105436" y="313655"/>
                    <a:pt x="97526" y="298068"/>
                    <a:pt x="96037" y="280619"/>
                  </a:cubicBezTo>
                  <a:lnTo>
                    <a:pt x="95711" y="274478"/>
                  </a:lnTo>
                  <a:close/>
                </a:path>
              </a:pathLst>
            </a:custGeom>
            <a:solidFill>
              <a:srgbClr val="BFD464"/>
            </a:solidFill>
            <a:ln w="463" cap="flat">
              <a:noFill/>
              <a:prstDash val="solid"/>
              <a:miter/>
            </a:ln>
          </p:spPr>
          <p:txBody>
            <a:bodyPr wrap="none" lIns="0" tIns="0" rIns="0" bIns="0" rtlCol="0" anchor="ctr"/>
            <a:lstStyle/>
            <a:p>
              <a:endParaRPr lang="en-GB"/>
            </a:p>
          </p:txBody>
        </p:sp>
        <p:sp>
          <p:nvSpPr>
            <p:cNvPr id="25" name="Bild 26">
              <a:extLst>
                <a:ext uri="{FF2B5EF4-FFF2-40B4-BE49-F238E27FC236}">
                  <a16:creationId xmlns:a16="http://schemas.microsoft.com/office/drawing/2014/main" id="{401135DB-E9E7-4256-A89B-CB7EE513C6D1}"/>
                </a:ext>
              </a:extLst>
            </p:cNvPr>
            <p:cNvSpPr/>
            <p:nvPr/>
          </p:nvSpPr>
          <p:spPr>
            <a:xfrm>
              <a:off x="10590292" y="232250"/>
              <a:ext cx="110647" cy="101434"/>
            </a:xfrm>
            <a:custGeom>
              <a:avLst/>
              <a:gdLst>
                <a:gd name="connsiteX0" fmla="*/ 110647 w 110647"/>
                <a:gd name="connsiteY0" fmla="*/ 101434 h 101434"/>
                <a:gd name="connsiteX1" fmla="*/ 17076 w 110647"/>
                <a:gd name="connsiteY1" fmla="*/ 45273 h 101434"/>
                <a:gd name="connsiteX2" fmla="*/ 16844 w 110647"/>
                <a:gd name="connsiteY2" fmla="*/ 40201 h 101434"/>
                <a:gd name="connsiteX3" fmla="*/ 0 w 110647"/>
                <a:gd name="connsiteY3" fmla="*/ 0 h 101434"/>
                <a:gd name="connsiteX4" fmla="*/ 83520 w 110647"/>
                <a:gd name="connsiteY4" fmla="*/ 50252 h 101434"/>
                <a:gd name="connsiteX5" fmla="*/ 110647 w 110647"/>
                <a:gd name="connsiteY5" fmla="*/ 101434 h 101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647" h="101434">
                  <a:moveTo>
                    <a:pt x="110647" y="101434"/>
                  </a:moveTo>
                  <a:cubicBezTo>
                    <a:pt x="107483" y="99527"/>
                    <a:pt x="17635" y="45645"/>
                    <a:pt x="17076" y="45273"/>
                  </a:cubicBezTo>
                  <a:cubicBezTo>
                    <a:pt x="17030" y="44389"/>
                    <a:pt x="16844" y="40201"/>
                    <a:pt x="16844" y="40201"/>
                  </a:cubicBezTo>
                  <a:cubicBezTo>
                    <a:pt x="15587" y="25452"/>
                    <a:pt x="9632" y="11400"/>
                    <a:pt x="0" y="0"/>
                  </a:cubicBezTo>
                  <a:cubicBezTo>
                    <a:pt x="10283" y="6188"/>
                    <a:pt x="83381" y="50205"/>
                    <a:pt x="83520" y="50252"/>
                  </a:cubicBezTo>
                  <a:cubicBezTo>
                    <a:pt x="99806" y="62489"/>
                    <a:pt x="109577" y="81054"/>
                    <a:pt x="110647" y="101434"/>
                  </a:cubicBezTo>
                  <a:close/>
                </a:path>
              </a:pathLst>
            </a:custGeom>
            <a:solidFill>
              <a:srgbClr val="BFD464"/>
            </a:solidFill>
            <a:ln w="463" cap="flat">
              <a:noFill/>
              <a:prstDash val="solid"/>
              <a:miter/>
            </a:ln>
          </p:spPr>
          <p:txBody>
            <a:bodyPr wrap="none" lIns="0" tIns="0" rIns="0" bIns="0" rtlCol="0" anchor="ctr"/>
            <a:lstStyle/>
            <a:p>
              <a:endParaRPr lang="en-GB"/>
            </a:p>
          </p:txBody>
        </p:sp>
      </p:grp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164A3D46-698B-46E7-B138-A59F6AC244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2544" y="6425434"/>
            <a:ext cx="671511" cy="1224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ctr">
              <a:defRPr sz="800">
                <a:solidFill>
                  <a:schemeClr val="tx2"/>
                </a:solidFill>
              </a:defRPr>
            </a:lvl1pPr>
          </a:lstStyle>
          <a:p>
            <a:fld id="{8B22D6A4-62EF-4C48-BE1E-2A6C2B13A49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223132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0" r:id="rId3"/>
    <p:sldLayoutId id="2147483673" r:id="rId4"/>
    <p:sldLayoutId id="2147483652" r:id="rId5"/>
    <p:sldLayoutId id="2147483676" r:id="rId6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9388" indent="-179388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8775" indent="-179388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─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9750" indent="-180975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─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19138" indent="-179388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─"/>
        <a:tabLst>
          <a:tab pos="719138" algn="l"/>
        </a:tabLst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79388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─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483" userDrawn="1">
          <p15:clr>
            <a:srgbClr val="F26B43"/>
          </p15:clr>
        </p15:guide>
        <p15:guide id="4" pos="7204" userDrawn="1">
          <p15:clr>
            <a:srgbClr val="F26B43"/>
          </p15:clr>
        </p15:guide>
        <p15:guide id="5" orient="horz" pos="860" userDrawn="1">
          <p15:clr>
            <a:srgbClr val="F26B43"/>
          </p15:clr>
        </p15:guide>
        <p15:guide id="6" orient="horz" pos="300" userDrawn="1">
          <p15:clr>
            <a:srgbClr val="F26B43"/>
          </p15:clr>
        </p15:guide>
        <p15:guide id="7" orient="horz" pos="1002" userDrawn="1">
          <p15:clr>
            <a:srgbClr val="F26B43"/>
          </p15:clr>
        </p15:guide>
        <p15:guide id="8" orient="horz" pos="1190" userDrawn="1">
          <p15:clr>
            <a:srgbClr val="F26B43"/>
          </p15:clr>
        </p15:guide>
        <p15:guide id="9" orient="horz" pos="3768" userDrawn="1">
          <p15:clr>
            <a:srgbClr val="F26B43"/>
          </p15:clr>
        </p15:guide>
        <p15:guide id="10" pos="5514" userDrawn="1">
          <p15:clr>
            <a:srgbClr val="F26B43"/>
          </p15:clr>
        </p15:guide>
        <p15:guide id="11" pos="232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F25EE51-B9E4-4CE9-B81B-C3EBAEFD26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2" y="476250"/>
            <a:ext cx="10658477" cy="86518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D5590DA-E662-4AC9-9802-1C01A2B6B14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66762" y="1889125"/>
            <a:ext cx="7982746" cy="40960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grpSp>
        <p:nvGrpSpPr>
          <p:cNvPr id="19" name="Bild 26">
            <a:extLst>
              <a:ext uri="{FF2B5EF4-FFF2-40B4-BE49-F238E27FC236}">
                <a16:creationId xmlns:a16="http://schemas.microsoft.com/office/drawing/2014/main" id="{8D9A3CB7-C8EC-4832-A51F-0F9BA6504F3E}"/>
              </a:ext>
            </a:extLst>
          </p:cNvPr>
          <p:cNvGrpSpPr/>
          <p:nvPr userDrawn="1"/>
        </p:nvGrpSpPr>
        <p:grpSpPr>
          <a:xfrm>
            <a:off x="245324" y="240140"/>
            <a:ext cx="247335" cy="306637"/>
            <a:chOff x="10459917" y="209311"/>
            <a:chExt cx="382890" cy="474694"/>
          </a:xfrm>
          <a:solidFill>
            <a:srgbClr val="BFD464"/>
          </a:solidFill>
        </p:grpSpPr>
        <p:sp>
          <p:nvSpPr>
            <p:cNvPr id="20" name="Bild 26">
              <a:extLst>
                <a:ext uri="{FF2B5EF4-FFF2-40B4-BE49-F238E27FC236}">
                  <a16:creationId xmlns:a16="http://schemas.microsoft.com/office/drawing/2014/main" id="{932695F6-1949-43E5-8480-B0B256F4FDBB}"/>
                </a:ext>
              </a:extLst>
            </p:cNvPr>
            <p:cNvSpPr/>
            <p:nvPr/>
          </p:nvSpPr>
          <p:spPr>
            <a:xfrm>
              <a:off x="10606438" y="348015"/>
              <a:ext cx="188072" cy="126281"/>
            </a:xfrm>
            <a:custGeom>
              <a:avLst/>
              <a:gdLst>
                <a:gd name="connsiteX0" fmla="*/ 188072 w 188072"/>
                <a:gd name="connsiteY0" fmla="*/ 59837 h 126281"/>
                <a:gd name="connsiteX1" fmla="*/ 96409 w 188072"/>
                <a:gd name="connsiteY1" fmla="*/ 5490 h 126281"/>
                <a:gd name="connsiteX2" fmla="*/ 69329 w 188072"/>
                <a:gd name="connsiteY2" fmla="*/ 0 h 126281"/>
                <a:gd name="connsiteX3" fmla="*/ 0 w 188072"/>
                <a:gd name="connsiteY3" fmla="*/ 68817 h 126281"/>
                <a:gd name="connsiteX4" fmla="*/ 95758 w 188072"/>
                <a:gd name="connsiteY4" fmla="*/ 126281 h 126281"/>
                <a:gd name="connsiteX5" fmla="*/ 166994 w 188072"/>
                <a:gd name="connsiteY5" fmla="*/ 56626 h 126281"/>
                <a:gd name="connsiteX6" fmla="*/ 188072 w 188072"/>
                <a:gd name="connsiteY6" fmla="*/ 59837 h 126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8072" h="126281">
                  <a:moveTo>
                    <a:pt x="188072" y="59837"/>
                  </a:moveTo>
                  <a:cubicBezTo>
                    <a:pt x="167971" y="47925"/>
                    <a:pt x="96409" y="5490"/>
                    <a:pt x="96409" y="5490"/>
                  </a:cubicBezTo>
                  <a:cubicBezTo>
                    <a:pt x="87848" y="1861"/>
                    <a:pt x="78728" y="0"/>
                    <a:pt x="69329" y="0"/>
                  </a:cubicBezTo>
                  <a:cubicBezTo>
                    <a:pt x="31268" y="0"/>
                    <a:pt x="279" y="30803"/>
                    <a:pt x="0" y="68817"/>
                  </a:cubicBezTo>
                  <a:cubicBezTo>
                    <a:pt x="977" y="69422"/>
                    <a:pt x="93105" y="124653"/>
                    <a:pt x="95758" y="126281"/>
                  </a:cubicBezTo>
                  <a:cubicBezTo>
                    <a:pt x="96642" y="87755"/>
                    <a:pt x="128235" y="56626"/>
                    <a:pt x="166994" y="56626"/>
                  </a:cubicBezTo>
                  <a:cubicBezTo>
                    <a:pt x="174346" y="56673"/>
                    <a:pt x="181418" y="57743"/>
                    <a:pt x="188072" y="59837"/>
                  </a:cubicBezTo>
                  <a:close/>
                </a:path>
              </a:pathLst>
            </a:custGeom>
            <a:solidFill>
              <a:srgbClr val="BFD464"/>
            </a:solidFill>
            <a:ln w="463" cap="flat">
              <a:noFill/>
              <a:prstDash val="solid"/>
              <a:miter/>
            </a:ln>
          </p:spPr>
          <p:txBody>
            <a:bodyPr wrap="none" lIns="0" tIns="0" rIns="0" bIns="0" rtlCol="0" anchor="ctr"/>
            <a:lstStyle/>
            <a:p>
              <a:endParaRPr lang="en-GB"/>
            </a:p>
          </p:txBody>
        </p:sp>
        <p:sp>
          <p:nvSpPr>
            <p:cNvPr id="21" name="Bild 26">
              <a:extLst>
                <a:ext uri="{FF2B5EF4-FFF2-40B4-BE49-F238E27FC236}">
                  <a16:creationId xmlns:a16="http://schemas.microsoft.com/office/drawing/2014/main" id="{0C0BA89A-13C2-4BDC-954E-F8A6C48F2EA3}"/>
                </a:ext>
              </a:extLst>
            </p:cNvPr>
            <p:cNvSpPr/>
            <p:nvPr/>
          </p:nvSpPr>
          <p:spPr>
            <a:xfrm>
              <a:off x="10563817" y="426789"/>
              <a:ext cx="138332" cy="126327"/>
            </a:xfrm>
            <a:custGeom>
              <a:avLst/>
              <a:gdLst>
                <a:gd name="connsiteX0" fmla="*/ 138332 w 138332"/>
                <a:gd name="connsiteY0" fmla="*/ 57510 h 126327"/>
                <a:gd name="connsiteX1" fmla="*/ 42528 w 138332"/>
                <a:gd name="connsiteY1" fmla="*/ 0 h 126327"/>
                <a:gd name="connsiteX2" fmla="*/ 0 w 138332"/>
                <a:gd name="connsiteY2" fmla="*/ 63606 h 126327"/>
                <a:gd name="connsiteX3" fmla="*/ 69003 w 138332"/>
                <a:gd name="connsiteY3" fmla="*/ 126328 h 126327"/>
                <a:gd name="connsiteX4" fmla="*/ 138332 w 138332"/>
                <a:gd name="connsiteY4" fmla="*/ 57510 h 126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8332" h="126327">
                  <a:moveTo>
                    <a:pt x="138332" y="57510"/>
                  </a:moveTo>
                  <a:cubicBezTo>
                    <a:pt x="137355" y="56906"/>
                    <a:pt x="45134" y="1582"/>
                    <a:pt x="42528" y="0"/>
                  </a:cubicBezTo>
                  <a:cubicBezTo>
                    <a:pt x="41877" y="27685"/>
                    <a:pt x="25405" y="52439"/>
                    <a:pt x="0" y="63606"/>
                  </a:cubicBezTo>
                  <a:cubicBezTo>
                    <a:pt x="3350" y="98829"/>
                    <a:pt x="33548" y="126328"/>
                    <a:pt x="69003" y="126328"/>
                  </a:cubicBezTo>
                  <a:cubicBezTo>
                    <a:pt x="107064" y="126328"/>
                    <a:pt x="138006" y="95525"/>
                    <a:pt x="138332" y="57510"/>
                  </a:cubicBezTo>
                  <a:close/>
                </a:path>
              </a:pathLst>
            </a:custGeom>
            <a:solidFill>
              <a:srgbClr val="BFD464"/>
            </a:solidFill>
            <a:ln w="463" cap="flat">
              <a:noFill/>
              <a:prstDash val="solid"/>
              <a:miter/>
            </a:ln>
          </p:spPr>
          <p:txBody>
            <a:bodyPr wrap="none" lIns="0" tIns="0" rIns="0" bIns="0" rtlCol="0" anchor="ctr"/>
            <a:lstStyle/>
            <a:p>
              <a:endParaRPr lang="en-GB"/>
            </a:p>
          </p:txBody>
        </p:sp>
        <p:sp>
          <p:nvSpPr>
            <p:cNvPr id="22" name="Bild 26">
              <a:extLst>
                <a:ext uri="{FF2B5EF4-FFF2-40B4-BE49-F238E27FC236}">
                  <a16:creationId xmlns:a16="http://schemas.microsoft.com/office/drawing/2014/main" id="{7CA7AF68-57A4-4A0C-B05F-A586C0FFD0EA}"/>
                </a:ext>
              </a:extLst>
            </p:cNvPr>
            <p:cNvSpPr/>
            <p:nvPr/>
          </p:nvSpPr>
          <p:spPr>
            <a:xfrm>
              <a:off x="10704429" y="412458"/>
              <a:ext cx="138378" cy="271546"/>
            </a:xfrm>
            <a:custGeom>
              <a:avLst/>
              <a:gdLst>
                <a:gd name="connsiteX0" fmla="*/ 69050 w 138378"/>
                <a:gd name="connsiteY0" fmla="*/ 0 h 271546"/>
                <a:gd name="connsiteX1" fmla="*/ 42435 w 138378"/>
                <a:gd name="connsiteY1" fmla="*/ 5304 h 271546"/>
                <a:gd name="connsiteX2" fmla="*/ 42668 w 138378"/>
                <a:gd name="connsiteY2" fmla="*/ 10748 h 271546"/>
                <a:gd name="connsiteX3" fmla="*/ 42668 w 138378"/>
                <a:gd name="connsiteY3" fmla="*/ 143590 h 271546"/>
                <a:gd name="connsiteX4" fmla="*/ 0 w 138378"/>
                <a:gd name="connsiteY4" fmla="*/ 208871 h 271546"/>
                <a:gd name="connsiteX5" fmla="*/ 69003 w 138378"/>
                <a:gd name="connsiteY5" fmla="*/ 271546 h 271546"/>
                <a:gd name="connsiteX6" fmla="*/ 138379 w 138378"/>
                <a:gd name="connsiteY6" fmla="*/ 202217 h 271546"/>
                <a:gd name="connsiteX7" fmla="*/ 138379 w 138378"/>
                <a:gd name="connsiteY7" fmla="*/ 69376 h 271546"/>
                <a:gd name="connsiteX8" fmla="*/ 69050 w 138378"/>
                <a:gd name="connsiteY8" fmla="*/ 0 h 271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8378" h="271546">
                  <a:moveTo>
                    <a:pt x="69050" y="0"/>
                  </a:moveTo>
                  <a:cubicBezTo>
                    <a:pt x="59604" y="0"/>
                    <a:pt x="50624" y="1908"/>
                    <a:pt x="42435" y="5304"/>
                  </a:cubicBezTo>
                  <a:lnTo>
                    <a:pt x="42668" y="10748"/>
                  </a:lnTo>
                  <a:lnTo>
                    <a:pt x="42668" y="143590"/>
                  </a:lnTo>
                  <a:cubicBezTo>
                    <a:pt x="42668" y="171973"/>
                    <a:pt x="25963" y="197471"/>
                    <a:pt x="0" y="208871"/>
                  </a:cubicBezTo>
                  <a:cubicBezTo>
                    <a:pt x="3350" y="244047"/>
                    <a:pt x="33548" y="271546"/>
                    <a:pt x="69003" y="271546"/>
                  </a:cubicBezTo>
                  <a:cubicBezTo>
                    <a:pt x="107250" y="271546"/>
                    <a:pt x="138379" y="240418"/>
                    <a:pt x="138379" y="202217"/>
                  </a:cubicBezTo>
                  <a:lnTo>
                    <a:pt x="138379" y="69376"/>
                  </a:lnTo>
                  <a:cubicBezTo>
                    <a:pt x="138379" y="31128"/>
                    <a:pt x="107250" y="0"/>
                    <a:pt x="69050" y="0"/>
                  </a:cubicBezTo>
                  <a:close/>
                </a:path>
              </a:pathLst>
            </a:custGeom>
            <a:solidFill>
              <a:srgbClr val="BFD464"/>
            </a:solidFill>
            <a:ln w="463" cap="flat">
              <a:noFill/>
              <a:prstDash val="solid"/>
              <a:miter/>
            </a:ln>
          </p:spPr>
          <p:txBody>
            <a:bodyPr wrap="none" lIns="0" tIns="0" rIns="0" bIns="0" rtlCol="0" anchor="ctr"/>
            <a:lstStyle/>
            <a:p>
              <a:endParaRPr lang="en-GB"/>
            </a:p>
          </p:txBody>
        </p:sp>
        <p:sp>
          <p:nvSpPr>
            <p:cNvPr id="23" name="Bild 26">
              <a:extLst>
                <a:ext uri="{FF2B5EF4-FFF2-40B4-BE49-F238E27FC236}">
                  <a16:creationId xmlns:a16="http://schemas.microsoft.com/office/drawing/2014/main" id="{1DAE337D-0517-48C1-A178-E396D5E106E0}"/>
                </a:ext>
              </a:extLst>
            </p:cNvPr>
            <p:cNvSpPr/>
            <p:nvPr/>
          </p:nvSpPr>
          <p:spPr>
            <a:xfrm>
              <a:off x="10601785" y="559678"/>
              <a:ext cx="110647" cy="101434"/>
            </a:xfrm>
            <a:custGeom>
              <a:avLst/>
              <a:gdLst>
                <a:gd name="connsiteX0" fmla="*/ 0 w 110647"/>
                <a:gd name="connsiteY0" fmla="*/ 0 h 101434"/>
                <a:gd name="connsiteX1" fmla="*/ 93571 w 110647"/>
                <a:gd name="connsiteY1" fmla="*/ 56161 h 101434"/>
                <a:gd name="connsiteX2" fmla="*/ 93803 w 110647"/>
                <a:gd name="connsiteY2" fmla="*/ 61233 h 101434"/>
                <a:gd name="connsiteX3" fmla="*/ 110647 w 110647"/>
                <a:gd name="connsiteY3" fmla="*/ 101434 h 101434"/>
                <a:gd name="connsiteX4" fmla="*/ 27127 w 110647"/>
                <a:gd name="connsiteY4" fmla="*/ 51182 h 101434"/>
                <a:gd name="connsiteX5" fmla="*/ 0 w 110647"/>
                <a:gd name="connsiteY5" fmla="*/ 0 h 101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647" h="101434">
                  <a:moveTo>
                    <a:pt x="0" y="0"/>
                  </a:moveTo>
                  <a:cubicBezTo>
                    <a:pt x="3164" y="1908"/>
                    <a:pt x="93012" y="55789"/>
                    <a:pt x="93571" y="56161"/>
                  </a:cubicBezTo>
                  <a:cubicBezTo>
                    <a:pt x="93617" y="57045"/>
                    <a:pt x="93803" y="61233"/>
                    <a:pt x="93803" y="61233"/>
                  </a:cubicBezTo>
                  <a:cubicBezTo>
                    <a:pt x="95060" y="75983"/>
                    <a:pt x="101015" y="90035"/>
                    <a:pt x="110647" y="101434"/>
                  </a:cubicBezTo>
                  <a:cubicBezTo>
                    <a:pt x="100364" y="95246"/>
                    <a:pt x="27266" y="51229"/>
                    <a:pt x="27127" y="51182"/>
                  </a:cubicBezTo>
                  <a:cubicBezTo>
                    <a:pt x="10841" y="38945"/>
                    <a:pt x="1070" y="20380"/>
                    <a:pt x="0" y="0"/>
                  </a:cubicBezTo>
                  <a:close/>
                </a:path>
              </a:pathLst>
            </a:custGeom>
            <a:solidFill>
              <a:srgbClr val="BFD464"/>
            </a:solidFill>
            <a:ln w="463" cap="flat">
              <a:noFill/>
              <a:prstDash val="solid"/>
              <a:miter/>
            </a:ln>
          </p:spPr>
          <p:txBody>
            <a:bodyPr wrap="none" lIns="0" tIns="0" rIns="0" bIns="0" rtlCol="0" anchor="ctr"/>
            <a:lstStyle/>
            <a:p>
              <a:endParaRPr lang="en-GB"/>
            </a:p>
          </p:txBody>
        </p:sp>
        <p:sp>
          <p:nvSpPr>
            <p:cNvPr id="24" name="Bild 26">
              <a:extLst>
                <a:ext uri="{FF2B5EF4-FFF2-40B4-BE49-F238E27FC236}">
                  <a16:creationId xmlns:a16="http://schemas.microsoft.com/office/drawing/2014/main" id="{C27AEC09-3621-435D-A155-FC8183150A12}"/>
                </a:ext>
              </a:extLst>
            </p:cNvPr>
            <p:cNvSpPr/>
            <p:nvPr/>
          </p:nvSpPr>
          <p:spPr>
            <a:xfrm>
              <a:off x="10459917" y="209311"/>
              <a:ext cx="138378" cy="325241"/>
            </a:xfrm>
            <a:custGeom>
              <a:avLst/>
              <a:gdLst>
                <a:gd name="connsiteX0" fmla="*/ 95711 w 138378"/>
                <a:gd name="connsiteY0" fmla="*/ 274478 h 325241"/>
                <a:gd name="connsiteX1" fmla="*/ 95711 w 138378"/>
                <a:gd name="connsiteY1" fmla="*/ 113904 h 325241"/>
                <a:gd name="connsiteX2" fmla="*/ 95711 w 138378"/>
                <a:gd name="connsiteY2" fmla="*/ 127956 h 325241"/>
                <a:gd name="connsiteX3" fmla="*/ 138379 w 138378"/>
                <a:gd name="connsiteY3" fmla="*/ 62675 h 325241"/>
                <a:gd name="connsiteX4" fmla="*/ 69375 w 138378"/>
                <a:gd name="connsiteY4" fmla="*/ 0 h 325241"/>
                <a:gd name="connsiteX5" fmla="*/ 0 w 138378"/>
                <a:gd name="connsiteY5" fmla="*/ 69329 h 325241"/>
                <a:gd name="connsiteX6" fmla="*/ 0 w 138378"/>
                <a:gd name="connsiteY6" fmla="*/ 89662 h 325241"/>
                <a:gd name="connsiteX7" fmla="*/ 0 w 138378"/>
                <a:gd name="connsiteY7" fmla="*/ 215850 h 325241"/>
                <a:gd name="connsiteX8" fmla="*/ 27825 w 138378"/>
                <a:gd name="connsiteY8" fmla="*/ 271407 h 325241"/>
                <a:gd name="connsiteX9" fmla="*/ 117301 w 138378"/>
                <a:gd name="connsiteY9" fmla="*/ 325241 h 325241"/>
                <a:gd name="connsiteX10" fmla="*/ 96037 w 138378"/>
                <a:gd name="connsiteY10" fmla="*/ 280619 h 325241"/>
                <a:gd name="connsiteX11" fmla="*/ 95711 w 138378"/>
                <a:gd name="connsiteY11" fmla="*/ 274478 h 3252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8378" h="325241">
                  <a:moveTo>
                    <a:pt x="95711" y="274478"/>
                  </a:moveTo>
                  <a:cubicBezTo>
                    <a:pt x="95711" y="274478"/>
                    <a:pt x="95711" y="114649"/>
                    <a:pt x="95711" y="113904"/>
                  </a:cubicBezTo>
                  <a:lnTo>
                    <a:pt x="95711" y="127956"/>
                  </a:lnTo>
                  <a:cubicBezTo>
                    <a:pt x="95711" y="99573"/>
                    <a:pt x="112415" y="74075"/>
                    <a:pt x="138379" y="62675"/>
                  </a:cubicBezTo>
                  <a:cubicBezTo>
                    <a:pt x="134982" y="27499"/>
                    <a:pt x="104831" y="0"/>
                    <a:pt x="69375" y="0"/>
                  </a:cubicBezTo>
                  <a:cubicBezTo>
                    <a:pt x="31128" y="0"/>
                    <a:pt x="0" y="31128"/>
                    <a:pt x="0" y="69329"/>
                  </a:cubicBezTo>
                  <a:lnTo>
                    <a:pt x="0" y="89662"/>
                  </a:lnTo>
                  <a:cubicBezTo>
                    <a:pt x="0" y="91849"/>
                    <a:pt x="0" y="215850"/>
                    <a:pt x="0" y="215850"/>
                  </a:cubicBezTo>
                  <a:cubicBezTo>
                    <a:pt x="0" y="237952"/>
                    <a:pt x="10190" y="258192"/>
                    <a:pt x="27825" y="271407"/>
                  </a:cubicBezTo>
                  <a:cubicBezTo>
                    <a:pt x="27825" y="271407"/>
                    <a:pt x="101481" y="315749"/>
                    <a:pt x="117301" y="325241"/>
                  </a:cubicBezTo>
                  <a:cubicBezTo>
                    <a:pt x="105436" y="313655"/>
                    <a:pt x="97526" y="298068"/>
                    <a:pt x="96037" y="280619"/>
                  </a:cubicBezTo>
                  <a:lnTo>
                    <a:pt x="95711" y="274478"/>
                  </a:lnTo>
                  <a:close/>
                </a:path>
              </a:pathLst>
            </a:custGeom>
            <a:solidFill>
              <a:srgbClr val="BFD464"/>
            </a:solidFill>
            <a:ln w="463" cap="flat">
              <a:noFill/>
              <a:prstDash val="solid"/>
              <a:miter/>
            </a:ln>
          </p:spPr>
          <p:txBody>
            <a:bodyPr wrap="none" lIns="0" tIns="0" rIns="0" bIns="0" rtlCol="0" anchor="ctr"/>
            <a:lstStyle/>
            <a:p>
              <a:endParaRPr lang="en-GB"/>
            </a:p>
          </p:txBody>
        </p:sp>
        <p:sp>
          <p:nvSpPr>
            <p:cNvPr id="25" name="Bild 26">
              <a:extLst>
                <a:ext uri="{FF2B5EF4-FFF2-40B4-BE49-F238E27FC236}">
                  <a16:creationId xmlns:a16="http://schemas.microsoft.com/office/drawing/2014/main" id="{401135DB-E9E7-4256-A89B-CB7EE513C6D1}"/>
                </a:ext>
              </a:extLst>
            </p:cNvPr>
            <p:cNvSpPr/>
            <p:nvPr/>
          </p:nvSpPr>
          <p:spPr>
            <a:xfrm>
              <a:off x="10590292" y="232250"/>
              <a:ext cx="110647" cy="101434"/>
            </a:xfrm>
            <a:custGeom>
              <a:avLst/>
              <a:gdLst>
                <a:gd name="connsiteX0" fmla="*/ 110647 w 110647"/>
                <a:gd name="connsiteY0" fmla="*/ 101434 h 101434"/>
                <a:gd name="connsiteX1" fmla="*/ 17076 w 110647"/>
                <a:gd name="connsiteY1" fmla="*/ 45273 h 101434"/>
                <a:gd name="connsiteX2" fmla="*/ 16844 w 110647"/>
                <a:gd name="connsiteY2" fmla="*/ 40201 h 101434"/>
                <a:gd name="connsiteX3" fmla="*/ 0 w 110647"/>
                <a:gd name="connsiteY3" fmla="*/ 0 h 101434"/>
                <a:gd name="connsiteX4" fmla="*/ 83520 w 110647"/>
                <a:gd name="connsiteY4" fmla="*/ 50252 h 101434"/>
                <a:gd name="connsiteX5" fmla="*/ 110647 w 110647"/>
                <a:gd name="connsiteY5" fmla="*/ 101434 h 101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0647" h="101434">
                  <a:moveTo>
                    <a:pt x="110647" y="101434"/>
                  </a:moveTo>
                  <a:cubicBezTo>
                    <a:pt x="107483" y="99527"/>
                    <a:pt x="17635" y="45645"/>
                    <a:pt x="17076" y="45273"/>
                  </a:cubicBezTo>
                  <a:cubicBezTo>
                    <a:pt x="17030" y="44389"/>
                    <a:pt x="16844" y="40201"/>
                    <a:pt x="16844" y="40201"/>
                  </a:cubicBezTo>
                  <a:cubicBezTo>
                    <a:pt x="15587" y="25452"/>
                    <a:pt x="9632" y="11400"/>
                    <a:pt x="0" y="0"/>
                  </a:cubicBezTo>
                  <a:cubicBezTo>
                    <a:pt x="10283" y="6188"/>
                    <a:pt x="83381" y="50205"/>
                    <a:pt x="83520" y="50252"/>
                  </a:cubicBezTo>
                  <a:cubicBezTo>
                    <a:pt x="99806" y="62489"/>
                    <a:pt x="109577" y="81054"/>
                    <a:pt x="110647" y="101434"/>
                  </a:cubicBezTo>
                  <a:close/>
                </a:path>
              </a:pathLst>
            </a:custGeom>
            <a:solidFill>
              <a:srgbClr val="BFD464"/>
            </a:solidFill>
            <a:ln w="463" cap="flat">
              <a:noFill/>
              <a:prstDash val="solid"/>
              <a:miter/>
            </a:ln>
          </p:spPr>
          <p:txBody>
            <a:bodyPr wrap="none" lIns="0" tIns="0" rIns="0" bIns="0" rtlCol="0" anchor="ctr"/>
            <a:lstStyle/>
            <a:p>
              <a:endParaRPr lang="en-GB"/>
            </a:p>
          </p:txBody>
        </p:sp>
      </p:grp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164A3D46-698B-46E7-B138-A59F6AC244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2544" y="6425434"/>
            <a:ext cx="671511" cy="1224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ctr">
              <a:defRPr sz="800">
                <a:solidFill>
                  <a:schemeClr val="tx2"/>
                </a:solidFill>
              </a:defRPr>
            </a:lvl1pPr>
          </a:lstStyle>
          <a:p>
            <a:fld id="{8B22D6A4-62EF-4C48-BE1E-2A6C2B13A49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411503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7" r:id="rId2"/>
    <p:sldLayoutId id="2147483682" r:id="rId3"/>
    <p:sldLayoutId id="2147483678" r:id="rId4"/>
    <p:sldLayoutId id="2147483679" r:id="rId5"/>
    <p:sldLayoutId id="2147483680" r:id="rId6"/>
    <p:sldLayoutId id="2147483683" r:id="rId7"/>
    <p:sldLayoutId id="2147483684" r:id="rId8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9388" indent="-179388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8775" indent="-179388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─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9750" indent="-180975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─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19138" indent="-179388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─"/>
        <a:tabLst>
          <a:tab pos="719138" algn="l"/>
        </a:tabLst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79388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─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483" userDrawn="1">
          <p15:clr>
            <a:srgbClr val="F26B43"/>
          </p15:clr>
        </p15:guide>
        <p15:guide id="4" pos="7204" userDrawn="1">
          <p15:clr>
            <a:srgbClr val="F26B43"/>
          </p15:clr>
        </p15:guide>
        <p15:guide id="5" orient="horz" pos="860" userDrawn="1">
          <p15:clr>
            <a:srgbClr val="F26B43"/>
          </p15:clr>
        </p15:guide>
        <p15:guide id="6" orient="horz" pos="300" userDrawn="1">
          <p15:clr>
            <a:srgbClr val="F26B43"/>
          </p15:clr>
        </p15:guide>
        <p15:guide id="7" orient="horz" pos="1002" userDrawn="1">
          <p15:clr>
            <a:srgbClr val="F26B43"/>
          </p15:clr>
        </p15:guide>
        <p15:guide id="8" orient="horz" pos="1190" userDrawn="1">
          <p15:clr>
            <a:srgbClr val="F26B43"/>
          </p15:clr>
        </p15:guide>
        <p15:guide id="9" orient="horz" pos="3768" userDrawn="1">
          <p15:clr>
            <a:srgbClr val="F26B43"/>
          </p15:clr>
        </p15:guide>
        <p15:guide id="10" pos="5514" userDrawn="1">
          <p15:clr>
            <a:srgbClr val="F26B43"/>
          </p15:clr>
        </p15:guide>
        <p15:guide id="11" pos="23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svg"/><Relationship Id="rId3" Type="http://schemas.openxmlformats.org/officeDocument/2006/relationships/image" Target="../media/image56.png"/><Relationship Id="rId7" Type="http://schemas.openxmlformats.org/officeDocument/2006/relationships/image" Target="../media/image23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59.jpeg"/><Relationship Id="rId5" Type="http://schemas.openxmlformats.org/officeDocument/2006/relationships/image" Target="../media/image58.svg"/><Relationship Id="rId10" Type="http://schemas.openxmlformats.org/officeDocument/2006/relationships/image" Target="../media/image60.png"/><Relationship Id="rId4" Type="http://schemas.openxmlformats.org/officeDocument/2006/relationships/image" Target="../media/image57.png"/><Relationship Id="rId9" Type="http://schemas.openxmlformats.org/officeDocument/2006/relationships/image" Target="../media/image50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13" Type="http://schemas.openxmlformats.org/officeDocument/2006/relationships/image" Target="../media/image31.svg"/><Relationship Id="rId3" Type="http://schemas.openxmlformats.org/officeDocument/2006/relationships/chart" Target="../charts/chart6.xml"/><Relationship Id="rId7" Type="http://schemas.openxmlformats.org/officeDocument/2006/relationships/image" Target="../media/image64.png"/><Relationship Id="rId12" Type="http://schemas.openxmlformats.org/officeDocument/2006/relationships/image" Target="../media/image30.png"/><Relationship Id="rId17" Type="http://schemas.openxmlformats.org/officeDocument/2006/relationships/image" Target="../media/image50.png"/><Relationship Id="rId2" Type="http://schemas.openxmlformats.org/officeDocument/2006/relationships/slideLayout" Target="../slideLayouts/slideLayout10.xml"/><Relationship Id="rId16" Type="http://schemas.openxmlformats.org/officeDocument/2006/relationships/image" Target="../media/image68.png"/><Relationship Id="rId1" Type="http://schemas.openxmlformats.org/officeDocument/2006/relationships/tags" Target="../tags/tag14.xml"/><Relationship Id="rId6" Type="http://schemas.openxmlformats.org/officeDocument/2006/relationships/image" Target="../media/image63.png"/><Relationship Id="rId11" Type="http://schemas.openxmlformats.org/officeDocument/2006/relationships/image" Target="../media/image67.png"/><Relationship Id="rId5" Type="http://schemas.openxmlformats.org/officeDocument/2006/relationships/image" Target="../media/image62.png"/><Relationship Id="rId15" Type="http://schemas.openxmlformats.org/officeDocument/2006/relationships/image" Target="../media/image34.png"/><Relationship Id="rId10" Type="http://schemas.openxmlformats.org/officeDocument/2006/relationships/image" Target="../media/image66.png"/><Relationship Id="rId4" Type="http://schemas.openxmlformats.org/officeDocument/2006/relationships/image" Target="../media/image61.png"/><Relationship Id="rId9" Type="http://schemas.openxmlformats.org/officeDocument/2006/relationships/image" Target="../media/image65.png"/><Relationship Id="rId14" Type="http://schemas.openxmlformats.org/officeDocument/2006/relationships/image" Target="../media/image3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69.jpeg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8" Type="http://schemas.microsoft.com/office/2007/relationships/hdphoto" Target="../media/hdphoto8.wdp"/><Relationship Id="rId13" Type="http://schemas.openxmlformats.org/officeDocument/2006/relationships/image" Target="../media/image76.emf"/><Relationship Id="rId3" Type="http://schemas.openxmlformats.org/officeDocument/2006/relationships/image" Target="../media/image71.png"/><Relationship Id="rId7" Type="http://schemas.openxmlformats.org/officeDocument/2006/relationships/image" Target="../media/image73.png"/><Relationship Id="rId12" Type="http://schemas.microsoft.com/office/2007/relationships/hdphoto" Target="../media/hdphoto10.wdp"/><Relationship Id="rId17" Type="http://schemas.openxmlformats.org/officeDocument/2006/relationships/image" Target="../media/image80.emf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79.emf"/><Relationship Id="rId1" Type="http://schemas.openxmlformats.org/officeDocument/2006/relationships/slideLayout" Target="../slideLayouts/slideLayout4.xml"/><Relationship Id="rId6" Type="http://schemas.microsoft.com/office/2007/relationships/hdphoto" Target="../media/hdphoto7.wdp"/><Relationship Id="rId11" Type="http://schemas.openxmlformats.org/officeDocument/2006/relationships/image" Target="../media/image75.png"/><Relationship Id="rId5" Type="http://schemas.openxmlformats.org/officeDocument/2006/relationships/image" Target="../media/image72.png"/><Relationship Id="rId15" Type="http://schemas.openxmlformats.org/officeDocument/2006/relationships/image" Target="../media/image78.emf"/><Relationship Id="rId10" Type="http://schemas.microsoft.com/office/2007/relationships/hdphoto" Target="../media/hdphoto9.wdp"/><Relationship Id="rId4" Type="http://schemas.microsoft.com/office/2007/relationships/hdphoto" Target="../media/hdphoto6.wdp"/><Relationship Id="rId9" Type="http://schemas.openxmlformats.org/officeDocument/2006/relationships/image" Target="../media/image74.png"/><Relationship Id="rId14" Type="http://schemas.openxmlformats.org/officeDocument/2006/relationships/image" Target="../media/image77.emf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1.jpeg"/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jpe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image" Target="../media/image1.emf"/><Relationship Id="rId7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Relationship Id="rId9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20.png"/><Relationship Id="rId3" Type="http://schemas.openxmlformats.org/officeDocument/2006/relationships/image" Target="../media/image10.svg"/><Relationship Id="rId7" Type="http://schemas.openxmlformats.org/officeDocument/2006/relationships/image" Target="../media/image14.svg"/><Relationship Id="rId12" Type="http://schemas.openxmlformats.org/officeDocument/2006/relationships/image" Target="../media/image19.jpeg"/><Relationship Id="rId17" Type="http://schemas.openxmlformats.org/officeDocument/2006/relationships/image" Target="../media/image24.svg"/><Relationship Id="rId2" Type="http://schemas.openxmlformats.org/officeDocument/2006/relationships/image" Target="../media/image9.png"/><Relationship Id="rId16" Type="http://schemas.openxmlformats.org/officeDocument/2006/relationships/image" Target="../media/image23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3.png"/><Relationship Id="rId11" Type="http://schemas.openxmlformats.org/officeDocument/2006/relationships/image" Target="../media/image18.png"/><Relationship Id="rId5" Type="http://schemas.openxmlformats.org/officeDocument/2006/relationships/image" Target="../media/image12.svg"/><Relationship Id="rId15" Type="http://schemas.openxmlformats.org/officeDocument/2006/relationships/image" Target="../media/image22.svg"/><Relationship Id="rId10" Type="http://schemas.openxmlformats.org/officeDocument/2006/relationships/image" Target="../media/image17.png"/><Relationship Id="rId4" Type="http://schemas.openxmlformats.org/officeDocument/2006/relationships/image" Target="../media/image11.png"/><Relationship Id="rId9" Type="http://schemas.openxmlformats.org/officeDocument/2006/relationships/image" Target="../media/image16.svg"/><Relationship Id="rId14" Type="http://schemas.openxmlformats.org/officeDocument/2006/relationships/image" Target="../media/image2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7" Type="http://schemas.openxmlformats.org/officeDocument/2006/relationships/image" Target="../media/image2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7.svg"/><Relationship Id="rId5" Type="http://schemas.openxmlformats.org/officeDocument/2006/relationships/image" Target="../media/image26.png"/><Relationship Id="rId4" Type="http://schemas.openxmlformats.org/officeDocument/2006/relationships/image" Target="../media/image25.sv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tags" Target="../tags/tag13.xml"/><Relationship Id="rId18" Type="http://schemas.openxmlformats.org/officeDocument/2006/relationships/image" Target="../media/image33.png"/><Relationship Id="rId26" Type="http://schemas.openxmlformats.org/officeDocument/2006/relationships/image" Target="../media/image40.png"/><Relationship Id="rId39" Type="http://schemas.openxmlformats.org/officeDocument/2006/relationships/image" Target="../media/image45.png"/><Relationship Id="rId21" Type="http://schemas.openxmlformats.org/officeDocument/2006/relationships/image" Target="../media/image36.png"/><Relationship Id="rId34" Type="http://schemas.openxmlformats.org/officeDocument/2006/relationships/chart" Target="../charts/chart1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image" Target="../media/image32.png"/><Relationship Id="rId25" Type="http://schemas.microsoft.com/office/2007/relationships/hdphoto" Target="../media/hdphoto1.wdp"/><Relationship Id="rId33" Type="http://schemas.openxmlformats.org/officeDocument/2006/relationships/image" Target="../media/image44.png"/><Relationship Id="rId38" Type="http://schemas.openxmlformats.org/officeDocument/2006/relationships/chart" Target="../charts/chart5.xml"/><Relationship Id="rId2" Type="http://schemas.openxmlformats.org/officeDocument/2006/relationships/tags" Target="../tags/tag2.xml"/><Relationship Id="rId16" Type="http://schemas.openxmlformats.org/officeDocument/2006/relationships/image" Target="../media/image31.svg"/><Relationship Id="rId20" Type="http://schemas.openxmlformats.org/officeDocument/2006/relationships/image" Target="../media/image35.png"/><Relationship Id="rId29" Type="http://schemas.microsoft.com/office/2007/relationships/hdphoto" Target="../media/hdphoto3.wdp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image" Target="../media/image39.png"/><Relationship Id="rId32" Type="http://schemas.microsoft.com/office/2007/relationships/hdphoto" Target="../media/hdphoto4.wdp"/><Relationship Id="rId37" Type="http://schemas.openxmlformats.org/officeDocument/2006/relationships/chart" Target="../charts/chart4.xml"/><Relationship Id="rId5" Type="http://schemas.openxmlformats.org/officeDocument/2006/relationships/tags" Target="../tags/tag5.xml"/><Relationship Id="rId15" Type="http://schemas.openxmlformats.org/officeDocument/2006/relationships/image" Target="../media/image30.png"/><Relationship Id="rId23" Type="http://schemas.openxmlformats.org/officeDocument/2006/relationships/image" Target="../media/image38.png"/><Relationship Id="rId28" Type="http://schemas.openxmlformats.org/officeDocument/2006/relationships/image" Target="../media/image41.png"/><Relationship Id="rId36" Type="http://schemas.openxmlformats.org/officeDocument/2006/relationships/chart" Target="../charts/chart3.xml"/><Relationship Id="rId10" Type="http://schemas.openxmlformats.org/officeDocument/2006/relationships/tags" Target="../tags/tag10.xml"/><Relationship Id="rId19" Type="http://schemas.openxmlformats.org/officeDocument/2006/relationships/image" Target="../media/image34.png"/><Relationship Id="rId31" Type="http://schemas.openxmlformats.org/officeDocument/2006/relationships/image" Target="../media/image43.png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slideLayout" Target="../slideLayouts/slideLayout10.xml"/><Relationship Id="rId22" Type="http://schemas.openxmlformats.org/officeDocument/2006/relationships/image" Target="../media/image37.png"/><Relationship Id="rId27" Type="http://schemas.microsoft.com/office/2007/relationships/hdphoto" Target="../media/hdphoto2.wdp"/><Relationship Id="rId30" Type="http://schemas.openxmlformats.org/officeDocument/2006/relationships/image" Target="../media/image42.png"/><Relationship Id="rId35" Type="http://schemas.openxmlformats.org/officeDocument/2006/relationships/chart" Target="../charts/chart2.xml"/><Relationship Id="rId8" Type="http://schemas.openxmlformats.org/officeDocument/2006/relationships/tags" Target="../tags/tag8.xml"/><Relationship Id="rId3" Type="http://schemas.openxmlformats.org/officeDocument/2006/relationships/tags" Target="../tags/tag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50.png"/><Relationship Id="rId5" Type="http://schemas.openxmlformats.org/officeDocument/2006/relationships/image" Target="../media/image49.png"/><Relationship Id="rId4" Type="http://schemas.openxmlformats.org/officeDocument/2006/relationships/image" Target="../media/image48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3" Type="http://schemas.openxmlformats.org/officeDocument/2006/relationships/image" Target="../media/image47.png"/><Relationship Id="rId7" Type="http://schemas.openxmlformats.org/officeDocument/2006/relationships/image" Target="../media/image51.png"/><Relationship Id="rId12" Type="http://schemas.microsoft.com/office/2007/relationships/hdphoto" Target="../media/hdphoto5.wdp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50.png"/><Relationship Id="rId11" Type="http://schemas.openxmlformats.org/officeDocument/2006/relationships/image" Target="../media/image53.png"/><Relationship Id="rId5" Type="http://schemas.openxmlformats.org/officeDocument/2006/relationships/image" Target="../media/image49.png"/><Relationship Id="rId10" Type="http://schemas.openxmlformats.org/officeDocument/2006/relationships/image" Target="../media/image31.svg"/><Relationship Id="rId4" Type="http://schemas.openxmlformats.org/officeDocument/2006/relationships/image" Target="../media/image48.png"/><Relationship Id="rId9" Type="http://schemas.openxmlformats.org/officeDocument/2006/relationships/image" Target="../media/image3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710BE915-8D72-4505-8DE3-B51941A8EAD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/>
              <a:t>Erik </a:t>
            </a:r>
            <a:r>
              <a:rPr lang="en-GB" err="1"/>
              <a:t>Pensers</a:t>
            </a:r>
            <a:r>
              <a:rPr lang="en-GB"/>
              <a:t> Bank </a:t>
            </a:r>
            <a:r>
              <a:rPr lang="en-GB" err="1"/>
              <a:t>Temadag</a:t>
            </a:r>
            <a:r>
              <a:rPr lang="en-GB"/>
              <a:t> Healthcare</a:t>
            </a: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85732376-017C-4144-B7A5-3D1CD1DE1DB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/>
              <a:t>Anders Göransson, CEO</a:t>
            </a:r>
          </a:p>
          <a:p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E9DBA0B-E2E1-449C-AF12-17C24933158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37702" y="4483038"/>
            <a:ext cx="5329238" cy="276999"/>
          </a:xfrm>
        </p:spPr>
        <p:txBody>
          <a:bodyPr/>
          <a:lstStyle/>
          <a:p>
            <a:r>
              <a:rPr lang="en-GB" sz="1800"/>
              <a:t>1 December, 2022</a:t>
            </a:r>
          </a:p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1506221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82EF6E-48E1-46BC-500A-0FFDB35745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Bactiguard – third quarter 2022</a:t>
            </a:r>
            <a:endParaRPr lang="sv-S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37A16AF-96B4-8E3B-E105-DC51B9F2633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en-GB">
                <a:solidFill>
                  <a:srgbClr val="285C4D"/>
                </a:solidFill>
              </a:rPr>
              <a:t>Rolling 12-month revenu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D3E03C2-BC14-65A0-EECC-BC209A11043F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pPr marL="180975" marR="295275" indent="-180975"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pc="-5">
              <a:cs typeface="Arial"/>
            </a:endParaRPr>
          </a:p>
          <a:p>
            <a:pPr marL="180975" marR="295275" indent="-180975"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pc="-5">
                <a:cs typeface="Arial"/>
              </a:rPr>
              <a:t>Rolling 12-months revenue at all-time high</a:t>
            </a:r>
          </a:p>
          <a:p>
            <a:pPr marL="180975" marR="295275" indent="-180975"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pc="-5">
                <a:cs typeface="Arial"/>
              </a:rPr>
              <a:t>Strong recurring license revenue </a:t>
            </a:r>
          </a:p>
          <a:p>
            <a:pPr marL="360362" marR="295275" lvl="1" indent="-180975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pc="-5">
                <a:cs typeface="Arial"/>
              </a:rPr>
              <a:t>BD volume stable on a high level, growing business from Zimmer Biomet</a:t>
            </a:r>
          </a:p>
          <a:p>
            <a:pPr marL="180975" marR="295275" indent="-180975"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pc="-5">
                <a:cs typeface="Arial"/>
              </a:rPr>
              <a:t>Good momentum in New license revenue from ZB and Dentsply Sirona</a:t>
            </a:r>
          </a:p>
          <a:p>
            <a:pPr marL="180975" marR="295275" indent="-180975"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pc="-5">
                <a:cs typeface="Arial"/>
              </a:rPr>
              <a:t>BIP – Growing in focus markets</a:t>
            </a:r>
          </a:p>
          <a:p>
            <a:pPr marL="180975" marR="295275" indent="-180975"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pc="-5">
                <a:cs typeface="Arial"/>
              </a:rPr>
              <a:t>EBITDA impacted by planned investments in line with the focused growth strategy</a:t>
            </a:r>
          </a:p>
          <a:p>
            <a:pPr marL="360362" marR="295275" lvl="1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spc="-5">
                <a:cs typeface="Arial"/>
              </a:rPr>
              <a:t>Q3 2022 positive</a:t>
            </a:r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BE5E59F0-AC28-74C0-0806-B4794CE1D41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1100" y="1934761"/>
            <a:ext cx="6128904" cy="40229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314729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7267CF-378D-4AE2-DAAE-68ABD406B4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ight timing to fuel growth</a:t>
            </a:r>
            <a:endParaRPr lang="sv-S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8D9AF75-2676-3863-C592-7A6B47237B7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en-US"/>
              <a:t>Strong base and now expanded patent protection until 2039</a:t>
            </a:r>
          </a:p>
        </p:txBody>
      </p:sp>
      <p:sp>
        <p:nvSpPr>
          <p:cNvPr id="5" name="Rektangel 5">
            <a:extLst>
              <a:ext uri="{FF2B5EF4-FFF2-40B4-BE49-F238E27FC236}">
                <a16:creationId xmlns:a16="http://schemas.microsoft.com/office/drawing/2014/main" id="{D3DBFF03-8742-286F-CFE1-7B1E6B9DB82B}"/>
              </a:ext>
            </a:extLst>
          </p:cNvPr>
          <p:cNvSpPr/>
          <p:nvPr/>
        </p:nvSpPr>
        <p:spPr>
          <a:xfrm>
            <a:off x="979429" y="1935850"/>
            <a:ext cx="3213758" cy="326118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rong clinical evidence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gt;200 million catheters used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ith no reported adverse event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gt; 40 clinical studies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cl.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gt; 100 000 patients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ktangel 6">
            <a:extLst>
              <a:ext uri="{FF2B5EF4-FFF2-40B4-BE49-F238E27FC236}">
                <a16:creationId xmlns:a16="http://schemas.microsoft.com/office/drawing/2014/main" id="{4BBDF461-6FA4-4F00-AE9F-4962AA136026}"/>
              </a:ext>
            </a:extLst>
          </p:cNvPr>
          <p:cNvSpPr/>
          <p:nvPr/>
        </p:nvSpPr>
        <p:spPr>
          <a:xfrm>
            <a:off x="4589336" y="1935850"/>
            <a:ext cx="3213758" cy="326118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apital for growth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rong financial foundation with &gt; 200 </a:t>
            </a:r>
            <a:r>
              <a:rPr kumimoji="0" lang="en-US" sz="12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SEK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 cash t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 fund a fact based, focused growth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Rektangel 7">
            <a:extLst>
              <a:ext uri="{FF2B5EF4-FFF2-40B4-BE49-F238E27FC236}">
                <a16:creationId xmlns:a16="http://schemas.microsoft.com/office/drawing/2014/main" id="{2A35EC94-27D2-1FE7-A3BD-3B413A780218}"/>
              </a:ext>
            </a:extLst>
          </p:cNvPr>
          <p:cNvSpPr/>
          <p:nvPr/>
        </p:nvSpPr>
        <p:spPr>
          <a:xfrm>
            <a:off x="8087238" y="1935850"/>
            <a:ext cx="3213758" cy="326118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rengthened IP protectio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1200" b="0" i="0">
              <a:solidFill>
                <a:srgbClr val="000000"/>
              </a:solidFill>
              <a:effectLst/>
              <a:latin typeface="Helvetica Neue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b="1" i="0">
                <a:solidFill>
                  <a:srgbClr val="000000"/>
                </a:solidFill>
                <a:latin typeface="Helvetica Neue"/>
              </a:rPr>
              <a:t>Our IP </a:t>
            </a:r>
            <a:r>
              <a:rPr lang="en-US" sz="1200" b="0" i="0">
                <a:solidFill>
                  <a:srgbClr val="000000"/>
                </a:solidFill>
                <a:effectLst/>
                <a:latin typeface="Helvetica Neue"/>
              </a:rPr>
              <a:t>is based on a </a:t>
            </a:r>
            <a:r>
              <a:rPr lang="en-US" sz="1200" b="1" i="0">
                <a:solidFill>
                  <a:srgbClr val="000000"/>
                </a:solidFill>
                <a:effectLst/>
                <a:latin typeface="Helvetica Neue"/>
              </a:rPr>
              <a:t>valuable recipe</a:t>
            </a:r>
            <a:r>
              <a:rPr lang="en-US" sz="1200" b="0" i="0">
                <a:solidFill>
                  <a:srgbClr val="000000"/>
                </a:solidFill>
                <a:effectLst/>
                <a:latin typeface="Helvetica Neue"/>
              </a:rPr>
              <a:t>, a well-kept trade secret, </a:t>
            </a:r>
            <a:r>
              <a:rPr lang="en-US" sz="1200" b="1" i="0">
                <a:solidFill>
                  <a:srgbClr val="000000"/>
                </a:solidFill>
                <a:effectLst/>
                <a:latin typeface="Helvetica Neue"/>
              </a:rPr>
              <a:t>know-how and patent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b="1" i="0">
                <a:solidFill>
                  <a:srgbClr val="000000"/>
                </a:solidFill>
                <a:effectLst/>
                <a:latin typeface="Helvetica Neue"/>
              </a:rPr>
              <a:t>A third generation of European patent was approved by EPO </a:t>
            </a:r>
            <a:r>
              <a:rPr lang="en-US" sz="1200" b="0" i="0">
                <a:solidFill>
                  <a:srgbClr val="000000"/>
                </a:solidFill>
                <a:effectLst/>
                <a:latin typeface="Helvetica Neue"/>
              </a:rPr>
              <a:t>earlier this year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>
                <a:solidFill>
                  <a:srgbClr val="000000"/>
                </a:solidFill>
                <a:latin typeface="Helvetica Neue"/>
              </a:rPr>
              <a:t>The new patent is </a:t>
            </a:r>
            <a:r>
              <a:rPr lang="en-US" sz="1200" b="0" i="0">
                <a:solidFill>
                  <a:srgbClr val="000000"/>
                </a:solidFill>
                <a:effectLst/>
                <a:latin typeface="Helvetica Neue"/>
              </a:rPr>
              <a:t>valid until 2039.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</p:txBody>
      </p:sp>
      <p:sp>
        <p:nvSpPr>
          <p:cNvPr id="8" name="Rektangel 9">
            <a:extLst>
              <a:ext uri="{FF2B5EF4-FFF2-40B4-BE49-F238E27FC236}">
                <a16:creationId xmlns:a16="http://schemas.microsoft.com/office/drawing/2014/main" id="{842C5834-0BB5-C8F7-B127-9F7F1AADEB49}"/>
              </a:ext>
            </a:extLst>
          </p:cNvPr>
          <p:cNvSpPr/>
          <p:nvPr/>
        </p:nvSpPr>
        <p:spPr>
          <a:xfrm>
            <a:off x="979429" y="5344160"/>
            <a:ext cx="10321567" cy="77556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346200" marR="0" lvl="0" indent="-88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Strengthening commercial and coating capabilities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 continued expansion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F6786CFB-7540-B9F8-D843-2DC0DDB52AD2}"/>
              </a:ext>
            </a:extLst>
          </p:cNvPr>
          <p:cNvSpPr/>
          <p:nvPr/>
        </p:nvSpPr>
        <p:spPr>
          <a:xfrm>
            <a:off x="4366451" y="1738589"/>
            <a:ext cx="445770" cy="445770"/>
          </a:xfrm>
          <a:prstGeom prst="ellipse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945B81BE-84C1-9B33-F54E-E4CA185B0A84}"/>
              </a:ext>
            </a:extLst>
          </p:cNvPr>
          <p:cNvSpPr/>
          <p:nvPr/>
        </p:nvSpPr>
        <p:spPr>
          <a:xfrm>
            <a:off x="758924" y="1738589"/>
            <a:ext cx="445770" cy="445770"/>
          </a:xfrm>
          <a:prstGeom prst="ellipse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A734EFE8-C0D5-DEB0-94AB-266E9AC8A1DA}"/>
              </a:ext>
            </a:extLst>
          </p:cNvPr>
          <p:cNvSpPr/>
          <p:nvPr/>
        </p:nvSpPr>
        <p:spPr>
          <a:xfrm>
            <a:off x="7867190" y="1738589"/>
            <a:ext cx="445770" cy="445770"/>
          </a:xfrm>
          <a:prstGeom prst="ellipse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</a:t>
            </a:r>
          </a:p>
        </p:txBody>
      </p:sp>
      <p:pic>
        <p:nvPicPr>
          <p:cNvPr id="12" name="Bildobjekt 9">
            <a:extLst>
              <a:ext uri="{FF2B5EF4-FFF2-40B4-BE49-F238E27FC236}">
                <a16:creationId xmlns:a16="http://schemas.microsoft.com/office/drawing/2014/main" id="{86FEF45F-0BCF-8518-123E-8D4FABCF0DB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46419" y="4294141"/>
            <a:ext cx="1132661" cy="77801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3" name="textruta 10">
            <a:extLst>
              <a:ext uri="{FF2B5EF4-FFF2-40B4-BE49-F238E27FC236}">
                <a16:creationId xmlns:a16="http://schemas.microsoft.com/office/drawing/2014/main" id="{8D80B5F6-C9F6-95E7-318E-20734E8447A7}"/>
              </a:ext>
            </a:extLst>
          </p:cNvPr>
          <p:cNvSpPr txBox="1"/>
          <p:nvPr/>
        </p:nvSpPr>
        <p:spPr>
          <a:xfrm>
            <a:off x="1079845" y="3862848"/>
            <a:ext cx="1756501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rinary catheters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ai-Larsen </a:t>
            </a: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t al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2021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4" name="Bildobjekt 12">
            <a:extLst>
              <a:ext uri="{FF2B5EF4-FFF2-40B4-BE49-F238E27FC236}">
                <a16:creationId xmlns:a16="http://schemas.microsoft.com/office/drawing/2014/main" id="{6CE26AF0-2222-E9D7-86C0-599EF96CEF9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1037" t="30717" r="22836" b="35391"/>
          <a:stretch/>
        </p:blipFill>
        <p:spPr>
          <a:xfrm>
            <a:off x="2542415" y="4370028"/>
            <a:ext cx="1283599" cy="72695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5" name="textruta 13">
            <a:extLst>
              <a:ext uri="{FF2B5EF4-FFF2-40B4-BE49-F238E27FC236}">
                <a16:creationId xmlns:a16="http://schemas.microsoft.com/office/drawing/2014/main" id="{444E4F2C-B73F-C0EC-3E57-661E1B8A6AB5}"/>
              </a:ext>
            </a:extLst>
          </p:cNvPr>
          <p:cNvSpPr txBox="1"/>
          <p:nvPr/>
        </p:nvSpPr>
        <p:spPr>
          <a:xfrm>
            <a:off x="2491294" y="3855852"/>
            <a:ext cx="152817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ndotracheal tubes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/>
                <a:ea typeface="+mn-ea"/>
                <a:cs typeface="+mn-cs"/>
              </a:rPr>
              <a:t>Damas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t al. 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22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2AA3B94A-958C-8ABD-92DF-E14D089F9BC7}"/>
              </a:ext>
            </a:extLst>
          </p:cNvPr>
          <p:cNvGrpSpPr/>
          <p:nvPr/>
        </p:nvGrpSpPr>
        <p:grpSpPr>
          <a:xfrm>
            <a:off x="1146419" y="5231290"/>
            <a:ext cx="963974" cy="1001833"/>
            <a:chOff x="3342510" y="2229843"/>
            <a:chExt cx="3496444" cy="3496444"/>
          </a:xfrm>
        </p:grpSpPr>
        <p:pic>
          <p:nvPicPr>
            <p:cNvPr id="19" name="Graphic 18" descr="Target Audience with solid fill">
              <a:extLst>
                <a:ext uri="{FF2B5EF4-FFF2-40B4-BE49-F238E27FC236}">
                  <a16:creationId xmlns:a16="http://schemas.microsoft.com/office/drawing/2014/main" id="{92A24B54-9F6C-50C4-AE95-4C4297AD94F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342510" y="2229843"/>
              <a:ext cx="3496444" cy="3496444"/>
            </a:xfrm>
            <a:prstGeom prst="rect">
              <a:avLst/>
            </a:prstGeom>
          </p:spPr>
        </p:pic>
        <p:pic>
          <p:nvPicPr>
            <p:cNvPr id="20" name="Picture 4" descr="Centrella Smart+ Hospital Bed | Hillrom">
              <a:extLst>
                <a:ext uri="{FF2B5EF4-FFF2-40B4-BE49-F238E27FC236}">
                  <a16:creationId xmlns:a16="http://schemas.microsoft.com/office/drawing/2014/main" id="{7CBCC0A7-D896-12E7-65CA-FA9863F2473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55028" y="3012454"/>
              <a:ext cx="1384201" cy="1384201"/>
            </a:xfrm>
            <a:prstGeom prst="ellipse">
              <a:avLst/>
            </a:prstGeom>
            <a:ln w="63500" cap="rnd">
              <a:noFill/>
            </a:ln>
            <a:effectLst/>
            <a:scene3d>
              <a:camera prst="orthographicFront"/>
              <a:lightRig rig="contrasting" dir="t">
                <a:rot lat="0" lon="0" rev="3000000"/>
              </a:lightRig>
            </a:scene3d>
            <a:sp3d contourW="7620">
              <a:bevelT w="95250" h="31750"/>
              <a:contourClr>
                <a:srgbClr val="333333"/>
              </a:contourClr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22" name="Bild 23">
            <a:extLst>
              <a:ext uri="{FF2B5EF4-FFF2-40B4-BE49-F238E27FC236}">
                <a16:creationId xmlns:a16="http://schemas.microsoft.com/office/drawing/2014/main" id="{3C7D2269-0F28-9F62-D2D0-1FDE0DE584B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951497" y="3884400"/>
            <a:ext cx="1461732" cy="1152074"/>
          </a:xfrm>
          <a:prstGeom prst="rect">
            <a:avLst/>
          </a:prstGeom>
        </p:spPr>
      </p:pic>
      <p:grpSp>
        <p:nvGrpSpPr>
          <p:cNvPr id="23" name="Group 22">
            <a:extLst>
              <a:ext uri="{FF2B5EF4-FFF2-40B4-BE49-F238E27FC236}">
                <a16:creationId xmlns:a16="http://schemas.microsoft.com/office/drawing/2014/main" id="{7932EBB2-59D9-4CD7-E1B5-8D1795A8A885}"/>
              </a:ext>
            </a:extLst>
          </p:cNvPr>
          <p:cNvGrpSpPr/>
          <p:nvPr/>
        </p:nvGrpSpPr>
        <p:grpSpPr>
          <a:xfrm>
            <a:off x="1779120" y="4289725"/>
            <a:ext cx="680558" cy="680558"/>
            <a:chOff x="1779120" y="4289725"/>
            <a:chExt cx="680558" cy="680558"/>
          </a:xfrm>
        </p:grpSpPr>
        <p:pic>
          <p:nvPicPr>
            <p:cNvPr id="24" name="Picture 23" descr="Shape, circle&#10;&#10;Description automatically generated">
              <a:extLst>
                <a:ext uri="{FF2B5EF4-FFF2-40B4-BE49-F238E27FC236}">
                  <a16:creationId xmlns:a16="http://schemas.microsoft.com/office/drawing/2014/main" id="{AFEE3045-D529-AA9E-F0D5-B8BE47E5930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79120" y="4289725"/>
              <a:ext cx="680558" cy="680558"/>
            </a:xfrm>
            <a:prstGeom prst="rect">
              <a:avLst/>
            </a:prstGeom>
          </p:spPr>
        </p:pic>
        <p:sp>
          <p:nvSpPr>
            <p:cNvPr id="25" name="Oval 5">
              <a:extLst>
                <a:ext uri="{FF2B5EF4-FFF2-40B4-BE49-F238E27FC236}">
                  <a16:creationId xmlns:a16="http://schemas.microsoft.com/office/drawing/2014/main" id="{51AF24F5-2B82-CE70-CC44-FC9B22324168}"/>
                </a:ext>
              </a:extLst>
            </p:cNvPr>
            <p:cNvSpPr/>
            <p:nvPr/>
          </p:nvSpPr>
          <p:spPr>
            <a:xfrm>
              <a:off x="1838930" y="4328997"/>
              <a:ext cx="611022" cy="573304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-69%</a:t>
              </a: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B6EE7039-8E48-8246-9DF1-80E4F368C886}"/>
              </a:ext>
            </a:extLst>
          </p:cNvPr>
          <p:cNvGrpSpPr/>
          <p:nvPr/>
        </p:nvGrpSpPr>
        <p:grpSpPr>
          <a:xfrm>
            <a:off x="3365504" y="4289725"/>
            <a:ext cx="680558" cy="680558"/>
            <a:chOff x="1779120" y="4289725"/>
            <a:chExt cx="680558" cy="680558"/>
          </a:xfrm>
        </p:grpSpPr>
        <p:pic>
          <p:nvPicPr>
            <p:cNvPr id="27" name="Picture 26" descr="Shape, circle&#10;&#10;Description automatically generated">
              <a:extLst>
                <a:ext uri="{FF2B5EF4-FFF2-40B4-BE49-F238E27FC236}">
                  <a16:creationId xmlns:a16="http://schemas.microsoft.com/office/drawing/2014/main" id="{B0EC0AC2-C46F-C839-8CB2-9E7FEDCB3EC5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79120" y="4289725"/>
              <a:ext cx="680558" cy="680558"/>
            </a:xfrm>
            <a:prstGeom prst="rect">
              <a:avLst/>
            </a:prstGeom>
          </p:spPr>
        </p:pic>
        <p:sp>
          <p:nvSpPr>
            <p:cNvPr id="28" name="Oval 5">
              <a:extLst>
                <a:ext uri="{FF2B5EF4-FFF2-40B4-BE49-F238E27FC236}">
                  <a16:creationId xmlns:a16="http://schemas.microsoft.com/office/drawing/2014/main" id="{D3251586-F1E6-AE93-8D99-BBE257A74EE6}"/>
                </a:ext>
              </a:extLst>
            </p:cNvPr>
            <p:cNvSpPr/>
            <p:nvPr/>
          </p:nvSpPr>
          <p:spPr>
            <a:xfrm>
              <a:off x="1838930" y="4328997"/>
              <a:ext cx="611022" cy="573304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-</a:t>
              </a:r>
              <a:r>
                <a:rPr lang="en-US" b="1">
                  <a:solidFill>
                    <a:schemeClr val="bg1"/>
                  </a:solidFill>
                  <a:latin typeface="Arial" panose="020B0604020202020204"/>
                </a:rPr>
                <a:t>53</a:t>
              </a: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%</a:t>
              </a: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1FAA59ED-86CD-B1BC-4542-C8ABE2CD5D11}"/>
              </a:ext>
            </a:extLst>
          </p:cNvPr>
          <p:cNvGrpSpPr/>
          <p:nvPr/>
        </p:nvGrpSpPr>
        <p:grpSpPr>
          <a:xfrm>
            <a:off x="5256046" y="3599795"/>
            <a:ext cx="1698206" cy="1595153"/>
            <a:chOff x="5195888" y="3527603"/>
            <a:chExt cx="1698206" cy="1595153"/>
          </a:xfrm>
        </p:grpSpPr>
        <p:pic>
          <p:nvPicPr>
            <p:cNvPr id="29" name="Picture 28" descr="Shape&#10;&#10;Description automatically generated">
              <a:extLst>
                <a:ext uri="{FF2B5EF4-FFF2-40B4-BE49-F238E27FC236}">
                  <a16:creationId xmlns:a16="http://schemas.microsoft.com/office/drawing/2014/main" id="{02F778FC-6DE9-7616-0B14-CF8105B607B3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98941" y="3527603"/>
              <a:ext cx="1595153" cy="1595153"/>
            </a:xfrm>
            <a:prstGeom prst="rect">
              <a:avLst/>
            </a:prstGeom>
          </p:spPr>
        </p:pic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E494FE0B-DF06-6EC4-6ACD-6A069CCAB5D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210932" y="3600254"/>
              <a:ext cx="1" cy="1370029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A6124BB3-B97B-F3B8-4A3D-29C0885F800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195888" y="4970283"/>
              <a:ext cx="1698206" cy="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43359129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429BD4-5FAE-B723-3426-D1BB637B26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>
                <a:cs typeface="Arial"/>
              </a:rPr>
              <a:t>Three key growth drivers </a:t>
            </a:r>
            <a:endParaRPr lang="sv-S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2EBF3A9-35A0-46FE-DF0B-6A26D85683F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en-GB">
                <a:cs typeface="Arial"/>
              </a:rPr>
              <a:t>- in our fight against infections</a:t>
            </a:r>
            <a:endParaRPr lang="en-GB">
              <a:solidFill>
                <a:srgbClr val="285C4D"/>
              </a:solidFill>
            </a:endParaRPr>
          </a:p>
          <a:p>
            <a:endParaRPr lang="sv-SE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3C6DC6F4-1B3A-1C5A-7B2F-2C27278265A5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3294517"/>
              </p:ext>
            </p:extLst>
          </p:nvPr>
        </p:nvGraphicFramePr>
        <p:xfrm>
          <a:off x="684213" y="2111375"/>
          <a:ext cx="8313737" cy="41338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288F48F6-21CE-F3F5-EF58-C8BA9CA9D897}"/>
              </a:ext>
            </a:extLst>
          </p:cNvPr>
          <p:cNvSpPr/>
          <p:nvPr/>
        </p:nvSpPr>
        <p:spPr>
          <a:xfrm>
            <a:off x="766762" y="1768123"/>
            <a:ext cx="2768355" cy="46163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b="1">
                <a:solidFill>
                  <a:schemeClr val="bg1">
                    <a:lumMod val="50000"/>
                  </a:schemeClr>
                </a:solidFill>
              </a:rPr>
              <a:t>Illustrativ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EBB7AFC-31F5-CDAF-A46D-1E5FE49A8D83}"/>
              </a:ext>
            </a:extLst>
          </p:cNvPr>
          <p:cNvSpPr/>
          <p:nvPr/>
        </p:nvSpPr>
        <p:spPr>
          <a:xfrm rot="20308739">
            <a:off x="5616558" y="3683369"/>
            <a:ext cx="2564988" cy="6286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b="1">
                <a:solidFill>
                  <a:schemeClr val="tx1"/>
                </a:solidFill>
              </a:rPr>
              <a:t>Own product Portfolio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07C5D0A-AB0C-807C-1EEB-97E37DD9E43C}"/>
              </a:ext>
            </a:extLst>
          </p:cNvPr>
          <p:cNvSpPr/>
          <p:nvPr/>
        </p:nvSpPr>
        <p:spPr>
          <a:xfrm rot="20792012">
            <a:off x="5727477" y="4250875"/>
            <a:ext cx="3311670" cy="6286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b="1">
                <a:solidFill>
                  <a:schemeClr val="bg1"/>
                </a:solidFill>
              </a:rPr>
              <a:t>Future new license customer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37EBD86-50FC-DB96-D4D8-20303844FF38}"/>
              </a:ext>
            </a:extLst>
          </p:cNvPr>
          <p:cNvSpPr/>
          <p:nvPr/>
        </p:nvSpPr>
        <p:spPr>
          <a:xfrm>
            <a:off x="5779160" y="5556221"/>
            <a:ext cx="3367018" cy="6286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b="1">
                <a:solidFill>
                  <a:schemeClr val="bg1"/>
                </a:solidFill>
              </a:rPr>
              <a:t>Existing license customers</a:t>
            </a:r>
          </a:p>
        </p:txBody>
      </p:sp>
      <p:pic>
        <p:nvPicPr>
          <p:cNvPr id="10" name="Picture 2" descr="BIP Foley Catheter - Silicone - Bactiguard">
            <a:extLst>
              <a:ext uri="{FF2B5EF4-FFF2-40B4-BE49-F238E27FC236}">
                <a16:creationId xmlns:a16="http://schemas.microsoft.com/office/drawing/2014/main" id="{48FF50DF-9B23-A37A-D1F4-CFA24A746E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81091" y="2526437"/>
            <a:ext cx="813474" cy="5423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4" descr="Produkter - Bactiguard">
            <a:extLst>
              <a:ext uri="{FF2B5EF4-FFF2-40B4-BE49-F238E27FC236}">
                <a16:creationId xmlns:a16="http://schemas.microsoft.com/office/drawing/2014/main" id="{2B7A6B52-5F04-CEF9-CFD8-DF2F785978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00813" y="2609114"/>
            <a:ext cx="772806" cy="483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6" descr="Bactiguard Wound Care - Bactiguard">
            <a:extLst>
              <a:ext uri="{FF2B5EF4-FFF2-40B4-BE49-F238E27FC236}">
                <a16:creationId xmlns:a16="http://schemas.microsoft.com/office/drawing/2014/main" id="{F89896B7-8E7A-7E04-C93F-B3AF6BBD84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1391" y="2559378"/>
            <a:ext cx="917008" cy="5158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8">
            <a:extLst>
              <a:ext uri="{FF2B5EF4-FFF2-40B4-BE49-F238E27FC236}">
                <a16:creationId xmlns:a16="http://schemas.microsoft.com/office/drawing/2014/main" id="{8E225645-0CAB-D494-5C65-868D3C05A9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14124" y="5072419"/>
            <a:ext cx="2091368" cy="3798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0" descr="BD (company) - Wikipedia">
            <a:extLst>
              <a:ext uri="{FF2B5EF4-FFF2-40B4-BE49-F238E27FC236}">
                <a16:creationId xmlns:a16="http://schemas.microsoft.com/office/drawing/2014/main" id="{8A455885-6E75-8E64-55AE-4B115963AB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14124" y="5707217"/>
            <a:ext cx="797560" cy="307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4" descr="Well Lead Medical Co., Ltd. - medica - FOB Business Directory">
            <a:extLst>
              <a:ext uri="{FF2B5EF4-FFF2-40B4-BE49-F238E27FC236}">
                <a16:creationId xmlns:a16="http://schemas.microsoft.com/office/drawing/2014/main" id="{545CADEA-B901-0A9C-AE44-40D6E75CD6A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00" b="35600"/>
          <a:stretch/>
        </p:blipFill>
        <p:spPr bwMode="auto">
          <a:xfrm>
            <a:off x="10296526" y="5737777"/>
            <a:ext cx="678532" cy="2062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6" name="Group 15">
            <a:extLst>
              <a:ext uri="{FF2B5EF4-FFF2-40B4-BE49-F238E27FC236}">
                <a16:creationId xmlns:a16="http://schemas.microsoft.com/office/drawing/2014/main" id="{5D31AE15-F458-6B13-97B5-D05472FE51FB}"/>
              </a:ext>
            </a:extLst>
          </p:cNvPr>
          <p:cNvGrpSpPr/>
          <p:nvPr/>
        </p:nvGrpSpPr>
        <p:grpSpPr>
          <a:xfrm>
            <a:off x="9477013" y="4231318"/>
            <a:ext cx="865627" cy="411390"/>
            <a:chOff x="9099823" y="3865335"/>
            <a:chExt cx="1149077" cy="546100"/>
          </a:xfrm>
        </p:grpSpPr>
        <p:pic>
          <p:nvPicPr>
            <p:cNvPr id="17" name="Picture 12" descr="Dentsply Sirona - Proact Sverige | #thepoweroftogether">
              <a:extLst>
                <a:ext uri="{FF2B5EF4-FFF2-40B4-BE49-F238E27FC236}">
                  <a16:creationId xmlns:a16="http://schemas.microsoft.com/office/drawing/2014/main" id="{4995590C-199E-3922-DEEF-3459A4BBDEE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99823" y="3865335"/>
              <a:ext cx="1077829" cy="5461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A2CA24A7-FBB2-0C3A-44E1-8E2EDD4B220A}"/>
                </a:ext>
              </a:extLst>
            </p:cNvPr>
            <p:cNvSpPr/>
            <p:nvPr/>
          </p:nvSpPr>
          <p:spPr>
            <a:xfrm>
              <a:off x="10029825" y="3876675"/>
              <a:ext cx="219075" cy="2857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>
                  <a:solidFill>
                    <a:schemeClr val="tx1"/>
                  </a:solidFill>
                </a:rPr>
                <a:t>*</a:t>
              </a:r>
            </a:p>
          </p:txBody>
        </p: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72A97242-974F-7FAE-3814-662A077C4C6E}"/>
              </a:ext>
            </a:extLst>
          </p:cNvPr>
          <p:cNvSpPr/>
          <p:nvPr/>
        </p:nvSpPr>
        <p:spPr>
          <a:xfrm>
            <a:off x="9142841" y="6374923"/>
            <a:ext cx="2377009" cy="3238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>
                <a:solidFill>
                  <a:schemeClr val="tx1"/>
                </a:solidFill>
              </a:rPr>
              <a:t>* Currently a global development </a:t>
            </a:r>
            <a:br>
              <a:rPr lang="en-US" sz="1000">
                <a:solidFill>
                  <a:schemeClr val="tx1"/>
                </a:solidFill>
              </a:rPr>
            </a:br>
            <a:r>
              <a:rPr lang="en-US" sz="1000">
                <a:solidFill>
                  <a:schemeClr val="tx1"/>
                </a:solidFill>
              </a:rPr>
              <a:t>   partnership with a license option</a:t>
            </a:r>
          </a:p>
        </p:txBody>
      </p:sp>
      <p:pic>
        <p:nvPicPr>
          <p:cNvPr id="20" name="Picture 2" descr="Bladder Icons - Download Free Vector Icons | Noun Project">
            <a:extLst>
              <a:ext uri="{FF2B5EF4-FFF2-40B4-BE49-F238E27FC236}">
                <a16:creationId xmlns:a16="http://schemas.microsoft.com/office/drawing/2014/main" id="{629BF85C-02F9-C6FC-8D9F-3EFE84B690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22174" y="3607578"/>
            <a:ext cx="384825" cy="384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Graphic 20" descr="Tooth with solid fill">
            <a:extLst>
              <a:ext uri="{FF2B5EF4-FFF2-40B4-BE49-F238E27FC236}">
                <a16:creationId xmlns:a16="http://schemas.microsoft.com/office/drawing/2014/main" id="{08AE1B6D-BE7C-614F-846D-3224A65B31F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9145258" y="4199641"/>
            <a:ext cx="412207" cy="412207"/>
          </a:xfrm>
          <a:prstGeom prst="rect">
            <a:avLst/>
          </a:prstGeom>
        </p:spPr>
      </p:pic>
      <p:pic>
        <p:nvPicPr>
          <p:cNvPr id="22" name="Picture 4" descr="Urology - Free healthcare and medical icons">
            <a:extLst>
              <a:ext uri="{FF2B5EF4-FFF2-40B4-BE49-F238E27FC236}">
                <a16:creationId xmlns:a16="http://schemas.microsoft.com/office/drawing/2014/main" id="{C3103284-F490-6428-ABC9-F6A7569428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15650" y="4183281"/>
            <a:ext cx="384825" cy="3848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10" descr="Intensive Care Icons - Download Free Vector Icons | Noun Project">
            <a:extLst>
              <a:ext uri="{FF2B5EF4-FFF2-40B4-BE49-F238E27FC236}">
                <a16:creationId xmlns:a16="http://schemas.microsoft.com/office/drawing/2014/main" id="{1A93A42F-D8F7-5343-CBA6-7D7C624DB2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07613" y="3612419"/>
            <a:ext cx="361950" cy="361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8" descr="Spine Icons - Free SVG &amp; PNG Spine Images - Noun Project">
            <a:extLst>
              <a:ext uri="{FF2B5EF4-FFF2-40B4-BE49-F238E27FC236}">
                <a16:creationId xmlns:a16="http://schemas.microsoft.com/office/drawing/2014/main" id="{7218A05D-B047-853A-4388-52E3170F4D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89557" y="3571798"/>
            <a:ext cx="478318" cy="4783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4" descr="Shape, circle&#10;&#10;Description automatically generated">
            <a:extLst>
              <a:ext uri="{FF2B5EF4-FFF2-40B4-BE49-F238E27FC236}">
                <a16:creationId xmlns:a16="http://schemas.microsoft.com/office/drawing/2014/main" id="{05B7D43A-95E7-C5C9-D547-160CAFCD67B3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515344" y="4465374"/>
            <a:ext cx="790112" cy="790112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3F999072-53B6-1BB1-03CB-0D2EC2A9ECBF}"/>
              </a:ext>
            </a:extLst>
          </p:cNvPr>
          <p:cNvSpPr/>
          <p:nvPr/>
        </p:nvSpPr>
        <p:spPr>
          <a:xfrm>
            <a:off x="1516224" y="4538193"/>
            <a:ext cx="790112" cy="4616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>
                <a:solidFill>
                  <a:schemeClr val="bg1"/>
                </a:solidFill>
              </a:rPr>
              <a:t>Now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CF8D039D-42C7-83E9-7A79-00340C13A8BC}"/>
              </a:ext>
            </a:extLst>
          </p:cNvPr>
          <p:cNvCxnSpPr/>
          <p:nvPr/>
        </p:nvCxnSpPr>
        <p:spPr>
          <a:xfrm>
            <a:off x="9056543" y="3429000"/>
            <a:ext cx="2572193" cy="0"/>
          </a:xfrm>
          <a:prstGeom prst="line">
            <a:avLst/>
          </a:prstGeom>
          <a:ln w="22225"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9E163021-EA09-DB8A-5AB4-D242AA5DD67D}"/>
              </a:ext>
            </a:extLst>
          </p:cNvPr>
          <p:cNvCxnSpPr/>
          <p:nvPr/>
        </p:nvCxnSpPr>
        <p:spPr>
          <a:xfrm>
            <a:off x="9056543" y="4747437"/>
            <a:ext cx="2572193" cy="0"/>
          </a:xfrm>
          <a:prstGeom prst="line">
            <a:avLst/>
          </a:prstGeom>
          <a:ln w="22225"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9180066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6C75360-22F9-A1E7-9967-51765DF1E7D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31" t="7892" r="-1" b="13308"/>
          <a:stretch/>
        </p:blipFill>
        <p:spPr>
          <a:xfrm flipH="1">
            <a:off x="-2" y="-1"/>
            <a:ext cx="12192001" cy="6858001"/>
          </a:xfrm>
          <a:prstGeom prst="rect">
            <a:avLst/>
          </a:prstGeom>
        </p:spPr>
      </p:pic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46765D82-2C84-F3A8-71C2-87BF370F27EC}"/>
              </a:ext>
            </a:extLst>
          </p:cNvPr>
          <p:cNvSpPr/>
          <p:nvPr/>
        </p:nvSpPr>
        <p:spPr>
          <a:xfrm>
            <a:off x="474615" y="1009817"/>
            <a:ext cx="5621385" cy="4707168"/>
          </a:xfrm>
          <a:prstGeom prst="roundRect">
            <a:avLst>
              <a:gd name="adj" fmla="val 1006"/>
            </a:avLst>
          </a:prstGeom>
          <a:solidFill>
            <a:schemeClr val="bg2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b="1">
              <a:solidFill>
                <a:schemeClr val="bg2"/>
              </a:solidFill>
            </a:endParaRPr>
          </a:p>
        </p:txBody>
      </p:sp>
      <p:sp>
        <p:nvSpPr>
          <p:cNvPr id="6" name="Title 6">
            <a:extLst>
              <a:ext uri="{FF2B5EF4-FFF2-40B4-BE49-F238E27FC236}">
                <a16:creationId xmlns:a16="http://schemas.microsoft.com/office/drawing/2014/main" id="{C1661FA3-40BF-B57F-7115-7727D4805ADB}"/>
              </a:ext>
            </a:extLst>
          </p:cNvPr>
          <p:cNvSpPr txBox="1">
            <a:spLocks/>
          </p:cNvSpPr>
          <p:nvPr/>
        </p:nvSpPr>
        <p:spPr>
          <a:xfrm>
            <a:off x="966444" y="1387187"/>
            <a:ext cx="4753495" cy="106234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 cap="none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>
                <a:solidFill>
                  <a:srgbClr val="000000"/>
                </a:solidFill>
                <a:latin typeface="Helvetica Neue"/>
              </a:rPr>
              <a:t>Together in the fight against AMR</a:t>
            </a:r>
            <a:endParaRPr lang="sv-SE" b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EF4B6C1-9C0F-0B01-6645-ABB401404CE0}"/>
              </a:ext>
            </a:extLst>
          </p:cNvPr>
          <p:cNvSpPr txBox="1"/>
          <p:nvPr/>
        </p:nvSpPr>
        <p:spPr>
          <a:xfrm>
            <a:off x="2504055" y="5020892"/>
            <a:ext cx="6547898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b="0" i="0">
                <a:solidFill>
                  <a:srgbClr val="000000"/>
                </a:solidFill>
                <a:effectLst/>
                <a:latin typeface="Helvetica Neue"/>
              </a:rPr>
              <a:t>Deepak Kumar, Director India and south Asia</a:t>
            </a:r>
            <a:endParaRPr lang="sv-SE" sz="1200"/>
          </a:p>
        </p:txBody>
      </p:sp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C4A08350-B612-9FC7-92F3-1CF62DE965EE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599" y="2528400"/>
            <a:ext cx="1637174" cy="163717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905C0EEA-4B4B-F4E2-8804-50E3BA0A8F7A}"/>
              </a:ext>
            </a:extLst>
          </p:cNvPr>
          <p:cNvSpPr txBox="1"/>
          <p:nvPr/>
        </p:nvSpPr>
        <p:spPr>
          <a:xfrm>
            <a:off x="1091436" y="2970029"/>
            <a:ext cx="4753496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0" i="1">
                <a:effectLst/>
                <a:latin typeface="Helvetica Neue"/>
              </a:rPr>
              <a:t>We have growing numbers of the elderly in India, and therefore many who will need health care at home. By using a coated urinary catheter for patients catheterized longer than two days, we can prevent infections. That will be a huge benefit both for single individuals and society at large.</a:t>
            </a:r>
            <a:endParaRPr lang="sv-SE" i="1"/>
          </a:p>
        </p:txBody>
      </p:sp>
    </p:spTree>
    <p:extLst>
      <p:ext uri="{BB962C8B-B14F-4D97-AF65-F5344CB8AC3E}">
        <p14:creationId xmlns:p14="http://schemas.microsoft.com/office/powerpoint/2010/main" val="340841730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956D04-19C8-45FB-93F1-C2799C3BEC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000"/>
              <a:t>Ten reasons to invest in Bactiguard</a:t>
            </a:r>
            <a:endParaRPr lang="sv-SE"/>
          </a:p>
        </p:txBody>
      </p:sp>
      <p:grpSp>
        <p:nvGrpSpPr>
          <p:cNvPr id="6" name="Grupp 4">
            <a:extLst>
              <a:ext uri="{FF2B5EF4-FFF2-40B4-BE49-F238E27FC236}">
                <a16:creationId xmlns:a16="http://schemas.microsoft.com/office/drawing/2014/main" id="{A0467980-2814-7965-7D68-4005B9ECCD71}"/>
              </a:ext>
            </a:extLst>
          </p:cNvPr>
          <p:cNvGrpSpPr/>
          <p:nvPr/>
        </p:nvGrpSpPr>
        <p:grpSpPr>
          <a:xfrm>
            <a:off x="1302559" y="1888264"/>
            <a:ext cx="9149541" cy="4205122"/>
            <a:chOff x="983287" y="1610854"/>
            <a:chExt cx="10321631" cy="4970212"/>
          </a:xfrm>
        </p:grpSpPr>
        <p:sp>
          <p:nvSpPr>
            <p:cNvPr id="7" name="Ellips 1">
              <a:extLst>
                <a:ext uri="{FF2B5EF4-FFF2-40B4-BE49-F238E27FC236}">
                  <a16:creationId xmlns:a16="http://schemas.microsoft.com/office/drawing/2014/main" id="{73837C06-30A1-374D-8792-520EA2BD189A}"/>
                </a:ext>
              </a:extLst>
            </p:cNvPr>
            <p:cNvSpPr/>
            <p:nvPr/>
          </p:nvSpPr>
          <p:spPr>
            <a:xfrm>
              <a:off x="4117886" y="1996902"/>
              <a:ext cx="3956227" cy="4003398"/>
            </a:xfrm>
            <a:prstGeom prst="ellipse">
              <a:avLst/>
            </a:prstGeom>
            <a:noFill/>
            <a:ln w="19050">
              <a:solidFill>
                <a:schemeClr val="accent4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accent4">
                    <a:lumMod val="75000"/>
                  </a:schemeClr>
                </a:solidFill>
              </a:endParaRPr>
            </a:p>
          </p:txBody>
        </p:sp>
        <p:sp>
          <p:nvSpPr>
            <p:cNvPr id="8" name="textruta 27">
              <a:extLst>
                <a:ext uri="{FF2B5EF4-FFF2-40B4-BE49-F238E27FC236}">
                  <a16:creationId xmlns:a16="http://schemas.microsoft.com/office/drawing/2014/main" id="{43864534-BF5B-E405-F4AB-865CA4F12B8C}"/>
                </a:ext>
              </a:extLst>
            </p:cNvPr>
            <p:cNvSpPr txBox="1"/>
            <p:nvPr/>
          </p:nvSpPr>
          <p:spPr>
            <a:xfrm>
              <a:off x="1673552" y="1610854"/>
              <a:ext cx="2476295" cy="5820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1300" b="1"/>
                <a:t>Long-term owners and dedicated management</a:t>
              </a:r>
            </a:p>
          </p:txBody>
        </p:sp>
        <p:sp>
          <p:nvSpPr>
            <p:cNvPr id="9" name="textruta 28">
              <a:extLst>
                <a:ext uri="{FF2B5EF4-FFF2-40B4-BE49-F238E27FC236}">
                  <a16:creationId xmlns:a16="http://schemas.microsoft.com/office/drawing/2014/main" id="{EAC70E8D-AD8F-84B4-EB84-3777C5FAFBC4}"/>
                </a:ext>
              </a:extLst>
            </p:cNvPr>
            <p:cNvSpPr txBox="1"/>
            <p:nvPr/>
          </p:nvSpPr>
          <p:spPr>
            <a:xfrm>
              <a:off x="3982212" y="1625416"/>
              <a:ext cx="707065" cy="6547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3000">
                  <a:solidFill>
                    <a:schemeClr val="accent4">
                      <a:lumMod val="75000"/>
                    </a:schemeClr>
                  </a:solidFill>
                </a:rPr>
                <a:t>10</a:t>
              </a:r>
            </a:p>
          </p:txBody>
        </p:sp>
        <p:sp>
          <p:nvSpPr>
            <p:cNvPr id="10" name="textruta 30">
              <a:extLst>
                <a:ext uri="{FF2B5EF4-FFF2-40B4-BE49-F238E27FC236}">
                  <a16:creationId xmlns:a16="http://schemas.microsoft.com/office/drawing/2014/main" id="{782F3FAD-CFAA-6FF4-FF3D-AF54DAB4A5E0}"/>
                </a:ext>
              </a:extLst>
            </p:cNvPr>
            <p:cNvSpPr txBox="1"/>
            <p:nvPr/>
          </p:nvSpPr>
          <p:spPr>
            <a:xfrm>
              <a:off x="7663042" y="1648303"/>
              <a:ext cx="3514349" cy="5820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300" b="1"/>
                <a:t>Contribution to the UN’s Global Sustainable Development Goal.</a:t>
              </a:r>
            </a:p>
          </p:txBody>
        </p:sp>
        <p:sp>
          <p:nvSpPr>
            <p:cNvPr id="11" name="textruta 31">
              <a:extLst>
                <a:ext uri="{FF2B5EF4-FFF2-40B4-BE49-F238E27FC236}">
                  <a16:creationId xmlns:a16="http://schemas.microsoft.com/office/drawing/2014/main" id="{8799EADC-AE3B-1136-D6D4-5A84656C7BF9}"/>
                </a:ext>
              </a:extLst>
            </p:cNvPr>
            <p:cNvSpPr txBox="1"/>
            <p:nvPr/>
          </p:nvSpPr>
          <p:spPr>
            <a:xfrm>
              <a:off x="7315462" y="1636652"/>
              <a:ext cx="504056" cy="6547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3000">
                  <a:solidFill>
                    <a:schemeClr val="accent4">
                      <a:lumMod val="75000"/>
                    </a:schemeClr>
                  </a:solidFill>
                </a:rPr>
                <a:t>1</a:t>
              </a:r>
            </a:p>
          </p:txBody>
        </p:sp>
        <p:sp>
          <p:nvSpPr>
            <p:cNvPr id="12" name="textruta 34">
              <a:extLst>
                <a:ext uri="{FF2B5EF4-FFF2-40B4-BE49-F238E27FC236}">
                  <a16:creationId xmlns:a16="http://schemas.microsoft.com/office/drawing/2014/main" id="{B055B947-CE91-ACEB-9C01-5D8C56605817}"/>
                </a:ext>
              </a:extLst>
            </p:cNvPr>
            <p:cNvSpPr txBox="1"/>
            <p:nvPr/>
          </p:nvSpPr>
          <p:spPr>
            <a:xfrm>
              <a:off x="8752275" y="3924648"/>
              <a:ext cx="2552643" cy="3455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300" b="1"/>
                <a:t>Clinical evidence</a:t>
              </a:r>
            </a:p>
          </p:txBody>
        </p:sp>
        <p:sp>
          <p:nvSpPr>
            <p:cNvPr id="13" name="textruta 35">
              <a:extLst>
                <a:ext uri="{FF2B5EF4-FFF2-40B4-BE49-F238E27FC236}">
                  <a16:creationId xmlns:a16="http://schemas.microsoft.com/office/drawing/2014/main" id="{90BF9E25-6EB9-DA0E-68CA-ADE1BA017035}"/>
                </a:ext>
              </a:extLst>
            </p:cNvPr>
            <p:cNvSpPr txBox="1"/>
            <p:nvPr/>
          </p:nvSpPr>
          <p:spPr>
            <a:xfrm>
              <a:off x="8391745" y="3726810"/>
              <a:ext cx="504056" cy="6547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3000">
                  <a:solidFill>
                    <a:schemeClr val="accent4">
                      <a:lumMod val="75000"/>
                    </a:schemeClr>
                  </a:solidFill>
                </a:rPr>
                <a:t>3</a:t>
              </a:r>
            </a:p>
          </p:txBody>
        </p:sp>
        <p:sp>
          <p:nvSpPr>
            <p:cNvPr id="14" name="textruta 36">
              <a:extLst>
                <a:ext uri="{FF2B5EF4-FFF2-40B4-BE49-F238E27FC236}">
                  <a16:creationId xmlns:a16="http://schemas.microsoft.com/office/drawing/2014/main" id="{7D9FCAE7-BDFB-8B26-DF60-3A5969FB693C}"/>
                </a:ext>
              </a:extLst>
            </p:cNvPr>
            <p:cNvSpPr txBox="1"/>
            <p:nvPr/>
          </p:nvSpPr>
          <p:spPr>
            <a:xfrm>
              <a:off x="8521917" y="5072929"/>
              <a:ext cx="2552643" cy="3455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300" b="1"/>
                <a:t>Major market potential</a:t>
              </a:r>
            </a:p>
          </p:txBody>
        </p:sp>
        <p:sp>
          <p:nvSpPr>
            <p:cNvPr id="15" name="textruta 37">
              <a:extLst>
                <a:ext uri="{FF2B5EF4-FFF2-40B4-BE49-F238E27FC236}">
                  <a16:creationId xmlns:a16="http://schemas.microsoft.com/office/drawing/2014/main" id="{DF94735A-A1E2-C447-D4F9-79A9DDDAC4ED}"/>
                </a:ext>
              </a:extLst>
            </p:cNvPr>
            <p:cNvSpPr txBox="1"/>
            <p:nvPr/>
          </p:nvSpPr>
          <p:spPr>
            <a:xfrm>
              <a:off x="8150341" y="4863665"/>
              <a:ext cx="504056" cy="6547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3000">
                  <a:solidFill>
                    <a:schemeClr val="accent4">
                      <a:lumMod val="75000"/>
                    </a:schemeClr>
                  </a:solidFill>
                </a:rPr>
                <a:t>4</a:t>
              </a:r>
            </a:p>
          </p:txBody>
        </p:sp>
        <p:sp>
          <p:nvSpPr>
            <p:cNvPr id="16" name="textruta 38">
              <a:extLst>
                <a:ext uri="{FF2B5EF4-FFF2-40B4-BE49-F238E27FC236}">
                  <a16:creationId xmlns:a16="http://schemas.microsoft.com/office/drawing/2014/main" id="{B3ADB042-13EA-4416-3367-DAB90D7EEAA8}"/>
                </a:ext>
              </a:extLst>
            </p:cNvPr>
            <p:cNvSpPr txBox="1"/>
            <p:nvPr/>
          </p:nvSpPr>
          <p:spPr>
            <a:xfrm>
              <a:off x="8575889" y="2624407"/>
              <a:ext cx="2321329" cy="5820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300" b="1"/>
                <a:t>Bactiguard technology - effective and safe</a:t>
              </a:r>
            </a:p>
          </p:txBody>
        </p:sp>
        <p:sp>
          <p:nvSpPr>
            <p:cNvPr id="17" name="textruta 39">
              <a:extLst>
                <a:ext uri="{FF2B5EF4-FFF2-40B4-BE49-F238E27FC236}">
                  <a16:creationId xmlns:a16="http://schemas.microsoft.com/office/drawing/2014/main" id="{C2FC40B3-4183-A641-DF50-A80D8E2ACC28}"/>
                </a:ext>
              </a:extLst>
            </p:cNvPr>
            <p:cNvSpPr txBox="1"/>
            <p:nvPr/>
          </p:nvSpPr>
          <p:spPr>
            <a:xfrm>
              <a:off x="8146444" y="2624559"/>
              <a:ext cx="504056" cy="6547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3000">
                  <a:solidFill>
                    <a:schemeClr val="accent4">
                      <a:lumMod val="75000"/>
                    </a:schemeClr>
                  </a:solidFill>
                </a:rPr>
                <a:t>2</a:t>
              </a:r>
            </a:p>
          </p:txBody>
        </p:sp>
        <p:sp>
          <p:nvSpPr>
            <p:cNvPr id="18" name="textruta 40">
              <a:extLst>
                <a:ext uri="{FF2B5EF4-FFF2-40B4-BE49-F238E27FC236}">
                  <a16:creationId xmlns:a16="http://schemas.microsoft.com/office/drawing/2014/main" id="{4D5EA9AB-2633-FA24-D15A-DDBCDD505B9E}"/>
                </a:ext>
              </a:extLst>
            </p:cNvPr>
            <p:cNvSpPr txBox="1"/>
            <p:nvPr/>
          </p:nvSpPr>
          <p:spPr>
            <a:xfrm>
              <a:off x="7691674" y="6131232"/>
              <a:ext cx="2552643" cy="3455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300" b="1"/>
                <a:t>Focused growth strategy</a:t>
              </a:r>
            </a:p>
          </p:txBody>
        </p:sp>
        <p:sp>
          <p:nvSpPr>
            <p:cNvPr id="19" name="textruta 41">
              <a:extLst>
                <a:ext uri="{FF2B5EF4-FFF2-40B4-BE49-F238E27FC236}">
                  <a16:creationId xmlns:a16="http://schemas.microsoft.com/office/drawing/2014/main" id="{09D9CF6F-4863-8866-E970-12299132D2FB}"/>
                </a:ext>
              </a:extLst>
            </p:cNvPr>
            <p:cNvSpPr txBox="1"/>
            <p:nvPr/>
          </p:nvSpPr>
          <p:spPr>
            <a:xfrm>
              <a:off x="7262229" y="5926272"/>
              <a:ext cx="504056" cy="6547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3000">
                  <a:solidFill>
                    <a:schemeClr val="accent4">
                      <a:lumMod val="75000"/>
                    </a:schemeClr>
                  </a:solidFill>
                </a:rPr>
                <a:t>5</a:t>
              </a:r>
            </a:p>
          </p:txBody>
        </p:sp>
        <p:sp>
          <p:nvSpPr>
            <p:cNvPr id="20" name="textruta 48">
              <a:extLst>
                <a:ext uri="{FF2B5EF4-FFF2-40B4-BE49-F238E27FC236}">
                  <a16:creationId xmlns:a16="http://schemas.microsoft.com/office/drawing/2014/main" id="{173E20E2-388C-3567-8866-62CA84643652}"/>
                </a:ext>
              </a:extLst>
            </p:cNvPr>
            <p:cNvSpPr txBox="1"/>
            <p:nvPr/>
          </p:nvSpPr>
          <p:spPr>
            <a:xfrm>
              <a:off x="2126612" y="6119402"/>
              <a:ext cx="2341387" cy="3455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1300" b="1"/>
                <a:t>Unique market position</a:t>
              </a:r>
            </a:p>
          </p:txBody>
        </p:sp>
        <p:sp>
          <p:nvSpPr>
            <p:cNvPr id="21" name="textruta 49">
              <a:extLst>
                <a:ext uri="{FF2B5EF4-FFF2-40B4-BE49-F238E27FC236}">
                  <a16:creationId xmlns:a16="http://schemas.microsoft.com/office/drawing/2014/main" id="{BAA7720C-33CB-6335-3FA7-12E929D2BEB3}"/>
                </a:ext>
              </a:extLst>
            </p:cNvPr>
            <p:cNvSpPr txBox="1"/>
            <p:nvPr/>
          </p:nvSpPr>
          <p:spPr>
            <a:xfrm>
              <a:off x="4256225" y="5926272"/>
              <a:ext cx="504056" cy="6547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3000">
                  <a:solidFill>
                    <a:schemeClr val="accent4">
                      <a:lumMod val="75000"/>
                    </a:schemeClr>
                  </a:solidFill>
                </a:rPr>
                <a:t>6</a:t>
              </a:r>
            </a:p>
          </p:txBody>
        </p:sp>
        <p:sp>
          <p:nvSpPr>
            <p:cNvPr id="22" name="textruta 50">
              <a:extLst>
                <a:ext uri="{FF2B5EF4-FFF2-40B4-BE49-F238E27FC236}">
                  <a16:creationId xmlns:a16="http://schemas.microsoft.com/office/drawing/2014/main" id="{D222F03A-2FDB-DE8D-DC9D-9E99872B018F}"/>
                </a:ext>
              </a:extLst>
            </p:cNvPr>
            <p:cNvSpPr txBox="1"/>
            <p:nvPr/>
          </p:nvSpPr>
          <p:spPr>
            <a:xfrm>
              <a:off x="1294740" y="5292415"/>
              <a:ext cx="2341387" cy="5820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1300" b="1"/>
                <a:t>Broad product portfolio </a:t>
              </a:r>
              <a:br>
                <a:rPr lang="en-GB" sz="1300" b="1"/>
              </a:br>
              <a:endParaRPr lang="en-GB" sz="1300" b="1"/>
            </a:p>
          </p:txBody>
        </p:sp>
        <p:sp>
          <p:nvSpPr>
            <p:cNvPr id="23" name="textruta 51">
              <a:extLst>
                <a:ext uri="{FF2B5EF4-FFF2-40B4-BE49-F238E27FC236}">
                  <a16:creationId xmlns:a16="http://schemas.microsoft.com/office/drawing/2014/main" id="{65866AD9-EF2B-134F-F0E5-8667886F4899}"/>
                </a:ext>
              </a:extLst>
            </p:cNvPr>
            <p:cNvSpPr txBox="1"/>
            <p:nvPr/>
          </p:nvSpPr>
          <p:spPr>
            <a:xfrm>
              <a:off x="3402485" y="5093765"/>
              <a:ext cx="504056" cy="6547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3000">
                  <a:solidFill>
                    <a:schemeClr val="accent4">
                      <a:lumMod val="75000"/>
                    </a:schemeClr>
                  </a:solidFill>
                </a:rPr>
                <a:t>7</a:t>
              </a:r>
            </a:p>
          </p:txBody>
        </p:sp>
        <p:sp>
          <p:nvSpPr>
            <p:cNvPr id="24" name="textruta 52">
              <a:extLst>
                <a:ext uri="{FF2B5EF4-FFF2-40B4-BE49-F238E27FC236}">
                  <a16:creationId xmlns:a16="http://schemas.microsoft.com/office/drawing/2014/main" id="{F83FEF85-345E-6640-C028-5B7D1672FD6C}"/>
                </a:ext>
              </a:extLst>
            </p:cNvPr>
            <p:cNvSpPr txBox="1"/>
            <p:nvPr/>
          </p:nvSpPr>
          <p:spPr>
            <a:xfrm>
              <a:off x="983287" y="3931104"/>
              <a:ext cx="2341387" cy="5820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1300" b="1"/>
                <a:t>Existing license business</a:t>
              </a:r>
            </a:p>
          </p:txBody>
        </p:sp>
        <p:sp>
          <p:nvSpPr>
            <p:cNvPr id="25" name="textruta 53">
              <a:extLst>
                <a:ext uri="{FF2B5EF4-FFF2-40B4-BE49-F238E27FC236}">
                  <a16:creationId xmlns:a16="http://schemas.microsoft.com/office/drawing/2014/main" id="{3777B2F2-2D6F-A4F9-CA08-1A533284DF2C}"/>
                </a:ext>
              </a:extLst>
            </p:cNvPr>
            <p:cNvSpPr txBox="1"/>
            <p:nvPr/>
          </p:nvSpPr>
          <p:spPr>
            <a:xfrm>
              <a:off x="3131774" y="3730164"/>
              <a:ext cx="504056" cy="6547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3000">
                  <a:solidFill>
                    <a:schemeClr val="accent4">
                      <a:lumMod val="75000"/>
                    </a:schemeClr>
                  </a:solidFill>
                </a:rPr>
                <a:t>8</a:t>
              </a:r>
            </a:p>
          </p:txBody>
        </p:sp>
        <p:sp>
          <p:nvSpPr>
            <p:cNvPr id="26" name="textruta 54">
              <a:extLst>
                <a:ext uri="{FF2B5EF4-FFF2-40B4-BE49-F238E27FC236}">
                  <a16:creationId xmlns:a16="http://schemas.microsoft.com/office/drawing/2014/main" id="{64CD5D6B-C834-476E-DE3B-0E835C397993}"/>
                </a:ext>
              </a:extLst>
            </p:cNvPr>
            <p:cNvSpPr txBox="1"/>
            <p:nvPr/>
          </p:nvSpPr>
          <p:spPr>
            <a:xfrm>
              <a:off x="1176507" y="2675840"/>
              <a:ext cx="2341387" cy="5820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1300" b="1"/>
                <a:t>Scalable business model</a:t>
              </a:r>
            </a:p>
          </p:txBody>
        </p:sp>
        <p:sp>
          <p:nvSpPr>
            <p:cNvPr id="27" name="textruta 55">
              <a:extLst>
                <a:ext uri="{FF2B5EF4-FFF2-40B4-BE49-F238E27FC236}">
                  <a16:creationId xmlns:a16="http://schemas.microsoft.com/office/drawing/2014/main" id="{12D71298-2188-2563-EAF3-E195E0BA5DA8}"/>
                </a:ext>
              </a:extLst>
            </p:cNvPr>
            <p:cNvSpPr txBox="1"/>
            <p:nvPr/>
          </p:nvSpPr>
          <p:spPr>
            <a:xfrm>
              <a:off x="3313195" y="2646152"/>
              <a:ext cx="504056" cy="6547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3000">
                  <a:solidFill>
                    <a:schemeClr val="accent4">
                      <a:lumMod val="75000"/>
                    </a:schemeClr>
                  </a:solidFill>
                </a:rPr>
                <a:t>9</a:t>
              </a:r>
            </a:p>
          </p:txBody>
        </p:sp>
        <p:cxnSp>
          <p:nvCxnSpPr>
            <p:cNvPr id="28" name="Rak 58">
              <a:extLst>
                <a:ext uri="{FF2B5EF4-FFF2-40B4-BE49-F238E27FC236}">
                  <a16:creationId xmlns:a16="http://schemas.microsoft.com/office/drawing/2014/main" id="{D8E15AA1-E098-E9D1-AB2C-5998600D74F0}"/>
                </a:ext>
              </a:extLst>
            </p:cNvPr>
            <p:cNvCxnSpPr>
              <a:cxnSpLocks/>
            </p:cNvCxnSpPr>
            <p:nvPr/>
          </p:nvCxnSpPr>
          <p:spPr>
            <a:xfrm>
              <a:off x="4832475" y="1909233"/>
              <a:ext cx="252810" cy="189195"/>
            </a:xfrm>
            <a:prstGeom prst="line">
              <a:avLst/>
            </a:prstGeom>
            <a:ln w="12700">
              <a:solidFill>
                <a:schemeClr val="bg2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Rak 64">
              <a:extLst>
                <a:ext uri="{FF2B5EF4-FFF2-40B4-BE49-F238E27FC236}">
                  <a16:creationId xmlns:a16="http://schemas.microsoft.com/office/drawing/2014/main" id="{664676B8-7B60-2C97-5F3D-F2E5C882487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13095" y="2869774"/>
              <a:ext cx="442462" cy="56523"/>
            </a:xfrm>
            <a:prstGeom prst="line">
              <a:avLst/>
            </a:prstGeom>
            <a:ln w="12700">
              <a:solidFill>
                <a:schemeClr val="bg2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Rak 72">
              <a:extLst>
                <a:ext uri="{FF2B5EF4-FFF2-40B4-BE49-F238E27FC236}">
                  <a16:creationId xmlns:a16="http://schemas.microsoft.com/office/drawing/2014/main" id="{8E29DAA0-A91E-77FE-7B32-0DCF81709F2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38271" y="5070392"/>
              <a:ext cx="401545" cy="312585"/>
            </a:xfrm>
            <a:prstGeom prst="line">
              <a:avLst/>
            </a:prstGeom>
            <a:ln w="12700">
              <a:solidFill>
                <a:schemeClr val="bg2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Rak 75">
              <a:extLst>
                <a:ext uri="{FF2B5EF4-FFF2-40B4-BE49-F238E27FC236}">
                  <a16:creationId xmlns:a16="http://schemas.microsoft.com/office/drawing/2014/main" id="{CFF82B4C-1265-C3C4-EC4F-13B3A5CEA2C8}"/>
                </a:ext>
              </a:extLst>
            </p:cNvPr>
            <p:cNvCxnSpPr>
              <a:cxnSpLocks/>
            </p:cNvCxnSpPr>
            <p:nvPr/>
          </p:nvCxnSpPr>
          <p:spPr>
            <a:xfrm>
              <a:off x="4600783" y="1909896"/>
              <a:ext cx="210369" cy="0"/>
            </a:xfrm>
            <a:prstGeom prst="line">
              <a:avLst/>
            </a:prstGeom>
            <a:ln w="12700">
              <a:solidFill>
                <a:schemeClr val="bg2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Rak 82">
              <a:extLst>
                <a:ext uri="{FF2B5EF4-FFF2-40B4-BE49-F238E27FC236}">
                  <a16:creationId xmlns:a16="http://schemas.microsoft.com/office/drawing/2014/main" id="{B1602C77-F59D-0F7E-3D9F-A93EB54FD41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916337" y="5881846"/>
              <a:ext cx="401545" cy="312585"/>
            </a:xfrm>
            <a:prstGeom prst="line">
              <a:avLst/>
            </a:prstGeom>
            <a:ln w="12700">
              <a:solidFill>
                <a:schemeClr val="bg2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Rak 97">
              <a:extLst>
                <a:ext uri="{FF2B5EF4-FFF2-40B4-BE49-F238E27FC236}">
                  <a16:creationId xmlns:a16="http://schemas.microsoft.com/office/drawing/2014/main" id="{146D4539-CE32-A911-8BC0-16E84419D0E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816080" y="1909233"/>
              <a:ext cx="521659" cy="239562"/>
            </a:xfrm>
            <a:prstGeom prst="line">
              <a:avLst/>
            </a:prstGeom>
            <a:ln w="12700">
              <a:solidFill>
                <a:schemeClr val="bg2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Rak 100">
              <a:extLst>
                <a:ext uri="{FF2B5EF4-FFF2-40B4-BE49-F238E27FC236}">
                  <a16:creationId xmlns:a16="http://schemas.microsoft.com/office/drawing/2014/main" id="{404745C6-7FA3-8191-4232-6F5B2AB284B1}"/>
                </a:ext>
              </a:extLst>
            </p:cNvPr>
            <p:cNvCxnSpPr>
              <a:cxnSpLocks/>
              <a:stCxn id="17" idx="1"/>
            </p:cNvCxnSpPr>
            <p:nvPr/>
          </p:nvCxnSpPr>
          <p:spPr>
            <a:xfrm flipH="1" flipV="1">
              <a:off x="7696034" y="2869774"/>
              <a:ext cx="450410" cy="82182"/>
            </a:xfrm>
            <a:prstGeom prst="line">
              <a:avLst/>
            </a:prstGeom>
            <a:ln w="12700">
              <a:solidFill>
                <a:schemeClr val="bg2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Rak 104">
              <a:extLst>
                <a:ext uri="{FF2B5EF4-FFF2-40B4-BE49-F238E27FC236}">
                  <a16:creationId xmlns:a16="http://schemas.microsoft.com/office/drawing/2014/main" id="{3B8E50C5-0B29-88B2-88C1-A151FD98EE1E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7766285" y="5126736"/>
              <a:ext cx="551053" cy="228811"/>
            </a:xfrm>
            <a:prstGeom prst="line">
              <a:avLst/>
            </a:prstGeom>
            <a:ln w="12700">
              <a:solidFill>
                <a:schemeClr val="bg2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Rak 107">
              <a:extLst>
                <a:ext uri="{FF2B5EF4-FFF2-40B4-BE49-F238E27FC236}">
                  <a16:creationId xmlns:a16="http://schemas.microsoft.com/office/drawing/2014/main" id="{1D51EE2F-1E1C-B057-FB40-84C5BF1732A8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6810150" y="5881847"/>
              <a:ext cx="402637" cy="312584"/>
            </a:xfrm>
            <a:prstGeom prst="line">
              <a:avLst/>
            </a:prstGeom>
            <a:ln w="12700">
              <a:solidFill>
                <a:schemeClr val="bg2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Ellips 2">
              <a:extLst>
                <a:ext uri="{FF2B5EF4-FFF2-40B4-BE49-F238E27FC236}">
                  <a16:creationId xmlns:a16="http://schemas.microsoft.com/office/drawing/2014/main" id="{BCF7797D-BE53-B1F2-3E5A-0FAE78691890}"/>
                </a:ext>
              </a:extLst>
            </p:cNvPr>
            <p:cNvSpPr/>
            <p:nvPr/>
          </p:nvSpPr>
          <p:spPr>
            <a:xfrm>
              <a:off x="4943872" y="1843310"/>
              <a:ext cx="642395" cy="642395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 w="19050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8" name="Ellips 15">
              <a:extLst>
                <a:ext uri="{FF2B5EF4-FFF2-40B4-BE49-F238E27FC236}">
                  <a16:creationId xmlns:a16="http://schemas.microsoft.com/office/drawing/2014/main" id="{43CFECE0-0233-793B-E6FC-DDFD82B97A3D}"/>
                </a:ext>
              </a:extLst>
            </p:cNvPr>
            <p:cNvSpPr/>
            <p:nvPr/>
          </p:nvSpPr>
          <p:spPr>
            <a:xfrm>
              <a:off x="4111402" y="2566718"/>
              <a:ext cx="642395" cy="642395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 w="19050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9" name="Ellips 19">
              <a:extLst>
                <a:ext uri="{FF2B5EF4-FFF2-40B4-BE49-F238E27FC236}">
                  <a16:creationId xmlns:a16="http://schemas.microsoft.com/office/drawing/2014/main" id="{FDB3D38A-739E-CD1C-8810-26FB31CF88B0}"/>
                </a:ext>
              </a:extLst>
            </p:cNvPr>
            <p:cNvSpPr/>
            <p:nvPr/>
          </p:nvSpPr>
          <p:spPr>
            <a:xfrm>
              <a:off x="3813162" y="3677403"/>
              <a:ext cx="642395" cy="642395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 w="19050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40" name="Ellips 20">
              <a:extLst>
                <a:ext uri="{FF2B5EF4-FFF2-40B4-BE49-F238E27FC236}">
                  <a16:creationId xmlns:a16="http://schemas.microsoft.com/office/drawing/2014/main" id="{40003485-10F4-F2AA-EBF2-551CB4C7C9F4}"/>
                </a:ext>
              </a:extLst>
            </p:cNvPr>
            <p:cNvSpPr/>
            <p:nvPr/>
          </p:nvSpPr>
          <p:spPr>
            <a:xfrm>
              <a:off x="4117886" y="4788088"/>
              <a:ext cx="642395" cy="642395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 w="19050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41" name="Ellips 21">
              <a:extLst>
                <a:ext uri="{FF2B5EF4-FFF2-40B4-BE49-F238E27FC236}">
                  <a16:creationId xmlns:a16="http://schemas.microsoft.com/office/drawing/2014/main" id="{92074025-F122-43F9-2EB9-81C008214514}"/>
                </a:ext>
              </a:extLst>
            </p:cNvPr>
            <p:cNvSpPr/>
            <p:nvPr/>
          </p:nvSpPr>
          <p:spPr>
            <a:xfrm>
              <a:off x="4943872" y="5525294"/>
              <a:ext cx="642395" cy="642395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 w="19050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42" name="Ellips 22">
              <a:extLst>
                <a:ext uri="{FF2B5EF4-FFF2-40B4-BE49-F238E27FC236}">
                  <a16:creationId xmlns:a16="http://schemas.microsoft.com/office/drawing/2014/main" id="{A01421B6-0886-29AC-749D-196CFE60F75A}"/>
                </a:ext>
              </a:extLst>
            </p:cNvPr>
            <p:cNvSpPr/>
            <p:nvPr/>
          </p:nvSpPr>
          <p:spPr>
            <a:xfrm>
              <a:off x="7725405" y="3677403"/>
              <a:ext cx="642395" cy="642395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 w="19050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43" name="Ellips 23">
              <a:extLst>
                <a:ext uri="{FF2B5EF4-FFF2-40B4-BE49-F238E27FC236}">
                  <a16:creationId xmlns:a16="http://schemas.microsoft.com/office/drawing/2014/main" id="{A3820C0A-D509-54F6-BF70-591BAF7A0BDB}"/>
                </a:ext>
              </a:extLst>
            </p:cNvPr>
            <p:cNvSpPr/>
            <p:nvPr/>
          </p:nvSpPr>
          <p:spPr>
            <a:xfrm>
              <a:off x="6490777" y="1829513"/>
              <a:ext cx="642395" cy="642395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 w="19050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44" name="Ellips 24">
              <a:extLst>
                <a:ext uri="{FF2B5EF4-FFF2-40B4-BE49-F238E27FC236}">
                  <a16:creationId xmlns:a16="http://schemas.microsoft.com/office/drawing/2014/main" id="{BB6CEFDF-801B-97B3-B565-91449858C9A9}"/>
                </a:ext>
              </a:extLst>
            </p:cNvPr>
            <p:cNvSpPr/>
            <p:nvPr/>
          </p:nvSpPr>
          <p:spPr>
            <a:xfrm>
              <a:off x="6490777" y="5525294"/>
              <a:ext cx="642395" cy="642395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 w="19050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45" name="Ellips 25">
              <a:extLst>
                <a:ext uri="{FF2B5EF4-FFF2-40B4-BE49-F238E27FC236}">
                  <a16:creationId xmlns:a16="http://schemas.microsoft.com/office/drawing/2014/main" id="{170D6937-0B46-D4AC-3FAE-EDEAC3E74893}"/>
                </a:ext>
              </a:extLst>
            </p:cNvPr>
            <p:cNvSpPr/>
            <p:nvPr/>
          </p:nvSpPr>
          <p:spPr>
            <a:xfrm>
              <a:off x="7462970" y="4788088"/>
              <a:ext cx="642395" cy="642395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 w="19050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46" name="Ellips 26">
              <a:extLst>
                <a:ext uri="{FF2B5EF4-FFF2-40B4-BE49-F238E27FC236}">
                  <a16:creationId xmlns:a16="http://schemas.microsoft.com/office/drawing/2014/main" id="{31649E4B-2E9F-2823-89E3-84CC4CCAD856}"/>
                </a:ext>
              </a:extLst>
            </p:cNvPr>
            <p:cNvSpPr/>
            <p:nvPr/>
          </p:nvSpPr>
          <p:spPr>
            <a:xfrm>
              <a:off x="7404207" y="2566718"/>
              <a:ext cx="642395" cy="642395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 w="19050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47" name="Bildobjekt 111">
              <a:extLst>
                <a:ext uri="{FF2B5EF4-FFF2-40B4-BE49-F238E27FC236}">
                  <a16:creationId xmlns:a16="http://schemas.microsoft.com/office/drawing/2014/main" id="{83A77306-2CF7-8362-4F17-53514831ADD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54757" y="1954821"/>
              <a:ext cx="420623" cy="420623"/>
            </a:xfrm>
            <a:prstGeom prst="rect">
              <a:avLst/>
            </a:prstGeom>
            <a:noFill/>
          </p:spPr>
        </p:pic>
        <p:pic>
          <p:nvPicPr>
            <p:cNvPr id="48" name="Bildobjekt 117">
              <a:extLst>
                <a:ext uri="{FF2B5EF4-FFF2-40B4-BE49-F238E27FC236}">
                  <a16:creationId xmlns:a16="http://schemas.microsoft.com/office/drawing/2014/main" id="{8A7B77F8-0C59-D29F-42C5-F7391EBC28E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55157" y="4910182"/>
              <a:ext cx="367852" cy="367852"/>
            </a:xfrm>
            <a:prstGeom prst="rect">
              <a:avLst/>
            </a:prstGeom>
          </p:spPr>
        </p:pic>
        <p:pic>
          <p:nvPicPr>
            <p:cNvPr id="49" name="Bildobjekt 123">
              <a:extLst>
                <a:ext uri="{FF2B5EF4-FFF2-40B4-BE49-F238E27FC236}">
                  <a16:creationId xmlns:a16="http://schemas.microsoft.com/office/drawing/2014/main" id="{6A7AB20C-E10E-0134-0D74-4E04029EC92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96768" y="5626977"/>
              <a:ext cx="426764" cy="426764"/>
            </a:xfrm>
            <a:prstGeom prst="rect">
              <a:avLst/>
            </a:prstGeom>
          </p:spPr>
        </p:pic>
        <p:pic>
          <p:nvPicPr>
            <p:cNvPr id="50" name="Bildobjekt 83">
              <a:extLst>
                <a:ext uri="{FF2B5EF4-FFF2-40B4-BE49-F238E27FC236}">
                  <a16:creationId xmlns:a16="http://schemas.microsoft.com/office/drawing/2014/main" id="{50F331E3-FC60-F601-21EB-90A2A651C24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83919" y="4910182"/>
              <a:ext cx="408882" cy="408882"/>
            </a:xfrm>
            <a:prstGeom prst="rect">
              <a:avLst/>
            </a:prstGeom>
            <a:noFill/>
          </p:spPr>
        </p:pic>
        <p:pic>
          <p:nvPicPr>
            <p:cNvPr id="51" name="Bildobjekt 85">
              <a:extLst>
                <a:ext uri="{FF2B5EF4-FFF2-40B4-BE49-F238E27FC236}">
                  <a16:creationId xmlns:a16="http://schemas.microsoft.com/office/drawing/2014/main" id="{838EC789-822B-A744-BAA6-0485BEC32004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12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42337" y="3806379"/>
              <a:ext cx="390715" cy="390715"/>
            </a:xfrm>
            <a:prstGeom prst="rect">
              <a:avLst/>
            </a:prstGeom>
          </p:spPr>
        </p:pic>
        <p:pic>
          <p:nvPicPr>
            <p:cNvPr id="52" name="Bildobjekt 16">
              <a:extLst>
                <a:ext uri="{FF2B5EF4-FFF2-40B4-BE49-F238E27FC236}">
                  <a16:creationId xmlns:a16="http://schemas.microsoft.com/office/drawing/2014/main" id="{CE0A92F8-888E-B39A-B2A4-7D2FF77D048D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7553107" y="2677003"/>
              <a:ext cx="424842" cy="424842"/>
            </a:xfrm>
            <a:prstGeom prst="rect">
              <a:avLst/>
            </a:prstGeom>
          </p:spPr>
        </p:pic>
        <p:pic>
          <p:nvPicPr>
            <p:cNvPr id="53" name="Bildobjekt 17">
              <a:extLst>
                <a:ext uri="{FF2B5EF4-FFF2-40B4-BE49-F238E27FC236}">
                  <a16:creationId xmlns:a16="http://schemas.microsoft.com/office/drawing/2014/main" id="{B14906F9-6ABB-0FA2-A193-559FB738CF96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7841142" y="3801593"/>
              <a:ext cx="433089" cy="389780"/>
            </a:xfrm>
            <a:prstGeom prst="rect">
              <a:avLst/>
            </a:prstGeom>
          </p:spPr>
        </p:pic>
        <p:pic>
          <p:nvPicPr>
            <p:cNvPr id="54" name="Bildobjekt 18">
              <a:extLst>
                <a:ext uri="{FF2B5EF4-FFF2-40B4-BE49-F238E27FC236}">
                  <a16:creationId xmlns:a16="http://schemas.microsoft.com/office/drawing/2014/main" id="{49FF2895-CDA3-DB00-97FA-EB5A13926792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5076811" y="5667531"/>
              <a:ext cx="367853" cy="367853"/>
            </a:xfrm>
            <a:prstGeom prst="rect">
              <a:avLst/>
            </a:prstGeom>
          </p:spPr>
        </p:pic>
        <p:pic>
          <p:nvPicPr>
            <p:cNvPr id="55" name="Bildobjekt 29">
              <a:extLst>
                <a:ext uri="{FF2B5EF4-FFF2-40B4-BE49-F238E27FC236}">
                  <a16:creationId xmlns:a16="http://schemas.microsoft.com/office/drawing/2014/main" id="{904F1F88-8601-FC9E-0927-04C3DBB912C0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4276235" y="2706987"/>
              <a:ext cx="340945" cy="370871"/>
            </a:xfrm>
            <a:prstGeom prst="rect">
              <a:avLst/>
            </a:prstGeom>
          </p:spPr>
        </p:pic>
        <p:pic>
          <p:nvPicPr>
            <p:cNvPr id="56" name="Bildobjekt 32">
              <a:extLst>
                <a:ext uri="{FF2B5EF4-FFF2-40B4-BE49-F238E27FC236}">
                  <a16:creationId xmlns:a16="http://schemas.microsoft.com/office/drawing/2014/main" id="{7EB3EF78-2080-97E5-8323-2FEC4B9899B4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6448279" y="1942170"/>
              <a:ext cx="598186" cy="420758"/>
            </a:xfrm>
            <a:prstGeom prst="rect">
              <a:avLst/>
            </a:prstGeom>
          </p:spPr>
        </p:pic>
        <p:cxnSp>
          <p:nvCxnSpPr>
            <p:cNvPr id="57" name="Rak 62">
              <a:extLst>
                <a:ext uri="{FF2B5EF4-FFF2-40B4-BE49-F238E27FC236}">
                  <a16:creationId xmlns:a16="http://schemas.microsoft.com/office/drawing/2014/main" id="{D4F56D36-AB13-C859-8E67-6FD2EC79C156}"/>
                </a:ext>
              </a:extLst>
            </p:cNvPr>
            <p:cNvCxnSpPr>
              <a:cxnSpLocks/>
            </p:cNvCxnSpPr>
            <p:nvPr/>
          </p:nvCxnSpPr>
          <p:spPr>
            <a:xfrm>
              <a:off x="7317971" y="1909896"/>
              <a:ext cx="210369" cy="0"/>
            </a:xfrm>
            <a:prstGeom prst="line">
              <a:avLst/>
            </a:prstGeom>
            <a:ln w="12700">
              <a:solidFill>
                <a:schemeClr val="bg2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Rak 65">
              <a:extLst>
                <a:ext uri="{FF2B5EF4-FFF2-40B4-BE49-F238E27FC236}">
                  <a16:creationId xmlns:a16="http://schemas.microsoft.com/office/drawing/2014/main" id="{111EA38C-DF3C-3E85-59D5-1F7F8AEB04B1}"/>
                </a:ext>
              </a:extLst>
            </p:cNvPr>
            <p:cNvCxnSpPr>
              <a:cxnSpLocks/>
            </p:cNvCxnSpPr>
            <p:nvPr/>
          </p:nvCxnSpPr>
          <p:spPr>
            <a:xfrm>
              <a:off x="8112224" y="2908963"/>
              <a:ext cx="210369" cy="0"/>
            </a:xfrm>
            <a:prstGeom prst="line">
              <a:avLst/>
            </a:prstGeom>
            <a:ln w="12700">
              <a:solidFill>
                <a:schemeClr val="bg2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Rak 66">
              <a:extLst>
                <a:ext uri="{FF2B5EF4-FFF2-40B4-BE49-F238E27FC236}">
                  <a16:creationId xmlns:a16="http://schemas.microsoft.com/office/drawing/2014/main" id="{4491490E-EC53-FA85-92ED-4BA271BFDA96}"/>
                </a:ext>
              </a:extLst>
            </p:cNvPr>
            <p:cNvCxnSpPr>
              <a:cxnSpLocks/>
            </p:cNvCxnSpPr>
            <p:nvPr/>
          </p:nvCxnSpPr>
          <p:spPr>
            <a:xfrm>
              <a:off x="8381786" y="4005397"/>
              <a:ext cx="210369" cy="0"/>
            </a:xfrm>
            <a:prstGeom prst="line">
              <a:avLst/>
            </a:prstGeom>
            <a:ln w="12700">
              <a:solidFill>
                <a:schemeClr val="bg2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Rak 67">
              <a:extLst>
                <a:ext uri="{FF2B5EF4-FFF2-40B4-BE49-F238E27FC236}">
                  <a16:creationId xmlns:a16="http://schemas.microsoft.com/office/drawing/2014/main" id="{DEBD3042-1F2B-9F91-8EA1-15C0CB7F4671}"/>
                </a:ext>
              </a:extLst>
            </p:cNvPr>
            <p:cNvCxnSpPr>
              <a:cxnSpLocks/>
            </p:cNvCxnSpPr>
            <p:nvPr/>
          </p:nvCxnSpPr>
          <p:spPr>
            <a:xfrm>
              <a:off x="7212787" y="6195094"/>
              <a:ext cx="210369" cy="0"/>
            </a:xfrm>
            <a:prstGeom prst="line">
              <a:avLst/>
            </a:prstGeom>
            <a:ln w="12700">
              <a:solidFill>
                <a:schemeClr val="bg2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Rak 68">
              <a:extLst>
                <a:ext uri="{FF2B5EF4-FFF2-40B4-BE49-F238E27FC236}">
                  <a16:creationId xmlns:a16="http://schemas.microsoft.com/office/drawing/2014/main" id="{8531FB10-6ED1-BF0B-519D-6EEB436508C2}"/>
                </a:ext>
              </a:extLst>
            </p:cNvPr>
            <p:cNvCxnSpPr>
              <a:cxnSpLocks/>
            </p:cNvCxnSpPr>
            <p:nvPr/>
          </p:nvCxnSpPr>
          <p:spPr>
            <a:xfrm>
              <a:off x="4705968" y="6194431"/>
              <a:ext cx="210369" cy="0"/>
            </a:xfrm>
            <a:prstGeom prst="line">
              <a:avLst/>
            </a:prstGeom>
            <a:ln w="12700">
              <a:solidFill>
                <a:schemeClr val="bg2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Rak 70">
              <a:extLst>
                <a:ext uri="{FF2B5EF4-FFF2-40B4-BE49-F238E27FC236}">
                  <a16:creationId xmlns:a16="http://schemas.microsoft.com/office/drawing/2014/main" id="{226EEB6C-CBE1-B4D5-8B89-91F957C21CEE}"/>
                </a:ext>
              </a:extLst>
            </p:cNvPr>
            <p:cNvCxnSpPr>
              <a:cxnSpLocks/>
            </p:cNvCxnSpPr>
            <p:nvPr/>
          </p:nvCxnSpPr>
          <p:spPr>
            <a:xfrm>
              <a:off x="3825435" y="5381631"/>
              <a:ext cx="210369" cy="0"/>
            </a:xfrm>
            <a:prstGeom prst="line">
              <a:avLst/>
            </a:prstGeom>
            <a:ln w="12700">
              <a:solidFill>
                <a:schemeClr val="bg2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Rak 73">
              <a:extLst>
                <a:ext uri="{FF2B5EF4-FFF2-40B4-BE49-F238E27FC236}">
                  <a16:creationId xmlns:a16="http://schemas.microsoft.com/office/drawing/2014/main" id="{832DD339-4B38-5C35-A49D-ACD63D26C49E}"/>
                </a:ext>
              </a:extLst>
            </p:cNvPr>
            <p:cNvCxnSpPr>
              <a:cxnSpLocks/>
            </p:cNvCxnSpPr>
            <p:nvPr/>
          </p:nvCxnSpPr>
          <p:spPr>
            <a:xfrm>
              <a:off x="3601068" y="4010031"/>
              <a:ext cx="210369" cy="0"/>
            </a:xfrm>
            <a:prstGeom prst="line">
              <a:avLst/>
            </a:prstGeom>
            <a:ln w="12700">
              <a:solidFill>
                <a:schemeClr val="bg2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Rak 74">
              <a:extLst>
                <a:ext uri="{FF2B5EF4-FFF2-40B4-BE49-F238E27FC236}">
                  <a16:creationId xmlns:a16="http://schemas.microsoft.com/office/drawing/2014/main" id="{D3DEAD52-79FD-3140-1B02-03C97974028A}"/>
                </a:ext>
              </a:extLst>
            </p:cNvPr>
            <p:cNvCxnSpPr>
              <a:cxnSpLocks/>
            </p:cNvCxnSpPr>
            <p:nvPr/>
          </p:nvCxnSpPr>
          <p:spPr>
            <a:xfrm>
              <a:off x="3775847" y="2926297"/>
              <a:ext cx="210369" cy="0"/>
            </a:xfrm>
            <a:prstGeom prst="line">
              <a:avLst/>
            </a:prstGeom>
            <a:ln w="12700">
              <a:solidFill>
                <a:schemeClr val="bg2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5" name="Content Placeholder 8">
            <a:extLst>
              <a:ext uri="{FF2B5EF4-FFF2-40B4-BE49-F238E27FC236}">
                <a16:creationId xmlns:a16="http://schemas.microsoft.com/office/drawing/2014/main" id="{FAD0C518-33A7-7649-E9BB-5CE92D277D91}"/>
              </a:ext>
            </a:extLst>
          </p:cNvPr>
          <p:cNvSpPr txBox="1">
            <a:spLocks/>
          </p:cNvSpPr>
          <p:nvPr/>
        </p:nvSpPr>
        <p:spPr>
          <a:xfrm>
            <a:off x="4675237" y="3176289"/>
            <a:ext cx="2415750" cy="126177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57188" indent="-1762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100" kern="12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95350" indent="-1762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100" kern="12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base">
              <a:buFont typeface="Arial" panose="020B0604020202020204" pitchFamily="34" charset="0"/>
              <a:buNone/>
            </a:pPr>
            <a:r>
              <a:rPr lang="en-GB" sz="1400" b="1">
                <a:latin typeface="+mn-lt"/>
              </a:rPr>
              <a:t>   Financial Target 2026:</a:t>
            </a:r>
            <a:endParaRPr lang="en-GB" sz="1400" b="1">
              <a:solidFill>
                <a:srgbClr val="686464"/>
              </a:solidFill>
              <a:latin typeface="+mn-lt"/>
            </a:endParaRPr>
          </a:p>
          <a:p>
            <a:pPr fontAlgn="base"/>
            <a:r>
              <a:rPr lang="en-GB" sz="1400">
                <a:solidFill>
                  <a:srgbClr val="686464"/>
                </a:solidFill>
                <a:latin typeface="+mn-lt"/>
              </a:rPr>
              <a:t>Revenue &gt;1 billion SEK</a:t>
            </a:r>
          </a:p>
          <a:p>
            <a:pPr fontAlgn="base"/>
            <a:r>
              <a:rPr lang="en-GB" sz="1400">
                <a:solidFill>
                  <a:srgbClr val="686464"/>
                </a:solidFill>
                <a:latin typeface="+mn-lt"/>
              </a:rPr>
              <a:t>EBITDA &gt;400 million SEK</a:t>
            </a:r>
          </a:p>
        </p:txBody>
      </p:sp>
    </p:spTree>
    <p:extLst>
      <p:ext uri="{BB962C8B-B14F-4D97-AF65-F5344CB8AC3E}">
        <p14:creationId xmlns:p14="http://schemas.microsoft.com/office/powerpoint/2010/main" val="324625787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28CF1E-56E9-1853-E9C9-804F2B5C18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3000"/>
              <a:t>Questions &amp; Answers</a:t>
            </a:r>
            <a:endParaRPr lang="sv-SE"/>
          </a:p>
        </p:txBody>
      </p:sp>
      <p:pic>
        <p:nvPicPr>
          <p:cNvPr id="12" name="Picture Placeholder 9" descr="A picture containing person, person, suit, wearing&#10;&#10;Description automatically generated">
            <a:extLst>
              <a:ext uri="{FF2B5EF4-FFF2-40B4-BE49-F238E27FC236}">
                <a16:creationId xmlns:a16="http://schemas.microsoft.com/office/drawing/2014/main" id="{B272AD68-8724-F5CE-B310-6EE45ED00C18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689" r="23689"/>
          <a:stretch>
            <a:fillRect/>
          </a:stretch>
        </p:blipFill>
        <p:spPr>
          <a:xfrm>
            <a:off x="766763" y="1808163"/>
            <a:ext cx="1800225" cy="3421062"/>
          </a:xfrm>
        </p:spPr>
      </p:pic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F7FBAD44-9945-126D-B4F8-6ECF6485916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566988" y="1808163"/>
            <a:ext cx="3529012" cy="3421062"/>
          </a:xfrm>
        </p:spPr>
        <p:txBody>
          <a:bodyPr/>
          <a:lstStyle/>
          <a:p>
            <a:r>
              <a:rPr lang="sv-SE"/>
              <a:t>CEO</a:t>
            </a:r>
          </a:p>
          <a:p>
            <a:endParaRPr lang="sv-SE" sz="100"/>
          </a:p>
          <a:p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+46 8 440 58 80</a:t>
            </a:r>
            <a:b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nders.goransson@bactiguard.com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BB1C8D5A-7B16-08C6-420A-717FFD0FB94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665413" y="4038733"/>
            <a:ext cx="3128962" cy="222250"/>
          </a:xfrm>
        </p:spPr>
        <p:txBody>
          <a:bodyPr/>
          <a:lstStyle/>
          <a:p>
            <a:r>
              <a:rPr lang="sv-SE"/>
              <a:t>Anders Göransson</a:t>
            </a:r>
          </a:p>
        </p:txBody>
      </p:sp>
    </p:spTree>
    <p:extLst>
      <p:ext uri="{BB962C8B-B14F-4D97-AF65-F5344CB8AC3E}">
        <p14:creationId xmlns:p14="http://schemas.microsoft.com/office/powerpoint/2010/main" val="371393216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latshållare för bild 6">
            <a:extLst>
              <a:ext uri="{FF2B5EF4-FFF2-40B4-BE49-F238E27FC236}">
                <a16:creationId xmlns:a16="http://schemas.microsoft.com/office/drawing/2014/main" id="{16F63F01-0F8A-B7BA-79BB-69E567FA5CF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96" b="779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 6">
            <a:extLst>
              <a:ext uri="{FF2B5EF4-FFF2-40B4-BE49-F238E27FC236}">
                <a16:creationId xmlns:a16="http://schemas.microsoft.com/office/drawing/2014/main" id="{C6F7FF67-BA9F-58E0-E090-AC31D5094F0D}"/>
              </a:ext>
            </a:extLst>
          </p:cNvPr>
          <p:cNvSpPr txBox="1">
            <a:spLocks/>
          </p:cNvSpPr>
          <p:nvPr/>
        </p:nvSpPr>
        <p:spPr>
          <a:xfrm>
            <a:off x="5414209" y="734732"/>
            <a:ext cx="6027821" cy="29337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 cap="none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sv-SE">
                <a:solidFill>
                  <a:schemeClr val="bg1"/>
                </a:solidFill>
              </a:rPr>
              <a:t>BACTIGUARD</a:t>
            </a:r>
            <a:r>
              <a:rPr lang="sv-SE" b="0">
                <a:solidFill>
                  <a:schemeClr val="bg1"/>
                </a:solidFill>
              </a:rPr>
              <a:t> ON THE </a:t>
            </a:r>
            <a:r>
              <a:rPr lang="sv-SE">
                <a:solidFill>
                  <a:schemeClr val="bg1"/>
                </a:solidFill>
              </a:rPr>
              <a:t>OUTSIDE</a:t>
            </a:r>
            <a:r>
              <a:rPr lang="sv-SE" b="0">
                <a:solidFill>
                  <a:schemeClr val="bg1"/>
                </a:solidFill>
              </a:rPr>
              <a:t> – </a:t>
            </a:r>
            <a:r>
              <a:rPr lang="sv-SE">
                <a:solidFill>
                  <a:schemeClr val="bg1"/>
                </a:solidFill>
              </a:rPr>
              <a:t>SAFE</a:t>
            </a:r>
            <a:r>
              <a:rPr lang="sv-SE" b="0">
                <a:solidFill>
                  <a:schemeClr val="bg1"/>
                </a:solidFill>
              </a:rPr>
              <a:t> ON THE </a:t>
            </a:r>
            <a:r>
              <a:rPr lang="sv-SE">
                <a:solidFill>
                  <a:schemeClr val="bg1"/>
                </a:solidFill>
              </a:rPr>
              <a:t>INSIDE</a:t>
            </a:r>
          </a:p>
        </p:txBody>
      </p:sp>
    </p:spTree>
    <p:extLst>
      <p:ext uri="{BB962C8B-B14F-4D97-AF65-F5344CB8AC3E}">
        <p14:creationId xmlns:p14="http://schemas.microsoft.com/office/powerpoint/2010/main" val="25528779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7918C4-71A0-4A34-9E85-41991F98EA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2" y="476250"/>
            <a:ext cx="10368876" cy="865188"/>
          </a:xfrm>
        </p:spPr>
        <p:txBody>
          <a:bodyPr/>
          <a:lstStyle/>
          <a:p>
            <a:r>
              <a:rPr lang="sv-SE">
                <a:cs typeface="Arial"/>
              </a:rPr>
              <a:t>The </a:t>
            </a:r>
            <a:r>
              <a:rPr lang="sv-SE" err="1">
                <a:cs typeface="Arial"/>
              </a:rPr>
              <a:t>need</a:t>
            </a:r>
            <a:r>
              <a:rPr lang="sv-SE">
                <a:cs typeface="Arial"/>
              </a:rPr>
              <a:t> for </a:t>
            </a:r>
            <a:r>
              <a:rPr lang="sv-SE" err="1">
                <a:cs typeface="Arial"/>
              </a:rPr>
              <a:t>infection</a:t>
            </a:r>
            <a:r>
              <a:rPr lang="sv-SE">
                <a:cs typeface="Arial"/>
              </a:rPr>
              <a:t> prevention </a:t>
            </a:r>
            <a:r>
              <a:rPr lang="en-GB">
                <a:cs typeface="Arial"/>
              </a:rPr>
              <a:t>has</a:t>
            </a:r>
            <a:r>
              <a:rPr lang="sv-SE">
                <a:cs typeface="Arial"/>
              </a:rPr>
              <a:t> never </a:t>
            </a:r>
            <a:r>
              <a:rPr lang="sv-SE" err="1">
                <a:cs typeface="Arial"/>
              </a:rPr>
              <a:t>been</a:t>
            </a:r>
            <a:r>
              <a:rPr lang="sv-SE">
                <a:cs typeface="Arial"/>
              </a:rPr>
              <a:t> </a:t>
            </a:r>
            <a:r>
              <a:rPr lang="sv-SE" err="1">
                <a:cs typeface="Arial"/>
              </a:rPr>
              <a:t>greater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0900A49-C2C2-435A-9D9B-463B92C53EF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D15489C-915D-485E-A438-32CBC7EC9F3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 anchor="b"/>
          <a:lstStyle/>
          <a:p>
            <a:r>
              <a:rPr lang="sv-SE" sz="800"/>
              <a:t>Source:  </a:t>
            </a:r>
            <a:r>
              <a:rPr lang="sv-SE" sz="800" err="1"/>
              <a:t>Various</a:t>
            </a:r>
            <a:r>
              <a:rPr lang="sv-SE" sz="800"/>
              <a:t> </a:t>
            </a:r>
            <a:r>
              <a:rPr lang="sv-SE" sz="800" err="1"/>
              <a:t>news</a:t>
            </a:r>
            <a:r>
              <a:rPr lang="sv-SE" sz="800"/>
              <a:t> </a:t>
            </a:r>
            <a:r>
              <a:rPr lang="sv-SE" sz="800" err="1"/>
              <a:t>articles</a:t>
            </a:r>
            <a:r>
              <a:rPr lang="sv-SE" sz="800"/>
              <a:t> from </a:t>
            </a:r>
            <a:r>
              <a:rPr lang="sv-SE" sz="800" err="1"/>
              <a:t>this</a:t>
            </a:r>
            <a:r>
              <a:rPr lang="sv-SE" sz="800"/>
              <a:t> </a:t>
            </a:r>
            <a:r>
              <a:rPr lang="sv-SE" sz="800" err="1"/>
              <a:t>year</a:t>
            </a:r>
            <a:endParaRPr lang="sv-SE" sz="800"/>
          </a:p>
          <a:p>
            <a:pPr marL="0" indent="0">
              <a:buNone/>
            </a:pPr>
            <a:endParaRPr lang="en-GB"/>
          </a:p>
        </p:txBody>
      </p:sp>
      <p:sp>
        <p:nvSpPr>
          <p:cNvPr id="6" name="Rectangle 473">
            <a:extLst>
              <a:ext uri="{FF2B5EF4-FFF2-40B4-BE49-F238E27FC236}">
                <a16:creationId xmlns:a16="http://schemas.microsoft.com/office/drawing/2014/main" id="{A279C5E1-9F7A-771D-1058-C95E8F8050B3}"/>
              </a:ext>
            </a:extLst>
          </p:cNvPr>
          <p:cNvSpPr/>
          <p:nvPr/>
        </p:nvSpPr>
        <p:spPr>
          <a:xfrm>
            <a:off x="6198823" y="1834740"/>
            <a:ext cx="5367724" cy="3404522"/>
          </a:xfrm>
          <a:prstGeom prst="rect">
            <a:avLst/>
          </a:prstGeom>
          <a:solidFill>
            <a:schemeClr val="bg2">
              <a:alpha val="4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EAE8E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Rectangle 473">
            <a:extLst>
              <a:ext uri="{FF2B5EF4-FFF2-40B4-BE49-F238E27FC236}">
                <a16:creationId xmlns:a16="http://schemas.microsoft.com/office/drawing/2014/main" id="{E9FEE8EB-1D05-10BA-6A26-828C4AD3097C}"/>
              </a:ext>
            </a:extLst>
          </p:cNvPr>
          <p:cNvSpPr/>
          <p:nvPr/>
        </p:nvSpPr>
        <p:spPr>
          <a:xfrm>
            <a:off x="677555" y="1834740"/>
            <a:ext cx="5367724" cy="3404522"/>
          </a:xfrm>
          <a:prstGeom prst="rect">
            <a:avLst/>
          </a:prstGeom>
          <a:solidFill>
            <a:schemeClr val="bg2">
              <a:alpha val="4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EAE8E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8" name="Bildobjekt 6">
            <a:extLst>
              <a:ext uri="{FF2B5EF4-FFF2-40B4-BE49-F238E27FC236}">
                <a16:creationId xmlns:a16="http://schemas.microsoft.com/office/drawing/2014/main" id="{F7B25D7D-FA88-AC76-D05A-8EF89FCF32B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40067"/>
          <a:stretch/>
        </p:blipFill>
        <p:spPr>
          <a:xfrm>
            <a:off x="6405256" y="2410464"/>
            <a:ext cx="2584173" cy="1632483"/>
          </a:xfrm>
          <a:prstGeom prst="rect">
            <a:avLst/>
          </a:prstGeom>
        </p:spPr>
      </p:pic>
      <p:sp>
        <p:nvSpPr>
          <p:cNvPr id="9" name="Rektangel 7">
            <a:extLst>
              <a:ext uri="{FF2B5EF4-FFF2-40B4-BE49-F238E27FC236}">
                <a16:creationId xmlns:a16="http://schemas.microsoft.com/office/drawing/2014/main" id="{B51BB9F9-E507-BDDD-C030-DA40EBD339E5}"/>
              </a:ext>
            </a:extLst>
          </p:cNvPr>
          <p:cNvSpPr/>
          <p:nvPr/>
        </p:nvSpPr>
        <p:spPr>
          <a:xfrm>
            <a:off x="6525761" y="4339496"/>
            <a:ext cx="3537333" cy="707886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>
                <a:ln>
                  <a:noFill/>
                </a:ln>
                <a:solidFill>
                  <a:srgbClr val="B2548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B2548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in </a:t>
            </a:r>
            <a:r>
              <a:rPr kumimoji="0" lang="en-GB" sz="2400" b="1" i="0" u="none" strike="noStrike" kern="1200" cap="none" spc="0" normalizeH="0" baseline="0" noProof="0">
                <a:ln>
                  <a:noFill/>
                </a:ln>
                <a:solidFill>
                  <a:srgbClr val="B2548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0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1C734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patients worldwide affected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1C734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y healthcare associated infections</a:t>
            </a:r>
          </a:p>
        </p:txBody>
      </p:sp>
      <p:pic>
        <p:nvPicPr>
          <p:cNvPr id="10" name="Bildobjekt 2">
            <a:extLst>
              <a:ext uri="{FF2B5EF4-FFF2-40B4-BE49-F238E27FC236}">
                <a16:creationId xmlns:a16="http://schemas.microsoft.com/office/drawing/2014/main" id="{39CE0CEE-AC2E-F81E-21D4-6E68FB4BD20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5730" t="16024" r="8061" b="60751"/>
          <a:stretch/>
        </p:blipFill>
        <p:spPr>
          <a:xfrm>
            <a:off x="830070" y="1943753"/>
            <a:ext cx="2787805" cy="82925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</p:pic>
      <p:pic>
        <p:nvPicPr>
          <p:cNvPr id="11" name="Bildobjekt 8">
            <a:extLst>
              <a:ext uri="{FF2B5EF4-FFF2-40B4-BE49-F238E27FC236}">
                <a16:creationId xmlns:a16="http://schemas.microsoft.com/office/drawing/2014/main" id="{8CCF629A-1653-8AEE-D0B9-F962F6454D85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614" t="1259" r="18793" b="44218"/>
          <a:stretch/>
        </p:blipFill>
        <p:spPr>
          <a:xfrm>
            <a:off x="830070" y="2801313"/>
            <a:ext cx="2070026" cy="89746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</p:pic>
      <p:pic>
        <p:nvPicPr>
          <p:cNvPr id="12" name="Bildobjekt 12">
            <a:extLst>
              <a:ext uri="{FF2B5EF4-FFF2-40B4-BE49-F238E27FC236}">
                <a16:creationId xmlns:a16="http://schemas.microsoft.com/office/drawing/2014/main" id="{E2862B0F-7EC2-BB82-6ED2-07C2C9C10CEE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12636" b="50981"/>
          <a:stretch/>
        </p:blipFill>
        <p:spPr>
          <a:xfrm>
            <a:off x="819654" y="3796960"/>
            <a:ext cx="3139961" cy="109809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</p:pic>
      <p:pic>
        <p:nvPicPr>
          <p:cNvPr id="13" name="Bildobjekt 11">
            <a:extLst>
              <a:ext uri="{FF2B5EF4-FFF2-40B4-BE49-F238E27FC236}">
                <a16:creationId xmlns:a16="http://schemas.microsoft.com/office/drawing/2014/main" id="{5FD810CF-65C9-24D5-A14A-DAF9CCEF67B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52611" y="2801546"/>
            <a:ext cx="2426047" cy="125490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</p:pic>
      <p:pic>
        <p:nvPicPr>
          <p:cNvPr id="14" name="Picture 2" descr="C:\Users\ced\Pictures\The Economist.jpg">
            <a:extLst>
              <a:ext uri="{FF2B5EF4-FFF2-40B4-BE49-F238E27FC236}">
                <a16:creationId xmlns:a16="http://schemas.microsoft.com/office/drawing/2014/main" id="{EACA8B6B-53A1-6846-8C82-2F5635B67E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1259" y="3776748"/>
            <a:ext cx="1791564" cy="236708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Bildobjekt 5">
            <a:extLst>
              <a:ext uri="{FF2B5EF4-FFF2-40B4-BE49-F238E27FC236}">
                <a16:creationId xmlns:a16="http://schemas.microsoft.com/office/drawing/2014/main" id="{06BD715F-6E30-EBF0-3F4C-A322B54D9254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12621" t="26898" r="37891" b="37886"/>
          <a:stretch/>
        </p:blipFill>
        <p:spPr>
          <a:xfrm>
            <a:off x="3661259" y="1943752"/>
            <a:ext cx="2071679" cy="82925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</p:pic>
      <p:pic>
        <p:nvPicPr>
          <p:cNvPr id="16" name="Bildobjekt 6">
            <a:extLst>
              <a:ext uri="{FF2B5EF4-FFF2-40B4-BE49-F238E27FC236}">
                <a16:creationId xmlns:a16="http://schemas.microsoft.com/office/drawing/2014/main" id="{460AB98C-AC1E-D8E7-9202-037E3B267E3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0716" t="61308"/>
          <a:stretch/>
        </p:blipFill>
        <p:spPr>
          <a:xfrm>
            <a:off x="9028983" y="3161203"/>
            <a:ext cx="2366388" cy="8824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522353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latshållare för bild 4">
            <a:extLst>
              <a:ext uri="{FF2B5EF4-FFF2-40B4-BE49-F238E27FC236}">
                <a16:creationId xmlns:a16="http://schemas.microsoft.com/office/drawing/2014/main" id="{0BB7DC93-B8AA-36C8-0A45-DD2B40ED93FF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/>
          <a:srcRect t="7850" b="7850"/>
          <a:stretch>
            <a:fillRect/>
          </a:stretch>
        </p:blipFill>
        <p:spPr>
          <a:xfrm>
            <a:off x="0" y="0"/>
            <a:ext cx="12191999" cy="6857999"/>
          </a:xfrm>
          <a:prstGeom prst="rect">
            <a:avLst/>
          </a:prstGeom>
        </p:spPr>
      </p:pic>
      <p:sp>
        <p:nvSpPr>
          <p:cNvPr id="6" name="Title 6">
            <a:extLst>
              <a:ext uri="{FF2B5EF4-FFF2-40B4-BE49-F238E27FC236}">
                <a16:creationId xmlns:a16="http://schemas.microsoft.com/office/drawing/2014/main" id="{4AA50D27-5A87-7D72-FCA9-E9B45C8F4FB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18355" y="1203960"/>
            <a:ext cx="3546034" cy="29337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 cap="none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v-SE" b="0"/>
              <a:t>OUR</a:t>
            </a:r>
            <a:r>
              <a:rPr lang="sv-SE"/>
              <a:t> VISION</a:t>
            </a:r>
            <a:br>
              <a:rPr lang="sv-SE"/>
            </a:br>
            <a:br>
              <a:rPr lang="sv-SE"/>
            </a:br>
            <a:r>
              <a:rPr lang="en-US" sz="4000" b="0"/>
              <a:t>Keeping people safe from infections</a:t>
            </a:r>
            <a:endParaRPr lang="sv-SE" b="0"/>
          </a:p>
        </p:txBody>
      </p:sp>
    </p:spTree>
    <p:extLst>
      <p:ext uri="{BB962C8B-B14F-4D97-AF65-F5344CB8AC3E}">
        <p14:creationId xmlns:p14="http://schemas.microsoft.com/office/powerpoint/2010/main" val="16213864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23A4D9-262C-FE3C-D3A0-B8F8628397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/>
              <a:t>Bactiguard at a glance</a:t>
            </a:r>
            <a:endParaRPr lang="sv-S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049EAD9-706F-A879-8D61-FBEBDC7EE38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en-US" b="1"/>
              <a:t>Setting a new standard for infection prevention</a:t>
            </a:r>
            <a:endParaRPr lang="sv-SE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B23CC5C-7C4E-85EF-5E7F-E3D098C412C8}"/>
              </a:ext>
            </a:extLst>
          </p:cNvPr>
          <p:cNvSpPr/>
          <p:nvPr/>
        </p:nvSpPr>
        <p:spPr>
          <a:xfrm>
            <a:off x="8039169" y="5341646"/>
            <a:ext cx="2673292" cy="1051580"/>
          </a:xfrm>
          <a:prstGeom prst="rect">
            <a:avLst/>
          </a:prstGeom>
          <a:gradFill flip="none" rotWithShape="1">
            <a:gsLst>
              <a:gs pos="0">
                <a:schemeClr val="bg2">
                  <a:alpha val="60000"/>
                </a:schemeClr>
              </a:gs>
              <a:gs pos="100000">
                <a:schemeClr val="bg1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b="1">
              <a:solidFill>
                <a:schemeClr val="bg2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40EDBD0-393F-5564-2C97-1A1E57280007}"/>
              </a:ext>
            </a:extLst>
          </p:cNvPr>
          <p:cNvSpPr/>
          <p:nvPr/>
        </p:nvSpPr>
        <p:spPr>
          <a:xfrm>
            <a:off x="6651747" y="3537209"/>
            <a:ext cx="2673292" cy="1051580"/>
          </a:xfrm>
          <a:prstGeom prst="rect">
            <a:avLst/>
          </a:prstGeom>
          <a:gradFill flip="none" rotWithShape="1">
            <a:gsLst>
              <a:gs pos="0">
                <a:schemeClr val="bg2">
                  <a:alpha val="60000"/>
                </a:schemeClr>
              </a:gs>
              <a:gs pos="100000">
                <a:schemeClr val="bg1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b="1">
              <a:solidFill>
                <a:schemeClr val="bg2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F4FADF1-5793-4C7C-4BDD-DE875C0B6DBA}"/>
              </a:ext>
            </a:extLst>
          </p:cNvPr>
          <p:cNvSpPr/>
          <p:nvPr/>
        </p:nvSpPr>
        <p:spPr>
          <a:xfrm>
            <a:off x="8047759" y="1896643"/>
            <a:ext cx="2673292" cy="1051580"/>
          </a:xfrm>
          <a:prstGeom prst="rect">
            <a:avLst/>
          </a:prstGeom>
          <a:gradFill flip="none" rotWithShape="1">
            <a:gsLst>
              <a:gs pos="0">
                <a:schemeClr val="bg2">
                  <a:alpha val="60000"/>
                </a:schemeClr>
              </a:gs>
              <a:gs pos="100000">
                <a:schemeClr val="bg1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b="1">
              <a:solidFill>
                <a:schemeClr val="bg2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044BC8A-9C9C-1C9B-B2BD-E93F5FE213A7}"/>
              </a:ext>
            </a:extLst>
          </p:cNvPr>
          <p:cNvSpPr/>
          <p:nvPr/>
        </p:nvSpPr>
        <p:spPr>
          <a:xfrm>
            <a:off x="4205705" y="2030957"/>
            <a:ext cx="2673292" cy="1051580"/>
          </a:xfrm>
          <a:prstGeom prst="rect">
            <a:avLst/>
          </a:prstGeom>
          <a:gradFill flip="none" rotWithShape="1">
            <a:gsLst>
              <a:gs pos="0">
                <a:schemeClr val="bg2">
                  <a:alpha val="60000"/>
                </a:schemeClr>
              </a:gs>
              <a:gs pos="100000">
                <a:schemeClr val="bg1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b="1">
              <a:solidFill>
                <a:schemeClr val="bg2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54AC384-269B-4BC9-2308-528B24275A8C}"/>
              </a:ext>
            </a:extLst>
          </p:cNvPr>
          <p:cNvSpPr/>
          <p:nvPr/>
        </p:nvSpPr>
        <p:spPr>
          <a:xfrm>
            <a:off x="737244" y="5343864"/>
            <a:ext cx="2673292" cy="1051580"/>
          </a:xfrm>
          <a:prstGeom prst="rect">
            <a:avLst/>
          </a:prstGeom>
          <a:gradFill flip="none" rotWithShape="1">
            <a:gsLst>
              <a:gs pos="0">
                <a:schemeClr val="bg2">
                  <a:alpha val="60000"/>
                </a:schemeClr>
              </a:gs>
              <a:gs pos="100000">
                <a:schemeClr val="bg1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b="1">
              <a:solidFill>
                <a:schemeClr val="bg2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B33815B-BD05-C672-3D78-F5D9590001AA}"/>
              </a:ext>
            </a:extLst>
          </p:cNvPr>
          <p:cNvSpPr/>
          <p:nvPr/>
        </p:nvSpPr>
        <p:spPr>
          <a:xfrm>
            <a:off x="1924686" y="3565769"/>
            <a:ext cx="2673292" cy="1051580"/>
          </a:xfrm>
          <a:prstGeom prst="rect">
            <a:avLst/>
          </a:prstGeom>
          <a:gradFill flip="none" rotWithShape="1">
            <a:gsLst>
              <a:gs pos="0">
                <a:schemeClr val="bg2">
                  <a:alpha val="60000"/>
                </a:schemeClr>
              </a:gs>
              <a:gs pos="100000">
                <a:schemeClr val="bg1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b="1">
              <a:solidFill>
                <a:schemeClr val="bg2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5E4BC13-D7E2-BF4B-60A8-D5EF06853506}"/>
              </a:ext>
            </a:extLst>
          </p:cNvPr>
          <p:cNvSpPr/>
          <p:nvPr/>
        </p:nvSpPr>
        <p:spPr>
          <a:xfrm>
            <a:off x="4709336" y="5070398"/>
            <a:ext cx="2673292" cy="1051580"/>
          </a:xfrm>
          <a:prstGeom prst="rect">
            <a:avLst/>
          </a:prstGeom>
          <a:gradFill flip="none" rotWithShape="1">
            <a:gsLst>
              <a:gs pos="0">
                <a:schemeClr val="bg2">
                  <a:alpha val="60000"/>
                </a:schemeClr>
              </a:gs>
              <a:gs pos="100000">
                <a:schemeClr val="bg1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b="1">
              <a:solidFill>
                <a:schemeClr val="bg2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DA5988D-8763-4AE0-BF05-277CD1A39343}"/>
              </a:ext>
            </a:extLst>
          </p:cNvPr>
          <p:cNvSpPr/>
          <p:nvPr/>
        </p:nvSpPr>
        <p:spPr>
          <a:xfrm>
            <a:off x="727588" y="1876913"/>
            <a:ext cx="2673292" cy="1051580"/>
          </a:xfrm>
          <a:prstGeom prst="rect">
            <a:avLst/>
          </a:prstGeom>
          <a:gradFill flip="none" rotWithShape="1">
            <a:gsLst>
              <a:gs pos="0">
                <a:schemeClr val="bg2">
                  <a:alpha val="60000"/>
                </a:schemeClr>
              </a:gs>
              <a:gs pos="100000">
                <a:schemeClr val="bg1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b="1">
              <a:solidFill>
                <a:schemeClr val="bg2"/>
              </a:solidFill>
            </a:endParaRPr>
          </a:p>
        </p:txBody>
      </p:sp>
      <p:pic>
        <p:nvPicPr>
          <p:cNvPr id="13" name="Graphic 63">
            <a:extLst>
              <a:ext uri="{FF2B5EF4-FFF2-40B4-BE49-F238E27FC236}">
                <a16:creationId xmlns:a16="http://schemas.microsoft.com/office/drawing/2014/main" id="{2382ECA1-4D44-A601-BCB3-75972F1E0C9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59263" y="1762071"/>
            <a:ext cx="8561363" cy="4642837"/>
          </a:xfrm>
          <a:prstGeom prst="rect">
            <a:avLst/>
          </a:prstGeom>
        </p:spPr>
      </p:pic>
      <p:sp>
        <p:nvSpPr>
          <p:cNvPr id="14" name="Platshållare för innehåll 4">
            <a:extLst>
              <a:ext uri="{FF2B5EF4-FFF2-40B4-BE49-F238E27FC236}">
                <a16:creationId xmlns:a16="http://schemas.microsoft.com/office/drawing/2014/main" id="{E58807EF-AB15-E05D-B7B7-6AE15CF84855}"/>
              </a:ext>
            </a:extLst>
          </p:cNvPr>
          <p:cNvSpPr txBox="1">
            <a:spLocks/>
          </p:cNvSpPr>
          <p:nvPr/>
        </p:nvSpPr>
        <p:spPr>
          <a:xfrm>
            <a:off x="7502145" y="3552705"/>
            <a:ext cx="2079406" cy="1036083"/>
          </a:xfrm>
          <a:prstGeom prst="rect">
            <a:avLst/>
          </a:prstGeom>
        </p:spPr>
        <p:txBody>
          <a:bodyPr anchor="ctr">
            <a:noAutofit/>
          </a:bodyPr>
          <a:lstStyle>
            <a:lvl1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57188" indent="-1762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1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95350" indent="-1762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1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457200">
              <a:lnSpc>
                <a:spcPct val="100000"/>
              </a:lnSpc>
              <a:spcBef>
                <a:spcPts val="0"/>
              </a:spcBef>
              <a:buClr>
                <a:srgbClr val="9FC63B"/>
              </a:buClr>
              <a:buSzPct val="115000"/>
              <a:buNone/>
              <a:defRPr/>
            </a:pPr>
            <a:r>
              <a:rPr lang="en-GB" sz="1400" b="1">
                <a:solidFill>
                  <a:schemeClr val="tx1"/>
                </a:solidFill>
                <a:latin typeface="Arial"/>
                <a:ea typeface="Verdana" panose="020B0604030504040204" pitchFamily="34" charset="0"/>
                <a:cs typeface="Verdana" panose="020B0604030504040204" pitchFamily="34" charset="0"/>
              </a:rPr>
              <a:t>Global coverage direct or via partners</a:t>
            </a:r>
            <a:endParaRPr lang="sv-SE" sz="1400"/>
          </a:p>
        </p:txBody>
      </p:sp>
      <p:pic>
        <p:nvPicPr>
          <p:cNvPr id="15" name="Bild 28" descr="Jordglob kontur">
            <a:extLst>
              <a:ext uri="{FF2B5EF4-FFF2-40B4-BE49-F238E27FC236}">
                <a16:creationId xmlns:a16="http://schemas.microsoft.com/office/drawing/2014/main" id="{266B0CBA-8575-FB5D-A216-18FED3BF81A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774274" y="3670980"/>
            <a:ext cx="683762" cy="683762"/>
          </a:xfrm>
          <a:prstGeom prst="rect">
            <a:avLst/>
          </a:prstGeom>
        </p:spPr>
      </p:pic>
      <p:pic>
        <p:nvPicPr>
          <p:cNvPr id="16" name="Bild 35" descr="Uppåtgående trend med hel fyllning">
            <a:extLst>
              <a:ext uri="{FF2B5EF4-FFF2-40B4-BE49-F238E27FC236}">
                <a16:creationId xmlns:a16="http://schemas.microsoft.com/office/drawing/2014/main" id="{02F963BA-3D4C-BFF3-374C-946C2749C35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65519" y="5316706"/>
            <a:ext cx="864000" cy="864000"/>
          </a:xfrm>
          <a:prstGeom prst="rect">
            <a:avLst/>
          </a:prstGeom>
        </p:spPr>
      </p:pic>
      <p:sp>
        <p:nvSpPr>
          <p:cNvPr id="17" name="Platshållare för innehåll 4">
            <a:extLst>
              <a:ext uri="{FF2B5EF4-FFF2-40B4-BE49-F238E27FC236}">
                <a16:creationId xmlns:a16="http://schemas.microsoft.com/office/drawing/2014/main" id="{2A903B53-5445-4462-4A0F-222CCBB12F13}"/>
              </a:ext>
            </a:extLst>
          </p:cNvPr>
          <p:cNvSpPr txBox="1">
            <a:spLocks/>
          </p:cNvSpPr>
          <p:nvPr/>
        </p:nvSpPr>
        <p:spPr>
          <a:xfrm>
            <a:off x="1980025" y="5316706"/>
            <a:ext cx="1904907" cy="1051579"/>
          </a:xfrm>
          <a:prstGeom prst="rect">
            <a:avLst/>
          </a:prstGeom>
        </p:spPr>
        <p:txBody>
          <a:bodyPr anchor="ctr">
            <a:noAutofit/>
          </a:bodyPr>
          <a:lstStyle>
            <a:lvl1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57188" indent="-1762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1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95350" indent="-1762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1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457200">
              <a:lnSpc>
                <a:spcPct val="100000"/>
              </a:lnSpc>
              <a:spcBef>
                <a:spcPts val="0"/>
              </a:spcBef>
              <a:buClr>
                <a:srgbClr val="9FC63B"/>
              </a:buClr>
              <a:buSzPct val="115000"/>
              <a:buNone/>
              <a:defRPr/>
            </a:pPr>
            <a:r>
              <a:rPr lang="en-GB" sz="1400" b="1">
                <a:solidFill>
                  <a:schemeClr val="tx1"/>
                </a:solidFill>
                <a:latin typeface="Arial"/>
                <a:ea typeface="Verdana" panose="020B0604030504040204" pitchFamily="34" charset="0"/>
                <a:cs typeface="Verdana" panose="020B0604030504040204" pitchFamily="34" charset="0"/>
              </a:rPr>
              <a:t>Listed on</a:t>
            </a:r>
            <a:br>
              <a:rPr lang="en-GB" sz="1400" b="1">
                <a:solidFill>
                  <a:schemeClr val="tx1"/>
                </a:solidFill>
                <a:latin typeface="Arial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GB" sz="1400" b="1">
                <a:solidFill>
                  <a:schemeClr val="tx1"/>
                </a:solidFill>
                <a:latin typeface="Arial"/>
                <a:ea typeface="Verdana" panose="020B0604030504040204" pitchFamily="34" charset="0"/>
                <a:cs typeface="Verdana" panose="020B0604030504040204" pitchFamily="34" charset="0"/>
              </a:rPr>
              <a:t>Nasdaq Stockholm,       Mid Cap segment</a:t>
            </a:r>
          </a:p>
        </p:txBody>
      </p:sp>
      <p:sp>
        <p:nvSpPr>
          <p:cNvPr id="18" name="Platshållare för innehåll 4">
            <a:extLst>
              <a:ext uri="{FF2B5EF4-FFF2-40B4-BE49-F238E27FC236}">
                <a16:creationId xmlns:a16="http://schemas.microsoft.com/office/drawing/2014/main" id="{C0C1A632-4274-81DD-1042-F1643DBE78D3}"/>
              </a:ext>
            </a:extLst>
          </p:cNvPr>
          <p:cNvSpPr txBox="1">
            <a:spLocks/>
          </p:cNvSpPr>
          <p:nvPr/>
        </p:nvSpPr>
        <p:spPr>
          <a:xfrm>
            <a:off x="708535" y="6038493"/>
            <a:ext cx="1170770" cy="329792"/>
          </a:xfrm>
          <a:prstGeom prst="rect">
            <a:avLst/>
          </a:prstGeom>
        </p:spPr>
        <p:txBody>
          <a:bodyPr>
            <a:noAutofit/>
          </a:bodyPr>
          <a:lstStyle>
            <a:lvl1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57188" indent="-1762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1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95350" indent="-1762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1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457200">
              <a:lnSpc>
                <a:spcPct val="100000"/>
              </a:lnSpc>
              <a:spcBef>
                <a:spcPts val="0"/>
              </a:spcBef>
              <a:buClr>
                <a:srgbClr val="9FC63B"/>
              </a:buClr>
              <a:buSzPct val="115000"/>
              <a:buNone/>
              <a:defRPr/>
            </a:pPr>
            <a:r>
              <a:rPr lang="en-GB" sz="1800" b="1">
                <a:solidFill>
                  <a:schemeClr val="accent4">
                    <a:lumMod val="50000"/>
                  </a:schemeClr>
                </a:solidFill>
                <a:latin typeface="Arial"/>
                <a:ea typeface="Verdana" panose="020B0604030504040204" pitchFamily="34" charset="0"/>
                <a:cs typeface="Verdana" panose="020B0604030504040204" pitchFamily="34" charset="0"/>
              </a:rPr>
              <a:t>~4 BSEK</a:t>
            </a:r>
            <a:endParaRPr lang="en-GB" sz="1800">
              <a:solidFill>
                <a:schemeClr val="accent4">
                  <a:lumMod val="50000"/>
                </a:schemeClr>
              </a:solidFill>
              <a:latin typeface="Helvetica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9" name="Cirkel: ihålig 36">
            <a:extLst>
              <a:ext uri="{FF2B5EF4-FFF2-40B4-BE49-F238E27FC236}">
                <a16:creationId xmlns:a16="http://schemas.microsoft.com/office/drawing/2014/main" id="{D365310F-D340-9E8F-BE40-2A3E35D1EAAC}"/>
              </a:ext>
            </a:extLst>
          </p:cNvPr>
          <p:cNvSpPr/>
          <p:nvPr/>
        </p:nvSpPr>
        <p:spPr>
          <a:xfrm>
            <a:off x="4310915" y="2137754"/>
            <a:ext cx="792088" cy="799558"/>
          </a:xfrm>
          <a:prstGeom prst="donut">
            <a:avLst/>
          </a:prstGeom>
          <a:solidFill>
            <a:srgbClr val="1C73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0" name="Blockbåge 38">
            <a:extLst>
              <a:ext uri="{FF2B5EF4-FFF2-40B4-BE49-F238E27FC236}">
                <a16:creationId xmlns:a16="http://schemas.microsoft.com/office/drawing/2014/main" id="{37CC8505-83A6-7362-9329-FA84F494A9C2}"/>
              </a:ext>
            </a:extLst>
          </p:cNvPr>
          <p:cNvSpPr/>
          <p:nvPr/>
        </p:nvSpPr>
        <p:spPr>
          <a:xfrm>
            <a:off x="4310915" y="2138151"/>
            <a:ext cx="792088" cy="799558"/>
          </a:xfrm>
          <a:prstGeom prst="blockArc">
            <a:avLst>
              <a:gd name="adj1" fmla="val 8630531"/>
              <a:gd name="adj2" fmla="val 17008072"/>
              <a:gd name="adj3" fmla="val 2527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1" name="Platshållare för innehåll 4">
            <a:extLst>
              <a:ext uri="{FF2B5EF4-FFF2-40B4-BE49-F238E27FC236}">
                <a16:creationId xmlns:a16="http://schemas.microsoft.com/office/drawing/2014/main" id="{DD2EF99B-A856-88B7-C253-0859560C6C3B}"/>
              </a:ext>
            </a:extLst>
          </p:cNvPr>
          <p:cNvSpPr txBox="1">
            <a:spLocks/>
          </p:cNvSpPr>
          <p:nvPr/>
        </p:nvSpPr>
        <p:spPr>
          <a:xfrm>
            <a:off x="5175012" y="2152261"/>
            <a:ext cx="2597050" cy="667383"/>
          </a:xfrm>
          <a:prstGeom prst="rect">
            <a:avLst/>
          </a:prstGeom>
        </p:spPr>
        <p:txBody>
          <a:bodyPr anchor="ctr">
            <a:noAutofit/>
          </a:bodyPr>
          <a:lstStyle>
            <a:lvl1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57188" indent="-1762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1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95350" indent="-1762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1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457200">
              <a:lnSpc>
                <a:spcPct val="100000"/>
              </a:lnSpc>
              <a:spcBef>
                <a:spcPts val="0"/>
              </a:spcBef>
              <a:buClr>
                <a:srgbClr val="9FC63B"/>
              </a:buClr>
              <a:buSzPct val="115000"/>
              <a:buNone/>
              <a:defRPr/>
            </a:pPr>
            <a:r>
              <a:rPr lang="en-GB" sz="1400" b="1">
                <a:solidFill>
                  <a:schemeClr val="tx1"/>
                </a:solidFill>
                <a:latin typeface="Arial"/>
                <a:ea typeface="Verdana" panose="020B0604030504040204" pitchFamily="34" charset="0"/>
                <a:cs typeface="Verdana" panose="020B0604030504040204" pitchFamily="34" charset="0"/>
              </a:rPr>
              <a:t>License agreements and proprietary product portfolio</a:t>
            </a:r>
            <a:endParaRPr lang="en-GB" sz="1400">
              <a:solidFill>
                <a:schemeClr val="tx1"/>
              </a:solidFill>
              <a:latin typeface="Arial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22" name="Bild 40" descr="Factory outline">
            <a:extLst>
              <a:ext uri="{FF2B5EF4-FFF2-40B4-BE49-F238E27FC236}">
                <a16:creationId xmlns:a16="http://schemas.microsoft.com/office/drawing/2014/main" id="{685A1E70-A490-4066-F90F-34490D4CEAE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8140117" y="5498931"/>
            <a:ext cx="817356" cy="817356"/>
          </a:xfrm>
          <a:prstGeom prst="rect">
            <a:avLst/>
          </a:prstGeom>
        </p:spPr>
      </p:pic>
      <p:sp>
        <p:nvSpPr>
          <p:cNvPr id="23" name="Platshållare för innehåll 4">
            <a:extLst>
              <a:ext uri="{FF2B5EF4-FFF2-40B4-BE49-F238E27FC236}">
                <a16:creationId xmlns:a16="http://schemas.microsoft.com/office/drawing/2014/main" id="{5255270D-D52F-B172-E58D-C721C9F156A6}"/>
              </a:ext>
            </a:extLst>
          </p:cNvPr>
          <p:cNvSpPr txBox="1">
            <a:spLocks/>
          </p:cNvSpPr>
          <p:nvPr/>
        </p:nvSpPr>
        <p:spPr>
          <a:xfrm>
            <a:off x="9002334" y="5549837"/>
            <a:ext cx="2053607" cy="667383"/>
          </a:xfrm>
          <a:prstGeom prst="rect">
            <a:avLst/>
          </a:prstGeom>
        </p:spPr>
        <p:txBody>
          <a:bodyPr anchor="ctr">
            <a:noAutofit/>
          </a:bodyPr>
          <a:lstStyle>
            <a:lvl1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57188" indent="-1762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1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95350" indent="-1762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1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457200">
              <a:lnSpc>
                <a:spcPct val="100000"/>
              </a:lnSpc>
              <a:spcBef>
                <a:spcPts val="0"/>
              </a:spcBef>
              <a:buClr>
                <a:srgbClr val="9FC63B"/>
              </a:buClr>
              <a:buSzPct val="115000"/>
              <a:buNone/>
              <a:defRPr/>
            </a:pPr>
            <a:r>
              <a:rPr lang="en-GB" sz="1400" b="1">
                <a:solidFill>
                  <a:schemeClr val="tx1"/>
                </a:solidFill>
                <a:latin typeface="Arial"/>
                <a:ea typeface="Verdana" panose="020B0604030504040204" pitchFamily="34" charset="0"/>
                <a:cs typeface="Verdana" panose="020B0604030504040204" pitchFamily="34" charset="0"/>
              </a:rPr>
              <a:t>3 facilities in Malaysia and Sweden</a:t>
            </a:r>
            <a:endParaRPr lang="sv-SE" sz="1400"/>
          </a:p>
        </p:txBody>
      </p:sp>
      <p:pic>
        <p:nvPicPr>
          <p:cNvPr id="24" name="Picture 32" descr="A picture containing drawing&#10;&#10;Description automatically generated">
            <a:extLst>
              <a:ext uri="{FF2B5EF4-FFF2-40B4-BE49-F238E27FC236}">
                <a16:creationId xmlns:a16="http://schemas.microsoft.com/office/drawing/2014/main" id="{88460104-D428-917B-CB85-572566735402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35662" y="2390328"/>
            <a:ext cx="741074" cy="410959"/>
          </a:xfrm>
          <a:prstGeom prst="rect">
            <a:avLst/>
          </a:prstGeom>
        </p:spPr>
      </p:pic>
      <p:pic>
        <p:nvPicPr>
          <p:cNvPr id="25" name="Picture 34" descr="A picture containing table&#10;&#10;Description automatically generated">
            <a:extLst>
              <a:ext uri="{FF2B5EF4-FFF2-40B4-BE49-F238E27FC236}">
                <a16:creationId xmlns:a16="http://schemas.microsoft.com/office/drawing/2014/main" id="{B48657C6-3C27-F718-9015-801933B6E1AE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73341" y="1959886"/>
            <a:ext cx="1114052" cy="486418"/>
          </a:xfrm>
          <a:prstGeom prst="rect">
            <a:avLst/>
          </a:prstGeom>
        </p:spPr>
      </p:pic>
      <p:sp>
        <p:nvSpPr>
          <p:cNvPr id="26" name="Platshållare för innehåll 4">
            <a:extLst>
              <a:ext uri="{FF2B5EF4-FFF2-40B4-BE49-F238E27FC236}">
                <a16:creationId xmlns:a16="http://schemas.microsoft.com/office/drawing/2014/main" id="{14BFDE6D-6241-9EEE-9A5C-25A553D8FE04}"/>
              </a:ext>
            </a:extLst>
          </p:cNvPr>
          <p:cNvSpPr txBox="1">
            <a:spLocks/>
          </p:cNvSpPr>
          <p:nvPr/>
        </p:nvSpPr>
        <p:spPr>
          <a:xfrm>
            <a:off x="9581551" y="2150753"/>
            <a:ext cx="2185371" cy="667383"/>
          </a:xfrm>
          <a:prstGeom prst="rect">
            <a:avLst/>
          </a:prstGeom>
        </p:spPr>
        <p:txBody>
          <a:bodyPr>
            <a:noAutofit/>
          </a:bodyPr>
          <a:lstStyle>
            <a:lvl1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57188" indent="-1762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1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95350" indent="-1762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1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457200">
              <a:lnSpc>
                <a:spcPct val="100000"/>
              </a:lnSpc>
              <a:spcBef>
                <a:spcPts val="0"/>
              </a:spcBef>
              <a:buClr>
                <a:srgbClr val="9FC63B"/>
              </a:buClr>
              <a:buSzPct val="115000"/>
              <a:buNone/>
              <a:defRPr/>
            </a:pPr>
            <a:r>
              <a:rPr lang="en-GB" sz="1400" b="1">
                <a:solidFill>
                  <a:schemeClr val="tx1"/>
                </a:solidFill>
                <a:latin typeface="Arial"/>
                <a:ea typeface="Verdana" panose="020B0604030504040204" pitchFamily="34" charset="0"/>
                <a:cs typeface="Verdana" panose="020B0604030504040204" pitchFamily="34" charset="0"/>
              </a:rPr>
              <a:t>Partnering with global market leaders</a:t>
            </a:r>
          </a:p>
          <a:p>
            <a:pPr marL="0" indent="0" defTabSz="457200">
              <a:lnSpc>
                <a:spcPct val="100000"/>
              </a:lnSpc>
              <a:spcBef>
                <a:spcPts val="0"/>
              </a:spcBef>
              <a:buClr>
                <a:srgbClr val="9FC63B"/>
              </a:buClr>
              <a:buSzPct val="115000"/>
              <a:buNone/>
              <a:defRPr/>
            </a:pPr>
            <a:endParaRPr lang="en-GB" sz="1400">
              <a:solidFill>
                <a:schemeClr val="tx1"/>
              </a:solidFill>
              <a:latin typeface="Arial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indent="0" defTabSz="457200">
              <a:lnSpc>
                <a:spcPct val="100000"/>
              </a:lnSpc>
              <a:spcBef>
                <a:spcPts val="0"/>
              </a:spcBef>
              <a:buClr>
                <a:srgbClr val="FFFFFF">
                  <a:lumMod val="50000"/>
                </a:srgbClr>
              </a:buClr>
              <a:buSzPct val="115000"/>
              <a:buFont typeface="Arial" panose="020B0604020202020204" pitchFamily="34" charset="0"/>
              <a:buNone/>
              <a:defRPr/>
            </a:pPr>
            <a:endParaRPr lang="en-GB" sz="1400">
              <a:solidFill>
                <a:schemeClr val="tx1"/>
              </a:solidFill>
              <a:latin typeface="Helvetica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lvl="1" indent="0" defTabSz="457200">
              <a:lnSpc>
                <a:spcPct val="100000"/>
              </a:lnSpc>
              <a:buClr>
                <a:srgbClr val="9FC63B"/>
              </a:buClr>
              <a:buSzPct val="115000"/>
              <a:buFont typeface="Arial" panose="020B0604020202020204" pitchFamily="34" charset="0"/>
              <a:buNone/>
              <a:defRPr/>
            </a:pPr>
            <a:endParaRPr lang="en-GB" b="1">
              <a:solidFill>
                <a:schemeClr val="tx1"/>
              </a:solidFill>
              <a:latin typeface="Arial"/>
              <a:cs typeface="Arial"/>
            </a:endParaRPr>
          </a:p>
          <a:p>
            <a:endParaRPr lang="sv-SE" sz="1400"/>
          </a:p>
        </p:txBody>
      </p:sp>
      <p:pic>
        <p:nvPicPr>
          <p:cNvPr id="27" name="Bildobjekt 49" descr="En bild som visar text, inomhus&#10;&#10;Automatiskt genererad beskrivning">
            <a:extLst>
              <a:ext uri="{FF2B5EF4-FFF2-40B4-BE49-F238E27FC236}">
                <a16:creationId xmlns:a16="http://schemas.microsoft.com/office/drawing/2014/main" id="{B941CC65-69E1-8E29-7D27-ABE5F2083C7E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221" t="9088" r="22112" b="17193"/>
          <a:stretch/>
        </p:blipFill>
        <p:spPr>
          <a:xfrm>
            <a:off x="2067687" y="3755585"/>
            <a:ext cx="811299" cy="715791"/>
          </a:xfrm>
          <a:prstGeom prst="rect">
            <a:avLst/>
          </a:prstGeom>
        </p:spPr>
      </p:pic>
      <p:sp>
        <p:nvSpPr>
          <p:cNvPr id="28" name="Platshållare för innehåll 4">
            <a:extLst>
              <a:ext uri="{FF2B5EF4-FFF2-40B4-BE49-F238E27FC236}">
                <a16:creationId xmlns:a16="http://schemas.microsoft.com/office/drawing/2014/main" id="{204ABC14-A34B-FF45-21B7-58D95DC5E001}"/>
              </a:ext>
            </a:extLst>
          </p:cNvPr>
          <p:cNvSpPr txBox="1">
            <a:spLocks/>
          </p:cNvSpPr>
          <p:nvPr/>
        </p:nvSpPr>
        <p:spPr>
          <a:xfrm>
            <a:off x="2908417" y="3752378"/>
            <a:ext cx="2391614" cy="698015"/>
          </a:xfrm>
          <a:prstGeom prst="rect">
            <a:avLst/>
          </a:prstGeom>
        </p:spPr>
        <p:txBody>
          <a:bodyPr anchor="ctr">
            <a:noAutofit/>
          </a:bodyPr>
          <a:lstStyle>
            <a:lvl1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57188" indent="-1762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1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95350" indent="-1762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1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457200">
              <a:lnSpc>
                <a:spcPct val="100000"/>
              </a:lnSpc>
              <a:spcBef>
                <a:spcPts val="0"/>
              </a:spcBef>
              <a:buClr>
                <a:srgbClr val="9FC63B"/>
              </a:buClr>
              <a:buSzPct val="115000"/>
              <a:buNone/>
              <a:defRPr/>
            </a:pPr>
            <a:r>
              <a:rPr lang="en-GB" sz="1400" b="1">
                <a:solidFill>
                  <a:schemeClr val="tx1"/>
                </a:solidFill>
                <a:latin typeface="Arial"/>
                <a:ea typeface="Verdana" panose="020B0604030504040204" pitchFamily="34" charset="0"/>
                <a:cs typeface="Verdana" panose="020B0604030504040204" pitchFamily="34" charset="0"/>
              </a:rPr>
              <a:t>Expanding Wound and Animal care portfolio</a:t>
            </a:r>
            <a:endParaRPr lang="en-GB" sz="1400" b="1">
              <a:solidFill>
                <a:schemeClr val="tx1"/>
              </a:solidFill>
              <a:latin typeface="Arial"/>
              <a:cs typeface="Arial"/>
            </a:endParaRPr>
          </a:p>
        </p:txBody>
      </p:sp>
      <p:pic>
        <p:nvPicPr>
          <p:cNvPr id="29" name="Bildobjekt 39">
            <a:extLst>
              <a:ext uri="{FF2B5EF4-FFF2-40B4-BE49-F238E27FC236}">
                <a16:creationId xmlns:a16="http://schemas.microsoft.com/office/drawing/2014/main" id="{298F1A6D-E42F-3D3F-A588-5276BDAD9748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752574" y="2620515"/>
            <a:ext cx="769072" cy="249211"/>
          </a:xfrm>
          <a:prstGeom prst="rect">
            <a:avLst/>
          </a:prstGeom>
        </p:spPr>
      </p:pic>
      <p:pic>
        <p:nvPicPr>
          <p:cNvPr id="30" name="Bild 30" descr="Grupp med människor med hel fyllning">
            <a:extLst>
              <a:ext uri="{FF2B5EF4-FFF2-40B4-BE49-F238E27FC236}">
                <a16:creationId xmlns:a16="http://schemas.microsoft.com/office/drawing/2014/main" id="{3E8BAE0D-1D06-3019-B74D-E4796A615F1D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4839436" y="5156718"/>
            <a:ext cx="676135" cy="676135"/>
          </a:xfrm>
          <a:prstGeom prst="rect">
            <a:avLst/>
          </a:prstGeom>
        </p:spPr>
      </p:pic>
      <p:sp>
        <p:nvSpPr>
          <p:cNvPr id="31" name="Platshållare för innehåll 4">
            <a:extLst>
              <a:ext uri="{FF2B5EF4-FFF2-40B4-BE49-F238E27FC236}">
                <a16:creationId xmlns:a16="http://schemas.microsoft.com/office/drawing/2014/main" id="{FF531093-EA8A-E2A6-010F-970A9C4783AF}"/>
              </a:ext>
            </a:extLst>
          </p:cNvPr>
          <p:cNvSpPr txBox="1">
            <a:spLocks/>
          </p:cNvSpPr>
          <p:nvPr/>
        </p:nvSpPr>
        <p:spPr>
          <a:xfrm>
            <a:off x="4659480" y="5762258"/>
            <a:ext cx="996147" cy="397506"/>
          </a:xfrm>
          <a:prstGeom prst="rect">
            <a:avLst/>
          </a:prstGeom>
        </p:spPr>
        <p:txBody>
          <a:bodyPr>
            <a:noAutofit/>
          </a:bodyPr>
          <a:lstStyle>
            <a:lvl1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57188" indent="-1762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1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95350" indent="-1762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1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457200">
              <a:lnSpc>
                <a:spcPct val="100000"/>
              </a:lnSpc>
              <a:spcBef>
                <a:spcPts val="0"/>
              </a:spcBef>
              <a:buClr>
                <a:srgbClr val="9FC63B"/>
              </a:buClr>
              <a:buSzPct val="115000"/>
              <a:buNone/>
              <a:defRPr/>
            </a:pPr>
            <a:r>
              <a:rPr lang="en-GB" sz="1800" b="1">
                <a:solidFill>
                  <a:schemeClr val="accent4">
                    <a:lumMod val="50000"/>
                  </a:schemeClr>
                </a:solidFill>
                <a:latin typeface="Arial"/>
                <a:ea typeface="Verdana" panose="020B0604030504040204" pitchFamily="34" charset="0"/>
                <a:cs typeface="Verdana" panose="020B0604030504040204" pitchFamily="34" charset="0"/>
              </a:rPr>
              <a:t>~250</a:t>
            </a:r>
            <a:endParaRPr lang="sv-SE" sz="1800">
              <a:solidFill>
                <a:schemeClr val="accent4">
                  <a:lumMod val="50000"/>
                </a:schemeClr>
              </a:solidFill>
            </a:endParaRPr>
          </a:p>
        </p:txBody>
      </p:sp>
      <p:sp>
        <p:nvSpPr>
          <p:cNvPr id="32" name="Platshållare för innehåll 4">
            <a:extLst>
              <a:ext uri="{FF2B5EF4-FFF2-40B4-BE49-F238E27FC236}">
                <a16:creationId xmlns:a16="http://schemas.microsoft.com/office/drawing/2014/main" id="{37578E0D-A591-3B9D-77E0-E8B0C4AB273E}"/>
              </a:ext>
            </a:extLst>
          </p:cNvPr>
          <p:cNvSpPr txBox="1">
            <a:spLocks/>
          </p:cNvSpPr>
          <p:nvPr/>
        </p:nvSpPr>
        <p:spPr>
          <a:xfrm>
            <a:off x="5850212" y="5070399"/>
            <a:ext cx="2124208" cy="1051579"/>
          </a:xfrm>
          <a:prstGeom prst="rect">
            <a:avLst/>
          </a:prstGeom>
        </p:spPr>
        <p:txBody>
          <a:bodyPr anchor="ctr">
            <a:noAutofit/>
          </a:bodyPr>
          <a:lstStyle>
            <a:lvl1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57188" indent="-1762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1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95350" indent="-1762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1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457200">
              <a:lnSpc>
                <a:spcPct val="100000"/>
              </a:lnSpc>
              <a:spcBef>
                <a:spcPts val="0"/>
              </a:spcBef>
              <a:buClr>
                <a:srgbClr val="9FC63B"/>
              </a:buClr>
              <a:buSzPct val="115000"/>
              <a:buNone/>
              <a:defRPr/>
            </a:pPr>
            <a:r>
              <a:rPr lang="en-GB" sz="1400" b="1">
                <a:solidFill>
                  <a:schemeClr val="tx1"/>
                </a:solidFill>
                <a:latin typeface="Arial"/>
                <a:ea typeface="Verdana" panose="020B0604030504040204" pitchFamily="34" charset="0"/>
                <a:cs typeface="Verdana" panose="020B0604030504040204" pitchFamily="34" charset="0"/>
              </a:rPr>
              <a:t>Employees </a:t>
            </a:r>
            <a:br>
              <a:rPr lang="en-GB" sz="1400" b="1">
                <a:solidFill>
                  <a:schemeClr val="tx1"/>
                </a:solidFill>
                <a:latin typeface="Arial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GB" sz="1400" b="1">
                <a:solidFill>
                  <a:schemeClr val="tx1"/>
                </a:solidFill>
                <a:latin typeface="Arial"/>
                <a:ea typeface="Verdana" panose="020B0604030504040204" pitchFamily="34" charset="0"/>
                <a:cs typeface="Verdana" panose="020B0604030504040204" pitchFamily="34" charset="0"/>
              </a:rPr>
              <a:t>worldwide</a:t>
            </a:r>
            <a:endParaRPr lang="sv-SE" sz="1400"/>
          </a:p>
        </p:txBody>
      </p:sp>
      <p:sp>
        <p:nvSpPr>
          <p:cNvPr id="33" name="Platshållare för innehåll 4">
            <a:extLst>
              <a:ext uri="{FF2B5EF4-FFF2-40B4-BE49-F238E27FC236}">
                <a16:creationId xmlns:a16="http://schemas.microsoft.com/office/drawing/2014/main" id="{F81B792B-B196-2330-EC7E-EFEC8E9F5225}"/>
              </a:ext>
            </a:extLst>
          </p:cNvPr>
          <p:cNvSpPr txBox="1">
            <a:spLocks/>
          </p:cNvSpPr>
          <p:nvPr/>
        </p:nvSpPr>
        <p:spPr>
          <a:xfrm>
            <a:off x="1924686" y="1876912"/>
            <a:ext cx="2093087" cy="1051582"/>
          </a:xfrm>
          <a:prstGeom prst="rect">
            <a:avLst/>
          </a:prstGeom>
        </p:spPr>
        <p:txBody>
          <a:bodyPr anchor="ctr">
            <a:noAutofit/>
          </a:bodyPr>
          <a:lstStyle>
            <a:lvl1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57188" indent="-1762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8163" indent="-1809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19138" indent="-180975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1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95350" indent="-176213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1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457200">
              <a:lnSpc>
                <a:spcPct val="100000"/>
              </a:lnSpc>
              <a:spcBef>
                <a:spcPts val="0"/>
              </a:spcBef>
              <a:buClr>
                <a:srgbClr val="9FC63B"/>
              </a:buClr>
              <a:buSzPct val="115000"/>
              <a:buNone/>
              <a:defRPr/>
            </a:pPr>
            <a:r>
              <a:rPr lang="en-GB" sz="1400" b="1">
                <a:solidFill>
                  <a:schemeClr val="tx1"/>
                </a:solidFill>
                <a:latin typeface="Arial"/>
                <a:ea typeface="Verdana" panose="020B0604030504040204" pitchFamily="34" charset="0"/>
                <a:cs typeface="Verdana" panose="020B0604030504040204" pitchFamily="34" charset="0"/>
              </a:rPr>
              <a:t>Unique technology for infection prevention</a:t>
            </a:r>
            <a:endParaRPr lang="sv-SE" sz="1400"/>
          </a:p>
        </p:txBody>
      </p:sp>
      <p:pic>
        <p:nvPicPr>
          <p:cNvPr id="34" name="Bild 44">
            <a:extLst>
              <a:ext uri="{FF2B5EF4-FFF2-40B4-BE49-F238E27FC236}">
                <a16:creationId xmlns:a16="http://schemas.microsoft.com/office/drawing/2014/main" id="{2E739BDF-0C32-9B48-F2F7-242049B7B5EA}"/>
              </a:ext>
            </a:extLst>
          </p:cNvPr>
          <p:cNvPicPr>
            <a:picLocks noChangeAspect="1"/>
          </p:cNvPicPr>
          <p:nvPr/>
        </p:nvPicPr>
        <p:blipFill rotWithShape="1"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rcRect l="26620" t="7075" r="29687" b="43931"/>
          <a:stretch/>
        </p:blipFill>
        <p:spPr>
          <a:xfrm>
            <a:off x="798567" y="1952446"/>
            <a:ext cx="1070131" cy="925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29250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F9ACF2-311F-8FD6-197E-C7FF568005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pc="-5"/>
              <a:t>The Bactiguard</a:t>
            </a:r>
            <a:r>
              <a:rPr lang="en-GB" spc="-5" baseline="30000"/>
              <a:t>®</a:t>
            </a:r>
            <a:r>
              <a:rPr lang="en-GB" spc="-5"/>
              <a:t> technology &amp; extended portfolio</a:t>
            </a:r>
            <a:endParaRPr lang="sv-S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CE7F18-9574-9327-571F-84F1F81D4E8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en-US"/>
              <a:t>Effective and safe</a:t>
            </a:r>
            <a:endParaRPr lang="sv-S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E8DFB32-70B8-C161-3A0C-572D01AF2C9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66762" y="4195324"/>
            <a:ext cx="5329238" cy="2036896"/>
          </a:xfrm>
        </p:spPr>
        <p:txBody>
          <a:bodyPr anchor="b"/>
          <a:lstStyle/>
          <a:p>
            <a:endParaRPr lang="en-US"/>
          </a:p>
          <a:p>
            <a:endParaRPr lang="en-US"/>
          </a:p>
          <a:p>
            <a:r>
              <a:rPr lang="en-US"/>
              <a:t>Coating of noble metals</a:t>
            </a:r>
          </a:p>
          <a:p>
            <a:r>
              <a:rPr lang="en-US"/>
              <a:t>Galvanic effect when in contact with fluids </a:t>
            </a:r>
          </a:p>
          <a:p>
            <a:r>
              <a:rPr lang="en-US"/>
              <a:t>Prevents microbial adhesion</a:t>
            </a:r>
            <a:br>
              <a:rPr lang="en-US"/>
            </a:br>
            <a:r>
              <a:rPr lang="en-US"/>
              <a:t>(gram positive/negative bacteria and fungi)</a:t>
            </a:r>
          </a:p>
          <a:p>
            <a:r>
              <a:rPr lang="en-US"/>
              <a:t>Non-releasing and long lasting</a:t>
            </a:r>
          </a:p>
          <a:p>
            <a:r>
              <a:rPr lang="en-US"/>
              <a:t>Effective and safe</a:t>
            </a:r>
          </a:p>
          <a:p>
            <a:r>
              <a:rPr lang="en-US"/>
              <a:t>Strong IP protection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F7E5D27F-2541-B4D6-A632-01924FACE9E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511147" y="4195324"/>
            <a:ext cx="3396340" cy="2318210"/>
          </a:xfrm>
        </p:spPr>
        <p:txBody>
          <a:bodyPr anchor="t"/>
          <a:lstStyle/>
          <a:p>
            <a:r>
              <a:rPr lang="en-US"/>
              <a:t>Portfolio of products based on hypochlorous acid (</a:t>
            </a:r>
            <a:r>
              <a:rPr lang="en-US" err="1"/>
              <a:t>HOCl</a:t>
            </a:r>
            <a:r>
              <a:rPr lang="en-US"/>
              <a:t>) – Solution &amp; Gel</a:t>
            </a:r>
          </a:p>
          <a:p>
            <a:r>
              <a:rPr lang="en-US"/>
              <a:t>Same substance the body’s immune cells use to fight infections</a:t>
            </a:r>
          </a:p>
          <a:p>
            <a:r>
              <a:rPr lang="en-US"/>
              <a:t>Currently rolling out wound care, animal care and disinfection products</a:t>
            </a:r>
            <a:endParaRPr lang="sv-SE"/>
          </a:p>
        </p:txBody>
      </p:sp>
      <p:grpSp>
        <p:nvGrpSpPr>
          <p:cNvPr id="7" name="Grupp 9">
            <a:extLst>
              <a:ext uri="{FF2B5EF4-FFF2-40B4-BE49-F238E27FC236}">
                <a16:creationId xmlns:a16="http://schemas.microsoft.com/office/drawing/2014/main" id="{C6739E99-D2A1-45ED-69F6-99AFB3E8F9A3}"/>
              </a:ext>
            </a:extLst>
          </p:cNvPr>
          <p:cNvGrpSpPr/>
          <p:nvPr/>
        </p:nvGrpSpPr>
        <p:grpSpPr>
          <a:xfrm>
            <a:off x="1564320" y="2199144"/>
            <a:ext cx="3210703" cy="1758396"/>
            <a:chOff x="6194354" y="2564904"/>
            <a:chExt cx="5373294" cy="2880320"/>
          </a:xfrm>
        </p:grpSpPr>
        <p:pic>
          <p:nvPicPr>
            <p:cNvPr id="8" name="Bild 5">
              <a:extLst>
                <a:ext uri="{FF2B5EF4-FFF2-40B4-BE49-F238E27FC236}">
                  <a16:creationId xmlns:a16="http://schemas.microsoft.com/office/drawing/2014/main" id="{A183FC05-8BD6-D615-8BDD-63E11B6641D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194354" y="2564904"/>
              <a:ext cx="3733748" cy="2880320"/>
            </a:xfrm>
            <a:prstGeom prst="rect">
              <a:avLst/>
            </a:prstGeom>
          </p:spPr>
        </p:pic>
        <p:pic>
          <p:nvPicPr>
            <p:cNvPr id="9" name="Bild 6">
              <a:extLst>
                <a:ext uri="{FF2B5EF4-FFF2-40B4-BE49-F238E27FC236}">
                  <a16:creationId xmlns:a16="http://schemas.microsoft.com/office/drawing/2014/main" id="{0120D2E1-2B62-62F4-6C15-89FF9F6D1FC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0271504" y="2564904"/>
              <a:ext cx="1296144" cy="841357"/>
            </a:xfrm>
            <a:prstGeom prst="rect">
              <a:avLst/>
            </a:prstGeom>
          </p:spPr>
        </p:pic>
      </p:grpSp>
      <p:pic>
        <p:nvPicPr>
          <p:cNvPr id="10" name="Picture 9" descr="A picture containing text&#10;&#10;Description automatically generated">
            <a:extLst>
              <a:ext uri="{FF2B5EF4-FFF2-40B4-BE49-F238E27FC236}">
                <a16:creationId xmlns:a16="http://schemas.microsoft.com/office/drawing/2014/main" id="{7683E016-4385-C7FB-3EA8-7D5D4825AD4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5242" y="1586646"/>
            <a:ext cx="2591763" cy="32415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74074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521409-999C-DB10-BD28-132DD496F7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atient focused strategy</a:t>
            </a:r>
            <a:endParaRPr lang="sv-S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5E4446C-035A-9864-89AF-9A4FA511B31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en-US"/>
              <a:t>- to leverage the scalable business model</a:t>
            </a:r>
          </a:p>
        </p:txBody>
      </p:sp>
      <p:sp>
        <p:nvSpPr>
          <p:cNvPr id="5" name="Rectangle 1">
            <a:extLst>
              <a:ext uri="{FF2B5EF4-FFF2-40B4-BE49-F238E27FC236}">
                <a16:creationId xmlns:a16="http://schemas.microsoft.com/office/drawing/2014/main" id="{69F8909E-A1A4-4B10-D64A-DABF313B8C62}"/>
              </a:ext>
            </a:extLst>
          </p:cNvPr>
          <p:cNvSpPr/>
          <p:nvPr/>
        </p:nvSpPr>
        <p:spPr>
          <a:xfrm>
            <a:off x="1561371" y="2082166"/>
            <a:ext cx="4291691" cy="3949381"/>
          </a:xfrm>
          <a:prstGeom prst="rect">
            <a:avLst/>
          </a:prstGeom>
          <a:solidFill>
            <a:schemeClr val="bg2">
              <a:alpha val="4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EAE8E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ctangle 1">
            <a:extLst>
              <a:ext uri="{FF2B5EF4-FFF2-40B4-BE49-F238E27FC236}">
                <a16:creationId xmlns:a16="http://schemas.microsoft.com/office/drawing/2014/main" id="{DBF33F6A-8244-795B-54C8-9A3D6C6BE818}"/>
              </a:ext>
            </a:extLst>
          </p:cNvPr>
          <p:cNvSpPr/>
          <p:nvPr/>
        </p:nvSpPr>
        <p:spPr>
          <a:xfrm>
            <a:off x="6291801" y="2082166"/>
            <a:ext cx="4291691" cy="3949381"/>
          </a:xfrm>
          <a:prstGeom prst="rect">
            <a:avLst/>
          </a:prstGeom>
          <a:solidFill>
            <a:schemeClr val="bg2">
              <a:alpha val="4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EAE8E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BC911D9E-9CB3-DE47-8DA6-D7FDE62E1C72}"/>
              </a:ext>
            </a:extLst>
          </p:cNvPr>
          <p:cNvSpPr/>
          <p:nvPr/>
        </p:nvSpPr>
        <p:spPr>
          <a:xfrm>
            <a:off x="2159073" y="2453423"/>
            <a:ext cx="3237640" cy="3237640"/>
          </a:xfrm>
          <a:prstGeom prst="ellipse">
            <a:avLst/>
          </a:prstGeom>
          <a:solidFill>
            <a:schemeClr val="accent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EAE8E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E644B5CC-AE06-05A8-BA0C-A57082D55D07}"/>
              </a:ext>
            </a:extLst>
          </p:cNvPr>
          <p:cNvSpPr/>
          <p:nvPr/>
        </p:nvSpPr>
        <p:spPr>
          <a:xfrm>
            <a:off x="2569969" y="2864319"/>
            <a:ext cx="2415848" cy="2415848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EAE8E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0372CD4-3084-5BC0-2186-B2E789A3464C}"/>
              </a:ext>
            </a:extLst>
          </p:cNvPr>
          <p:cNvSpPr/>
          <p:nvPr/>
        </p:nvSpPr>
        <p:spPr>
          <a:xfrm>
            <a:off x="2373296" y="2697570"/>
            <a:ext cx="2809195" cy="2809195"/>
          </a:xfrm>
          <a:prstGeom prst="rect">
            <a:avLst/>
          </a:prstGeom>
          <a:noFill/>
          <a:scene3d>
            <a:camera prst="orthographicFront"/>
            <a:lightRig rig="threePt" dir="t"/>
          </a:scene3d>
          <a:sp3d z="88900"/>
        </p:spPr>
        <p:txBody>
          <a:bodyPr wrap="none" lIns="91440" tIns="45720" rIns="91440" bIns="45720" anchor="b">
            <a:prstTxWarp prst="textArchUp">
              <a:avLst>
                <a:gd name="adj" fmla="val 10745226"/>
              </a:avLst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 w="0"/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IENTIFIC EVIDENCE			MANUFACTURING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5A2B106-EACF-8F73-3D76-E4006B5E8B1F}"/>
              </a:ext>
            </a:extLst>
          </p:cNvPr>
          <p:cNvSpPr/>
          <p:nvPr/>
        </p:nvSpPr>
        <p:spPr>
          <a:xfrm>
            <a:off x="2373296" y="2697570"/>
            <a:ext cx="2809195" cy="2809195"/>
          </a:xfrm>
          <a:prstGeom prst="rect">
            <a:avLst/>
          </a:prstGeom>
          <a:noFill/>
          <a:scene3d>
            <a:camera prst="orthographicFront"/>
            <a:lightRig rig="threePt" dir="t"/>
          </a:scene3d>
          <a:sp3d z="88900"/>
        </p:spPr>
        <p:txBody>
          <a:bodyPr wrap="none" lIns="91440" tIns="45720" rIns="91440" bIns="45720" anchor="b">
            <a:prstTxWarp prst="textArchDown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 w="0"/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GULATORY	 	TECHNOLOGY &amp; IT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C799030-D673-916C-B622-3D44436ECFCD}"/>
              </a:ext>
            </a:extLst>
          </p:cNvPr>
          <p:cNvSpPr/>
          <p:nvPr/>
        </p:nvSpPr>
        <p:spPr>
          <a:xfrm rot="329508">
            <a:off x="2735667" y="3085536"/>
            <a:ext cx="1974020" cy="2039186"/>
          </a:xfrm>
          <a:prstGeom prst="rect">
            <a:avLst/>
          </a:prstGeom>
          <a:noFill/>
          <a:scene3d>
            <a:camera prst="orthographicFront"/>
            <a:lightRig rig="threePt" dir="t"/>
          </a:scene3d>
          <a:sp3d z="88900"/>
        </p:spPr>
        <p:txBody>
          <a:bodyPr wrap="none" lIns="91440" tIns="45720" rIns="91440" bIns="45720" anchor="b">
            <a:prstTxWarp prst="textArchUp">
              <a:avLst>
                <a:gd name="adj" fmla="val 8074104"/>
              </a:avLst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 w="0"/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ICENSE BUSINESS			PRODUCT PORTFOLIO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D103EE9-5087-79F0-C765-B1AAF4374A2C}"/>
              </a:ext>
            </a:extLst>
          </p:cNvPr>
          <p:cNvSpPr/>
          <p:nvPr/>
        </p:nvSpPr>
        <p:spPr>
          <a:xfrm>
            <a:off x="2692881" y="2982171"/>
            <a:ext cx="2152244" cy="2223294"/>
          </a:xfrm>
          <a:prstGeom prst="rect">
            <a:avLst/>
          </a:prstGeom>
          <a:noFill/>
          <a:scene3d>
            <a:camera prst="orthographicFront"/>
            <a:lightRig rig="threePt" dir="t"/>
          </a:scene3d>
          <a:sp3d z="88900"/>
        </p:spPr>
        <p:txBody>
          <a:bodyPr wrap="none" lIns="91440" tIns="45720" rIns="91440" bIns="45720" anchor="b">
            <a:prstTxWarp prst="textArchDown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1200" cap="none" spc="0" normalizeH="0" baseline="0" noProof="0">
              <a:ln w="0"/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13" name="Grupp 39">
            <a:extLst>
              <a:ext uri="{FF2B5EF4-FFF2-40B4-BE49-F238E27FC236}">
                <a16:creationId xmlns:a16="http://schemas.microsoft.com/office/drawing/2014/main" id="{2D5F0AC4-C825-88C7-637E-4B81C84974ED}"/>
              </a:ext>
            </a:extLst>
          </p:cNvPr>
          <p:cNvGrpSpPr/>
          <p:nvPr/>
        </p:nvGrpSpPr>
        <p:grpSpPr>
          <a:xfrm>
            <a:off x="6913270" y="2715918"/>
            <a:ext cx="3006683" cy="2303107"/>
            <a:chOff x="4518958" y="736599"/>
            <a:chExt cx="6330616" cy="4816222"/>
          </a:xfrm>
          <a:solidFill>
            <a:schemeClr val="bg1">
              <a:lumMod val="85000"/>
            </a:schemeClr>
          </a:solidFill>
        </p:grpSpPr>
        <p:grpSp>
          <p:nvGrpSpPr>
            <p:cNvPr id="14" name="Group 15">
              <a:extLst>
                <a:ext uri="{FF2B5EF4-FFF2-40B4-BE49-F238E27FC236}">
                  <a16:creationId xmlns:a16="http://schemas.microsoft.com/office/drawing/2014/main" id="{FBBFD7EF-ED9D-8586-44CE-AE1BBB4F2AB1}"/>
                </a:ext>
              </a:extLst>
            </p:cNvPr>
            <p:cNvGrpSpPr/>
            <p:nvPr/>
          </p:nvGrpSpPr>
          <p:grpSpPr>
            <a:xfrm>
              <a:off x="7024371" y="2617052"/>
              <a:ext cx="2855184" cy="2349816"/>
              <a:chOff x="7024371" y="2617052"/>
              <a:chExt cx="2855184" cy="2349816"/>
            </a:xfrm>
            <a:grpFill/>
          </p:grpSpPr>
          <p:sp>
            <p:nvSpPr>
              <p:cNvPr id="240" name="Graphic 7">
                <a:extLst>
                  <a:ext uri="{FF2B5EF4-FFF2-40B4-BE49-F238E27FC236}">
                    <a16:creationId xmlns:a16="http://schemas.microsoft.com/office/drawing/2014/main" id="{D7BBCC57-278C-30F0-2E47-7264052EA27B}"/>
                  </a:ext>
                </a:extLst>
              </p:cNvPr>
              <p:cNvSpPr/>
              <p:nvPr/>
            </p:nvSpPr>
            <p:spPr>
              <a:xfrm>
                <a:off x="7024371" y="3306737"/>
                <a:ext cx="492938" cy="450502"/>
              </a:xfrm>
              <a:custGeom>
                <a:avLst/>
                <a:gdLst>
                  <a:gd name="connsiteX0" fmla="*/ 27981 w 630936"/>
                  <a:gd name="connsiteY0" fmla="*/ 519014 h 576620"/>
                  <a:gd name="connsiteX1" fmla="*/ 37856 w 630936"/>
                  <a:gd name="connsiteY1" fmla="*/ 480060 h 576620"/>
                  <a:gd name="connsiteX2" fmla="*/ 52669 w 630936"/>
                  <a:gd name="connsiteY2" fmla="*/ 464698 h 576620"/>
                  <a:gd name="connsiteX3" fmla="*/ 80101 w 630936"/>
                  <a:gd name="connsiteY3" fmla="*/ 456469 h 576620"/>
                  <a:gd name="connsiteX4" fmla="*/ 89977 w 630936"/>
                  <a:gd name="connsiteY4" fmla="*/ 447142 h 576620"/>
                  <a:gd name="connsiteX5" fmla="*/ 91623 w 630936"/>
                  <a:gd name="connsiteY5" fmla="*/ 443301 h 576620"/>
                  <a:gd name="connsiteX6" fmla="*/ 90526 w 630936"/>
                  <a:gd name="connsiteY6" fmla="*/ 436169 h 576620"/>
                  <a:gd name="connsiteX7" fmla="*/ 87234 w 630936"/>
                  <a:gd name="connsiteY7" fmla="*/ 432877 h 576620"/>
                  <a:gd name="connsiteX8" fmla="*/ 74066 w 630936"/>
                  <a:gd name="connsiteY8" fmla="*/ 430134 h 576620"/>
                  <a:gd name="connsiteX9" fmla="*/ 70775 w 630936"/>
                  <a:gd name="connsiteY9" fmla="*/ 392826 h 576620"/>
                  <a:gd name="connsiteX10" fmla="*/ 66934 w 630936"/>
                  <a:gd name="connsiteY10" fmla="*/ 388437 h 576620"/>
                  <a:gd name="connsiteX11" fmla="*/ 37856 w 630936"/>
                  <a:gd name="connsiteY11" fmla="*/ 376916 h 576620"/>
                  <a:gd name="connsiteX12" fmla="*/ 29078 w 630936"/>
                  <a:gd name="connsiteY12" fmla="*/ 369784 h 576620"/>
                  <a:gd name="connsiteX13" fmla="*/ 14265 w 630936"/>
                  <a:gd name="connsiteY13" fmla="*/ 340157 h 576620"/>
                  <a:gd name="connsiteX14" fmla="*/ 0 w 630936"/>
                  <a:gd name="connsiteY14" fmla="*/ 325344 h 576620"/>
                  <a:gd name="connsiteX15" fmla="*/ 2195 w 630936"/>
                  <a:gd name="connsiteY15" fmla="*/ 321503 h 576620"/>
                  <a:gd name="connsiteX16" fmla="*/ 2195 w 630936"/>
                  <a:gd name="connsiteY16" fmla="*/ 321503 h 576620"/>
                  <a:gd name="connsiteX17" fmla="*/ 60350 w 630936"/>
                  <a:gd name="connsiteY17" fmla="*/ 340706 h 576620"/>
                  <a:gd name="connsiteX18" fmla="*/ 63094 w 630936"/>
                  <a:gd name="connsiteY18" fmla="*/ 340157 h 576620"/>
                  <a:gd name="connsiteX19" fmla="*/ 65837 w 630936"/>
                  <a:gd name="connsiteY19" fmla="*/ 337962 h 576620"/>
                  <a:gd name="connsiteX20" fmla="*/ 110277 w 630936"/>
                  <a:gd name="connsiteY20" fmla="*/ 335768 h 576620"/>
                  <a:gd name="connsiteX21" fmla="*/ 121249 w 630936"/>
                  <a:gd name="connsiteY21" fmla="*/ 340157 h 576620"/>
                  <a:gd name="connsiteX22" fmla="*/ 123444 w 630936"/>
                  <a:gd name="connsiteY22" fmla="*/ 338511 h 576620"/>
                  <a:gd name="connsiteX23" fmla="*/ 125639 w 630936"/>
                  <a:gd name="connsiteY23" fmla="*/ 335219 h 576620"/>
                  <a:gd name="connsiteX24" fmla="*/ 127285 w 630936"/>
                  <a:gd name="connsiteY24" fmla="*/ 333573 h 576620"/>
                  <a:gd name="connsiteX25" fmla="*/ 132222 w 630936"/>
                  <a:gd name="connsiteY25" fmla="*/ 331927 h 576620"/>
                  <a:gd name="connsiteX26" fmla="*/ 158008 w 630936"/>
                  <a:gd name="connsiteY26" fmla="*/ 333025 h 576620"/>
                  <a:gd name="connsiteX27" fmla="*/ 200802 w 630936"/>
                  <a:gd name="connsiteY27" fmla="*/ 322601 h 576620"/>
                  <a:gd name="connsiteX28" fmla="*/ 206289 w 630936"/>
                  <a:gd name="connsiteY28" fmla="*/ 317663 h 576620"/>
                  <a:gd name="connsiteX29" fmla="*/ 206837 w 630936"/>
                  <a:gd name="connsiteY29" fmla="*/ 313274 h 576620"/>
                  <a:gd name="connsiteX30" fmla="*/ 204643 w 630936"/>
                  <a:gd name="connsiteY30" fmla="*/ 311079 h 576620"/>
                  <a:gd name="connsiteX31" fmla="*/ 204094 w 630936"/>
                  <a:gd name="connsiteY31" fmla="*/ 308336 h 576620"/>
                  <a:gd name="connsiteX32" fmla="*/ 206837 w 630936"/>
                  <a:gd name="connsiteY32" fmla="*/ 295717 h 576620"/>
                  <a:gd name="connsiteX33" fmla="*/ 205740 w 630936"/>
                  <a:gd name="connsiteY33" fmla="*/ 286939 h 576620"/>
                  <a:gd name="connsiteX34" fmla="*/ 207935 w 630936"/>
                  <a:gd name="connsiteY34" fmla="*/ 276515 h 576620"/>
                  <a:gd name="connsiteX35" fmla="*/ 210678 w 630936"/>
                  <a:gd name="connsiteY35" fmla="*/ 272674 h 576620"/>
                  <a:gd name="connsiteX36" fmla="*/ 218908 w 630936"/>
                  <a:gd name="connsiteY36" fmla="*/ 266090 h 576620"/>
                  <a:gd name="connsiteX37" fmla="*/ 222748 w 630936"/>
                  <a:gd name="connsiteY37" fmla="*/ 259507 h 576620"/>
                  <a:gd name="connsiteX38" fmla="*/ 227137 w 630936"/>
                  <a:gd name="connsiteY38" fmla="*/ 256764 h 576620"/>
                  <a:gd name="connsiteX39" fmla="*/ 230429 w 630936"/>
                  <a:gd name="connsiteY39" fmla="*/ 258410 h 576620"/>
                  <a:gd name="connsiteX40" fmla="*/ 230429 w 630936"/>
                  <a:gd name="connsiteY40" fmla="*/ 260604 h 576620"/>
                  <a:gd name="connsiteX41" fmla="*/ 258409 w 630936"/>
                  <a:gd name="connsiteY41" fmla="*/ 257861 h 576620"/>
                  <a:gd name="connsiteX42" fmla="*/ 260056 w 630936"/>
                  <a:gd name="connsiteY42" fmla="*/ 255666 h 576620"/>
                  <a:gd name="connsiteX43" fmla="*/ 260056 w 630936"/>
                  <a:gd name="connsiteY43" fmla="*/ 253472 h 576620"/>
                  <a:gd name="connsiteX44" fmla="*/ 254569 w 630936"/>
                  <a:gd name="connsiteY44" fmla="*/ 251826 h 576620"/>
                  <a:gd name="connsiteX45" fmla="*/ 254020 w 630936"/>
                  <a:gd name="connsiteY45" fmla="*/ 250729 h 576620"/>
                  <a:gd name="connsiteX46" fmla="*/ 256215 w 630936"/>
                  <a:gd name="connsiteY46" fmla="*/ 247985 h 576620"/>
                  <a:gd name="connsiteX47" fmla="*/ 267736 w 630936"/>
                  <a:gd name="connsiteY47" fmla="*/ 242499 h 576620"/>
                  <a:gd name="connsiteX48" fmla="*/ 269931 w 630936"/>
                  <a:gd name="connsiteY48" fmla="*/ 239207 h 576620"/>
                  <a:gd name="connsiteX49" fmla="*/ 272674 w 630936"/>
                  <a:gd name="connsiteY49" fmla="*/ 237561 h 576620"/>
                  <a:gd name="connsiteX50" fmla="*/ 277063 w 630936"/>
                  <a:gd name="connsiteY50" fmla="*/ 237561 h 576620"/>
                  <a:gd name="connsiteX51" fmla="*/ 288585 w 630936"/>
                  <a:gd name="connsiteY51" fmla="*/ 240853 h 576620"/>
                  <a:gd name="connsiteX52" fmla="*/ 288036 w 630936"/>
                  <a:gd name="connsiteY52" fmla="*/ 239207 h 576620"/>
                  <a:gd name="connsiteX53" fmla="*/ 285293 w 630936"/>
                  <a:gd name="connsiteY53" fmla="*/ 238110 h 576620"/>
                  <a:gd name="connsiteX54" fmla="*/ 286939 w 630936"/>
                  <a:gd name="connsiteY54" fmla="*/ 235367 h 576620"/>
                  <a:gd name="connsiteX55" fmla="*/ 289682 w 630936"/>
                  <a:gd name="connsiteY55" fmla="*/ 235367 h 576620"/>
                  <a:gd name="connsiteX56" fmla="*/ 295168 w 630936"/>
                  <a:gd name="connsiteY56" fmla="*/ 238658 h 576620"/>
                  <a:gd name="connsiteX57" fmla="*/ 296266 w 630936"/>
                  <a:gd name="connsiteY57" fmla="*/ 241402 h 576620"/>
                  <a:gd name="connsiteX58" fmla="*/ 297911 w 630936"/>
                  <a:gd name="connsiteY58" fmla="*/ 244145 h 576620"/>
                  <a:gd name="connsiteX59" fmla="*/ 301204 w 630936"/>
                  <a:gd name="connsiteY59" fmla="*/ 245791 h 576620"/>
                  <a:gd name="connsiteX60" fmla="*/ 303398 w 630936"/>
                  <a:gd name="connsiteY60" fmla="*/ 245242 h 576620"/>
                  <a:gd name="connsiteX61" fmla="*/ 316565 w 630936"/>
                  <a:gd name="connsiteY61" fmla="*/ 231526 h 576620"/>
                  <a:gd name="connsiteX62" fmla="*/ 317114 w 630936"/>
                  <a:gd name="connsiteY62" fmla="*/ 229332 h 576620"/>
                  <a:gd name="connsiteX63" fmla="*/ 314371 w 630936"/>
                  <a:gd name="connsiteY63" fmla="*/ 209581 h 576620"/>
                  <a:gd name="connsiteX64" fmla="*/ 315468 w 630936"/>
                  <a:gd name="connsiteY64" fmla="*/ 206837 h 576620"/>
                  <a:gd name="connsiteX65" fmla="*/ 319857 w 630936"/>
                  <a:gd name="connsiteY65" fmla="*/ 200254 h 576620"/>
                  <a:gd name="connsiteX66" fmla="*/ 321503 w 630936"/>
                  <a:gd name="connsiteY66" fmla="*/ 200254 h 576620"/>
                  <a:gd name="connsiteX67" fmla="*/ 322052 w 630936"/>
                  <a:gd name="connsiteY67" fmla="*/ 197510 h 576620"/>
                  <a:gd name="connsiteX68" fmla="*/ 320954 w 630936"/>
                  <a:gd name="connsiteY68" fmla="*/ 193121 h 576620"/>
                  <a:gd name="connsiteX69" fmla="*/ 322600 w 630936"/>
                  <a:gd name="connsiteY69" fmla="*/ 189830 h 576620"/>
                  <a:gd name="connsiteX70" fmla="*/ 325892 w 630936"/>
                  <a:gd name="connsiteY70" fmla="*/ 188184 h 576620"/>
                  <a:gd name="connsiteX71" fmla="*/ 326441 w 630936"/>
                  <a:gd name="connsiteY71" fmla="*/ 178857 h 576620"/>
                  <a:gd name="connsiteX72" fmla="*/ 335219 w 630936"/>
                  <a:gd name="connsiteY72" fmla="*/ 176114 h 576620"/>
                  <a:gd name="connsiteX73" fmla="*/ 340705 w 630936"/>
                  <a:gd name="connsiteY73" fmla="*/ 177211 h 576620"/>
                  <a:gd name="connsiteX74" fmla="*/ 351678 w 630936"/>
                  <a:gd name="connsiteY74" fmla="*/ 170627 h 576620"/>
                  <a:gd name="connsiteX75" fmla="*/ 354970 w 630936"/>
                  <a:gd name="connsiteY75" fmla="*/ 166238 h 576620"/>
                  <a:gd name="connsiteX76" fmla="*/ 355519 w 630936"/>
                  <a:gd name="connsiteY76" fmla="*/ 163495 h 576620"/>
                  <a:gd name="connsiteX77" fmla="*/ 352227 w 630936"/>
                  <a:gd name="connsiteY77" fmla="*/ 160752 h 576620"/>
                  <a:gd name="connsiteX78" fmla="*/ 348935 w 630936"/>
                  <a:gd name="connsiteY78" fmla="*/ 149779 h 576620"/>
                  <a:gd name="connsiteX79" fmla="*/ 346192 w 630936"/>
                  <a:gd name="connsiteY79" fmla="*/ 149230 h 576620"/>
                  <a:gd name="connsiteX80" fmla="*/ 340705 w 630936"/>
                  <a:gd name="connsiteY80" fmla="*/ 140452 h 576620"/>
                  <a:gd name="connsiteX81" fmla="*/ 341803 w 630936"/>
                  <a:gd name="connsiteY81" fmla="*/ 137160 h 576620"/>
                  <a:gd name="connsiteX82" fmla="*/ 344546 w 630936"/>
                  <a:gd name="connsiteY82" fmla="*/ 135514 h 576620"/>
                  <a:gd name="connsiteX83" fmla="*/ 368137 w 630936"/>
                  <a:gd name="connsiteY83" fmla="*/ 139903 h 576620"/>
                  <a:gd name="connsiteX84" fmla="*/ 380207 w 630936"/>
                  <a:gd name="connsiteY84" fmla="*/ 136063 h 576620"/>
                  <a:gd name="connsiteX85" fmla="*/ 385694 w 630936"/>
                  <a:gd name="connsiteY85" fmla="*/ 128930 h 576620"/>
                  <a:gd name="connsiteX86" fmla="*/ 385694 w 630936"/>
                  <a:gd name="connsiteY86" fmla="*/ 124541 h 576620"/>
                  <a:gd name="connsiteX87" fmla="*/ 387340 w 630936"/>
                  <a:gd name="connsiteY87" fmla="*/ 122347 h 576620"/>
                  <a:gd name="connsiteX88" fmla="*/ 385694 w 630936"/>
                  <a:gd name="connsiteY88" fmla="*/ 119604 h 576620"/>
                  <a:gd name="connsiteX89" fmla="*/ 381853 w 630936"/>
                  <a:gd name="connsiteY89" fmla="*/ 119055 h 576620"/>
                  <a:gd name="connsiteX90" fmla="*/ 381853 w 630936"/>
                  <a:gd name="connsiteY90" fmla="*/ 114117 h 576620"/>
                  <a:gd name="connsiteX91" fmla="*/ 384597 w 630936"/>
                  <a:gd name="connsiteY91" fmla="*/ 111374 h 576620"/>
                  <a:gd name="connsiteX92" fmla="*/ 386791 w 630936"/>
                  <a:gd name="connsiteY92" fmla="*/ 106436 h 576620"/>
                  <a:gd name="connsiteX93" fmla="*/ 401605 w 630936"/>
                  <a:gd name="connsiteY93" fmla="*/ 91623 h 576620"/>
                  <a:gd name="connsiteX94" fmla="*/ 403799 w 630936"/>
                  <a:gd name="connsiteY94" fmla="*/ 86685 h 576620"/>
                  <a:gd name="connsiteX95" fmla="*/ 404348 w 630936"/>
                  <a:gd name="connsiteY95" fmla="*/ 82296 h 576620"/>
                  <a:gd name="connsiteX96" fmla="*/ 403250 w 630936"/>
                  <a:gd name="connsiteY96" fmla="*/ 80102 h 576620"/>
                  <a:gd name="connsiteX97" fmla="*/ 403250 w 630936"/>
                  <a:gd name="connsiteY97" fmla="*/ 77907 h 576620"/>
                  <a:gd name="connsiteX98" fmla="*/ 405994 w 630936"/>
                  <a:gd name="connsiteY98" fmla="*/ 72421 h 576620"/>
                  <a:gd name="connsiteX99" fmla="*/ 405994 w 630936"/>
                  <a:gd name="connsiteY99" fmla="*/ 70775 h 576620"/>
                  <a:gd name="connsiteX100" fmla="*/ 400507 w 630936"/>
                  <a:gd name="connsiteY100" fmla="*/ 55413 h 576620"/>
                  <a:gd name="connsiteX101" fmla="*/ 390083 w 630936"/>
                  <a:gd name="connsiteY101" fmla="*/ 46634 h 576620"/>
                  <a:gd name="connsiteX102" fmla="*/ 389534 w 630936"/>
                  <a:gd name="connsiteY102" fmla="*/ 44989 h 576620"/>
                  <a:gd name="connsiteX103" fmla="*/ 390083 w 630936"/>
                  <a:gd name="connsiteY103" fmla="*/ 41697 h 576620"/>
                  <a:gd name="connsiteX104" fmla="*/ 392278 w 630936"/>
                  <a:gd name="connsiteY104" fmla="*/ 38405 h 576620"/>
                  <a:gd name="connsiteX105" fmla="*/ 403799 w 630936"/>
                  <a:gd name="connsiteY105" fmla="*/ 29627 h 576620"/>
                  <a:gd name="connsiteX106" fmla="*/ 404348 w 630936"/>
                  <a:gd name="connsiteY106" fmla="*/ 26335 h 576620"/>
                  <a:gd name="connsiteX107" fmla="*/ 405445 w 630936"/>
                  <a:gd name="connsiteY107" fmla="*/ 25238 h 576620"/>
                  <a:gd name="connsiteX108" fmla="*/ 408737 w 630936"/>
                  <a:gd name="connsiteY108" fmla="*/ 25238 h 576620"/>
                  <a:gd name="connsiteX109" fmla="*/ 411480 w 630936"/>
                  <a:gd name="connsiteY109" fmla="*/ 26883 h 576620"/>
                  <a:gd name="connsiteX110" fmla="*/ 414223 w 630936"/>
                  <a:gd name="connsiteY110" fmla="*/ 26335 h 576620"/>
                  <a:gd name="connsiteX111" fmla="*/ 413675 w 630936"/>
                  <a:gd name="connsiteY111" fmla="*/ 23592 h 576620"/>
                  <a:gd name="connsiteX112" fmla="*/ 414772 w 630936"/>
                  <a:gd name="connsiteY112" fmla="*/ 21397 h 576620"/>
                  <a:gd name="connsiteX113" fmla="*/ 421355 w 630936"/>
                  <a:gd name="connsiteY113" fmla="*/ 20300 h 576620"/>
                  <a:gd name="connsiteX114" fmla="*/ 423550 w 630936"/>
                  <a:gd name="connsiteY114" fmla="*/ 18105 h 576620"/>
                  <a:gd name="connsiteX115" fmla="*/ 423550 w 630936"/>
                  <a:gd name="connsiteY115" fmla="*/ 15362 h 576620"/>
                  <a:gd name="connsiteX116" fmla="*/ 426842 w 630936"/>
                  <a:gd name="connsiteY116" fmla="*/ 15362 h 576620"/>
                  <a:gd name="connsiteX117" fmla="*/ 429585 w 630936"/>
                  <a:gd name="connsiteY117" fmla="*/ 13167 h 576620"/>
                  <a:gd name="connsiteX118" fmla="*/ 435620 w 630936"/>
                  <a:gd name="connsiteY118" fmla="*/ 12619 h 576620"/>
                  <a:gd name="connsiteX119" fmla="*/ 441655 w 630936"/>
                  <a:gd name="connsiteY119" fmla="*/ 8778 h 576620"/>
                  <a:gd name="connsiteX120" fmla="*/ 446593 w 630936"/>
                  <a:gd name="connsiteY120" fmla="*/ 8230 h 576620"/>
                  <a:gd name="connsiteX121" fmla="*/ 453177 w 630936"/>
                  <a:gd name="connsiteY121" fmla="*/ 5486 h 576620"/>
                  <a:gd name="connsiteX122" fmla="*/ 455920 w 630936"/>
                  <a:gd name="connsiteY122" fmla="*/ 6035 h 576620"/>
                  <a:gd name="connsiteX123" fmla="*/ 480060 w 630936"/>
                  <a:gd name="connsiteY123" fmla="*/ 4389 h 576620"/>
                  <a:gd name="connsiteX124" fmla="*/ 482255 w 630936"/>
                  <a:gd name="connsiteY124" fmla="*/ 4938 h 576620"/>
                  <a:gd name="connsiteX125" fmla="*/ 487192 w 630936"/>
                  <a:gd name="connsiteY125" fmla="*/ 4389 h 576620"/>
                  <a:gd name="connsiteX126" fmla="*/ 497068 w 630936"/>
                  <a:gd name="connsiteY126" fmla="*/ 7681 h 576620"/>
                  <a:gd name="connsiteX127" fmla="*/ 500360 w 630936"/>
                  <a:gd name="connsiteY127" fmla="*/ 7681 h 576620"/>
                  <a:gd name="connsiteX128" fmla="*/ 504749 w 630936"/>
                  <a:gd name="connsiteY128" fmla="*/ 3841 h 576620"/>
                  <a:gd name="connsiteX129" fmla="*/ 506395 w 630936"/>
                  <a:gd name="connsiteY129" fmla="*/ 3841 h 576620"/>
                  <a:gd name="connsiteX130" fmla="*/ 509687 w 630936"/>
                  <a:gd name="connsiteY130" fmla="*/ 2195 h 576620"/>
                  <a:gd name="connsiteX131" fmla="*/ 516819 w 630936"/>
                  <a:gd name="connsiteY131" fmla="*/ 2743 h 576620"/>
                  <a:gd name="connsiteX132" fmla="*/ 517367 w 630936"/>
                  <a:gd name="connsiteY132" fmla="*/ 0 h 576620"/>
                  <a:gd name="connsiteX133" fmla="*/ 516819 w 630936"/>
                  <a:gd name="connsiteY133" fmla="*/ 1097 h 576620"/>
                  <a:gd name="connsiteX134" fmla="*/ 524500 w 630936"/>
                  <a:gd name="connsiteY134" fmla="*/ 3292 h 576620"/>
                  <a:gd name="connsiteX135" fmla="*/ 533827 w 630936"/>
                  <a:gd name="connsiteY135" fmla="*/ 1646 h 576620"/>
                  <a:gd name="connsiteX136" fmla="*/ 536021 w 630936"/>
                  <a:gd name="connsiteY136" fmla="*/ 2195 h 576620"/>
                  <a:gd name="connsiteX137" fmla="*/ 540410 w 630936"/>
                  <a:gd name="connsiteY137" fmla="*/ 4389 h 576620"/>
                  <a:gd name="connsiteX138" fmla="*/ 544799 w 630936"/>
                  <a:gd name="connsiteY138" fmla="*/ 3292 h 576620"/>
                  <a:gd name="connsiteX139" fmla="*/ 546445 w 630936"/>
                  <a:gd name="connsiteY139" fmla="*/ 4938 h 576620"/>
                  <a:gd name="connsiteX140" fmla="*/ 546445 w 630936"/>
                  <a:gd name="connsiteY140" fmla="*/ 13716 h 576620"/>
                  <a:gd name="connsiteX141" fmla="*/ 546994 w 630936"/>
                  <a:gd name="connsiteY141" fmla="*/ 14265 h 576620"/>
                  <a:gd name="connsiteX142" fmla="*/ 551932 w 630936"/>
                  <a:gd name="connsiteY142" fmla="*/ 11522 h 576620"/>
                  <a:gd name="connsiteX143" fmla="*/ 555224 w 630936"/>
                  <a:gd name="connsiteY143" fmla="*/ 10424 h 576620"/>
                  <a:gd name="connsiteX144" fmla="*/ 566197 w 630936"/>
                  <a:gd name="connsiteY144" fmla="*/ 20300 h 576620"/>
                  <a:gd name="connsiteX145" fmla="*/ 568391 w 630936"/>
                  <a:gd name="connsiteY145" fmla="*/ 24140 h 576620"/>
                  <a:gd name="connsiteX146" fmla="*/ 566745 w 630936"/>
                  <a:gd name="connsiteY146" fmla="*/ 32918 h 576620"/>
                  <a:gd name="connsiteX147" fmla="*/ 568940 w 630936"/>
                  <a:gd name="connsiteY147" fmla="*/ 34565 h 576620"/>
                  <a:gd name="connsiteX148" fmla="*/ 569488 w 630936"/>
                  <a:gd name="connsiteY148" fmla="*/ 37856 h 576620"/>
                  <a:gd name="connsiteX149" fmla="*/ 568391 w 630936"/>
                  <a:gd name="connsiteY149" fmla="*/ 40051 h 576620"/>
                  <a:gd name="connsiteX150" fmla="*/ 565648 w 630936"/>
                  <a:gd name="connsiteY150" fmla="*/ 41148 h 576620"/>
                  <a:gd name="connsiteX151" fmla="*/ 565099 w 630936"/>
                  <a:gd name="connsiteY151" fmla="*/ 42794 h 576620"/>
                  <a:gd name="connsiteX152" fmla="*/ 566197 w 630936"/>
                  <a:gd name="connsiteY152" fmla="*/ 44989 h 576620"/>
                  <a:gd name="connsiteX153" fmla="*/ 570586 w 630936"/>
                  <a:gd name="connsiteY153" fmla="*/ 46634 h 576620"/>
                  <a:gd name="connsiteX154" fmla="*/ 575524 w 630936"/>
                  <a:gd name="connsiteY154" fmla="*/ 54315 h 576620"/>
                  <a:gd name="connsiteX155" fmla="*/ 577718 w 630936"/>
                  <a:gd name="connsiteY155" fmla="*/ 54864 h 576620"/>
                  <a:gd name="connsiteX156" fmla="*/ 581558 w 630936"/>
                  <a:gd name="connsiteY156" fmla="*/ 53218 h 576620"/>
                  <a:gd name="connsiteX157" fmla="*/ 583204 w 630936"/>
                  <a:gd name="connsiteY157" fmla="*/ 53767 h 576620"/>
                  <a:gd name="connsiteX158" fmla="*/ 586496 w 630936"/>
                  <a:gd name="connsiteY158" fmla="*/ 51024 h 576620"/>
                  <a:gd name="connsiteX159" fmla="*/ 589240 w 630936"/>
                  <a:gd name="connsiteY159" fmla="*/ 50475 h 576620"/>
                  <a:gd name="connsiteX160" fmla="*/ 590337 w 630936"/>
                  <a:gd name="connsiteY160" fmla="*/ 52670 h 576620"/>
                  <a:gd name="connsiteX161" fmla="*/ 590337 w 630936"/>
                  <a:gd name="connsiteY161" fmla="*/ 57059 h 576620"/>
                  <a:gd name="connsiteX162" fmla="*/ 613928 w 630936"/>
                  <a:gd name="connsiteY162" fmla="*/ 69129 h 576620"/>
                  <a:gd name="connsiteX163" fmla="*/ 618317 w 630936"/>
                  <a:gd name="connsiteY163" fmla="*/ 68580 h 576620"/>
                  <a:gd name="connsiteX164" fmla="*/ 623255 w 630936"/>
                  <a:gd name="connsiteY164" fmla="*/ 71872 h 576620"/>
                  <a:gd name="connsiteX165" fmla="*/ 630936 w 630936"/>
                  <a:gd name="connsiteY165" fmla="*/ 71872 h 576620"/>
                  <a:gd name="connsiteX166" fmla="*/ 606796 w 630936"/>
                  <a:gd name="connsiteY166" fmla="*/ 89429 h 576620"/>
                  <a:gd name="connsiteX167" fmla="*/ 604601 w 630936"/>
                  <a:gd name="connsiteY167" fmla="*/ 93269 h 576620"/>
                  <a:gd name="connsiteX168" fmla="*/ 605699 w 630936"/>
                  <a:gd name="connsiteY168" fmla="*/ 94366 h 576620"/>
                  <a:gd name="connsiteX169" fmla="*/ 605699 w 630936"/>
                  <a:gd name="connsiteY169" fmla="*/ 96561 h 576620"/>
                  <a:gd name="connsiteX170" fmla="*/ 602407 w 630936"/>
                  <a:gd name="connsiteY170" fmla="*/ 102047 h 576620"/>
                  <a:gd name="connsiteX171" fmla="*/ 600212 w 630936"/>
                  <a:gd name="connsiteY171" fmla="*/ 104790 h 576620"/>
                  <a:gd name="connsiteX172" fmla="*/ 598018 w 630936"/>
                  <a:gd name="connsiteY172" fmla="*/ 104242 h 576620"/>
                  <a:gd name="connsiteX173" fmla="*/ 595274 w 630936"/>
                  <a:gd name="connsiteY173" fmla="*/ 101498 h 576620"/>
                  <a:gd name="connsiteX174" fmla="*/ 582656 w 630936"/>
                  <a:gd name="connsiteY174" fmla="*/ 102596 h 576620"/>
                  <a:gd name="connsiteX175" fmla="*/ 581010 w 630936"/>
                  <a:gd name="connsiteY175" fmla="*/ 103145 h 576620"/>
                  <a:gd name="connsiteX176" fmla="*/ 577718 w 630936"/>
                  <a:gd name="connsiteY176" fmla="*/ 107534 h 576620"/>
                  <a:gd name="connsiteX177" fmla="*/ 575524 w 630936"/>
                  <a:gd name="connsiteY177" fmla="*/ 108631 h 576620"/>
                  <a:gd name="connsiteX178" fmla="*/ 572231 w 630936"/>
                  <a:gd name="connsiteY178" fmla="*/ 108631 h 576620"/>
                  <a:gd name="connsiteX179" fmla="*/ 566745 w 630936"/>
                  <a:gd name="connsiteY179" fmla="*/ 106985 h 576620"/>
                  <a:gd name="connsiteX180" fmla="*/ 564002 w 630936"/>
                  <a:gd name="connsiteY180" fmla="*/ 108082 h 576620"/>
                  <a:gd name="connsiteX181" fmla="*/ 562356 w 630936"/>
                  <a:gd name="connsiteY181" fmla="*/ 110825 h 576620"/>
                  <a:gd name="connsiteX182" fmla="*/ 560161 w 630936"/>
                  <a:gd name="connsiteY182" fmla="*/ 113020 h 576620"/>
                  <a:gd name="connsiteX183" fmla="*/ 557967 w 630936"/>
                  <a:gd name="connsiteY183" fmla="*/ 113569 h 576620"/>
                  <a:gd name="connsiteX184" fmla="*/ 554675 w 630936"/>
                  <a:gd name="connsiteY184" fmla="*/ 112471 h 576620"/>
                  <a:gd name="connsiteX185" fmla="*/ 551932 w 630936"/>
                  <a:gd name="connsiteY185" fmla="*/ 113569 h 576620"/>
                  <a:gd name="connsiteX186" fmla="*/ 549189 w 630936"/>
                  <a:gd name="connsiteY186" fmla="*/ 111374 h 576620"/>
                  <a:gd name="connsiteX187" fmla="*/ 540410 w 630936"/>
                  <a:gd name="connsiteY187" fmla="*/ 111923 h 576620"/>
                  <a:gd name="connsiteX188" fmla="*/ 537667 w 630936"/>
                  <a:gd name="connsiteY188" fmla="*/ 110825 h 576620"/>
                  <a:gd name="connsiteX189" fmla="*/ 533827 w 630936"/>
                  <a:gd name="connsiteY189" fmla="*/ 110825 h 576620"/>
                  <a:gd name="connsiteX190" fmla="*/ 504749 w 630936"/>
                  <a:gd name="connsiteY190" fmla="*/ 98207 h 576620"/>
                  <a:gd name="connsiteX191" fmla="*/ 501457 w 630936"/>
                  <a:gd name="connsiteY191" fmla="*/ 99853 h 576620"/>
                  <a:gd name="connsiteX192" fmla="*/ 498714 w 630936"/>
                  <a:gd name="connsiteY192" fmla="*/ 102596 h 576620"/>
                  <a:gd name="connsiteX193" fmla="*/ 493776 w 630936"/>
                  <a:gd name="connsiteY193" fmla="*/ 102047 h 576620"/>
                  <a:gd name="connsiteX194" fmla="*/ 491581 w 630936"/>
                  <a:gd name="connsiteY194" fmla="*/ 102596 h 576620"/>
                  <a:gd name="connsiteX195" fmla="*/ 489935 w 630936"/>
                  <a:gd name="connsiteY195" fmla="*/ 104242 h 576620"/>
                  <a:gd name="connsiteX196" fmla="*/ 489387 w 630936"/>
                  <a:gd name="connsiteY196" fmla="*/ 109728 h 576620"/>
                  <a:gd name="connsiteX197" fmla="*/ 483901 w 630936"/>
                  <a:gd name="connsiteY197" fmla="*/ 119604 h 576620"/>
                  <a:gd name="connsiteX198" fmla="*/ 484449 w 630936"/>
                  <a:gd name="connsiteY198" fmla="*/ 120701 h 576620"/>
                  <a:gd name="connsiteX199" fmla="*/ 490484 w 630936"/>
                  <a:gd name="connsiteY199" fmla="*/ 120701 h 576620"/>
                  <a:gd name="connsiteX200" fmla="*/ 492130 w 630936"/>
                  <a:gd name="connsiteY200" fmla="*/ 124541 h 576620"/>
                  <a:gd name="connsiteX201" fmla="*/ 491581 w 630936"/>
                  <a:gd name="connsiteY201" fmla="*/ 126736 h 576620"/>
                  <a:gd name="connsiteX202" fmla="*/ 488838 w 630936"/>
                  <a:gd name="connsiteY202" fmla="*/ 128382 h 576620"/>
                  <a:gd name="connsiteX203" fmla="*/ 487741 w 630936"/>
                  <a:gd name="connsiteY203" fmla="*/ 129479 h 576620"/>
                  <a:gd name="connsiteX204" fmla="*/ 487741 w 630936"/>
                  <a:gd name="connsiteY204" fmla="*/ 132222 h 576620"/>
                  <a:gd name="connsiteX205" fmla="*/ 488838 w 630936"/>
                  <a:gd name="connsiteY205" fmla="*/ 134417 h 576620"/>
                  <a:gd name="connsiteX206" fmla="*/ 491033 w 630936"/>
                  <a:gd name="connsiteY206" fmla="*/ 135514 h 576620"/>
                  <a:gd name="connsiteX207" fmla="*/ 498714 w 630936"/>
                  <a:gd name="connsiteY207" fmla="*/ 134417 h 576620"/>
                  <a:gd name="connsiteX208" fmla="*/ 500360 w 630936"/>
                  <a:gd name="connsiteY208" fmla="*/ 136063 h 576620"/>
                  <a:gd name="connsiteX209" fmla="*/ 501457 w 630936"/>
                  <a:gd name="connsiteY209" fmla="*/ 138806 h 576620"/>
                  <a:gd name="connsiteX210" fmla="*/ 501457 w 630936"/>
                  <a:gd name="connsiteY210" fmla="*/ 139903 h 576620"/>
                  <a:gd name="connsiteX211" fmla="*/ 498165 w 630936"/>
                  <a:gd name="connsiteY211" fmla="*/ 142646 h 576620"/>
                  <a:gd name="connsiteX212" fmla="*/ 493776 w 630936"/>
                  <a:gd name="connsiteY212" fmla="*/ 144841 h 576620"/>
                  <a:gd name="connsiteX213" fmla="*/ 492679 w 630936"/>
                  <a:gd name="connsiteY213" fmla="*/ 148133 h 576620"/>
                  <a:gd name="connsiteX214" fmla="*/ 500908 w 630936"/>
                  <a:gd name="connsiteY214" fmla="*/ 155814 h 576620"/>
                  <a:gd name="connsiteX215" fmla="*/ 501457 w 630936"/>
                  <a:gd name="connsiteY215" fmla="*/ 160752 h 576620"/>
                  <a:gd name="connsiteX216" fmla="*/ 500360 w 630936"/>
                  <a:gd name="connsiteY216" fmla="*/ 163495 h 576620"/>
                  <a:gd name="connsiteX217" fmla="*/ 491033 w 630936"/>
                  <a:gd name="connsiteY217" fmla="*/ 170078 h 576620"/>
                  <a:gd name="connsiteX218" fmla="*/ 490484 w 630936"/>
                  <a:gd name="connsiteY218" fmla="*/ 171725 h 576620"/>
                  <a:gd name="connsiteX219" fmla="*/ 495971 w 630936"/>
                  <a:gd name="connsiteY219" fmla="*/ 174468 h 576620"/>
                  <a:gd name="connsiteX220" fmla="*/ 498714 w 630936"/>
                  <a:gd name="connsiteY220" fmla="*/ 180503 h 576620"/>
                  <a:gd name="connsiteX221" fmla="*/ 505297 w 630936"/>
                  <a:gd name="connsiteY221" fmla="*/ 184343 h 576620"/>
                  <a:gd name="connsiteX222" fmla="*/ 504749 w 630936"/>
                  <a:gd name="connsiteY222" fmla="*/ 190378 h 576620"/>
                  <a:gd name="connsiteX223" fmla="*/ 509687 w 630936"/>
                  <a:gd name="connsiteY223" fmla="*/ 190927 h 576620"/>
                  <a:gd name="connsiteX224" fmla="*/ 511333 w 630936"/>
                  <a:gd name="connsiteY224" fmla="*/ 193121 h 576620"/>
                  <a:gd name="connsiteX225" fmla="*/ 515722 w 630936"/>
                  <a:gd name="connsiteY225" fmla="*/ 191476 h 576620"/>
                  <a:gd name="connsiteX226" fmla="*/ 518465 w 630936"/>
                  <a:gd name="connsiteY226" fmla="*/ 192573 h 576620"/>
                  <a:gd name="connsiteX227" fmla="*/ 518465 w 630936"/>
                  <a:gd name="connsiteY227" fmla="*/ 199705 h 576620"/>
                  <a:gd name="connsiteX228" fmla="*/ 520111 w 630936"/>
                  <a:gd name="connsiteY228" fmla="*/ 205192 h 576620"/>
                  <a:gd name="connsiteX229" fmla="*/ 521208 w 630936"/>
                  <a:gd name="connsiteY229" fmla="*/ 206289 h 576620"/>
                  <a:gd name="connsiteX230" fmla="*/ 533278 w 630936"/>
                  <a:gd name="connsiteY230" fmla="*/ 206837 h 576620"/>
                  <a:gd name="connsiteX231" fmla="*/ 537119 w 630936"/>
                  <a:gd name="connsiteY231" fmla="*/ 209581 h 576620"/>
                  <a:gd name="connsiteX232" fmla="*/ 540410 w 630936"/>
                  <a:gd name="connsiteY232" fmla="*/ 209032 h 576620"/>
                  <a:gd name="connsiteX233" fmla="*/ 543702 w 630936"/>
                  <a:gd name="connsiteY233" fmla="*/ 213970 h 576620"/>
                  <a:gd name="connsiteX234" fmla="*/ 543702 w 630936"/>
                  <a:gd name="connsiteY234" fmla="*/ 217262 h 576620"/>
                  <a:gd name="connsiteX235" fmla="*/ 544799 w 630936"/>
                  <a:gd name="connsiteY235" fmla="*/ 220005 h 576620"/>
                  <a:gd name="connsiteX236" fmla="*/ 541508 w 630936"/>
                  <a:gd name="connsiteY236" fmla="*/ 222748 h 576620"/>
                  <a:gd name="connsiteX237" fmla="*/ 540410 w 630936"/>
                  <a:gd name="connsiteY237" fmla="*/ 225491 h 576620"/>
                  <a:gd name="connsiteX238" fmla="*/ 532729 w 630936"/>
                  <a:gd name="connsiteY238" fmla="*/ 226589 h 576620"/>
                  <a:gd name="connsiteX239" fmla="*/ 530535 w 630936"/>
                  <a:gd name="connsiteY239" fmla="*/ 225491 h 576620"/>
                  <a:gd name="connsiteX240" fmla="*/ 526694 w 630936"/>
                  <a:gd name="connsiteY240" fmla="*/ 226040 h 576620"/>
                  <a:gd name="connsiteX241" fmla="*/ 525049 w 630936"/>
                  <a:gd name="connsiteY241" fmla="*/ 227686 h 576620"/>
                  <a:gd name="connsiteX242" fmla="*/ 517916 w 630936"/>
                  <a:gd name="connsiteY242" fmla="*/ 231526 h 576620"/>
                  <a:gd name="connsiteX243" fmla="*/ 515173 w 630936"/>
                  <a:gd name="connsiteY243" fmla="*/ 236464 h 576620"/>
                  <a:gd name="connsiteX244" fmla="*/ 514624 w 630936"/>
                  <a:gd name="connsiteY244" fmla="*/ 243596 h 576620"/>
                  <a:gd name="connsiteX245" fmla="*/ 517916 w 630936"/>
                  <a:gd name="connsiteY245" fmla="*/ 247985 h 576620"/>
                  <a:gd name="connsiteX246" fmla="*/ 517367 w 630936"/>
                  <a:gd name="connsiteY246" fmla="*/ 251826 h 576620"/>
                  <a:gd name="connsiteX247" fmla="*/ 519013 w 630936"/>
                  <a:gd name="connsiteY247" fmla="*/ 251826 h 576620"/>
                  <a:gd name="connsiteX248" fmla="*/ 520111 w 630936"/>
                  <a:gd name="connsiteY248" fmla="*/ 254021 h 576620"/>
                  <a:gd name="connsiteX249" fmla="*/ 519013 w 630936"/>
                  <a:gd name="connsiteY249" fmla="*/ 256215 h 576620"/>
                  <a:gd name="connsiteX250" fmla="*/ 515722 w 630936"/>
                  <a:gd name="connsiteY250" fmla="*/ 258958 h 576620"/>
                  <a:gd name="connsiteX251" fmla="*/ 514076 w 630936"/>
                  <a:gd name="connsiteY251" fmla="*/ 262799 h 576620"/>
                  <a:gd name="connsiteX252" fmla="*/ 514624 w 630936"/>
                  <a:gd name="connsiteY252" fmla="*/ 264993 h 576620"/>
                  <a:gd name="connsiteX253" fmla="*/ 515722 w 630936"/>
                  <a:gd name="connsiteY253" fmla="*/ 266090 h 576620"/>
                  <a:gd name="connsiteX254" fmla="*/ 522854 w 630936"/>
                  <a:gd name="connsiteY254" fmla="*/ 266090 h 576620"/>
                  <a:gd name="connsiteX255" fmla="*/ 524500 w 630936"/>
                  <a:gd name="connsiteY255" fmla="*/ 270480 h 576620"/>
                  <a:gd name="connsiteX256" fmla="*/ 523403 w 630936"/>
                  <a:gd name="connsiteY256" fmla="*/ 272126 h 576620"/>
                  <a:gd name="connsiteX257" fmla="*/ 520660 w 630936"/>
                  <a:gd name="connsiteY257" fmla="*/ 272126 h 576620"/>
                  <a:gd name="connsiteX258" fmla="*/ 517916 w 630936"/>
                  <a:gd name="connsiteY258" fmla="*/ 271577 h 576620"/>
                  <a:gd name="connsiteX259" fmla="*/ 516270 w 630936"/>
                  <a:gd name="connsiteY259" fmla="*/ 270480 h 576620"/>
                  <a:gd name="connsiteX260" fmla="*/ 514076 w 630936"/>
                  <a:gd name="connsiteY260" fmla="*/ 274869 h 576620"/>
                  <a:gd name="connsiteX261" fmla="*/ 505297 w 630936"/>
                  <a:gd name="connsiteY261" fmla="*/ 278709 h 576620"/>
                  <a:gd name="connsiteX262" fmla="*/ 497068 w 630936"/>
                  <a:gd name="connsiteY262" fmla="*/ 289133 h 576620"/>
                  <a:gd name="connsiteX263" fmla="*/ 493776 w 630936"/>
                  <a:gd name="connsiteY263" fmla="*/ 291328 h 576620"/>
                  <a:gd name="connsiteX264" fmla="*/ 487741 w 630936"/>
                  <a:gd name="connsiteY264" fmla="*/ 299009 h 576620"/>
                  <a:gd name="connsiteX265" fmla="*/ 486644 w 630936"/>
                  <a:gd name="connsiteY265" fmla="*/ 302849 h 576620"/>
                  <a:gd name="connsiteX266" fmla="*/ 487741 w 630936"/>
                  <a:gd name="connsiteY266" fmla="*/ 308336 h 576620"/>
                  <a:gd name="connsiteX267" fmla="*/ 484998 w 630936"/>
                  <a:gd name="connsiteY267" fmla="*/ 313274 h 576620"/>
                  <a:gd name="connsiteX268" fmla="*/ 479512 w 630936"/>
                  <a:gd name="connsiteY268" fmla="*/ 317114 h 576620"/>
                  <a:gd name="connsiteX269" fmla="*/ 474025 w 630936"/>
                  <a:gd name="connsiteY269" fmla="*/ 317114 h 576620"/>
                  <a:gd name="connsiteX270" fmla="*/ 470185 w 630936"/>
                  <a:gd name="connsiteY270" fmla="*/ 320954 h 576620"/>
                  <a:gd name="connsiteX271" fmla="*/ 445496 w 630936"/>
                  <a:gd name="connsiteY271" fmla="*/ 361005 h 576620"/>
                  <a:gd name="connsiteX272" fmla="*/ 436717 w 630936"/>
                  <a:gd name="connsiteY272" fmla="*/ 365394 h 576620"/>
                  <a:gd name="connsiteX273" fmla="*/ 409834 w 630936"/>
                  <a:gd name="connsiteY273" fmla="*/ 403250 h 576620"/>
                  <a:gd name="connsiteX274" fmla="*/ 406542 w 630936"/>
                  <a:gd name="connsiteY274" fmla="*/ 405445 h 576620"/>
                  <a:gd name="connsiteX275" fmla="*/ 403799 w 630936"/>
                  <a:gd name="connsiteY275" fmla="*/ 406542 h 576620"/>
                  <a:gd name="connsiteX276" fmla="*/ 388986 w 630936"/>
                  <a:gd name="connsiteY276" fmla="*/ 405994 h 576620"/>
                  <a:gd name="connsiteX277" fmla="*/ 380756 w 630936"/>
                  <a:gd name="connsiteY277" fmla="*/ 409286 h 576620"/>
                  <a:gd name="connsiteX278" fmla="*/ 376916 w 630936"/>
                  <a:gd name="connsiteY278" fmla="*/ 413126 h 576620"/>
                  <a:gd name="connsiteX279" fmla="*/ 374173 w 630936"/>
                  <a:gd name="connsiteY279" fmla="*/ 413675 h 576620"/>
                  <a:gd name="connsiteX280" fmla="*/ 372527 w 630936"/>
                  <a:gd name="connsiteY280" fmla="*/ 412577 h 576620"/>
                  <a:gd name="connsiteX281" fmla="*/ 365394 w 630936"/>
                  <a:gd name="connsiteY281" fmla="*/ 400507 h 576620"/>
                  <a:gd name="connsiteX282" fmla="*/ 362651 w 630936"/>
                  <a:gd name="connsiteY282" fmla="*/ 398861 h 576620"/>
                  <a:gd name="connsiteX283" fmla="*/ 360457 w 630936"/>
                  <a:gd name="connsiteY283" fmla="*/ 399410 h 576620"/>
                  <a:gd name="connsiteX284" fmla="*/ 328636 w 630936"/>
                  <a:gd name="connsiteY284" fmla="*/ 433974 h 576620"/>
                  <a:gd name="connsiteX285" fmla="*/ 324246 w 630936"/>
                  <a:gd name="connsiteY285" fmla="*/ 450982 h 576620"/>
                  <a:gd name="connsiteX286" fmla="*/ 324246 w 630936"/>
                  <a:gd name="connsiteY286" fmla="*/ 454274 h 576620"/>
                  <a:gd name="connsiteX287" fmla="*/ 326441 w 630936"/>
                  <a:gd name="connsiteY287" fmla="*/ 457017 h 576620"/>
                  <a:gd name="connsiteX288" fmla="*/ 330281 w 630936"/>
                  <a:gd name="connsiteY288" fmla="*/ 459761 h 576620"/>
                  <a:gd name="connsiteX289" fmla="*/ 334670 w 630936"/>
                  <a:gd name="connsiteY289" fmla="*/ 459212 h 576620"/>
                  <a:gd name="connsiteX290" fmla="*/ 339608 w 630936"/>
                  <a:gd name="connsiteY290" fmla="*/ 460858 h 576620"/>
                  <a:gd name="connsiteX291" fmla="*/ 346741 w 630936"/>
                  <a:gd name="connsiteY291" fmla="*/ 460858 h 576620"/>
                  <a:gd name="connsiteX292" fmla="*/ 348386 w 630936"/>
                  <a:gd name="connsiteY292" fmla="*/ 461406 h 576620"/>
                  <a:gd name="connsiteX293" fmla="*/ 351130 w 630936"/>
                  <a:gd name="connsiteY293" fmla="*/ 464698 h 576620"/>
                  <a:gd name="connsiteX294" fmla="*/ 351678 w 630936"/>
                  <a:gd name="connsiteY294" fmla="*/ 466893 h 576620"/>
                  <a:gd name="connsiteX295" fmla="*/ 347289 w 630936"/>
                  <a:gd name="connsiteY295" fmla="*/ 483352 h 576620"/>
                  <a:gd name="connsiteX296" fmla="*/ 347289 w 630936"/>
                  <a:gd name="connsiteY296" fmla="*/ 487193 h 576620"/>
                  <a:gd name="connsiteX297" fmla="*/ 347838 w 630936"/>
                  <a:gd name="connsiteY297" fmla="*/ 489936 h 576620"/>
                  <a:gd name="connsiteX298" fmla="*/ 354970 w 630936"/>
                  <a:gd name="connsiteY298" fmla="*/ 497617 h 576620"/>
                  <a:gd name="connsiteX299" fmla="*/ 357713 w 630936"/>
                  <a:gd name="connsiteY299" fmla="*/ 498165 h 576620"/>
                  <a:gd name="connsiteX300" fmla="*/ 363748 w 630936"/>
                  <a:gd name="connsiteY300" fmla="*/ 496519 h 576620"/>
                  <a:gd name="connsiteX301" fmla="*/ 365943 w 630936"/>
                  <a:gd name="connsiteY301" fmla="*/ 497068 h 576620"/>
                  <a:gd name="connsiteX302" fmla="*/ 367040 w 630936"/>
                  <a:gd name="connsiteY302" fmla="*/ 498714 h 576620"/>
                  <a:gd name="connsiteX303" fmla="*/ 368137 w 630936"/>
                  <a:gd name="connsiteY303" fmla="*/ 512430 h 576620"/>
                  <a:gd name="connsiteX304" fmla="*/ 371429 w 630936"/>
                  <a:gd name="connsiteY304" fmla="*/ 516819 h 576620"/>
                  <a:gd name="connsiteX305" fmla="*/ 373075 w 630936"/>
                  <a:gd name="connsiteY305" fmla="*/ 522305 h 576620"/>
                  <a:gd name="connsiteX306" fmla="*/ 379659 w 630936"/>
                  <a:gd name="connsiteY306" fmla="*/ 529986 h 576620"/>
                  <a:gd name="connsiteX307" fmla="*/ 380207 w 630936"/>
                  <a:gd name="connsiteY307" fmla="*/ 531632 h 576620"/>
                  <a:gd name="connsiteX308" fmla="*/ 382951 w 630936"/>
                  <a:gd name="connsiteY308" fmla="*/ 534376 h 576620"/>
                  <a:gd name="connsiteX309" fmla="*/ 383500 w 630936"/>
                  <a:gd name="connsiteY309" fmla="*/ 537119 h 576620"/>
                  <a:gd name="connsiteX310" fmla="*/ 380207 w 630936"/>
                  <a:gd name="connsiteY310" fmla="*/ 538765 h 576620"/>
                  <a:gd name="connsiteX311" fmla="*/ 379659 w 630936"/>
                  <a:gd name="connsiteY311" fmla="*/ 539862 h 576620"/>
                  <a:gd name="connsiteX312" fmla="*/ 380207 w 630936"/>
                  <a:gd name="connsiteY312" fmla="*/ 546994 h 576620"/>
                  <a:gd name="connsiteX313" fmla="*/ 379659 w 630936"/>
                  <a:gd name="connsiteY313" fmla="*/ 549189 h 576620"/>
                  <a:gd name="connsiteX314" fmla="*/ 384048 w 630936"/>
                  <a:gd name="connsiteY314" fmla="*/ 549737 h 576620"/>
                  <a:gd name="connsiteX315" fmla="*/ 384597 w 630936"/>
                  <a:gd name="connsiteY315" fmla="*/ 551383 h 576620"/>
                  <a:gd name="connsiteX316" fmla="*/ 379659 w 630936"/>
                  <a:gd name="connsiteY316" fmla="*/ 551932 h 576620"/>
                  <a:gd name="connsiteX317" fmla="*/ 375818 w 630936"/>
                  <a:gd name="connsiteY317" fmla="*/ 554126 h 576620"/>
                  <a:gd name="connsiteX318" fmla="*/ 375270 w 630936"/>
                  <a:gd name="connsiteY318" fmla="*/ 555773 h 576620"/>
                  <a:gd name="connsiteX319" fmla="*/ 373624 w 630936"/>
                  <a:gd name="connsiteY319" fmla="*/ 556870 h 576620"/>
                  <a:gd name="connsiteX320" fmla="*/ 367040 w 630936"/>
                  <a:gd name="connsiteY320" fmla="*/ 556321 h 576620"/>
                  <a:gd name="connsiteX321" fmla="*/ 365394 w 630936"/>
                  <a:gd name="connsiteY321" fmla="*/ 555224 h 576620"/>
                  <a:gd name="connsiteX322" fmla="*/ 364846 w 630936"/>
                  <a:gd name="connsiteY322" fmla="*/ 554126 h 576620"/>
                  <a:gd name="connsiteX323" fmla="*/ 365394 w 630936"/>
                  <a:gd name="connsiteY323" fmla="*/ 550286 h 576620"/>
                  <a:gd name="connsiteX324" fmla="*/ 365394 w 630936"/>
                  <a:gd name="connsiteY324" fmla="*/ 549189 h 576620"/>
                  <a:gd name="connsiteX325" fmla="*/ 361005 w 630936"/>
                  <a:gd name="connsiteY325" fmla="*/ 548640 h 576620"/>
                  <a:gd name="connsiteX326" fmla="*/ 348935 w 630936"/>
                  <a:gd name="connsiteY326" fmla="*/ 553029 h 576620"/>
                  <a:gd name="connsiteX327" fmla="*/ 346741 w 630936"/>
                  <a:gd name="connsiteY327" fmla="*/ 558516 h 576620"/>
                  <a:gd name="connsiteX328" fmla="*/ 345095 w 630936"/>
                  <a:gd name="connsiteY328" fmla="*/ 559613 h 576620"/>
                  <a:gd name="connsiteX329" fmla="*/ 333573 w 630936"/>
                  <a:gd name="connsiteY329" fmla="*/ 559064 h 576620"/>
                  <a:gd name="connsiteX330" fmla="*/ 327538 w 630936"/>
                  <a:gd name="connsiteY330" fmla="*/ 554126 h 576620"/>
                  <a:gd name="connsiteX331" fmla="*/ 323698 w 630936"/>
                  <a:gd name="connsiteY331" fmla="*/ 555773 h 576620"/>
                  <a:gd name="connsiteX332" fmla="*/ 320954 w 630936"/>
                  <a:gd name="connsiteY332" fmla="*/ 554675 h 576620"/>
                  <a:gd name="connsiteX333" fmla="*/ 306141 w 630936"/>
                  <a:gd name="connsiteY333" fmla="*/ 555224 h 576620"/>
                  <a:gd name="connsiteX334" fmla="*/ 303398 w 630936"/>
                  <a:gd name="connsiteY334" fmla="*/ 554126 h 576620"/>
                  <a:gd name="connsiteX335" fmla="*/ 302301 w 630936"/>
                  <a:gd name="connsiteY335" fmla="*/ 555224 h 576620"/>
                  <a:gd name="connsiteX336" fmla="*/ 301204 w 630936"/>
                  <a:gd name="connsiteY336" fmla="*/ 555224 h 576620"/>
                  <a:gd name="connsiteX337" fmla="*/ 300106 w 630936"/>
                  <a:gd name="connsiteY337" fmla="*/ 551932 h 576620"/>
                  <a:gd name="connsiteX338" fmla="*/ 298460 w 630936"/>
                  <a:gd name="connsiteY338" fmla="*/ 551383 h 576620"/>
                  <a:gd name="connsiteX339" fmla="*/ 297363 w 630936"/>
                  <a:gd name="connsiteY339" fmla="*/ 554675 h 576620"/>
                  <a:gd name="connsiteX340" fmla="*/ 297363 w 630936"/>
                  <a:gd name="connsiteY340" fmla="*/ 566745 h 576620"/>
                  <a:gd name="connsiteX341" fmla="*/ 283647 w 630936"/>
                  <a:gd name="connsiteY341" fmla="*/ 566745 h 576620"/>
                  <a:gd name="connsiteX342" fmla="*/ 281452 w 630936"/>
                  <a:gd name="connsiteY342" fmla="*/ 567842 h 576620"/>
                  <a:gd name="connsiteX343" fmla="*/ 277612 w 630936"/>
                  <a:gd name="connsiteY343" fmla="*/ 566745 h 576620"/>
                  <a:gd name="connsiteX344" fmla="*/ 276515 w 630936"/>
                  <a:gd name="connsiteY344" fmla="*/ 570586 h 576620"/>
                  <a:gd name="connsiteX345" fmla="*/ 274869 w 630936"/>
                  <a:gd name="connsiteY345" fmla="*/ 570586 h 576620"/>
                  <a:gd name="connsiteX346" fmla="*/ 273772 w 630936"/>
                  <a:gd name="connsiteY346" fmla="*/ 573878 h 576620"/>
                  <a:gd name="connsiteX347" fmla="*/ 271028 w 630936"/>
                  <a:gd name="connsiteY347" fmla="*/ 576072 h 576620"/>
                  <a:gd name="connsiteX348" fmla="*/ 267736 w 630936"/>
                  <a:gd name="connsiteY348" fmla="*/ 576621 h 576620"/>
                  <a:gd name="connsiteX349" fmla="*/ 258958 w 630936"/>
                  <a:gd name="connsiteY349" fmla="*/ 573329 h 576620"/>
                  <a:gd name="connsiteX350" fmla="*/ 251277 w 630936"/>
                  <a:gd name="connsiteY350" fmla="*/ 572780 h 576620"/>
                  <a:gd name="connsiteX351" fmla="*/ 249083 w 630936"/>
                  <a:gd name="connsiteY351" fmla="*/ 570586 h 576620"/>
                  <a:gd name="connsiteX352" fmla="*/ 247985 w 630936"/>
                  <a:gd name="connsiteY352" fmla="*/ 566745 h 576620"/>
                  <a:gd name="connsiteX353" fmla="*/ 243047 w 630936"/>
                  <a:gd name="connsiteY353" fmla="*/ 561259 h 576620"/>
                  <a:gd name="connsiteX354" fmla="*/ 235367 w 630936"/>
                  <a:gd name="connsiteY354" fmla="*/ 541508 h 576620"/>
                  <a:gd name="connsiteX355" fmla="*/ 235367 w 630936"/>
                  <a:gd name="connsiteY355" fmla="*/ 537119 h 576620"/>
                  <a:gd name="connsiteX356" fmla="*/ 232624 w 630936"/>
                  <a:gd name="connsiteY356" fmla="*/ 537119 h 576620"/>
                  <a:gd name="connsiteX357" fmla="*/ 220553 w 630936"/>
                  <a:gd name="connsiteY357" fmla="*/ 531632 h 576620"/>
                  <a:gd name="connsiteX358" fmla="*/ 217810 w 630936"/>
                  <a:gd name="connsiteY358" fmla="*/ 517916 h 576620"/>
                  <a:gd name="connsiteX359" fmla="*/ 215615 w 630936"/>
                  <a:gd name="connsiteY359" fmla="*/ 514625 h 576620"/>
                  <a:gd name="connsiteX360" fmla="*/ 206289 w 630936"/>
                  <a:gd name="connsiteY360" fmla="*/ 508589 h 576620"/>
                  <a:gd name="connsiteX361" fmla="*/ 171724 w 630936"/>
                  <a:gd name="connsiteY361" fmla="*/ 510235 h 576620"/>
                  <a:gd name="connsiteX362" fmla="*/ 160751 w 630936"/>
                  <a:gd name="connsiteY362" fmla="*/ 514076 h 576620"/>
                  <a:gd name="connsiteX363" fmla="*/ 144841 w 630936"/>
                  <a:gd name="connsiteY363" fmla="*/ 511333 h 576620"/>
                  <a:gd name="connsiteX364" fmla="*/ 139903 w 630936"/>
                  <a:gd name="connsiteY364" fmla="*/ 519562 h 576620"/>
                  <a:gd name="connsiteX365" fmla="*/ 136612 w 630936"/>
                  <a:gd name="connsiteY365" fmla="*/ 515173 h 576620"/>
                  <a:gd name="connsiteX366" fmla="*/ 128382 w 630936"/>
                  <a:gd name="connsiteY366" fmla="*/ 515173 h 576620"/>
                  <a:gd name="connsiteX367" fmla="*/ 122347 w 630936"/>
                  <a:gd name="connsiteY367" fmla="*/ 510235 h 576620"/>
                  <a:gd name="connsiteX368" fmla="*/ 112471 w 630936"/>
                  <a:gd name="connsiteY368" fmla="*/ 511333 h 576620"/>
                  <a:gd name="connsiteX369" fmla="*/ 103693 w 630936"/>
                  <a:gd name="connsiteY369" fmla="*/ 510235 h 576620"/>
                  <a:gd name="connsiteX370" fmla="*/ 98207 w 630936"/>
                  <a:gd name="connsiteY370" fmla="*/ 515722 h 576620"/>
                  <a:gd name="connsiteX371" fmla="*/ 61996 w 630936"/>
                  <a:gd name="connsiteY371" fmla="*/ 515173 h 576620"/>
                  <a:gd name="connsiteX372" fmla="*/ 51572 w 630936"/>
                  <a:gd name="connsiteY372" fmla="*/ 519562 h 576620"/>
                  <a:gd name="connsiteX373" fmla="*/ 46634 w 630936"/>
                  <a:gd name="connsiteY373" fmla="*/ 516819 h 576620"/>
                  <a:gd name="connsiteX374" fmla="*/ 41697 w 630936"/>
                  <a:gd name="connsiteY374" fmla="*/ 521208 h 576620"/>
                  <a:gd name="connsiteX375" fmla="*/ 36210 w 630936"/>
                  <a:gd name="connsiteY375" fmla="*/ 521757 h 576620"/>
                  <a:gd name="connsiteX376" fmla="*/ 32370 w 630936"/>
                  <a:gd name="connsiteY376" fmla="*/ 523951 h 576620"/>
                  <a:gd name="connsiteX377" fmla="*/ 30724 w 630936"/>
                  <a:gd name="connsiteY377" fmla="*/ 519562 h 576620"/>
                  <a:gd name="connsiteX378" fmla="*/ 27981 w 630936"/>
                  <a:gd name="connsiteY378" fmla="*/ 519014 h 5766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</a:cxnLst>
                <a:rect l="l" t="t" r="r" b="b"/>
                <a:pathLst>
                  <a:path w="630936" h="576620">
                    <a:moveTo>
                      <a:pt x="27981" y="519014"/>
                    </a:moveTo>
                    <a:lnTo>
                      <a:pt x="37856" y="480060"/>
                    </a:lnTo>
                    <a:lnTo>
                      <a:pt x="52669" y="464698"/>
                    </a:lnTo>
                    <a:lnTo>
                      <a:pt x="80101" y="456469"/>
                    </a:lnTo>
                    <a:lnTo>
                      <a:pt x="89977" y="447142"/>
                    </a:lnTo>
                    <a:lnTo>
                      <a:pt x="91623" y="443301"/>
                    </a:lnTo>
                    <a:lnTo>
                      <a:pt x="90526" y="436169"/>
                    </a:lnTo>
                    <a:lnTo>
                      <a:pt x="87234" y="432877"/>
                    </a:lnTo>
                    <a:lnTo>
                      <a:pt x="74066" y="430134"/>
                    </a:lnTo>
                    <a:lnTo>
                      <a:pt x="70775" y="392826"/>
                    </a:lnTo>
                    <a:lnTo>
                      <a:pt x="66934" y="388437"/>
                    </a:lnTo>
                    <a:lnTo>
                      <a:pt x="37856" y="376916"/>
                    </a:lnTo>
                    <a:lnTo>
                      <a:pt x="29078" y="369784"/>
                    </a:lnTo>
                    <a:lnTo>
                      <a:pt x="14265" y="340157"/>
                    </a:lnTo>
                    <a:lnTo>
                      <a:pt x="0" y="325344"/>
                    </a:lnTo>
                    <a:lnTo>
                      <a:pt x="2195" y="321503"/>
                    </a:lnTo>
                    <a:lnTo>
                      <a:pt x="2195" y="321503"/>
                    </a:lnTo>
                    <a:lnTo>
                      <a:pt x="60350" y="340706"/>
                    </a:lnTo>
                    <a:lnTo>
                      <a:pt x="63094" y="340157"/>
                    </a:lnTo>
                    <a:lnTo>
                      <a:pt x="65837" y="337962"/>
                    </a:lnTo>
                    <a:lnTo>
                      <a:pt x="110277" y="335768"/>
                    </a:lnTo>
                    <a:lnTo>
                      <a:pt x="121249" y="340157"/>
                    </a:lnTo>
                    <a:lnTo>
                      <a:pt x="123444" y="338511"/>
                    </a:lnTo>
                    <a:lnTo>
                      <a:pt x="125639" y="335219"/>
                    </a:lnTo>
                    <a:lnTo>
                      <a:pt x="127285" y="333573"/>
                    </a:lnTo>
                    <a:lnTo>
                      <a:pt x="132222" y="331927"/>
                    </a:lnTo>
                    <a:lnTo>
                      <a:pt x="158008" y="333025"/>
                    </a:lnTo>
                    <a:lnTo>
                      <a:pt x="200802" y="322601"/>
                    </a:lnTo>
                    <a:lnTo>
                      <a:pt x="206289" y="317663"/>
                    </a:lnTo>
                    <a:lnTo>
                      <a:pt x="206837" y="313274"/>
                    </a:lnTo>
                    <a:lnTo>
                      <a:pt x="204643" y="311079"/>
                    </a:lnTo>
                    <a:lnTo>
                      <a:pt x="204094" y="308336"/>
                    </a:lnTo>
                    <a:lnTo>
                      <a:pt x="206837" y="295717"/>
                    </a:lnTo>
                    <a:lnTo>
                      <a:pt x="205740" y="286939"/>
                    </a:lnTo>
                    <a:lnTo>
                      <a:pt x="207935" y="276515"/>
                    </a:lnTo>
                    <a:lnTo>
                      <a:pt x="210678" y="272674"/>
                    </a:lnTo>
                    <a:lnTo>
                      <a:pt x="218908" y="266090"/>
                    </a:lnTo>
                    <a:lnTo>
                      <a:pt x="222748" y="259507"/>
                    </a:lnTo>
                    <a:lnTo>
                      <a:pt x="227137" y="256764"/>
                    </a:lnTo>
                    <a:lnTo>
                      <a:pt x="230429" y="258410"/>
                    </a:lnTo>
                    <a:lnTo>
                      <a:pt x="230429" y="260604"/>
                    </a:lnTo>
                    <a:lnTo>
                      <a:pt x="258409" y="257861"/>
                    </a:lnTo>
                    <a:lnTo>
                      <a:pt x="260056" y="255666"/>
                    </a:lnTo>
                    <a:lnTo>
                      <a:pt x="260056" y="253472"/>
                    </a:lnTo>
                    <a:lnTo>
                      <a:pt x="254569" y="251826"/>
                    </a:lnTo>
                    <a:lnTo>
                      <a:pt x="254020" y="250729"/>
                    </a:lnTo>
                    <a:lnTo>
                      <a:pt x="256215" y="247985"/>
                    </a:lnTo>
                    <a:lnTo>
                      <a:pt x="267736" y="242499"/>
                    </a:lnTo>
                    <a:lnTo>
                      <a:pt x="269931" y="239207"/>
                    </a:lnTo>
                    <a:lnTo>
                      <a:pt x="272674" y="237561"/>
                    </a:lnTo>
                    <a:lnTo>
                      <a:pt x="277063" y="237561"/>
                    </a:lnTo>
                    <a:lnTo>
                      <a:pt x="288585" y="240853"/>
                    </a:lnTo>
                    <a:lnTo>
                      <a:pt x="288036" y="239207"/>
                    </a:lnTo>
                    <a:lnTo>
                      <a:pt x="285293" y="238110"/>
                    </a:lnTo>
                    <a:lnTo>
                      <a:pt x="286939" y="235367"/>
                    </a:lnTo>
                    <a:lnTo>
                      <a:pt x="289682" y="235367"/>
                    </a:lnTo>
                    <a:lnTo>
                      <a:pt x="295168" y="238658"/>
                    </a:lnTo>
                    <a:lnTo>
                      <a:pt x="296266" y="241402"/>
                    </a:lnTo>
                    <a:lnTo>
                      <a:pt x="297911" y="244145"/>
                    </a:lnTo>
                    <a:lnTo>
                      <a:pt x="301204" y="245791"/>
                    </a:lnTo>
                    <a:lnTo>
                      <a:pt x="303398" y="245242"/>
                    </a:lnTo>
                    <a:lnTo>
                      <a:pt x="316565" y="231526"/>
                    </a:lnTo>
                    <a:lnTo>
                      <a:pt x="317114" y="229332"/>
                    </a:lnTo>
                    <a:lnTo>
                      <a:pt x="314371" y="209581"/>
                    </a:lnTo>
                    <a:lnTo>
                      <a:pt x="315468" y="206837"/>
                    </a:lnTo>
                    <a:lnTo>
                      <a:pt x="319857" y="200254"/>
                    </a:lnTo>
                    <a:lnTo>
                      <a:pt x="321503" y="200254"/>
                    </a:lnTo>
                    <a:lnTo>
                      <a:pt x="322052" y="197510"/>
                    </a:lnTo>
                    <a:lnTo>
                      <a:pt x="320954" y="193121"/>
                    </a:lnTo>
                    <a:lnTo>
                      <a:pt x="322600" y="189830"/>
                    </a:lnTo>
                    <a:lnTo>
                      <a:pt x="325892" y="188184"/>
                    </a:lnTo>
                    <a:lnTo>
                      <a:pt x="326441" y="178857"/>
                    </a:lnTo>
                    <a:lnTo>
                      <a:pt x="335219" y="176114"/>
                    </a:lnTo>
                    <a:lnTo>
                      <a:pt x="340705" y="177211"/>
                    </a:lnTo>
                    <a:lnTo>
                      <a:pt x="351678" y="170627"/>
                    </a:lnTo>
                    <a:lnTo>
                      <a:pt x="354970" y="166238"/>
                    </a:lnTo>
                    <a:lnTo>
                      <a:pt x="355519" y="163495"/>
                    </a:lnTo>
                    <a:lnTo>
                      <a:pt x="352227" y="160752"/>
                    </a:lnTo>
                    <a:lnTo>
                      <a:pt x="348935" y="149779"/>
                    </a:lnTo>
                    <a:lnTo>
                      <a:pt x="346192" y="149230"/>
                    </a:lnTo>
                    <a:lnTo>
                      <a:pt x="340705" y="140452"/>
                    </a:lnTo>
                    <a:lnTo>
                      <a:pt x="341803" y="137160"/>
                    </a:lnTo>
                    <a:lnTo>
                      <a:pt x="344546" y="135514"/>
                    </a:lnTo>
                    <a:lnTo>
                      <a:pt x="368137" y="139903"/>
                    </a:lnTo>
                    <a:lnTo>
                      <a:pt x="380207" y="136063"/>
                    </a:lnTo>
                    <a:lnTo>
                      <a:pt x="385694" y="128930"/>
                    </a:lnTo>
                    <a:lnTo>
                      <a:pt x="385694" y="124541"/>
                    </a:lnTo>
                    <a:lnTo>
                      <a:pt x="387340" y="122347"/>
                    </a:lnTo>
                    <a:lnTo>
                      <a:pt x="385694" y="119604"/>
                    </a:lnTo>
                    <a:lnTo>
                      <a:pt x="381853" y="119055"/>
                    </a:lnTo>
                    <a:lnTo>
                      <a:pt x="381853" y="114117"/>
                    </a:lnTo>
                    <a:lnTo>
                      <a:pt x="384597" y="111374"/>
                    </a:lnTo>
                    <a:lnTo>
                      <a:pt x="386791" y="106436"/>
                    </a:lnTo>
                    <a:lnTo>
                      <a:pt x="401605" y="91623"/>
                    </a:lnTo>
                    <a:lnTo>
                      <a:pt x="403799" y="86685"/>
                    </a:lnTo>
                    <a:lnTo>
                      <a:pt x="404348" y="82296"/>
                    </a:lnTo>
                    <a:lnTo>
                      <a:pt x="403250" y="80102"/>
                    </a:lnTo>
                    <a:lnTo>
                      <a:pt x="403250" y="77907"/>
                    </a:lnTo>
                    <a:lnTo>
                      <a:pt x="405994" y="72421"/>
                    </a:lnTo>
                    <a:lnTo>
                      <a:pt x="405994" y="70775"/>
                    </a:lnTo>
                    <a:lnTo>
                      <a:pt x="400507" y="55413"/>
                    </a:lnTo>
                    <a:lnTo>
                      <a:pt x="390083" y="46634"/>
                    </a:lnTo>
                    <a:lnTo>
                      <a:pt x="389534" y="44989"/>
                    </a:lnTo>
                    <a:lnTo>
                      <a:pt x="390083" y="41697"/>
                    </a:lnTo>
                    <a:lnTo>
                      <a:pt x="392278" y="38405"/>
                    </a:lnTo>
                    <a:lnTo>
                      <a:pt x="403799" y="29627"/>
                    </a:lnTo>
                    <a:lnTo>
                      <a:pt x="404348" y="26335"/>
                    </a:lnTo>
                    <a:lnTo>
                      <a:pt x="405445" y="25238"/>
                    </a:lnTo>
                    <a:lnTo>
                      <a:pt x="408737" y="25238"/>
                    </a:lnTo>
                    <a:lnTo>
                      <a:pt x="411480" y="26883"/>
                    </a:lnTo>
                    <a:lnTo>
                      <a:pt x="414223" y="26335"/>
                    </a:lnTo>
                    <a:lnTo>
                      <a:pt x="413675" y="23592"/>
                    </a:lnTo>
                    <a:lnTo>
                      <a:pt x="414772" y="21397"/>
                    </a:lnTo>
                    <a:lnTo>
                      <a:pt x="421355" y="20300"/>
                    </a:lnTo>
                    <a:lnTo>
                      <a:pt x="423550" y="18105"/>
                    </a:lnTo>
                    <a:lnTo>
                      <a:pt x="423550" y="15362"/>
                    </a:lnTo>
                    <a:lnTo>
                      <a:pt x="426842" y="15362"/>
                    </a:lnTo>
                    <a:lnTo>
                      <a:pt x="429585" y="13167"/>
                    </a:lnTo>
                    <a:lnTo>
                      <a:pt x="435620" y="12619"/>
                    </a:lnTo>
                    <a:lnTo>
                      <a:pt x="441655" y="8778"/>
                    </a:lnTo>
                    <a:lnTo>
                      <a:pt x="446593" y="8230"/>
                    </a:lnTo>
                    <a:lnTo>
                      <a:pt x="453177" y="5486"/>
                    </a:lnTo>
                    <a:lnTo>
                      <a:pt x="455920" y="6035"/>
                    </a:lnTo>
                    <a:lnTo>
                      <a:pt x="480060" y="4389"/>
                    </a:lnTo>
                    <a:lnTo>
                      <a:pt x="482255" y="4938"/>
                    </a:lnTo>
                    <a:lnTo>
                      <a:pt x="487192" y="4389"/>
                    </a:lnTo>
                    <a:lnTo>
                      <a:pt x="497068" y="7681"/>
                    </a:lnTo>
                    <a:lnTo>
                      <a:pt x="500360" y="7681"/>
                    </a:lnTo>
                    <a:lnTo>
                      <a:pt x="504749" y="3841"/>
                    </a:lnTo>
                    <a:lnTo>
                      <a:pt x="506395" y="3841"/>
                    </a:lnTo>
                    <a:lnTo>
                      <a:pt x="509687" y="2195"/>
                    </a:lnTo>
                    <a:lnTo>
                      <a:pt x="516819" y="2743"/>
                    </a:lnTo>
                    <a:lnTo>
                      <a:pt x="517367" y="0"/>
                    </a:lnTo>
                    <a:lnTo>
                      <a:pt x="516819" y="1097"/>
                    </a:lnTo>
                    <a:lnTo>
                      <a:pt x="524500" y="3292"/>
                    </a:lnTo>
                    <a:lnTo>
                      <a:pt x="533827" y="1646"/>
                    </a:lnTo>
                    <a:lnTo>
                      <a:pt x="536021" y="2195"/>
                    </a:lnTo>
                    <a:lnTo>
                      <a:pt x="540410" y="4389"/>
                    </a:lnTo>
                    <a:lnTo>
                      <a:pt x="544799" y="3292"/>
                    </a:lnTo>
                    <a:lnTo>
                      <a:pt x="546445" y="4938"/>
                    </a:lnTo>
                    <a:lnTo>
                      <a:pt x="546445" y="13716"/>
                    </a:lnTo>
                    <a:lnTo>
                      <a:pt x="546994" y="14265"/>
                    </a:lnTo>
                    <a:lnTo>
                      <a:pt x="551932" y="11522"/>
                    </a:lnTo>
                    <a:lnTo>
                      <a:pt x="555224" y="10424"/>
                    </a:lnTo>
                    <a:lnTo>
                      <a:pt x="566197" y="20300"/>
                    </a:lnTo>
                    <a:lnTo>
                      <a:pt x="568391" y="24140"/>
                    </a:lnTo>
                    <a:lnTo>
                      <a:pt x="566745" y="32918"/>
                    </a:lnTo>
                    <a:lnTo>
                      <a:pt x="568940" y="34565"/>
                    </a:lnTo>
                    <a:lnTo>
                      <a:pt x="569488" y="37856"/>
                    </a:lnTo>
                    <a:lnTo>
                      <a:pt x="568391" y="40051"/>
                    </a:lnTo>
                    <a:lnTo>
                      <a:pt x="565648" y="41148"/>
                    </a:lnTo>
                    <a:lnTo>
                      <a:pt x="565099" y="42794"/>
                    </a:lnTo>
                    <a:lnTo>
                      <a:pt x="566197" y="44989"/>
                    </a:lnTo>
                    <a:lnTo>
                      <a:pt x="570586" y="46634"/>
                    </a:lnTo>
                    <a:lnTo>
                      <a:pt x="575524" y="54315"/>
                    </a:lnTo>
                    <a:lnTo>
                      <a:pt x="577718" y="54864"/>
                    </a:lnTo>
                    <a:lnTo>
                      <a:pt x="581558" y="53218"/>
                    </a:lnTo>
                    <a:lnTo>
                      <a:pt x="583204" y="53767"/>
                    </a:lnTo>
                    <a:lnTo>
                      <a:pt x="586496" y="51024"/>
                    </a:lnTo>
                    <a:lnTo>
                      <a:pt x="589240" y="50475"/>
                    </a:lnTo>
                    <a:lnTo>
                      <a:pt x="590337" y="52670"/>
                    </a:lnTo>
                    <a:lnTo>
                      <a:pt x="590337" y="57059"/>
                    </a:lnTo>
                    <a:lnTo>
                      <a:pt x="613928" y="69129"/>
                    </a:lnTo>
                    <a:lnTo>
                      <a:pt x="618317" y="68580"/>
                    </a:lnTo>
                    <a:lnTo>
                      <a:pt x="623255" y="71872"/>
                    </a:lnTo>
                    <a:lnTo>
                      <a:pt x="630936" y="71872"/>
                    </a:lnTo>
                    <a:lnTo>
                      <a:pt x="606796" y="89429"/>
                    </a:lnTo>
                    <a:lnTo>
                      <a:pt x="604601" y="93269"/>
                    </a:lnTo>
                    <a:lnTo>
                      <a:pt x="605699" y="94366"/>
                    </a:lnTo>
                    <a:lnTo>
                      <a:pt x="605699" y="96561"/>
                    </a:lnTo>
                    <a:lnTo>
                      <a:pt x="602407" y="102047"/>
                    </a:lnTo>
                    <a:lnTo>
                      <a:pt x="600212" y="104790"/>
                    </a:lnTo>
                    <a:lnTo>
                      <a:pt x="598018" y="104242"/>
                    </a:lnTo>
                    <a:lnTo>
                      <a:pt x="595274" y="101498"/>
                    </a:lnTo>
                    <a:lnTo>
                      <a:pt x="582656" y="102596"/>
                    </a:lnTo>
                    <a:lnTo>
                      <a:pt x="581010" y="103145"/>
                    </a:lnTo>
                    <a:lnTo>
                      <a:pt x="577718" y="107534"/>
                    </a:lnTo>
                    <a:lnTo>
                      <a:pt x="575524" y="108631"/>
                    </a:lnTo>
                    <a:lnTo>
                      <a:pt x="572231" y="108631"/>
                    </a:lnTo>
                    <a:lnTo>
                      <a:pt x="566745" y="106985"/>
                    </a:lnTo>
                    <a:lnTo>
                      <a:pt x="564002" y="108082"/>
                    </a:lnTo>
                    <a:lnTo>
                      <a:pt x="562356" y="110825"/>
                    </a:lnTo>
                    <a:lnTo>
                      <a:pt x="560161" y="113020"/>
                    </a:lnTo>
                    <a:lnTo>
                      <a:pt x="557967" y="113569"/>
                    </a:lnTo>
                    <a:lnTo>
                      <a:pt x="554675" y="112471"/>
                    </a:lnTo>
                    <a:lnTo>
                      <a:pt x="551932" y="113569"/>
                    </a:lnTo>
                    <a:lnTo>
                      <a:pt x="549189" y="111374"/>
                    </a:lnTo>
                    <a:lnTo>
                      <a:pt x="540410" y="111923"/>
                    </a:lnTo>
                    <a:lnTo>
                      <a:pt x="537667" y="110825"/>
                    </a:lnTo>
                    <a:lnTo>
                      <a:pt x="533827" y="110825"/>
                    </a:lnTo>
                    <a:lnTo>
                      <a:pt x="504749" y="98207"/>
                    </a:lnTo>
                    <a:lnTo>
                      <a:pt x="501457" y="99853"/>
                    </a:lnTo>
                    <a:lnTo>
                      <a:pt x="498714" y="102596"/>
                    </a:lnTo>
                    <a:lnTo>
                      <a:pt x="493776" y="102047"/>
                    </a:lnTo>
                    <a:lnTo>
                      <a:pt x="491581" y="102596"/>
                    </a:lnTo>
                    <a:lnTo>
                      <a:pt x="489935" y="104242"/>
                    </a:lnTo>
                    <a:lnTo>
                      <a:pt x="489387" y="109728"/>
                    </a:lnTo>
                    <a:lnTo>
                      <a:pt x="483901" y="119604"/>
                    </a:lnTo>
                    <a:lnTo>
                      <a:pt x="484449" y="120701"/>
                    </a:lnTo>
                    <a:lnTo>
                      <a:pt x="490484" y="120701"/>
                    </a:lnTo>
                    <a:lnTo>
                      <a:pt x="492130" y="124541"/>
                    </a:lnTo>
                    <a:lnTo>
                      <a:pt x="491581" y="126736"/>
                    </a:lnTo>
                    <a:lnTo>
                      <a:pt x="488838" y="128382"/>
                    </a:lnTo>
                    <a:lnTo>
                      <a:pt x="487741" y="129479"/>
                    </a:lnTo>
                    <a:lnTo>
                      <a:pt x="487741" y="132222"/>
                    </a:lnTo>
                    <a:lnTo>
                      <a:pt x="488838" y="134417"/>
                    </a:lnTo>
                    <a:lnTo>
                      <a:pt x="491033" y="135514"/>
                    </a:lnTo>
                    <a:lnTo>
                      <a:pt x="498714" y="134417"/>
                    </a:lnTo>
                    <a:lnTo>
                      <a:pt x="500360" y="136063"/>
                    </a:lnTo>
                    <a:lnTo>
                      <a:pt x="501457" y="138806"/>
                    </a:lnTo>
                    <a:lnTo>
                      <a:pt x="501457" y="139903"/>
                    </a:lnTo>
                    <a:lnTo>
                      <a:pt x="498165" y="142646"/>
                    </a:lnTo>
                    <a:lnTo>
                      <a:pt x="493776" y="144841"/>
                    </a:lnTo>
                    <a:lnTo>
                      <a:pt x="492679" y="148133"/>
                    </a:lnTo>
                    <a:lnTo>
                      <a:pt x="500908" y="155814"/>
                    </a:lnTo>
                    <a:lnTo>
                      <a:pt x="501457" y="160752"/>
                    </a:lnTo>
                    <a:lnTo>
                      <a:pt x="500360" y="163495"/>
                    </a:lnTo>
                    <a:lnTo>
                      <a:pt x="491033" y="170078"/>
                    </a:lnTo>
                    <a:lnTo>
                      <a:pt x="490484" y="171725"/>
                    </a:lnTo>
                    <a:lnTo>
                      <a:pt x="495971" y="174468"/>
                    </a:lnTo>
                    <a:lnTo>
                      <a:pt x="498714" y="180503"/>
                    </a:lnTo>
                    <a:lnTo>
                      <a:pt x="505297" y="184343"/>
                    </a:lnTo>
                    <a:lnTo>
                      <a:pt x="504749" y="190378"/>
                    </a:lnTo>
                    <a:lnTo>
                      <a:pt x="509687" y="190927"/>
                    </a:lnTo>
                    <a:lnTo>
                      <a:pt x="511333" y="193121"/>
                    </a:lnTo>
                    <a:lnTo>
                      <a:pt x="515722" y="191476"/>
                    </a:lnTo>
                    <a:lnTo>
                      <a:pt x="518465" y="192573"/>
                    </a:lnTo>
                    <a:lnTo>
                      <a:pt x="518465" y="199705"/>
                    </a:lnTo>
                    <a:lnTo>
                      <a:pt x="520111" y="205192"/>
                    </a:lnTo>
                    <a:lnTo>
                      <a:pt x="521208" y="206289"/>
                    </a:lnTo>
                    <a:lnTo>
                      <a:pt x="533278" y="206837"/>
                    </a:lnTo>
                    <a:lnTo>
                      <a:pt x="537119" y="209581"/>
                    </a:lnTo>
                    <a:lnTo>
                      <a:pt x="540410" y="209032"/>
                    </a:lnTo>
                    <a:lnTo>
                      <a:pt x="543702" y="213970"/>
                    </a:lnTo>
                    <a:lnTo>
                      <a:pt x="543702" y="217262"/>
                    </a:lnTo>
                    <a:lnTo>
                      <a:pt x="544799" y="220005"/>
                    </a:lnTo>
                    <a:lnTo>
                      <a:pt x="541508" y="222748"/>
                    </a:lnTo>
                    <a:lnTo>
                      <a:pt x="540410" y="225491"/>
                    </a:lnTo>
                    <a:lnTo>
                      <a:pt x="532729" y="226589"/>
                    </a:lnTo>
                    <a:lnTo>
                      <a:pt x="530535" y="225491"/>
                    </a:lnTo>
                    <a:lnTo>
                      <a:pt x="526694" y="226040"/>
                    </a:lnTo>
                    <a:lnTo>
                      <a:pt x="525049" y="227686"/>
                    </a:lnTo>
                    <a:lnTo>
                      <a:pt x="517916" y="231526"/>
                    </a:lnTo>
                    <a:lnTo>
                      <a:pt x="515173" y="236464"/>
                    </a:lnTo>
                    <a:lnTo>
                      <a:pt x="514624" y="243596"/>
                    </a:lnTo>
                    <a:lnTo>
                      <a:pt x="517916" y="247985"/>
                    </a:lnTo>
                    <a:lnTo>
                      <a:pt x="517367" y="251826"/>
                    </a:lnTo>
                    <a:lnTo>
                      <a:pt x="519013" y="251826"/>
                    </a:lnTo>
                    <a:lnTo>
                      <a:pt x="520111" y="254021"/>
                    </a:lnTo>
                    <a:lnTo>
                      <a:pt x="519013" y="256215"/>
                    </a:lnTo>
                    <a:lnTo>
                      <a:pt x="515722" y="258958"/>
                    </a:lnTo>
                    <a:lnTo>
                      <a:pt x="514076" y="262799"/>
                    </a:lnTo>
                    <a:lnTo>
                      <a:pt x="514624" y="264993"/>
                    </a:lnTo>
                    <a:lnTo>
                      <a:pt x="515722" y="266090"/>
                    </a:lnTo>
                    <a:lnTo>
                      <a:pt x="522854" y="266090"/>
                    </a:lnTo>
                    <a:lnTo>
                      <a:pt x="524500" y="270480"/>
                    </a:lnTo>
                    <a:lnTo>
                      <a:pt x="523403" y="272126"/>
                    </a:lnTo>
                    <a:lnTo>
                      <a:pt x="520660" y="272126"/>
                    </a:lnTo>
                    <a:lnTo>
                      <a:pt x="517916" y="271577"/>
                    </a:lnTo>
                    <a:lnTo>
                      <a:pt x="516270" y="270480"/>
                    </a:lnTo>
                    <a:lnTo>
                      <a:pt x="514076" y="274869"/>
                    </a:lnTo>
                    <a:lnTo>
                      <a:pt x="505297" y="278709"/>
                    </a:lnTo>
                    <a:lnTo>
                      <a:pt x="497068" y="289133"/>
                    </a:lnTo>
                    <a:lnTo>
                      <a:pt x="493776" y="291328"/>
                    </a:lnTo>
                    <a:lnTo>
                      <a:pt x="487741" y="299009"/>
                    </a:lnTo>
                    <a:lnTo>
                      <a:pt x="486644" y="302849"/>
                    </a:lnTo>
                    <a:lnTo>
                      <a:pt x="487741" y="308336"/>
                    </a:lnTo>
                    <a:lnTo>
                      <a:pt x="484998" y="313274"/>
                    </a:lnTo>
                    <a:lnTo>
                      <a:pt x="479512" y="317114"/>
                    </a:lnTo>
                    <a:lnTo>
                      <a:pt x="474025" y="317114"/>
                    </a:lnTo>
                    <a:lnTo>
                      <a:pt x="470185" y="320954"/>
                    </a:lnTo>
                    <a:lnTo>
                      <a:pt x="445496" y="361005"/>
                    </a:lnTo>
                    <a:lnTo>
                      <a:pt x="436717" y="365394"/>
                    </a:lnTo>
                    <a:lnTo>
                      <a:pt x="409834" y="403250"/>
                    </a:lnTo>
                    <a:lnTo>
                      <a:pt x="406542" y="405445"/>
                    </a:lnTo>
                    <a:lnTo>
                      <a:pt x="403799" y="406542"/>
                    </a:lnTo>
                    <a:lnTo>
                      <a:pt x="388986" y="405994"/>
                    </a:lnTo>
                    <a:lnTo>
                      <a:pt x="380756" y="409286"/>
                    </a:lnTo>
                    <a:lnTo>
                      <a:pt x="376916" y="413126"/>
                    </a:lnTo>
                    <a:lnTo>
                      <a:pt x="374173" y="413675"/>
                    </a:lnTo>
                    <a:lnTo>
                      <a:pt x="372527" y="412577"/>
                    </a:lnTo>
                    <a:lnTo>
                      <a:pt x="365394" y="400507"/>
                    </a:lnTo>
                    <a:lnTo>
                      <a:pt x="362651" y="398861"/>
                    </a:lnTo>
                    <a:lnTo>
                      <a:pt x="360457" y="399410"/>
                    </a:lnTo>
                    <a:lnTo>
                      <a:pt x="328636" y="433974"/>
                    </a:lnTo>
                    <a:lnTo>
                      <a:pt x="324246" y="450982"/>
                    </a:lnTo>
                    <a:lnTo>
                      <a:pt x="324246" y="454274"/>
                    </a:lnTo>
                    <a:lnTo>
                      <a:pt x="326441" y="457017"/>
                    </a:lnTo>
                    <a:lnTo>
                      <a:pt x="330281" y="459761"/>
                    </a:lnTo>
                    <a:lnTo>
                      <a:pt x="334670" y="459212"/>
                    </a:lnTo>
                    <a:lnTo>
                      <a:pt x="339608" y="460858"/>
                    </a:lnTo>
                    <a:lnTo>
                      <a:pt x="346741" y="460858"/>
                    </a:lnTo>
                    <a:lnTo>
                      <a:pt x="348386" y="461406"/>
                    </a:lnTo>
                    <a:lnTo>
                      <a:pt x="351130" y="464698"/>
                    </a:lnTo>
                    <a:lnTo>
                      <a:pt x="351678" y="466893"/>
                    </a:lnTo>
                    <a:lnTo>
                      <a:pt x="347289" y="483352"/>
                    </a:lnTo>
                    <a:lnTo>
                      <a:pt x="347289" y="487193"/>
                    </a:lnTo>
                    <a:lnTo>
                      <a:pt x="347838" y="489936"/>
                    </a:lnTo>
                    <a:lnTo>
                      <a:pt x="354970" y="497617"/>
                    </a:lnTo>
                    <a:lnTo>
                      <a:pt x="357713" y="498165"/>
                    </a:lnTo>
                    <a:lnTo>
                      <a:pt x="363748" y="496519"/>
                    </a:lnTo>
                    <a:lnTo>
                      <a:pt x="365943" y="497068"/>
                    </a:lnTo>
                    <a:lnTo>
                      <a:pt x="367040" y="498714"/>
                    </a:lnTo>
                    <a:lnTo>
                      <a:pt x="368137" y="512430"/>
                    </a:lnTo>
                    <a:lnTo>
                      <a:pt x="371429" y="516819"/>
                    </a:lnTo>
                    <a:lnTo>
                      <a:pt x="373075" y="522305"/>
                    </a:lnTo>
                    <a:lnTo>
                      <a:pt x="379659" y="529986"/>
                    </a:lnTo>
                    <a:lnTo>
                      <a:pt x="380207" y="531632"/>
                    </a:lnTo>
                    <a:lnTo>
                      <a:pt x="382951" y="534376"/>
                    </a:lnTo>
                    <a:lnTo>
                      <a:pt x="383500" y="537119"/>
                    </a:lnTo>
                    <a:lnTo>
                      <a:pt x="380207" y="538765"/>
                    </a:lnTo>
                    <a:lnTo>
                      <a:pt x="379659" y="539862"/>
                    </a:lnTo>
                    <a:lnTo>
                      <a:pt x="380207" y="546994"/>
                    </a:lnTo>
                    <a:lnTo>
                      <a:pt x="379659" y="549189"/>
                    </a:lnTo>
                    <a:lnTo>
                      <a:pt x="384048" y="549737"/>
                    </a:lnTo>
                    <a:lnTo>
                      <a:pt x="384597" y="551383"/>
                    </a:lnTo>
                    <a:lnTo>
                      <a:pt x="379659" y="551932"/>
                    </a:lnTo>
                    <a:lnTo>
                      <a:pt x="375818" y="554126"/>
                    </a:lnTo>
                    <a:lnTo>
                      <a:pt x="375270" y="555773"/>
                    </a:lnTo>
                    <a:lnTo>
                      <a:pt x="373624" y="556870"/>
                    </a:lnTo>
                    <a:lnTo>
                      <a:pt x="367040" y="556321"/>
                    </a:lnTo>
                    <a:lnTo>
                      <a:pt x="365394" y="555224"/>
                    </a:lnTo>
                    <a:lnTo>
                      <a:pt x="364846" y="554126"/>
                    </a:lnTo>
                    <a:lnTo>
                      <a:pt x="365394" y="550286"/>
                    </a:lnTo>
                    <a:lnTo>
                      <a:pt x="365394" y="549189"/>
                    </a:lnTo>
                    <a:lnTo>
                      <a:pt x="361005" y="548640"/>
                    </a:lnTo>
                    <a:lnTo>
                      <a:pt x="348935" y="553029"/>
                    </a:lnTo>
                    <a:lnTo>
                      <a:pt x="346741" y="558516"/>
                    </a:lnTo>
                    <a:lnTo>
                      <a:pt x="345095" y="559613"/>
                    </a:lnTo>
                    <a:lnTo>
                      <a:pt x="333573" y="559064"/>
                    </a:lnTo>
                    <a:lnTo>
                      <a:pt x="327538" y="554126"/>
                    </a:lnTo>
                    <a:lnTo>
                      <a:pt x="323698" y="555773"/>
                    </a:lnTo>
                    <a:lnTo>
                      <a:pt x="320954" y="554675"/>
                    </a:lnTo>
                    <a:lnTo>
                      <a:pt x="306141" y="555224"/>
                    </a:lnTo>
                    <a:lnTo>
                      <a:pt x="303398" y="554126"/>
                    </a:lnTo>
                    <a:lnTo>
                      <a:pt x="302301" y="555224"/>
                    </a:lnTo>
                    <a:lnTo>
                      <a:pt x="301204" y="555224"/>
                    </a:lnTo>
                    <a:lnTo>
                      <a:pt x="300106" y="551932"/>
                    </a:lnTo>
                    <a:lnTo>
                      <a:pt x="298460" y="551383"/>
                    </a:lnTo>
                    <a:lnTo>
                      <a:pt x="297363" y="554675"/>
                    </a:lnTo>
                    <a:lnTo>
                      <a:pt x="297363" y="566745"/>
                    </a:lnTo>
                    <a:lnTo>
                      <a:pt x="283647" y="566745"/>
                    </a:lnTo>
                    <a:lnTo>
                      <a:pt x="281452" y="567842"/>
                    </a:lnTo>
                    <a:lnTo>
                      <a:pt x="277612" y="566745"/>
                    </a:lnTo>
                    <a:lnTo>
                      <a:pt x="276515" y="570586"/>
                    </a:lnTo>
                    <a:lnTo>
                      <a:pt x="274869" y="570586"/>
                    </a:lnTo>
                    <a:lnTo>
                      <a:pt x="273772" y="573878"/>
                    </a:lnTo>
                    <a:lnTo>
                      <a:pt x="271028" y="576072"/>
                    </a:lnTo>
                    <a:lnTo>
                      <a:pt x="267736" y="576621"/>
                    </a:lnTo>
                    <a:lnTo>
                      <a:pt x="258958" y="573329"/>
                    </a:lnTo>
                    <a:lnTo>
                      <a:pt x="251277" y="572780"/>
                    </a:lnTo>
                    <a:lnTo>
                      <a:pt x="249083" y="570586"/>
                    </a:lnTo>
                    <a:lnTo>
                      <a:pt x="247985" y="566745"/>
                    </a:lnTo>
                    <a:lnTo>
                      <a:pt x="243047" y="561259"/>
                    </a:lnTo>
                    <a:lnTo>
                      <a:pt x="235367" y="541508"/>
                    </a:lnTo>
                    <a:lnTo>
                      <a:pt x="235367" y="537119"/>
                    </a:lnTo>
                    <a:lnTo>
                      <a:pt x="232624" y="537119"/>
                    </a:lnTo>
                    <a:lnTo>
                      <a:pt x="220553" y="531632"/>
                    </a:lnTo>
                    <a:lnTo>
                      <a:pt x="217810" y="517916"/>
                    </a:lnTo>
                    <a:lnTo>
                      <a:pt x="215615" y="514625"/>
                    </a:lnTo>
                    <a:lnTo>
                      <a:pt x="206289" y="508589"/>
                    </a:lnTo>
                    <a:lnTo>
                      <a:pt x="171724" y="510235"/>
                    </a:lnTo>
                    <a:lnTo>
                      <a:pt x="160751" y="514076"/>
                    </a:lnTo>
                    <a:lnTo>
                      <a:pt x="144841" y="511333"/>
                    </a:lnTo>
                    <a:lnTo>
                      <a:pt x="139903" y="519562"/>
                    </a:lnTo>
                    <a:lnTo>
                      <a:pt x="136612" y="515173"/>
                    </a:lnTo>
                    <a:lnTo>
                      <a:pt x="128382" y="515173"/>
                    </a:lnTo>
                    <a:lnTo>
                      <a:pt x="122347" y="510235"/>
                    </a:lnTo>
                    <a:lnTo>
                      <a:pt x="112471" y="511333"/>
                    </a:lnTo>
                    <a:lnTo>
                      <a:pt x="103693" y="510235"/>
                    </a:lnTo>
                    <a:lnTo>
                      <a:pt x="98207" y="515722"/>
                    </a:lnTo>
                    <a:lnTo>
                      <a:pt x="61996" y="515173"/>
                    </a:lnTo>
                    <a:lnTo>
                      <a:pt x="51572" y="519562"/>
                    </a:lnTo>
                    <a:lnTo>
                      <a:pt x="46634" y="516819"/>
                    </a:lnTo>
                    <a:lnTo>
                      <a:pt x="41697" y="521208"/>
                    </a:lnTo>
                    <a:lnTo>
                      <a:pt x="36210" y="521757"/>
                    </a:lnTo>
                    <a:lnTo>
                      <a:pt x="32370" y="523951"/>
                    </a:lnTo>
                    <a:lnTo>
                      <a:pt x="30724" y="519562"/>
                    </a:lnTo>
                    <a:lnTo>
                      <a:pt x="27981" y="519014"/>
                    </a:lnTo>
                  </a:path>
                </a:pathLst>
              </a:custGeom>
              <a:grpFill/>
              <a:ln w="127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grpSp>
            <p:nvGrpSpPr>
              <p:cNvPr id="241" name="Group 17">
                <a:extLst>
                  <a:ext uri="{FF2B5EF4-FFF2-40B4-BE49-F238E27FC236}">
                    <a16:creationId xmlns:a16="http://schemas.microsoft.com/office/drawing/2014/main" id="{68605104-A600-BC70-0EFF-E28C51523F4C}"/>
                  </a:ext>
                </a:extLst>
              </p:cNvPr>
              <p:cNvGrpSpPr/>
              <p:nvPr/>
            </p:nvGrpSpPr>
            <p:grpSpPr>
              <a:xfrm>
                <a:off x="7215546" y="2617052"/>
                <a:ext cx="2664009" cy="2349816"/>
                <a:chOff x="7215546" y="2617052"/>
                <a:chExt cx="2664009" cy="2349816"/>
              </a:xfrm>
              <a:grpFill/>
            </p:grpSpPr>
            <p:sp>
              <p:nvSpPr>
                <p:cNvPr id="242" name="Graphic 7">
                  <a:extLst>
                    <a:ext uri="{FF2B5EF4-FFF2-40B4-BE49-F238E27FC236}">
                      <a16:creationId xmlns:a16="http://schemas.microsoft.com/office/drawing/2014/main" id="{CCF6D16C-DC5F-877B-8B82-30069DA91BE6}"/>
                    </a:ext>
                  </a:extLst>
                </p:cNvPr>
                <p:cNvSpPr/>
                <p:nvPr/>
              </p:nvSpPr>
              <p:spPr>
                <a:xfrm>
                  <a:off x="7954096" y="4072721"/>
                  <a:ext cx="13287" cy="59152"/>
                </a:xfrm>
                <a:custGeom>
                  <a:avLst/>
                  <a:gdLst>
                    <a:gd name="connsiteX0" fmla="*/ 13716 w 17007"/>
                    <a:gd name="connsiteY0" fmla="*/ 0 h 75712"/>
                    <a:gd name="connsiteX1" fmla="*/ 0 w 17007"/>
                    <a:gd name="connsiteY1" fmla="*/ 62545 h 75712"/>
                    <a:gd name="connsiteX2" fmla="*/ 549 w 17007"/>
                    <a:gd name="connsiteY2" fmla="*/ 71872 h 75712"/>
                    <a:gd name="connsiteX3" fmla="*/ 3840 w 17007"/>
                    <a:gd name="connsiteY3" fmla="*/ 75712 h 75712"/>
                    <a:gd name="connsiteX4" fmla="*/ 7132 w 17007"/>
                    <a:gd name="connsiteY4" fmla="*/ 74615 h 75712"/>
                    <a:gd name="connsiteX5" fmla="*/ 6035 w 17007"/>
                    <a:gd name="connsiteY5" fmla="*/ 70226 h 75712"/>
                    <a:gd name="connsiteX6" fmla="*/ 14265 w 17007"/>
                    <a:gd name="connsiteY6" fmla="*/ 27981 h 75712"/>
                    <a:gd name="connsiteX7" fmla="*/ 12619 w 17007"/>
                    <a:gd name="connsiteY7" fmla="*/ 23591 h 75712"/>
                    <a:gd name="connsiteX8" fmla="*/ 12619 w 17007"/>
                    <a:gd name="connsiteY8" fmla="*/ 18654 h 75712"/>
                    <a:gd name="connsiteX9" fmla="*/ 15910 w 17007"/>
                    <a:gd name="connsiteY9" fmla="*/ 16459 h 75712"/>
                    <a:gd name="connsiteX10" fmla="*/ 17008 w 17007"/>
                    <a:gd name="connsiteY10" fmla="*/ 0 h 75712"/>
                    <a:gd name="connsiteX11" fmla="*/ 13716 w 17007"/>
                    <a:gd name="connsiteY11" fmla="*/ 0 h 757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7007" h="75712">
                      <a:moveTo>
                        <a:pt x="13716" y="0"/>
                      </a:moveTo>
                      <a:lnTo>
                        <a:pt x="0" y="62545"/>
                      </a:lnTo>
                      <a:lnTo>
                        <a:pt x="549" y="71872"/>
                      </a:lnTo>
                      <a:lnTo>
                        <a:pt x="3840" y="75712"/>
                      </a:lnTo>
                      <a:lnTo>
                        <a:pt x="7132" y="74615"/>
                      </a:lnTo>
                      <a:lnTo>
                        <a:pt x="6035" y="70226"/>
                      </a:lnTo>
                      <a:lnTo>
                        <a:pt x="14265" y="27981"/>
                      </a:lnTo>
                      <a:lnTo>
                        <a:pt x="12619" y="23591"/>
                      </a:lnTo>
                      <a:lnTo>
                        <a:pt x="12619" y="18654"/>
                      </a:lnTo>
                      <a:lnTo>
                        <a:pt x="15910" y="16459"/>
                      </a:lnTo>
                      <a:lnTo>
                        <a:pt x="17008" y="0"/>
                      </a:lnTo>
                      <a:lnTo>
                        <a:pt x="13716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43" name="Graphic 7">
                  <a:extLst>
                    <a:ext uri="{FF2B5EF4-FFF2-40B4-BE49-F238E27FC236}">
                      <a16:creationId xmlns:a16="http://schemas.microsoft.com/office/drawing/2014/main" id="{3E675749-B689-AE44-9943-BDD63B32A41B}"/>
                    </a:ext>
                  </a:extLst>
                </p:cNvPr>
                <p:cNvSpPr/>
                <p:nvPr/>
              </p:nvSpPr>
              <p:spPr>
                <a:xfrm>
                  <a:off x="7987102" y="4256608"/>
                  <a:ext cx="6001" cy="14573"/>
                </a:xfrm>
                <a:custGeom>
                  <a:avLst/>
                  <a:gdLst>
                    <a:gd name="connsiteX0" fmla="*/ 6035 w 7681"/>
                    <a:gd name="connsiteY0" fmla="*/ 1097 h 18653"/>
                    <a:gd name="connsiteX1" fmla="*/ 2743 w 7681"/>
                    <a:gd name="connsiteY1" fmla="*/ 549 h 18653"/>
                    <a:gd name="connsiteX2" fmla="*/ 0 w 7681"/>
                    <a:gd name="connsiteY2" fmla="*/ 4389 h 18653"/>
                    <a:gd name="connsiteX3" fmla="*/ 0 w 7681"/>
                    <a:gd name="connsiteY3" fmla="*/ 10973 h 18653"/>
                    <a:gd name="connsiteX4" fmla="*/ 2743 w 7681"/>
                    <a:gd name="connsiteY4" fmla="*/ 18654 h 18653"/>
                    <a:gd name="connsiteX5" fmla="*/ 6584 w 7681"/>
                    <a:gd name="connsiteY5" fmla="*/ 13716 h 18653"/>
                    <a:gd name="connsiteX6" fmla="*/ 7681 w 7681"/>
                    <a:gd name="connsiteY6" fmla="*/ 4938 h 18653"/>
                    <a:gd name="connsiteX7" fmla="*/ 6584 w 7681"/>
                    <a:gd name="connsiteY7" fmla="*/ 0 h 18653"/>
                    <a:gd name="connsiteX8" fmla="*/ 6035 w 7681"/>
                    <a:gd name="connsiteY8" fmla="*/ 1097 h 186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7681" h="18653">
                      <a:moveTo>
                        <a:pt x="6035" y="1097"/>
                      </a:moveTo>
                      <a:lnTo>
                        <a:pt x="2743" y="549"/>
                      </a:lnTo>
                      <a:lnTo>
                        <a:pt x="0" y="4389"/>
                      </a:lnTo>
                      <a:lnTo>
                        <a:pt x="0" y="10973"/>
                      </a:lnTo>
                      <a:lnTo>
                        <a:pt x="2743" y="18654"/>
                      </a:lnTo>
                      <a:lnTo>
                        <a:pt x="6584" y="13716"/>
                      </a:lnTo>
                      <a:lnTo>
                        <a:pt x="7681" y="4938"/>
                      </a:lnTo>
                      <a:lnTo>
                        <a:pt x="6584" y="0"/>
                      </a:lnTo>
                      <a:lnTo>
                        <a:pt x="6035" y="1097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44" name="Graphic 7">
                  <a:extLst>
                    <a:ext uri="{FF2B5EF4-FFF2-40B4-BE49-F238E27FC236}">
                      <a16:creationId xmlns:a16="http://schemas.microsoft.com/office/drawing/2014/main" id="{0C96A9B0-93CA-F19B-3B6E-B5B74B6FB95D}"/>
                    </a:ext>
                  </a:extLst>
                </p:cNvPr>
                <p:cNvSpPr/>
                <p:nvPr/>
              </p:nvSpPr>
              <p:spPr>
                <a:xfrm>
                  <a:off x="8287580" y="4164451"/>
                  <a:ext cx="5143" cy="9858"/>
                </a:xfrm>
                <a:custGeom>
                  <a:avLst/>
                  <a:gdLst>
                    <a:gd name="connsiteX0" fmla="*/ 2743 w 6583"/>
                    <a:gd name="connsiteY0" fmla="*/ 0 h 12618"/>
                    <a:gd name="connsiteX1" fmla="*/ 6035 w 6583"/>
                    <a:gd name="connsiteY1" fmla="*/ 3292 h 12618"/>
                    <a:gd name="connsiteX2" fmla="*/ 6584 w 6583"/>
                    <a:gd name="connsiteY2" fmla="*/ 8778 h 12618"/>
                    <a:gd name="connsiteX3" fmla="*/ 6035 w 6583"/>
                    <a:gd name="connsiteY3" fmla="*/ 12619 h 12618"/>
                    <a:gd name="connsiteX4" fmla="*/ 0 w 6583"/>
                    <a:gd name="connsiteY4" fmla="*/ 4389 h 12618"/>
                    <a:gd name="connsiteX5" fmla="*/ 0 w 6583"/>
                    <a:gd name="connsiteY5" fmla="*/ 2194 h 12618"/>
                    <a:gd name="connsiteX6" fmla="*/ 2743 w 6583"/>
                    <a:gd name="connsiteY6" fmla="*/ 0 h 126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583" h="12618">
                      <a:moveTo>
                        <a:pt x="2743" y="0"/>
                      </a:moveTo>
                      <a:lnTo>
                        <a:pt x="6035" y="3292"/>
                      </a:lnTo>
                      <a:lnTo>
                        <a:pt x="6584" y="8778"/>
                      </a:lnTo>
                      <a:lnTo>
                        <a:pt x="6035" y="12619"/>
                      </a:lnTo>
                      <a:lnTo>
                        <a:pt x="0" y="4389"/>
                      </a:lnTo>
                      <a:lnTo>
                        <a:pt x="0" y="2194"/>
                      </a:lnTo>
                      <a:lnTo>
                        <a:pt x="2743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45" name="Graphic 7">
                  <a:extLst>
                    <a:ext uri="{FF2B5EF4-FFF2-40B4-BE49-F238E27FC236}">
                      <a16:creationId xmlns:a16="http://schemas.microsoft.com/office/drawing/2014/main" id="{B392C64E-1097-604C-21DC-CB90F81611F6}"/>
                    </a:ext>
                  </a:extLst>
                </p:cNvPr>
                <p:cNvSpPr/>
                <p:nvPr/>
              </p:nvSpPr>
              <p:spPr>
                <a:xfrm>
                  <a:off x="9028702" y="3404897"/>
                  <a:ext cx="3857" cy="7715"/>
                </a:xfrm>
                <a:custGeom>
                  <a:avLst/>
                  <a:gdLst>
                    <a:gd name="connsiteX0" fmla="*/ 3841 w 4937"/>
                    <a:gd name="connsiteY0" fmla="*/ 0 h 9875"/>
                    <a:gd name="connsiteX1" fmla="*/ 0 w 4937"/>
                    <a:gd name="connsiteY1" fmla="*/ 6035 h 9875"/>
                    <a:gd name="connsiteX2" fmla="*/ 1646 w 4937"/>
                    <a:gd name="connsiteY2" fmla="*/ 9875 h 9875"/>
                    <a:gd name="connsiteX3" fmla="*/ 4938 w 4937"/>
                    <a:gd name="connsiteY3" fmla="*/ 7132 h 9875"/>
                    <a:gd name="connsiteX4" fmla="*/ 3841 w 4937"/>
                    <a:gd name="connsiteY4" fmla="*/ 0 h 9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937" h="9875">
                      <a:moveTo>
                        <a:pt x="3841" y="0"/>
                      </a:moveTo>
                      <a:lnTo>
                        <a:pt x="0" y="6035"/>
                      </a:lnTo>
                      <a:lnTo>
                        <a:pt x="1646" y="9875"/>
                      </a:lnTo>
                      <a:lnTo>
                        <a:pt x="4938" y="7132"/>
                      </a:lnTo>
                      <a:lnTo>
                        <a:pt x="3841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46" name="Graphic 7">
                  <a:extLst>
                    <a:ext uri="{FF2B5EF4-FFF2-40B4-BE49-F238E27FC236}">
                      <a16:creationId xmlns:a16="http://schemas.microsoft.com/office/drawing/2014/main" id="{D363758C-B2A4-2DD6-2C9B-62207BADB988}"/>
                    </a:ext>
                  </a:extLst>
                </p:cNvPr>
                <p:cNvSpPr/>
                <p:nvPr/>
              </p:nvSpPr>
              <p:spPr>
                <a:xfrm>
                  <a:off x="9034275" y="3392466"/>
                  <a:ext cx="3000" cy="12002"/>
                </a:xfrm>
                <a:custGeom>
                  <a:avLst/>
                  <a:gdLst>
                    <a:gd name="connsiteX0" fmla="*/ 1097 w 3840"/>
                    <a:gd name="connsiteY0" fmla="*/ 0 h 15362"/>
                    <a:gd name="connsiteX1" fmla="*/ 3840 w 3840"/>
                    <a:gd name="connsiteY1" fmla="*/ 2743 h 15362"/>
                    <a:gd name="connsiteX2" fmla="*/ 3840 w 3840"/>
                    <a:gd name="connsiteY2" fmla="*/ 9327 h 15362"/>
                    <a:gd name="connsiteX3" fmla="*/ 2195 w 3840"/>
                    <a:gd name="connsiteY3" fmla="*/ 15362 h 15362"/>
                    <a:gd name="connsiteX4" fmla="*/ 0 w 3840"/>
                    <a:gd name="connsiteY4" fmla="*/ 10973 h 15362"/>
                    <a:gd name="connsiteX5" fmla="*/ 0 w 3840"/>
                    <a:gd name="connsiteY5" fmla="*/ 4389 h 15362"/>
                    <a:gd name="connsiteX6" fmla="*/ 1097 w 3840"/>
                    <a:gd name="connsiteY6" fmla="*/ 0 h 153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840" h="15362">
                      <a:moveTo>
                        <a:pt x="1097" y="0"/>
                      </a:moveTo>
                      <a:lnTo>
                        <a:pt x="3840" y="2743"/>
                      </a:lnTo>
                      <a:lnTo>
                        <a:pt x="3840" y="9327"/>
                      </a:lnTo>
                      <a:lnTo>
                        <a:pt x="2195" y="15362"/>
                      </a:lnTo>
                      <a:lnTo>
                        <a:pt x="0" y="10973"/>
                      </a:lnTo>
                      <a:lnTo>
                        <a:pt x="0" y="4389"/>
                      </a:lnTo>
                      <a:lnTo>
                        <a:pt x="1097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47" name="Graphic 7">
                  <a:extLst>
                    <a:ext uri="{FF2B5EF4-FFF2-40B4-BE49-F238E27FC236}">
                      <a16:creationId xmlns:a16="http://schemas.microsoft.com/office/drawing/2014/main" id="{E1B5C403-1581-7DC2-779D-0D22B2F045AD}"/>
                    </a:ext>
                  </a:extLst>
                </p:cNvPr>
                <p:cNvSpPr/>
                <p:nvPr/>
              </p:nvSpPr>
              <p:spPr>
                <a:xfrm>
                  <a:off x="9077139" y="3287448"/>
                  <a:ext cx="3857" cy="3429"/>
                </a:xfrm>
                <a:custGeom>
                  <a:avLst/>
                  <a:gdLst>
                    <a:gd name="connsiteX0" fmla="*/ 1646 w 4937"/>
                    <a:gd name="connsiteY0" fmla="*/ 0 h 4389"/>
                    <a:gd name="connsiteX1" fmla="*/ 0 w 4937"/>
                    <a:gd name="connsiteY1" fmla="*/ 2195 h 4389"/>
                    <a:gd name="connsiteX2" fmla="*/ 0 w 4937"/>
                    <a:gd name="connsiteY2" fmla="*/ 2743 h 4389"/>
                    <a:gd name="connsiteX3" fmla="*/ 1646 w 4937"/>
                    <a:gd name="connsiteY3" fmla="*/ 4389 h 4389"/>
                    <a:gd name="connsiteX4" fmla="*/ 4938 w 4937"/>
                    <a:gd name="connsiteY4" fmla="*/ 1646 h 4389"/>
                    <a:gd name="connsiteX5" fmla="*/ 1646 w 4937"/>
                    <a:gd name="connsiteY5" fmla="*/ 0 h 43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937" h="4389">
                      <a:moveTo>
                        <a:pt x="1646" y="0"/>
                      </a:moveTo>
                      <a:lnTo>
                        <a:pt x="0" y="2195"/>
                      </a:lnTo>
                      <a:lnTo>
                        <a:pt x="0" y="2743"/>
                      </a:lnTo>
                      <a:lnTo>
                        <a:pt x="1646" y="4389"/>
                      </a:lnTo>
                      <a:lnTo>
                        <a:pt x="4938" y="1646"/>
                      </a:lnTo>
                      <a:lnTo>
                        <a:pt x="1646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48" name="Graphic 7">
                  <a:extLst>
                    <a:ext uri="{FF2B5EF4-FFF2-40B4-BE49-F238E27FC236}">
                      <a16:creationId xmlns:a16="http://schemas.microsoft.com/office/drawing/2014/main" id="{3328E584-B9D7-F025-F577-4C7749A3B396}"/>
                    </a:ext>
                  </a:extLst>
                </p:cNvPr>
                <p:cNvSpPr/>
                <p:nvPr/>
              </p:nvSpPr>
              <p:spPr>
                <a:xfrm>
                  <a:off x="8941687" y="3434044"/>
                  <a:ext cx="20574" cy="10287"/>
                </a:xfrm>
                <a:custGeom>
                  <a:avLst/>
                  <a:gdLst>
                    <a:gd name="connsiteX0" fmla="*/ 3840 w 26334"/>
                    <a:gd name="connsiteY0" fmla="*/ 4389 h 13167"/>
                    <a:gd name="connsiteX1" fmla="*/ 0 w 26334"/>
                    <a:gd name="connsiteY1" fmla="*/ 8778 h 13167"/>
                    <a:gd name="connsiteX2" fmla="*/ 549 w 26334"/>
                    <a:gd name="connsiteY2" fmla="*/ 13167 h 13167"/>
                    <a:gd name="connsiteX3" fmla="*/ 17556 w 26334"/>
                    <a:gd name="connsiteY3" fmla="*/ 12619 h 13167"/>
                    <a:gd name="connsiteX4" fmla="*/ 26334 w 26334"/>
                    <a:gd name="connsiteY4" fmla="*/ 4938 h 13167"/>
                    <a:gd name="connsiteX5" fmla="*/ 25237 w 26334"/>
                    <a:gd name="connsiteY5" fmla="*/ 0 h 13167"/>
                    <a:gd name="connsiteX6" fmla="*/ 14813 w 26334"/>
                    <a:gd name="connsiteY6" fmla="*/ 0 h 13167"/>
                    <a:gd name="connsiteX7" fmla="*/ 3840 w 26334"/>
                    <a:gd name="connsiteY7" fmla="*/ 4389 h 131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6334" h="13167">
                      <a:moveTo>
                        <a:pt x="3840" y="4389"/>
                      </a:moveTo>
                      <a:lnTo>
                        <a:pt x="0" y="8778"/>
                      </a:lnTo>
                      <a:lnTo>
                        <a:pt x="549" y="13167"/>
                      </a:lnTo>
                      <a:lnTo>
                        <a:pt x="17556" y="12619"/>
                      </a:lnTo>
                      <a:lnTo>
                        <a:pt x="26334" y="4938"/>
                      </a:lnTo>
                      <a:lnTo>
                        <a:pt x="25237" y="0"/>
                      </a:lnTo>
                      <a:lnTo>
                        <a:pt x="14813" y="0"/>
                      </a:lnTo>
                      <a:lnTo>
                        <a:pt x="3840" y="4389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49" name="Graphic 7">
                  <a:extLst>
                    <a:ext uri="{FF2B5EF4-FFF2-40B4-BE49-F238E27FC236}">
                      <a16:creationId xmlns:a16="http://schemas.microsoft.com/office/drawing/2014/main" id="{BB193135-0FED-D747-7BA6-4B573601DC88}"/>
                    </a:ext>
                  </a:extLst>
                </p:cNvPr>
                <p:cNvSpPr/>
                <p:nvPr/>
              </p:nvSpPr>
              <p:spPr>
                <a:xfrm>
                  <a:off x="9051420" y="4805699"/>
                  <a:ext cx="14144" cy="12859"/>
                </a:xfrm>
                <a:custGeom>
                  <a:avLst/>
                  <a:gdLst>
                    <a:gd name="connsiteX0" fmla="*/ 3292 w 18104"/>
                    <a:gd name="connsiteY0" fmla="*/ 15911 h 16459"/>
                    <a:gd name="connsiteX1" fmla="*/ 1097 w 18104"/>
                    <a:gd name="connsiteY1" fmla="*/ 16459 h 16459"/>
                    <a:gd name="connsiteX2" fmla="*/ 0 w 18104"/>
                    <a:gd name="connsiteY2" fmla="*/ 10973 h 16459"/>
                    <a:gd name="connsiteX3" fmla="*/ 1646 w 18104"/>
                    <a:gd name="connsiteY3" fmla="*/ 9875 h 16459"/>
                    <a:gd name="connsiteX4" fmla="*/ 2743 w 18104"/>
                    <a:gd name="connsiteY4" fmla="*/ 3841 h 16459"/>
                    <a:gd name="connsiteX5" fmla="*/ 5486 w 18104"/>
                    <a:gd name="connsiteY5" fmla="*/ 0 h 16459"/>
                    <a:gd name="connsiteX6" fmla="*/ 7681 w 18104"/>
                    <a:gd name="connsiteY6" fmla="*/ 0 h 16459"/>
                    <a:gd name="connsiteX7" fmla="*/ 12070 w 18104"/>
                    <a:gd name="connsiteY7" fmla="*/ 9875 h 16459"/>
                    <a:gd name="connsiteX8" fmla="*/ 18105 w 18104"/>
                    <a:gd name="connsiteY8" fmla="*/ 15362 h 16459"/>
                    <a:gd name="connsiteX9" fmla="*/ 3292 w 18104"/>
                    <a:gd name="connsiteY9" fmla="*/ 15911 h 16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8104" h="16459">
                      <a:moveTo>
                        <a:pt x="3292" y="15911"/>
                      </a:moveTo>
                      <a:lnTo>
                        <a:pt x="1097" y="16459"/>
                      </a:lnTo>
                      <a:lnTo>
                        <a:pt x="0" y="10973"/>
                      </a:lnTo>
                      <a:lnTo>
                        <a:pt x="1646" y="9875"/>
                      </a:lnTo>
                      <a:lnTo>
                        <a:pt x="2743" y="3841"/>
                      </a:lnTo>
                      <a:lnTo>
                        <a:pt x="5486" y="0"/>
                      </a:lnTo>
                      <a:lnTo>
                        <a:pt x="7681" y="0"/>
                      </a:lnTo>
                      <a:lnTo>
                        <a:pt x="12070" y="9875"/>
                      </a:lnTo>
                      <a:lnTo>
                        <a:pt x="18105" y="15362"/>
                      </a:lnTo>
                      <a:lnTo>
                        <a:pt x="3292" y="15911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50" name="Graphic 7">
                  <a:extLst>
                    <a:ext uri="{FF2B5EF4-FFF2-40B4-BE49-F238E27FC236}">
                      <a16:creationId xmlns:a16="http://schemas.microsoft.com/office/drawing/2014/main" id="{91766316-8402-A8DE-DEDB-AC35BA0378D8}"/>
                    </a:ext>
                  </a:extLst>
                </p:cNvPr>
                <p:cNvSpPr/>
                <p:nvPr/>
              </p:nvSpPr>
              <p:spPr>
                <a:xfrm>
                  <a:off x="9059993" y="4800984"/>
                  <a:ext cx="33005" cy="19288"/>
                </a:xfrm>
                <a:custGeom>
                  <a:avLst/>
                  <a:gdLst>
                    <a:gd name="connsiteX0" fmla="*/ 0 w 42245"/>
                    <a:gd name="connsiteY0" fmla="*/ 0 h 24688"/>
                    <a:gd name="connsiteX1" fmla="*/ 1646 w 42245"/>
                    <a:gd name="connsiteY1" fmla="*/ 1646 h 24688"/>
                    <a:gd name="connsiteX2" fmla="*/ 5486 w 42245"/>
                    <a:gd name="connsiteY2" fmla="*/ 3292 h 24688"/>
                    <a:gd name="connsiteX3" fmla="*/ 7681 w 42245"/>
                    <a:gd name="connsiteY3" fmla="*/ 6035 h 24688"/>
                    <a:gd name="connsiteX4" fmla="*/ 13167 w 42245"/>
                    <a:gd name="connsiteY4" fmla="*/ 7681 h 24688"/>
                    <a:gd name="connsiteX5" fmla="*/ 23043 w 42245"/>
                    <a:gd name="connsiteY5" fmla="*/ 5486 h 24688"/>
                    <a:gd name="connsiteX6" fmla="*/ 26334 w 42245"/>
                    <a:gd name="connsiteY6" fmla="*/ 6035 h 24688"/>
                    <a:gd name="connsiteX7" fmla="*/ 34564 w 42245"/>
                    <a:gd name="connsiteY7" fmla="*/ 0 h 24688"/>
                    <a:gd name="connsiteX8" fmla="*/ 37856 w 42245"/>
                    <a:gd name="connsiteY8" fmla="*/ 1097 h 24688"/>
                    <a:gd name="connsiteX9" fmla="*/ 41148 w 42245"/>
                    <a:gd name="connsiteY9" fmla="*/ 4938 h 24688"/>
                    <a:gd name="connsiteX10" fmla="*/ 42245 w 42245"/>
                    <a:gd name="connsiteY10" fmla="*/ 12070 h 24688"/>
                    <a:gd name="connsiteX11" fmla="*/ 36759 w 42245"/>
                    <a:gd name="connsiteY11" fmla="*/ 18654 h 24688"/>
                    <a:gd name="connsiteX12" fmla="*/ 26883 w 42245"/>
                    <a:gd name="connsiteY12" fmla="*/ 24689 h 24688"/>
                    <a:gd name="connsiteX13" fmla="*/ 21397 w 42245"/>
                    <a:gd name="connsiteY13" fmla="*/ 24689 h 24688"/>
                    <a:gd name="connsiteX14" fmla="*/ 6583 w 42245"/>
                    <a:gd name="connsiteY14" fmla="*/ 14813 h 24688"/>
                    <a:gd name="connsiteX15" fmla="*/ 0 w 42245"/>
                    <a:gd name="connsiteY15" fmla="*/ 0 h 246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42245" h="24688">
                      <a:moveTo>
                        <a:pt x="0" y="0"/>
                      </a:moveTo>
                      <a:lnTo>
                        <a:pt x="1646" y="1646"/>
                      </a:lnTo>
                      <a:lnTo>
                        <a:pt x="5486" y="3292"/>
                      </a:lnTo>
                      <a:lnTo>
                        <a:pt x="7681" y="6035"/>
                      </a:lnTo>
                      <a:lnTo>
                        <a:pt x="13167" y="7681"/>
                      </a:lnTo>
                      <a:lnTo>
                        <a:pt x="23043" y="5486"/>
                      </a:lnTo>
                      <a:lnTo>
                        <a:pt x="26334" y="6035"/>
                      </a:lnTo>
                      <a:lnTo>
                        <a:pt x="34564" y="0"/>
                      </a:lnTo>
                      <a:lnTo>
                        <a:pt x="37856" y="1097"/>
                      </a:lnTo>
                      <a:lnTo>
                        <a:pt x="41148" y="4938"/>
                      </a:lnTo>
                      <a:lnTo>
                        <a:pt x="42245" y="12070"/>
                      </a:lnTo>
                      <a:lnTo>
                        <a:pt x="36759" y="18654"/>
                      </a:lnTo>
                      <a:lnTo>
                        <a:pt x="26883" y="24689"/>
                      </a:lnTo>
                      <a:lnTo>
                        <a:pt x="21397" y="24689"/>
                      </a:lnTo>
                      <a:lnTo>
                        <a:pt x="6583" y="14813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51" name="Graphic 7">
                  <a:extLst>
                    <a:ext uri="{FF2B5EF4-FFF2-40B4-BE49-F238E27FC236}">
                      <a16:creationId xmlns:a16="http://schemas.microsoft.com/office/drawing/2014/main" id="{BCA91D7B-E3BE-034D-3BC6-E79D521CC0D9}"/>
                    </a:ext>
                  </a:extLst>
                </p:cNvPr>
                <p:cNvSpPr/>
                <p:nvPr/>
              </p:nvSpPr>
              <p:spPr>
                <a:xfrm>
                  <a:off x="9240023" y="4796698"/>
                  <a:ext cx="6001" cy="12001"/>
                </a:xfrm>
                <a:custGeom>
                  <a:avLst/>
                  <a:gdLst>
                    <a:gd name="connsiteX0" fmla="*/ 1097 w 7681"/>
                    <a:gd name="connsiteY0" fmla="*/ 15362 h 15361"/>
                    <a:gd name="connsiteX1" fmla="*/ 0 w 7681"/>
                    <a:gd name="connsiteY1" fmla="*/ 15362 h 15361"/>
                    <a:gd name="connsiteX2" fmla="*/ 1097 w 7681"/>
                    <a:gd name="connsiteY2" fmla="*/ 7132 h 15361"/>
                    <a:gd name="connsiteX3" fmla="*/ 4938 w 7681"/>
                    <a:gd name="connsiteY3" fmla="*/ 549 h 15361"/>
                    <a:gd name="connsiteX4" fmla="*/ 7681 w 7681"/>
                    <a:gd name="connsiteY4" fmla="*/ 0 h 15361"/>
                    <a:gd name="connsiteX5" fmla="*/ 7681 w 7681"/>
                    <a:gd name="connsiteY5" fmla="*/ 4938 h 15361"/>
                    <a:gd name="connsiteX6" fmla="*/ 1097 w 7681"/>
                    <a:gd name="connsiteY6" fmla="*/ 15362 h 153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681" h="15361">
                      <a:moveTo>
                        <a:pt x="1097" y="15362"/>
                      </a:moveTo>
                      <a:lnTo>
                        <a:pt x="0" y="15362"/>
                      </a:lnTo>
                      <a:lnTo>
                        <a:pt x="1097" y="7132"/>
                      </a:lnTo>
                      <a:lnTo>
                        <a:pt x="4938" y="549"/>
                      </a:lnTo>
                      <a:lnTo>
                        <a:pt x="7681" y="0"/>
                      </a:lnTo>
                      <a:lnTo>
                        <a:pt x="7681" y="4938"/>
                      </a:lnTo>
                      <a:lnTo>
                        <a:pt x="1097" y="15362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52" name="Graphic 7">
                  <a:extLst>
                    <a:ext uri="{FF2B5EF4-FFF2-40B4-BE49-F238E27FC236}">
                      <a16:creationId xmlns:a16="http://schemas.microsoft.com/office/drawing/2014/main" id="{14DD7F60-A448-5933-FE1B-646E55415F7F}"/>
                    </a:ext>
                  </a:extLst>
                </p:cNvPr>
                <p:cNvSpPr/>
                <p:nvPr/>
              </p:nvSpPr>
              <p:spPr>
                <a:xfrm>
                  <a:off x="9240023" y="4875140"/>
                  <a:ext cx="13716" cy="17574"/>
                </a:xfrm>
                <a:custGeom>
                  <a:avLst/>
                  <a:gdLst>
                    <a:gd name="connsiteX0" fmla="*/ 549 w 17556"/>
                    <a:gd name="connsiteY0" fmla="*/ 2743 h 22494"/>
                    <a:gd name="connsiteX1" fmla="*/ 2195 w 17556"/>
                    <a:gd name="connsiteY1" fmla="*/ 2743 h 22494"/>
                    <a:gd name="connsiteX2" fmla="*/ 3292 w 17556"/>
                    <a:gd name="connsiteY2" fmla="*/ 4938 h 22494"/>
                    <a:gd name="connsiteX3" fmla="*/ 6583 w 17556"/>
                    <a:gd name="connsiteY3" fmla="*/ 0 h 22494"/>
                    <a:gd name="connsiteX4" fmla="*/ 8778 w 17556"/>
                    <a:gd name="connsiteY4" fmla="*/ 5486 h 22494"/>
                    <a:gd name="connsiteX5" fmla="*/ 13716 w 17556"/>
                    <a:gd name="connsiteY5" fmla="*/ 2195 h 22494"/>
                    <a:gd name="connsiteX6" fmla="*/ 15362 w 17556"/>
                    <a:gd name="connsiteY6" fmla="*/ 17008 h 22494"/>
                    <a:gd name="connsiteX7" fmla="*/ 17556 w 17556"/>
                    <a:gd name="connsiteY7" fmla="*/ 19751 h 22494"/>
                    <a:gd name="connsiteX8" fmla="*/ 11521 w 17556"/>
                    <a:gd name="connsiteY8" fmla="*/ 22494 h 22494"/>
                    <a:gd name="connsiteX9" fmla="*/ 3840 w 17556"/>
                    <a:gd name="connsiteY9" fmla="*/ 21946 h 22494"/>
                    <a:gd name="connsiteX10" fmla="*/ 0 w 17556"/>
                    <a:gd name="connsiteY10" fmla="*/ 17008 h 22494"/>
                    <a:gd name="connsiteX11" fmla="*/ 549 w 17556"/>
                    <a:gd name="connsiteY11" fmla="*/ 2743 h 224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7556" h="22494">
                      <a:moveTo>
                        <a:pt x="549" y="2743"/>
                      </a:moveTo>
                      <a:lnTo>
                        <a:pt x="2195" y="2743"/>
                      </a:lnTo>
                      <a:lnTo>
                        <a:pt x="3292" y="4938"/>
                      </a:lnTo>
                      <a:lnTo>
                        <a:pt x="6583" y="0"/>
                      </a:lnTo>
                      <a:lnTo>
                        <a:pt x="8778" y="5486"/>
                      </a:lnTo>
                      <a:lnTo>
                        <a:pt x="13716" y="2195"/>
                      </a:lnTo>
                      <a:lnTo>
                        <a:pt x="15362" y="17008"/>
                      </a:lnTo>
                      <a:lnTo>
                        <a:pt x="17556" y="19751"/>
                      </a:lnTo>
                      <a:lnTo>
                        <a:pt x="11521" y="22494"/>
                      </a:lnTo>
                      <a:lnTo>
                        <a:pt x="3840" y="21946"/>
                      </a:lnTo>
                      <a:lnTo>
                        <a:pt x="0" y="17008"/>
                      </a:lnTo>
                      <a:lnTo>
                        <a:pt x="549" y="2743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53" name="Graphic 7">
                  <a:extLst>
                    <a:ext uri="{FF2B5EF4-FFF2-40B4-BE49-F238E27FC236}">
                      <a16:creationId xmlns:a16="http://schemas.microsoft.com/office/drawing/2014/main" id="{5AF5B1A7-98B1-3191-2B45-D8A031114976}"/>
                    </a:ext>
                  </a:extLst>
                </p:cNvPr>
                <p:cNvSpPr/>
                <p:nvPr/>
              </p:nvSpPr>
              <p:spPr>
                <a:xfrm>
                  <a:off x="9322321" y="4955724"/>
                  <a:ext cx="16717" cy="11144"/>
                </a:xfrm>
                <a:custGeom>
                  <a:avLst/>
                  <a:gdLst>
                    <a:gd name="connsiteX0" fmla="*/ 14265 w 21397"/>
                    <a:gd name="connsiteY0" fmla="*/ 549 h 14264"/>
                    <a:gd name="connsiteX1" fmla="*/ 17557 w 21397"/>
                    <a:gd name="connsiteY1" fmla="*/ 2195 h 14264"/>
                    <a:gd name="connsiteX2" fmla="*/ 21397 w 21397"/>
                    <a:gd name="connsiteY2" fmla="*/ 6035 h 14264"/>
                    <a:gd name="connsiteX3" fmla="*/ 18654 w 21397"/>
                    <a:gd name="connsiteY3" fmla="*/ 6035 h 14264"/>
                    <a:gd name="connsiteX4" fmla="*/ 12619 w 21397"/>
                    <a:gd name="connsiteY4" fmla="*/ 7681 h 14264"/>
                    <a:gd name="connsiteX5" fmla="*/ 12619 w 21397"/>
                    <a:gd name="connsiteY5" fmla="*/ 9875 h 14264"/>
                    <a:gd name="connsiteX6" fmla="*/ 9876 w 21397"/>
                    <a:gd name="connsiteY6" fmla="*/ 12070 h 14264"/>
                    <a:gd name="connsiteX7" fmla="*/ 3292 w 21397"/>
                    <a:gd name="connsiteY7" fmla="*/ 14265 h 14264"/>
                    <a:gd name="connsiteX8" fmla="*/ 0 w 21397"/>
                    <a:gd name="connsiteY8" fmla="*/ 9327 h 14264"/>
                    <a:gd name="connsiteX9" fmla="*/ 4389 w 21397"/>
                    <a:gd name="connsiteY9" fmla="*/ 4389 h 14264"/>
                    <a:gd name="connsiteX10" fmla="*/ 7681 w 21397"/>
                    <a:gd name="connsiteY10" fmla="*/ 3292 h 14264"/>
                    <a:gd name="connsiteX11" fmla="*/ 10424 w 21397"/>
                    <a:gd name="connsiteY11" fmla="*/ 0 h 14264"/>
                    <a:gd name="connsiteX12" fmla="*/ 14265 w 21397"/>
                    <a:gd name="connsiteY12" fmla="*/ 549 h 142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21397" h="14264">
                      <a:moveTo>
                        <a:pt x="14265" y="549"/>
                      </a:moveTo>
                      <a:lnTo>
                        <a:pt x="17557" y="2195"/>
                      </a:lnTo>
                      <a:lnTo>
                        <a:pt x="21397" y="6035"/>
                      </a:lnTo>
                      <a:lnTo>
                        <a:pt x="18654" y="6035"/>
                      </a:lnTo>
                      <a:lnTo>
                        <a:pt x="12619" y="7681"/>
                      </a:lnTo>
                      <a:lnTo>
                        <a:pt x="12619" y="9875"/>
                      </a:lnTo>
                      <a:lnTo>
                        <a:pt x="9876" y="12070"/>
                      </a:lnTo>
                      <a:lnTo>
                        <a:pt x="3292" y="14265"/>
                      </a:lnTo>
                      <a:lnTo>
                        <a:pt x="0" y="9327"/>
                      </a:lnTo>
                      <a:lnTo>
                        <a:pt x="4389" y="4389"/>
                      </a:lnTo>
                      <a:lnTo>
                        <a:pt x="7681" y="3292"/>
                      </a:lnTo>
                      <a:lnTo>
                        <a:pt x="10424" y="0"/>
                      </a:lnTo>
                      <a:lnTo>
                        <a:pt x="14265" y="549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54" name="Graphic 7">
                  <a:extLst>
                    <a:ext uri="{FF2B5EF4-FFF2-40B4-BE49-F238E27FC236}">
                      <a16:creationId xmlns:a16="http://schemas.microsoft.com/office/drawing/2014/main" id="{8ED11F2C-9631-8BDD-8FC1-A15C5FC98612}"/>
                    </a:ext>
                  </a:extLst>
                </p:cNvPr>
                <p:cNvSpPr/>
                <p:nvPr/>
              </p:nvSpPr>
              <p:spPr>
                <a:xfrm>
                  <a:off x="7236121" y="3344030"/>
                  <a:ext cx="859856" cy="889433"/>
                </a:xfrm>
                <a:custGeom>
                  <a:avLst/>
                  <a:gdLst>
                    <a:gd name="connsiteX0" fmla="*/ 207386 w 1100571"/>
                    <a:gd name="connsiteY0" fmla="*/ 846551 h 1138428"/>
                    <a:gd name="connsiteX1" fmla="*/ 209032 w 1100571"/>
                    <a:gd name="connsiteY1" fmla="*/ 848198 h 1138428"/>
                    <a:gd name="connsiteX2" fmla="*/ 211226 w 1100571"/>
                    <a:gd name="connsiteY2" fmla="*/ 856976 h 1138428"/>
                    <a:gd name="connsiteX3" fmla="*/ 212872 w 1100571"/>
                    <a:gd name="connsiteY3" fmla="*/ 858073 h 1138428"/>
                    <a:gd name="connsiteX4" fmla="*/ 215067 w 1100571"/>
                    <a:gd name="connsiteY4" fmla="*/ 855878 h 1138428"/>
                    <a:gd name="connsiteX5" fmla="*/ 218359 w 1100571"/>
                    <a:gd name="connsiteY5" fmla="*/ 856427 h 1138428"/>
                    <a:gd name="connsiteX6" fmla="*/ 215615 w 1100571"/>
                    <a:gd name="connsiteY6" fmla="*/ 860267 h 1138428"/>
                    <a:gd name="connsiteX7" fmla="*/ 215615 w 1100571"/>
                    <a:gd name="connsiteY7" fmla="*/ 863560 h 1138428"/>
                    <a:gd name="connsiteX8" fmla="*/ 220005 w 1100571"/>
                    <a:gd name="connsiteY8" fmla="*/ 877824 h 1138428"/>
                    <a:gd name="connsiteX9" fmla="*/ 225491 w 1100571"/>
                    <a:gd name="connsiteY9" fmla="*/ 886054 h 1138428"/>
                    <a:gd name="connsiteX10" fmla="*/ 230429 w 1100571"/>
                    <a:gd name="connsiteY10" fmla="*/ 888797 h 1138428"/>
                    <a:gd name="connsiteX11" fmla="*/ 261153 w 1100571"/>
                    <a:gd name="connsiteY11" fmla="*/ 979871 h 1138428"/>
                    <a:gd name="connsiteX12" fmla="*/ 285841 w 1100571"/>
                    <a:gd name="connsiteY12" fmla="*/ 1010046 h 1138428"/>
                    <a:gd name="connsiteX13" fmla="*/ 314919 w 1100571"/>
                    <a:gd name="connsiteY13" fmla="*/ 1096183 h 1138428"/>
                    <a:gd name="connsiteX14" fmla="*/ 347289 w 1100571"/>
                    <a:gd name="connsiteY14" fmla="*/ 1138428 h 1138428"/>
                    <a:gd name="connsiteX15" fmla="*/ 358810 w 1100571"/>
                    <a:gd name="connsiteY15" fmla="*/ 1137880 h 1138428"/>
                    <a:gd name="connsiteX16" fmla="*/ 364846 w 1100571"/>
                    <a:gd name="connsiteY16" fmla="*/ 1132942 h 1138428"/>
                    <a:gd name="connsiteX17" fmla="*/ 364846 w 1100571"/>
                    <a:gd name="connsiteY17" fmla="*/ 1130747 h 1138428"/>
                    <a:gd name="connsiteX18" fmla="*/ 369235 w 1100571"/>
                    <a:gd name="connsiteY18" fmla="*/ 1128553 h 1138428"/>
                    <a:gd name="connsiteX19" fmla="*/ 373075 w 1100571"/>
                    <a:gd name="connsiteY19" fmla="*/ 1124712 h 1138428"/>
                    <a:gd name="connsiteX20" fmla="*/ 374721 w 1100571"/>
                    <a:gd name="connsiteY20" fmla="*/ 1120872 h 1138428"/>
                    <a:gd name="connsiteX21" fmla="*/ 374172 w 1100571"/>
                    <a:gd name="connsiteY21" fmla="*/ 1117580 h 1138428"/>
                    <a:gd name="connsiteX22" fmla="*/ 379110 w 1100571"/>
                    <a:gd name="connsiteY22" fmla="*/ 1103864 h 1138428"/>
                    <a:gd name="connsiteX23" fmla="*/ 394472 w 1100571"/>
                    <a:gd name="connsiteY23" fmla="*/ 1096183 h 1138428"/>
                    <a:gd name="connsiteX24" fmla="*/ 405994 w 1100571"/>
                    <a:gd name="connsiteY24" fmla="*/ 1094537 h 1138428"/>
                    <a:gd name="connsiteX25" fmla="*/ 405994 w 1100571"/>
                    <a:gd name="connsiteY25" fmla="*/ 1081370 h 1138428"/>
                    <a:gd name="connsiteX26" fmla="*/ 420807 w 1100571"/>
                    <a:gd name="connsiteY26" fmla="*/ 1055584 h 1138428"/>
                    <a:gd name="connsiteX27" fmla="*/ 429585 w 1100571"/>
                    <a:gd name="connsiteY27" fmla="*/ 1053938 h 1138428"/>
                    <a:gd name="connsiteX28" fmla="*/ 432328 w 1100571"/>
                    <a:gd name="connsiteY28" fmla="*/ 1056681 h 1138428"/>
                    <a:gd name="connsiteX29" fmla="*/ 438912 w 1100571"/>
                    <a:gd name="connsiteY29" fmla="*/ 1056681 h 1138428"/>
                    <a:gd name="connsiteX30" fmla="*/ 439461 w 1100571"/>
                    <a:gd name="connsiteY30" fmla="*/ 997427 h 1138428"/>
                    <a:gd name="connsiteX31" fmla="*/ 457566 w 1100571"/>
                    <a:gd name="connsiteY31" fmla="*/ 946953 h 1138428"/>
                    <a:gd name="connsiteX32" fmla="*/ 456468 w 1100571"/>
                    <a:gd name="connsiteY32" fmla="*/ 937077 h 1138428"/>
                    <a:gd name="connsiteX33" fmla="*/ 452628 w 1100571"/>
                    <a:gd name="connsiteY33" fmla="*/ 933785 h 1138428"/>
                    <a:gd name="connsiteX34" fmla="*/ 451531 w 1100571"/>
                    <a:gd name="connsiteY34" fmla="*/ 930494 h 1138428"/>
                    <a:gd name="connsiteX35" fmla="*/ 449885 w 1100571"/>
                    <a:gd name="connsiteY35" fmla="*/ 928847 h 1138428"/>
                    <a:gd name="connsiteX36" fmla="*/ 451531 w 1100571"/>
                    <a:gd name="connsiteY36" fmla="*/ 926104 h 1138428"/>
                    <a:gd name="connsiteX37" fmla="*/ 453725 w 1100571"/>
                    <a:gd name="connsiteY37" fmla="*/ 928847 h 1138428"/>
                    <a:gd name="connsiteX38" fmla="*/ 448787 w 1100571"/>
                    <a:gd name="connsiteY38" fmla="*/ 907451 h 1138428"/>
                    <a:gd name="connsiteX39" fmla="*/ 450982 w 1100571"/>
                    <a:gd name="connsiteY39" fmla="*/ 899770 h 1138428"/>
                    <a:gd name="connsiteX40" fmla="*/ 450433 w 1100571"/>
                    <a:gd name="connsiteY40" fmla="*/ 891540 h 1138428"/>
                    <a:gd name="connsiteX41" fmla="*/ 448239 w 1100571"/>
                    <a:gd name="connsiteY41" fmla="*/ 888248 h 1138428"/>
                    <a:gd name="connsiteX42" fmla="*/ 446593 w 1100571"/>
                    <a:gd name="connsiteY42" fmla="*/ 864657 h 1138428"/>
                    <a:gd name="connsiteX43" fmla="*/ 458114 w 1100571"/>
                    <a:gd name="connsiteY43" fmla="*/ 848198 h 1138428"/>
                    <a:gd name="connsiteX44" fmla="*/ 464698 w 1100571"/>
                    <a:gd name="connsiteY44" fmla="*/ 844357 h 1138428"/>
                    <a:gd name="connsiteX45" fmla="*/ 470733 w 1100571"/>
                    <a:gd name="connsiteY45" fmla="*/ 844357 h 1138428"/>
                    <a:gd name="connsiteX46" fmla="*/ 477317 w 1100571"/>
                    <a:gd name="connsiteY46" fmla="*/ 847649 h 1138428"/>
                    <a:gd name="connsiteX47" fmla="*/ 482803 w 1100571"/>
                    <a:gd name="connsiteY47" fmla="*/ 845454 h 1138428"/>
                    <a:gd name="connsiteX48" fmla="*/ 491033 w 1100571"/>
                    <a:gd name="connsiteY48" fmla="*/ 828446 h 1138428"/>
                    <a:gd name="connsiteX49" fmla="*/ 492130 w 1100571"/>
                    <a:gd name="connsiteY49" fmla="*/ 827349 h 1138428"/>
                    <a:gd name="connsiteX50" fmla="*/ 526146 w 1100571"/>
                    <a:gd name="connsiteY50" fmla="*/ 817474 h 1138428"/>
                    <a:gd name="connsiteX51" fmla="*/ 530535 w 1100571"/>
                    <a:gd name="connsiteY51" fmla="*/ 811987 h 1138428"/>
                    <a:gd name="connsiteX52" fmla="*/ 530535 w 1100571"/>
                    <a:gd name="connsiteY52" fmla="*/ 804306 h 1138428"/>
                    <a:gd name="connsiteX53" fmla="*/ 534375 w 1100571"/>
                    <a:gd name="connsiteY53" fmla="*/ 797723 h 1138428"/>
                    <a:gd name="connsiteX54" fmla="*/ 598566 w 1100571"/>
                    <a:gd name="connsiteY54" fmla="*/ 747796 h 1138428"/>
                    <a:gd name="connsiteX55" fmla="*/ 600212 w 1100571"/>
                    <a:gd name="connsiteY55" fmla="*/ 745053 h 1138428"/>
                    <a:gd name="connsiteX56" fmla="*/ 601858 w 1100571"/>
                    <a:gd name="connsiteY56" fmla="*/ 745053 h 1138428"/>
                    <a:gd name="connsiteX57" fmla="*/ 632582 w 1100571"/>
                    <a:gd name="connsiteY57" fmla="*/ 708294 h 1138428"/>
                    <a:gd name="connsiteX58" fmla="*/ 681411 w 1100571"/>
                    <a:gd name="connsiteY58" fmla="*/ 682508 h 1138428"/>
                    <a:gd name="connsiteX59" fmla="*/ 683057 w 1100571"/>
                    <a:gd name="connsiteY59" fmla="*/ 682508 h 1138428"/>
                    <a:gd name="connsiteX60" fmla="*/ 700065 w 1100571"/>
                    <a:gd name="connsiteY60" fmla="*/ 664952 h 1138428"/>
                    <a:gd name="connsiteX61" fmla="*/ 701710 w 1100571"/>
                    <a:gd name="connsiteY61" fmla="*/ 660563 h 1138428"/>
                    <a:gd name="connsiteX62" fmla="*/ 708843 w 1100571"/>
                    <a:gd name="connsiteY62" fmla="*/ 652882 h 1138428"/>
                    <a:gd name="connsiteX63" fmla="*/ 704454 w 1100571"/>
                    <a:gd name="connsiteY63" fmla="*/ 636422 h 1138428"/>
                    <a:gd name="connsiteX64" fmla="*/ 708843 w 1100571"/>
                    <a:gd name="connsiteY64" fmla="*/ 625450 h 1138428"/>
                    <a:gd name="connsiteX65" fmla="*/ 741761 w 1100571"/>
                    <a:gd name="connsiteY65" fmla="*/ 608990 h 1138428"/>
                    <a:gd name="connsiteX66" fmla="*/ 746150 w 1100571"/>
                    <a:gd name="connsiteY66" fmla="*/ 599115 h 1138428"/>
                    <a:gd name="connsiteX67" fmla="*/ 749991 w 1100571"/>
                    <a:gd name="connsiteY67" fmla="*/ 594726 h 1138428"/>
                    <a:gd name="connsiteX68" fmla="*/ 752185 w 1100571"/>
                    <a:gd name="connsiteY68" fmla="*/ 595274 h 1138428"/>
                    <a:gd name="connsiteX69" fmla="*/ 751088 w 1100571"/>
                    <a:gd name="connsiteY69" fmla="*/ 611734 h 1138428"/>
                    <a:gd name="connsiteX70" fmla="*/ 751637 w 1100571"/>
                    <a:gd name="connsiteY70" fmla="*/ 612831 h 1138428"/>
                    <a:gd name="connsiteX71" fmla="*/ 752734 w 1100571"/>
                    <a:gd name="connsiteY71" fmla="*/ 612831 h 1138428"/>
                    <a:gd name="connsiteX72" fmla="*/ 754929 w 1100571"/>
                    <a:gd name="connsiteY72" fmla="*/ 613379 h 1138428"/>
                    <a:gd name="connsiteX73" fmla="*/ 757672 w 1100571"/>
                    <a:gd name="connsiteY73" fmla="*/ 618866 h 1138428"/>
                    <a:gd name="connsiteX74" fmla="*/ 763158 w 1100571"/>
                    <a:gd name="connsiteY74" fmla="*/ 617769 h 1138428"/>
                    <a:gd name="connsiteX75" fmla="*/ 766999 w 1100571"/>
                    <a:gd name="connsiteY75" fmla="*/ 615026 h 1138428"/>
                    <a:gd name="connsiteX76" fmla="*/ 769742 w 1100571"/>
                    <a:gd name="connsiteY76" fmla="*/ 615574 h 1138428"/>
                    <a:gd name="connsiteX77" fmla="*/ 770290 w 1100571"/>
                    <a:gd name="connsiteY77" fmla="*/ 610088 h 1138428"/>
                    <a:gd name="connsiteX78" fmla="*/ 771936 w 1100571"/>
                    <a:gd name="connsiteY78" fmla="*/ 607345 h 1138428"/>
                    <a:gd name="connsiteX79" fmla="*/ 773582 w 1100571"/>
                    <a:gd name="connsiteY79" fmla="*/ 614477 h 1138428"/>
                    <a:gd name="connsiteX80" fmla="*/ 775777 w 1100571"/>
                    <a:gd name="connsiteY80" fmla="*/ 616672 h 1138428"/>
                    <a:gd name="connsiteX81" fmla="*/ 781263 w 1100571"/>
                    <a:gd name="connsiteY81" fmla="*/ 615026 h 1138428"/>
                    <a:gd name="connsiteX82" fmla="*/ 777423 w 1100571"/>
                    <a:gd name="connsiteY82" fmla="*/ 605150 h 1138428"/>
                    <a:gd name="connsiteX83" fmla="*/ 777972 w 1100571"/>
                    <a:gd name="connsiteY83" fmla="*/ 601858 h 1138428"/>
                    <a:gd name="connsiteX84" fmla="*/ 774679 w 1100571"/>
                    <a:gd name="connsiteY84" fmla="*/ 579913 h 1138428"/>
                    <a:gd name="connsiteX85" fmla="*/ 771388 w 1100571"/>
                    <a:gd name="connsiteY85" fmla="*/ 576072 h 1138428"/>
                    <a:gd name="connsiteX86" fmla="*/ 769193 w 1100571"/>
                    <a:gd name="connsiteY86" fmla="*/ 570586 h 1138428"/>
                    <a:gd name="connsiteX87" fmla="*/ 769193 w 1100571"/>
                    <a:gd name="connsiteY87" fmla="*/ 563453 h 1138428"/>
                    <a:gd name="connsiteX88" fmla="*/ 770290 w 1100571"/>
                    <a:gd name="connsiteY88" fmla="*/ 562356 h 1138428"/>
                    <a:gd name="connsiteX89" fmla="*/ 771388 w 1100571"/>
                    <a:gd name="connsiteY89" fmla="*/ 551383 h 1138428"/>
                    <a:gd name="connsiteX90" fmla="*/ 770290 w 1100571"/>
                    <a:gd name="connsiteY90" fmla="*/ 548640 h 1138428"/>
                    <a:gd name="connsiteX91" fmla="*/ 768096 w 1100571"/>
                    <a:gd name="connsiteY91" fmla="*/ 547543 h 1138428"/>
                    <a:gd name="connsiteX92" fmla="*/ 768096 w 1100571"/>
                    <a:gd name="connsiteY92" fmla="*/ 537667 h 1138428"/>
                    <a:gd name="connsiteX93" fmla="*/ 763707 w 1100571"/>
                    <a:gd name="connsiteY93" fmla="*/ 533278 h 1138428"/>
                    <a:gd name="connsiteX94" fmla="*/ 765901 w 1100571"/>
                    <a:gd name="connsiteY94" fmla="*/ 505298 h 1138428"/>
                    <a:gd name="connsiteX95" fmla="*/ 760415 w 1100571"/>
                    <a:gd name="connsiteY95" fmla="*/ 498714 h 1138428"/>
                    <a:gd name="connsiteX96" fmla="*/ 742858 w 1100571"/>
                    <a:gd name="connsiteY96" fmla="*/ 489387 h 1138428"/>
                    <a:gd name="connsiteX97" fmla="*/ 741761 w 1100571"/>
                    <a:gd name="connsiteY97" fmla="*/ 485546 h 1138428"/>
                    <a:gd name="connsiteX98" fmla="*/ 742858 w 1100571"/>
                    <a:gd name="connsiteY98" fmla="*/ 481706 h 1138428"/>
                    <a:gd name="connsiteX99" fmla="*/ 745602 w 1100571"/>
                    <a:gd name="connsiteY99" fmla="*/ 476219 h 1138428"/>
                    <a:gd name="connsiteX100" fmla="*/ 751088 w 1100571"/>
                    <a:gd name="connsiteY100" fmla="*/ 475122 h 1138428"/>
                    <a:gd name="connsiteX101" fmla="*/ 754929 w 1100571"/>
                    <a:gd name="connsiteY101" fmla="*/ 472928 h 1138428"/>
                    <a:gd name="connsiteX102" fmla="*/ 756574 w 1100571"/>
                    <a:gd name="connsiteY102" fmla="*/ 467990 h 1138428"/>
                    <a:gd name="connsiteX103" fmla="*/ 770839 w 1100571"/>
                    <a:gd name="connsiteY103" fmla="*/ 466893 h 1138428"/>
                    <a:gd name="connsiteX104" fmla="*/ 770290 w 1100571"/>
                    <a:gd name="connsiteY104" fmla="*/ 460858 h 1138428"/>
                    <a:gd name="connsiteX105" fmla="*/ 768096 w 1100571"/>
                    <a:gd name="connsiteY105" fmla="*/ 459212 h 1138428"/>
                    <a:gd name="connsiteX106" fmla="*/ 768645 w 1100571"/>
                    <a:gd name="connsiteY106" fmla="*/ 455920 h 1138428"/>
                    <a:gd name="connsiteX107" fmla="*/ 758220 w 1100571"/>
                    <a:gd name="connsiteY107" fmla="*/ 456469 h 1138428"/>
                    <a:gd name="connsiteX108" fmla="*/ 753283 w 1100571"/>
                    <a:gd name="connsiteY108" fmla="*/ 453177 h 1138428"/>
                    <a:gd name="connsiteX109" fmla="*/ 751637 w 1100571"/>
                    <a:gd name="connsiteY109" fmla="*/ 443850 h 1138428"/>
                    <a:gd name="connsiteX110" fmla="*/ 748894 w 1100571"/>
                    <a:gd name="connsiteY110" fmla="*/ 441655 h 1138428"/>
                    <a:gd name="connsiteX111" fmla="*/ 758769 w 1100571"/>
                    <a:gd name="connsiteY111" fmla="*/ 425196 h 1138428"/>
                    <a:gd name="connsiteX112" fmla="*/ 760963 w 1100571"/>
                    <a:gd name="connsiteY112" fmla="*/ 416966 h 1138428"/>
                    <a:gd name="connsiteX113" fmla="*/ 763707 w 1100571"/>
                    <a:gd name="connsiteY113" fmla="*/ 414772 h 1138428"/>
                    <a:gd name="connsiteX114" fmla="*/ 774679 w 1100571"/>
                    <a:gd name="connsiteY114" fmla="*/ 431780 h 1138428"/>
                    <a:gd name="connsiteX115" fmla="*/ 777423 w 1100571"/>
                    <a:gd name="connsiteY115" fmla="*/ 418064 h 1138428"/>
                    <a:gd name="connsiteX116" fmla="*/ 781812 w 1100571"/>
                    <a:gd name="connsiteY116" fmla="*/ 419710 h 1138428"/>
                    <a:gd name="connsiteX117" fmla="*/ 783458 w 1100571"/>
                    <a:gd name="connsiteY117" fmla="*/ 430134 h 1138428"/>
                    <a:gd name="connsiteX118" fmla="*/ 788944 w 1100571"/>
                    <a:gd name="connsiteY118" fmla="*/ 436169 h 1138428"/>
                    <a:gd name="connsiteX119" fmla="*/ 792785 w 1100571"/>
                    <a:gd name="connsiteY119" fmla="*/ 433426 h 1138428"/>
                    <a:gd name="connsiteX120" fmla="*/ 798271 w 1100571"/>
                    <a:gd name="connsiteY120" fmla="*/ 437266 h 1138428"/>
                    <a:gd name="connsiteX121" fmla="*/ 803758 w 1100571"/>
                    <a:gd name="connsiteY121" fmla="*/ 427391 h 1138428"/>
                    <a:gd name="connsiteX122" fmla="*/ 805404 w 1100571"/>
                    <a:gd name="connsiteY122" fmla="*/ 430682 h 1138428"/>
                    <a:gd name="connsiteX123" fmla="*/ 810890 w 1100571"/>
                    <a:gd name="connsiteY123" fmla="*/ 456469 h 1138428"/>
                    <a:gd name="connsiteX124" fmla="*/ 815279 w 1100571"/>
                    <a:gd name="connsiteY124" fmla="*/ 462503 h 1138428"/>
                    <a:gd name="connsiteX125" fmla="*/ 822960 w 1100571"/>
                    <a:gd name="connsiteY125" fmla="*/ 465796 h 1138428"/>
                    <a:gd name="connsiteX126" fmla="*/ 852586 w 1100571"/>
                    <a:gd name="connsiteY126" fmla="*/ 468539 h 1138428"/>
                    <a:gd name="connsiteX127" fmla="*/ 855330 w 1100571"/>
                    <a:gd name="connsiteY127" fmla="*/ 466893 h 1138428"/>
                    <a:gd name="connsiteX128" fmla="*/ 881116 w 1100571"/>
                    <a:gd name="connsiteY128" fmla="*/ 466893 h 1138428"/>
                    <a:gd name="connsiteX129" fmla="*/ 907450 w 1100571"/>
                    <a:gd name="connsiteY129" fmla="*/ 474025 h 1138428"/>
                    <a:gd name="connsiteX130" fmla="*/ 906353 w 1100571"/>
                    <a:gd name="connsiteY130" fmla="*/ 477317 h 1138428"/>
                    <a:gd name="connsiteX131" fmla="*/ 899221 w 1100571"/>
                    <a:gd name="connsiteY131" fmla="*/ 480609 h 1138428"/>
                    <a:gd name="connsiteX132" fmla="*/ 896478 w 1100571"/>
                    <a:gd name="connsiteY132" fmla="*/ 489387 h 1138428"/>
                    <a:gd name="connsiteX133" fmla="*/ 881116 w 1100571"/>
                    <a:gd name="connsiteY133" fmla="*/ 506395 h 1138428"/>
                    <a:gd name="connsiteX134" fmla="*/ 863559 w 1100571"/>
                    <a:gd name="connsiteY134" fmla="*/ 516819 h 1138428"/>
                    <a:gd name="connsiteX135" fmla="*/ 861913 w 1100571"/>
                    <a:gd name="connsiteY135" fmla="*/ 522305 h 1138428"/>
                    <a:gd name="connsiteX136" fmla="*/ 867400 w 1100571"/>
                    <a:gd name="connsiteY136" fmla="*/ 546446 h 1138428"/>
                    <a:gd name="connsiteX137" fmla="*/ 874532 w 1100571"/>
                    <a:gd name="connsiteY137" fmla="*/ 548092 h 1138428"/>
                    <a:gd name="connsiteX138" fmla="*/ 878373 w 1100571"/>
                    <a:gd name="connsiteY138" fmla="*/ 554126 h 1138428"/>
                    <a:gd name="connsiteX139" fmla="*/ 883310 w 1100571"/>
                    <a:gd name="connsiteY139" fmla="*/ 557967 h 1138428"/>
                    <a:gd name="connsiteX140" fmla="*/ 890991 w 1100571"/>
                    <a:gd name="connsiteY140" fmla="*/ 538216 h 1138428"/>
                    <a:gd name="connsiteX141" fmla="*/ 898123 w 1100571"/>
                    <a:gd name="connsiteY141" fmla="*/ 528340 h 1138428"/>
                    <a:gd name="connsiteX142" fmla="*/ 901964 w 1100571"/>
                    <a:gd name="connsiteY142" fmla="*/ 528889 h 1138428"/>
                    <a:gd name="connsiteX143" fmla="*/ 920618 w 1100571"/>
                    <a:gd name="connsiteY143" fmla="*/ 604053 h 1138428"/>
                    <a:gd name="connsiteX144" fmla="*/ 923361 w 1100571"/>
                    <a:gd name="connsiteY144" fmla="*/ 601858 h 1138428"/>
                    <a:gd name="connsiteX145" fmla="*/ 926653 w 1100571"/>
                    <a:gd name="connsiteY145" fmla="*/ 598566 h 1138428"/>
                    <a:gd name="connsiteX146" fmla="*/ 932688 w 1100571"/>
                    <a:gd name="connsiteY146" fmla="*/ 600212 h 1138428"/>
                    <a:gd name="connsiteX147" fmla="*/ 935980 w 1100571"/>
                    <a:gd name="connsiteY147" fmla="*/ 599115 h 1138428"/>
                    <a:gd name="connsiteX148" fmla="*/ 939820 w 1100571"/>
                    <a:gd name="connsiteY148" fmla="*/ 594726 h 1138428"/>
                    <a:gd name="connsiteX149" fmla="*/ 939820 w 1100571"/>
                    <a:gd name="connsiteY149" fmla="*/ 590885 h 1138428"/>
                    <a:gd name="connsiteX150" fmla="*/ 938723 w 1100571"/>
                    <a:gd name="connsiteY150" fmla="*/ 590337 h 1138428"/>
                    <a:gd name="connsiteX151" fmla="*/ 935980 w 1100571"/>
                    <a:gd name="connsiteY151" fmla="*/ 583753 h 1138428"/>
                    <a:gd name="connsiteX152" fmla="*/ 937077 w 1100571"/>
                    <a:gd name="connsiteY152" fmla="*/ 564002 h 1138428"/>
                    <a:gd name="connsiteX153" fmla="*/ 944758 w 1100571"/>
                    <a:gd name="connsiteY153" fmla="*/ 564551 h 1138428"/>
                    <a:gd name="connsiteX154" fmla="*/ 946953 w 1100571"/>
                    <a:gd name="connsiteY154" fmla="*/ 561259 h 1138428"/>
                    <a:gd name="connsiteX155" fmla="*/ 948598 w 1100571"/>
                    <a:gd name="connsiteY155" fmla="*/ 529986 h 1138428"/>
                    <a:gd name="connsiteX156" fmla="*/ 953536 w 1100571"/>
                    <a:gd name="connsiteY156" fmla="*/ 524500 h 1138428"/>
                    <a:gd name="connsiteX157" fmla="*/ 963412 w 1100571"/>
                    <a:gd name="connsiteY157" fmla="*/ 522854 h 1138428"/>
                    <a:gd name="connsiteX158" fmla="*/ 977676 w 1100571"/>
                    <a:gd name="connsiteY158" fmla="*/ 524500 h 1138428"/>
                    <a:gd name="connsiteX159" fmla="*/ 980419 w 1100571"/>
                    <a:gd name="connsiteY159" fmla="*/ 521208 h 1138428"/>
                    <a:gd name="connsiteX160" fmla="*/ 999622 w 1100571"/>
                    <a:gd name="connsiteY160" fmla="*/ 475122 h 1138428"/>
                    <a:gd name="connsiteX161" fmla="*/ 998525 w 1100571"/>
                    <a:gd name="connsiteY161" fmla="*/ 469087 h 1138428"/>
                    <a:gd name="connsiteX162" fmla="*/ 1002365 w 1100571"/>
                    <a:gd name="connsiteY162" fmla="*/ 462503 h 1138428"/>
                    <a:gd name="connsiteX163" fmla="*/ 1013338 w 1100571"/>
                    <a:gd name="connsiteY163" fmla="*/ 455371 h 1138428"/>
                    <a:gd name="connsiteX164" fmla="*/ 1017727 w 1100571"/>
                    <a:gd name="connsiteY164" fmla="*/ 446593 h 1138428"/>
                    <a:gd name="connsiteX165" fmla="*/ 1016081 w 1100571"/>
                    <a:gd name="connsiteY165" fmla="*/ 427391 h 1138428"/>
                    <a:gd name="connsiteX166" fmla="*/ 1021567 w 1100571"/>
                    <a:gd name="connsiteY166" fmla="*/ 416418 h 1138428"/>
                    <a:gd name="connsiteX167" fmla="*/ 1030894 w 1100571"/>
                    <a:gd name="connsiteY167" fmla="*/ 408737 h 1138428"/>
                    <a:gd name="connsiteX168" fmla="*/ 1041319 w 1100571"/>
                    <a:gd name="connsiteY168" fmla="*/ 403799 h 1138428"/>
                    <a:gd name="connsiteX169" fmla="*/ 1053389 w 1100571"/>
                    <a:gd name="connsiteY169" fmla="*/ 388437 h 1138428"/>
                    <a:gd name="connsiteX170" fmla="*/ 1066556 w 1100571"/>
                    <a:gd name="connsiteY170" fmla="*/ 386791 h 1138428"/>
                    <a:gd name="connsiteX171" fmla="*/ 1073688 w 1100571"/>
                    <a:gd name="connsiteY171" fmla="*/ 383500 h 1138428"/>
                    <a:gd name="connsiteX172" fmla="*/ 1085210 w 1100571"/>
                    <a:gd name="connsiteY172" fmla="*/ 386791 h 1138428"/>
                    <a:gd name="connsiteX173" fmla="*/ 1087953 w 1100571"/>
                    <a:gd name="connsiteY173" fmla="*/ 383500 h 1138428"/>
                    <a:gd name="connsiteX174" fmla="*/ 1085758 w 1100571"/>
                    <a:gd name="connsiteY174" fmla="*/ 372527 h 1138428"/>
                    <a:gd name="connsiteX175" fmla="*/ 1089050 w 1100571"/>
                    <a:gd name="connsiteY175" fmla="*/ 363748 h 1138428"/>
                    <a:gd name="connsiteX176" fmla="*/ 1096183 w 1100571"/>
                    <a:gd name="connsiteY176" fmla="*/ 359908 h 1138428"/>
                    <a:gd name="connsiteX177" fmla="*/ 1100572 w 1100571"/>
                    <a:gd name="connsiteY177" fmla="*/ 354970 h 1138428"/>
                    <a:gd name="connsiteX178" fmla="*/ 1100572 w 1100571"/>
                    <a:gd name="connsiteY178" fmla="*/ 346741 h 1138428"/>
                    <a:gd name="connsiteX179" fmla="*/ 1097829 w 1100571"/>
                    <a:gd name="connsiteY179" fmla="*/ 338511 h 1138428"/>
                    <a:gd name="connsiteX180" fmla="*/ 1090696 w 1100571"/>
                    <a:gd name="connsiteY180" fmla="*/ 335768 h 1138428"/>
                    <a:gd name="connsiteX181" fmla="*/ 1080821 w 1100571"/>
                    <a:gd name="connsiteY181" fmla="*/ 335768 h 1138428"/>
                    <a:gd name="connsiteX182" fmla="*/ 1074786 w 1100571"/>
                    <a:gd name="connsiteY182" fmla="*/ 333025 h 1138428"/>
                    <a:gd name="connsiteX183" fmla="*/ 1062167 w 1100571"/>
                    <a:gd name="connsiteY183" fmla="*/ 333025 h 1138428"/>
                    <a:gd name="connsiteX184" fmla="*/ 1064362 w 1100571"/>
                    <a:gd name="connsiteY184" fmla="*/ 312725 h 1138428"/>
                    <a:gd name="connsiteX185" fmla="*/ 1056132 w 1100571"/>
                    <a:gd name="connsiteY185" fmla="*/ 309982 h 1138428"/>
                    <a:gd name="connsiteX186" fmla="*/ 1054486 w 1100571"/>
                    <a:gd name="connsiteY186" fmla="*/ 303398 h 1138428"/>
                    <a:gd name="connsiteX187" fmla="*/ 1056132 w 1100571"/>
                    <a:gd name="connsiteY187" fmla="*/ 297911 h 1138428"/>
                    <a:gd name="connsiteX188" fmla="*/ 1048451 w 1100571"/>
                    <a:gd name="connsiteY188" fmla="*/ 290231 h 1138428"/>
                    <a:gd name="connsiteX189" fmla="*/ 1040221 w 1100571"/>
                    <a:gd name="connsiteY189" fmla="*/ 291877 h 1138428"/>
                    <a:gd name="connsiteX190" fmla="*/ 1030346 w 1100571"/>
                    <a:gd name="connsiteY190" fmla="*/ 298460 h 1138428"/>
                    <a:gd name="connsiteX191" fmla="*/ 1021019 w 1100571"/>
                    <a:gd name="connsiteY191" fmla="*/ 301204 h 1138428"/>
                    <a:gd name="connsiteX192" fmla="*/ 1001817 w 1100571"/>
                    <a:gd name="connsiteY192" fmla="*/ 301204 h 1138428"/>
                    <a:gd name="connsiteX193" fmla="*/ 996879 w 1100571"/>
                    <a:gd name="connsiteY193" fmla="*/ 297911 h 1138428"/>
                    <a:gd name="connsiteX194" fmla="*/ 994135 w 1100571"/>
                    <a:gd name="connsiteY194" fmla="*/ 297363 h 1138428"/>
                    <a:gd name="connsiteX195" fmla="*/ 980968 w 1100571"/>
                    <a:gd name="connsiteY195" fmla="*/ 305044 h 1138428"/>
                    <a:gd name="connsiteX196" fmla="*/ 977128 w 1100571"/>
                    <a:gd name="connsiteY196" fmla="*/ 312176 h 1138428"/>
                    <a:gd name="connsiteX197" fmla="*/ 963960 w 1100571"/>
                    <a:gd name="connsiteY197" fmla="*/ 323698 h 1138428"/>
                    <a:gd name="connsiteX198" fmla="*/ 953536 w 1100571"/>
                    <a:gd name="connsiteY198" fmla="*/ 326990 h 1138428"/>
                    <a:gd name="connsiteX199" fmla="*/ 937077 w 1100571"/>
                    <a:gd name="connsiteY199" fmla="*/ 342900 h 1138428"/>
                    <a:gd name="connsiteX200" fmla="*/ 887700 w 1100571"/>
                    <a:gd name="connsiteY200" fmla="*/ 361554 h 1138428"/>
                    <a:gd name="connsiteX201" fmla="*/ 888248 w 1100571"/>
                    <a:gd name="connsiteY201" fmla="*/ 362651 h 1138428"/>
                    <a:gd name="connsiteX202" fmla="*/ 888248 w 1100571"/>
                    <a:gd name="connsiteY202" fmla="*/ 364297 h 1138428"/>
                    <a:gd name="connsiteX203" fmla="*/ 886602 w 1100571"/>
                    <a:gd name="connsiteY203" fmla="*/ 368138 h 1138428"/>
                    <a:gd name="connsiteX204" fmla="*/ 886602 w 1100571"/>
                    <a:gd name="connsiteY204" fmla="*/ 369784 h 1138428"/>
                    <a:gd name="connsiteX205" fmla="*/ 887151 w 1100571"/>
                    <a:gd name="connsiteY205" fmla="*/ 371978 h 1138428"/>
                    <a:gd name="connsiteX206" fmla="*/ 899221 w 1100571"/>
                    <a:gd name="connsiteY206" fmla="*/ 376916 h 1138428"/>
                    <a:gd name="connsiteX207" fmla="*/ 903610 w 1100571"/>
                    <a:gd name="connsiteY207" fmla="*/ 380756 h 1138428"/>
                    <a:gd name="connsiteX208" fmla="*/ 902513 w 1100571"/>
                    <a:gd name="connsiteY208" fmla="*/ 390632 h 1138428"/>
                    <a:gd name="connsiteX209" fmla="*/ 903610 w 1100571"/>
                    <a:gd name="connsiteY209" fmla="*/ 393375 h 1138428"/>
                    <a:gd name="connsiteX210" fmla="*/ 903061 w 1100571"/>
                    <a:gd name="connsiteY210" fmla="*/ 395570 h 1138428"/>
                    <a:gd name="connsiteX211" fmla="*/ 897575 w 1100571"/>
                    <a:gd name="connsiteY211" fmla="*/ 398313 h 1138428"/>
                    <a:gd name="connsiteX212" fmla="*/ 854781 w 1100571"/>
                    <a:gd name="connsiteY212" fmla="*/ 404896 h 1138428"/>
                    <a:gd name="connsiteX213" fmla="*/ 838322 w 1100571"/>
                    <a:gd name="connsiteY213" fmla="*/ 402153 h 1138428"/>
                    <a:gd name="connsiteX214" fmla="*/ 821863 w 1100571"/>
                    <a:gd name="connsiteY214" fmla="*/ 407639 h 1138428"/>
                    <a:gd name="connsiteX215" fmla="*/ 793882 w 1100571"/>
                    <a:gd name="connsiteY215" fmla="*/ 405994 h 1138428"/>
                    <a:gd name="connsiteX216" fmla="*/ 786201 w 1100571"/>
                    <a:gd name="connsiteY216" fmla="*/ 403250 h 1138428"/>
                    <a:gd name="connsiteX217" fmla="*/ 783458 w 1100571"/>
                    <a:gd name="connsiteY217" fmla="*/ 401056 h 1138428"/>
                    <a:gd name="connsiteX218" fmla="*/ 781263 w 1100571"/>
                    <a:gd name="connsiteY218" fmla="*/ 401605 h 1138428"/>
                    <a:gd name="connsiteX219" fmla="*/ 780166 w 1100571"/>
                    <a:gd name="connsiteY219" fmla="*/ 400507 h 1138428"/>
                    <a:gd name="connsiteX220" fmla="*/ 780166 w 1100571"/>
                    <a:gd name="connsiteY220" fmla="*/ 395570 h 1138428"/>
                    <a:gd name="connsiteX221" fmla="*/ 779617 w 1100571"/>
                    <a:gd name="connsiteY221" fmla="*/ 393923 h 1138428"/>
                    <a:gd name="connsiteX222" fmla="*/ 776326 w 1100571"/>
                    <a:gd name="connsiteY222" fmla="*/ 392826 h 1138428"/>
                    <a:gd name="connsiteX223" fmla="*/ 776326 w 1100571"/>
                    <a:gd name="connsiteY223" fmla="*/ 389534 h 1138428"/>
                    <a:gd name="connsiteX224" fmla="*/ 781812 w 1100571"/>
                    <a:gd name="connsiteY224" fmla="*/ 383500 h 1138428"/>
                    <a:gd name="connsiteX225" fmla="*/ 782909 w 1100571"/>
                    <a:gd name="connsiteY225" fmla="*/ 380756 h 1138428"/>
                    <a:gd name="connsiteX226" fmla="*/ 779069 w 1100571"/>
                    <a:gd name="connsiteY226" fmla="*/ 381305 h 1138428"/>
                    <a:gd name="connsiteX227" fmla="*/ 776874 w 1100571"/>
                    <a:gd name="connsiteY227" fmla="*/ 379659 h 1138428"/>
                    <a:gd name="connsiteX228" fmla="*/ 775777 w 1100571"/>
                    <a:gd name="connsiteY228" fmla="*/ 378013 h 1138428"/>
                    <a:gd name="connsiteX229" fmla="*/ 775228 w 1100571"/>
                    <a:gd name="connsiteY229" fmla="*/ 372527 h 1138428"/>
                    <a:gd name="connsiteX230" fmla="*/ 777972 w 1100571"/>
                    <a:gd name="connsiteY230" fmla="*/ 364297 h 1138428"/>
                    <a:gd name="connsiteX231" fmla="*/ 776326 w 1100571"/>
                    <a:gd name="connsiteY231" fmla="*/ 353324 h 1138428"/>
                    <a:gd name="connsiteX232" fmla="*/ 774679 w 1100571"/>
                    <a:gd name="connsiteY232" fmla="*/ 351130 h 1138428"/>
                    <a:gd name="connsiteX233" fmla="*/ 771936 w 1100571"/>
                    <a:gd name="connsiteY233" fmla="*/ 349484 h 1138428"/>
                    <a:gd name="connsiteX234" fmla="*/ 768645 w 1100571"/>
                    <a:gd name="connsiteY234" fmla="*/ 350032 h 1138428"/>
                    <a:gd name="connsiteX235" fmla="*/ 762610 w 1100571"/>
                    <a:gd name="connsiteY235" fmla="*/ 354422 h 1138428"/>
                    <a:gd name="connsiteX236" fmla="*/ 757672 w 1100571"/>
                    <a:gd name="connsiteY236" fmla="*/ 354422 h 1138428"/>
                    <a:gd name="connsiteX237" fmla="*/ 751088 w 1100571"/>
                    <a:gd name="connsiteY237" fmla="*/ 357165 h 1138428"/>
                    <a:gd name="connsiteX238" fmla="*/ 746150 w 1100571"/>
                    <a:gd name="connsiteY238" fmla="*/ 370881 h 1138428"/>
                    <a:gd name="connsiteX239" fmla="*/ 745602 w 1100571"/>
                    <a:gd name="connsiteY239" fmla="*/ 390083 h 1138428"/>
                    <a:gd name="connsiteX240" fmla="*/ 742858 w 1100571"/>
                    <a:gd name="connsiteY240" fmla="*/ 393923 h 1138428"/>
                    <a:gd name="connsiteX241" fmla="*/ 742858 w 1100571"/>
                    <a:gd name="connsiteY241" fmla="*/ 396118 h 1138428"/>
                    <a:gd name="connsiteX242" fmla="*/ 748345 w 1100571"/>
                    <a:gd name="connsiteY242" fmla="*/ 399410 h 1138428"/>
                    <a:gd name="connsiteX243" fmla="*/ 752185 w 1100571"/>
                    <a:gd name="connsiteY243" fmla="*/ 405445 h 1138428"/>
                    <a:gd name="connsiteX244" fmla="*/ 751637 w 1100571"/>
                    <a:gd name="connsiteY244" fmla="*/ 410932 h 1138428"/>
                    <a:gd name="connsiteX245" fmla="*/ 747247 w 1100571"/>
                    <a:gd name="connsiteY245" fmla="*/ 418064 h 1138428"/>
                    <a:gd name="connsiteX246" fmla="*/ 747247 w 1100571"/>
                    <a:gd name="connsiteY246" fmla="*/ 419710 h 1138428"/>
                    <a:gd name="connsiteX247" fmla="*/ 739018 w 1100571"/>
                    <a:gd name="connsiteY247" fmla="*/ 419161 h 1138428"/>
                    <a:gd name="connsiteX248" fmla="*/ 731886 w 1100571"/>
                    <a:gd name="connsiteY248" fmla="*/ 420807 h 1138428"/>
                    <a:gd name="connsiteX249" fmla="*/ 722010 w 1100571"/>
                    <a:gd name="connsiteY249" fmla="*/ 419710 h 1138428"/>
                    <a:gd name="connsiteX250" fmla="*/ 715975 w 1100571"/>
                    <a:gd name="connsiteY250" fmla="*/ 421355 h 1138428"/>
                    <a:gd name="connsiteX251" fmla="*/ 709392 w 1100571"/>
                    <a:gd name="connsiteY251" fmla="*/ 418064 h 1138428"/>
                    <a:gd name="connsiteX252" fmla="*/ 666049 w 1100571"/>
                    <a:gd name="connsiteY252" fmla="*/ 412029 h 1138428"/>
                    <a:gd name="connsiteX253" fmla="*/ 661111 w 1100571"/>
                    <a:gd name="connsiteY253" fmla="*/ 407639 h 1138428"/>
                    <a:gd name="connsiteX254" fmla="*/ 633130 w 1100571"/>
                    <a:gd name="connsiteY254" fmla="*/ 403799 h 1138428"/>
                    <a:gd name="connsiteX255" fmla="*/ 620512 w 1100571"/>
                    <a:gd name="connsiteY255" fmla="*/ 394472 h 1138428"/>
                    <a:gd name="connsiteX256" fmla="*/ 613379 w 1100571"/>
                    <a:gd name="connsiteY256" fmla="*/ 385145 h 1138428"/>
                    <a:gd name="connsiteX257" fmla="*/ 608990 w 1100571"/>
                    <a:gd name="connsiteY257" fmla="*/ 382402 h 1138428"/>
                    <a:gd name="connsiteX258" fmla="*/ 594177 w 1100571"/>
                    <a:gd name="connsiteY258" fmla="*/ 380756 h 1138428"/>
                    <a:gd name="connsiteX259" fmla="*/ 592531 w 1100571"/>
                    <a:gd name="connsiteY259" fmla="*/ 382402 h 1138428"/>
                    <a:gd name="connsiteX260" fmla="*/ 588691 w 1100571"/>
                    <a:gd name="connsiteY260" fmla="*/ 382402 h 1138428"/>
                    <a:gd name="connsiteX261" fmla="*/ 582107 w 1100571"/>
                    <a:gd name="connsiteY261" fmla="*/ 379659 h 1138428"/>
                    <a:gd name="connsiteX262" fmla="*/ 574975 w 1100571"/>
                    <a:gd name="connsiteY262" fmla="*/ 379110 h 1138428"/>
                    <a:gd name="connsiteX263" fmla="*/ 568939 w 1100571"/>
                    <a:gd name="connsiteY263" fmla="*/ 382402 h 1138428"/>
                    <a:gd name="connsiteX264" fmla="*/ 551932 w 1100571"/>
                    <a:gd name="connsiteY264" fmla="*/ 379110 h 1138428"/>
                    <a:gd name="connsiteX265" fmla="*/ 544799 w 1100571"/>
                    <a:gd name="connsiteY265" fmla="*/ 370881 h 1138428"/>
                    <a:gd name="connsiteX266" fmla="*/ 542605 w 1100571"/>
                    <a:gd name="connsiteY266" fmla="*/ 369784 h 1138428"/>
                    <a:gd name="connsiteX267" fmla="*/ 534375 w 1100571"/>
                    <a:gd name="connsiteY267" fmla="*/ 368686 h 1138428"/>
                    <a:gd name="connsiteX268" fmla="*/ 528340 w 1100571"/>
                    <a:gd name="connsiteY268" fmla="*/ 363200 h 1138428"/>
                    <a:gd name="connsiteX269" fmla="*/ 520659 w 1100571"/>
                    <a:gd name="connsiteY269" fmla="*/ 359908 h 1138428"/>
                    <a:gd name="connsiteX270" fmla="*/ 513527 w 1100571"/>
                    <a:gd name="connsiteY270" fmla="*/ 359359 h 1138428"/>
                    <a:gd name="connsiteX271" fmla="*/ 503103 w 1100571"/>
                    <a:gd name="connsiteY271" fmla="*/ 353324 h 1138428"/>
                    <a:gd name="connsiteX272" fmla="*/ 494873 w 1100571"/>
                    <a:gd name="connsiteY272" fmla="*/ 343449 h 1138428"/>
                    <a:gd name="connsiteX273" fmla="*/ 483352 w 1100571"/>
                    <a:gd name="connsiteY273" fmla="*/ 336865 h 1138428"/>
                    <a:gd name="connsiteX274" fmla="*/ 480609 w 1100571"/>
                    <a:gd name="connsiteY274" fmla="*/ 333573 h 1138428"/>
                    <a:gd name="connsiteX275" fmla="*/ 471282 w 1100571"/>
                    <a:gd name="connsiteY275" fmla="*/ 328636 h 1138428"/>
                    <a:gd name="connsiteX276" fmla="*/ 469636 w 1100571"/>
                    <a:gd name="connsiteY276" fmla="*/ 328636 h 1138428"/>
                    <a:gd name="connsiteX277" fmla="*/ 468538 w 1100571"/>
                    <a:gd name="connsiteY277" fmla="*/ 331927 h 1138428"/>
                    <a:gd name="connsiteX278" fmla="*/ 465795 w 1100571"/>
                    <a:gd name="connsiteY278" fmla="*/ 331927 h 1138428"/>
                    <a:gd name="connsiteX279" fmla="*/ 462503 w 1100571"/>
                    <a:gd name="connsiteY279" fmla="*/ 328636 h 1138428"/>
                    <a:gd name="connsiteX280" fmla="*/ 461406 w 1100571"/>
                    <a:gd name="connsiteY280" fmla="*/ 325343 h 1138428"/>
                    <a:gd name="connsiteX281" fmla="*/ 458114 w 1100571"/>
                    <a:gd name="connsiteY281" fmla="*/ 321503 h 1138428"/>
                    <a:gd name="connsiteX282" fmla="*/ 450433 w 1100571"/>
                    <a:gd name="connsiteY282" fmla="*/ 320406 h 1138428"/>
                    <a:gd name="connsiteX283" fmla="*/ 449885 w 1100571"/>
                    <a:gd name="connsiteY283" fmla="*/ 318760 h 1138428"/>
                    <a:gd name="connsiteX284" fmla="*/ 450433 w 1100571"/>
                    <a:gd name="connsiteY284" fmla="*/ 313822 h 1138428"/>
                    <a:gd name="connsiteX285" fmla="*/ 453725 w 1100571"/>
                    <a:gd name="connsiteY285" fmla="*/ 308884 h 1138428"/>
                    <a:gd name="connsiteX286" fmla="*/ 456468 w 1100571"/>
                    <a:gd name="connsiteY286" fmla="*/ 307787 h 1138428"/>
                    <a:gd name="connsiteX287" fmla="*/ 457017 w 1100571"/>
                    <a:gd name="connsiteY287" fmla="*/ 303398 h 1138428"/>
                    <a:gd name="connsiteX288" fmla="*/ 459760 w 1100571"/>
                    <a:gd name="connsiteY288" fmla="*/ 300106 h 1138428"/>
                    <a:gd name="connsiteX289" fmla="*/ 457566 w 1100571"/>
                    <a:gd name="connsiteY289" fmla="*/ 294620 h 1138428"/>
                    <a:gd name="connsiteX290" fmla="*/ 459760 w 1100571"/>
                    <a:gd name="connsiteY290" fmla="*/ 289133 h 1138428"/>
                    <a:gd name="connsiteX291" fmla="*/ 463052 w 1100571"/>
                    <a:gd name="connsiteY291" fmla="*/ 285293 h 1138428"/>
                    <a:gd name="connsiteX292" fmla="*/ 461406 w 1100571"/>
                    <a:gd name="connsiteY292" fmla="*/ 280355 h 1138428"/>
                    <a:gd name="connsiteX293" fmla="*/ 461406 w 1100571"/>
                    <a:gd name="connsiteY293" fmla="*/ 277612 h 1138428"/>
                    <a:gd name="connsiteX294" fmla="*/ 464149 w 1100571"/>
                    <a:gd name="connsiteY294" fmla="*/ 274869 h 1138428"/>
                    <a:gd name="connsiteX295" fmla="*/ 468538 w 1100571"/>
                    <a:gd name="connsiteY295" fmla="*/ 273772 h 1138428"/>
                    <a:gd name="connsiteX296" fmla="*/ 470184 w 1100571"/>
                    <a:gd name="connsiteY296" fmla="*/ 269382 h 1138428"/>
                    <a:gd name="connsiteX297" fmla="*/ 475671 w 1100571"/>
                    <a:gd name="connsiteY297" fmla="*/ 265542 h 1138428"/>
                    <a:gd name="connsiteX298" fmla="*/ 478414 w 1100571"/>
                    <a:gd name="connsiteY298" fmla="*/ 262250 h 1138428"/>
                    <a:gd name="connsiteX299" fmla="*/ 479511 w 1100571"/>
                    <a:gd name="connsiteY299" fmla="*/ 258410 h 1138428"/>
                    <a:gd name="connsiteX300" fmla="*/ 480609 w 1100571"/>
                    <a:gd name="connsiteY300" fmla="*/ 257861 h 1138428"/>
                    <a:gd name="connsiteX301" fmla="*/ 482803 w 1100571"/>
                    <a:gd name="connsiteY301" fmla="*/ 258958 h 1138428"/>
                    <a:gd name="connsiteX302" fmla="*/ 486643 w 1100571"/>
                    <a:gd name="connsiteY302" fmla="*/ 257861 h 1138428"/>
                    <a:gd name="connsiteX303" fmla="*/ 484998 w 1100571"/>
                    <a:gd name="connsiteY303" fmla="*/ 256215 h 1138428"/>
                    <a:gd name="connsiteX304" fmla="*/ 472927 w 1100571"/>
                    <a:gd name="connsiteY304" fmla="*/ 252923 h 1138428"/>
                    <a:gd name="connsiteX305" fmla="*/ 471282 w 1100571"/>
                    <a:gd name="connsiteY305" fmla="*/ 251277 h 1138428"/>
                    <a:gd name="connsiteX306" fmla="*/ 468538 w 1100571"/>
                    <a:gd name="connsiteY306" fmla="*/ 246888 h 1138428"/>
                    <a:gd name="connsiteX307" fmla="*/ 465247 w 1100571"/>
                    <a:gd name="connsiteY307" fmla="*/ 246888 h 1138428"/>
                    <a:gd name="connsiteX308" fmla="*/ 457017 w 1100571"/>
                    <a:gd name="connsiteY308" fmla="*/ 240304 h 1138428"/>
                    <a:gd name="connsiteX309" fmla="*/ 448787 w 1100571"/>
                    <a:gd name="connsiteY309" fmla="*/ 237561 h 1138428"/>
                    <a:gd name="connsiteX310" fmla="*/ 447142 w 1100571"/>
                    <a:gd name="connsiteY310" fmla="*/ 235367 h 1138428"/>
                    <a:gd name="connsiteX311" fmla="*/ 447142 w 1100571"/>
                    <a:gd name="connsiteY311" fmla="*/ 232075 h 1138428"/>
                    <a:gd name="connsiteX312" fmla="*/ 445495 w 1100571"/>
                    <a:gd name="connsiteY312" fmla="*/ 229880 h 1138428"/>
                    <a:gd name="connsiteX313" fmla="*/ 442204 w 1100571"/>
                    <a:gd name="connsiteY313" fmla="*/ 229331 h 1138428"/>
                    <a:gd name="connsiteX314" fmla="*/ 441106 w 1100571"/>
                    <a:gd name="connsiteY314" fmla="*/ 227686 h 1138428"/>
                    <a:gd name="connsiteX315" fmla="*/ 438363 w 1100571"/>
                    <a:gd name="connsiteY315" fmla="*/ 226588 h 1138428"/>
                    <a:gd name="connsiteX316" fmla="*/ 432328 w 1100571"/>
                    <a:gd name="connsiteY316" fmla="*/ 229331 h 1138428"/>
                    <a:gd name="connsiteX317" fmla="*/ 431231 w 1100571"/>
                    <a:gd name="connsiteY317" fmla="*/ 227686 h 1138428"/>
                    <a:gd name="connsiteX318" fmla="*/ 430682 w 1100571"/>
                    <a:gd name="connsiteY318" fmla="*/ 223845 h 1138428"/>
                    <a:gd name="connsiteX319" fmla="*/ 429036 w 1100571"/>
                    <a:gd name="connsiteY319" fmla="*/ 222748 h 1138428"/>
                    <a:gd name="connsiteX320" fmla="*/ 426842 w 1100571"/>
                    <a:gd name="connsiteY320" fmla="*/ 222199 h 1138428"/>
                    <a:gd name="connsiteX321" fmla="*/ 415869 w 1100571"/>
                    <a:gd name="connsiteY321" fmla="*/ 223297 h 1138428"/>
                    <a:gd name="connsiteX322" fmla="*/ 411480 w 1100571"/>
                    <a:gd name="connsiteY322" fmla="*/ 226040 h 1138428"/>
                    <a:gd name="connsiteX323" fmla="*/ 409285 w 1100571"/>
                    <a:gd name="connsiteY323" fmla="*/ 225491 h 1138428"/>
                    <a:gd name="connsiteX324" fmla="*/ 407639 w 1100571"/>
                    <a:gd name="connsiteY324" fmla="*/ 223845 h 1138428"/>
                    <a:gd name="connsiteX325" fmla="*/ 408737 w 1100571"/>
                    <a:gd name="connsiteY325" fmla="*/ 217262 h 1138428"/>
                    <a:gd name="connsiteX326" fmla="*/ 404896 w 1100571"/>
                    <a:gd name="connsiteY326" fmla="*/ 214518 h 1138428"/>
                    <a:gd name="connsiteX327" fmla="*/ 402702 w 1100571"/>
                    <a:gd name="connsiteY327" fmla="*/ 210678 h 1138428"/>
                    <a:gd name="connsiteX328" fmla="*/ 402153 w 1100571"/>
                    <a:gd name="connsiteY328" fmla="*/ 208483 h 1138428"/>
                    <a:gd name="connsiteX329" fmla="*/ 398861 w 1100571"/>
                    <a:gd name="connsiteY329" fmla="*/ 205192 h 1138428"/>
                    <a:gd name="connsiteX330" fmla="*/ 398861 w 1100571"/>
                    <a:gd name="connsiteY330" fmla="*/ 202448 h 1138428"/>
                    <a:gd name="connsiteX331" fmla="*/ 401056 w 1100571"/>
                    <a:gd name="connsiteY331" fmla="*/ 196962 h 1138428"/>
                    <a:gd name="connsiteX332" fmla="*/ 398861 w 1100571"/>
                    <a:gd name="connsiteY332" fmla="*/ 192573 h 1138428"/>
                    <a:gd name="connsiteX333" fmla="*/ 399410 w 1100571"/>
                    <a:gd name="connsiteY333" fmla="*/ 185440 h 1138428"/>
                    <a:gd name="connsiteX334" fmla="*/ 401056 w 1100571"/>
                    <a:gd name="connsiteY334" fmla="*/ 181051 h 1138428"/>
                    <a:gd name="connsiteX335" fmla="*/ 390631 w 1100571"/>
                    <a:gd name="connsiteY335" fmla="*/ 169530 h 1138428"/>
                    <a:gd name="connsiteX336" fmla="*/ 390631 w 1100571"/>
                    <a:gd name="connsiteY336" fmla="*/ 161849 h 1138428"/>
                    <a:gd name="connsiteX337" fmla="*/ 388986 w 1100571"/>
                    <a:gd name="connsiteY337" fmla="*/ 157460 h 1138428"/>
                    <a:gd name="connsiteX338" fmla="*/ 389534 w 1100571"/>
                    <a:gd name="connsiteY338" fmla="*/ 155265 h 1138428"/>
                    <a:gd name="connsiteX339" fmla="*/ 397215 w 1100571"/>
                    <a:gd name="connsiteY339" fmla="*/ 154168 h 1138428"/>
                    <a:gd name="connsiteX340" fmla="*/ 399410 w 1100571"/>
                    <a:gd name="connsiteY340" fmla="*/ 151425 h 1138428"/>
                    <a:gd name="connsiteX341" fmla="*/ 400507 w 1100571"/>
                    <a:gd name="connsiteY341" fmla="*/ 152522 h 1138428"/>
                    <a:gd name="connsiteX342" fmla="*/ 401056 w 1100571"/>
                    <a:gd name="connsiteY342" fmla="*/ 157460 h 1138428"/>
                    <a:gd name="connsiteX343" fmla="*/ 402702 w 1100571"/>
                    <a:gd name="connsiteY343" fmla="*/ 160203 h 1138428"/>
                    <a:gd name="connsiteX344" fmla="*/ 404896 w 1100571"/>
                    <a:gd name="connsiteY344" fmla="*/ 161849 h 1138428"/>
                    <a:gd name="connsiteX345" fmla="*/ 408737 w 1100571"/>
                    <a:gd name="connsiteY345" fmla="*/ 164044 h 1138428"/>
                    <a:gd name="connsiteX346" fmla="*/ 410931 w 1100571"/>
                    <a:gd name="connsiteY346" fmla="*/ 163495 h 1138428"/>
                    <a:gd name="connsiteX347" fmla="*/ 412577 w 1100571"/>
                    <a:gd name="connsiteY347" fmla="*/ 162398 h 1138428"/>
                    <a:gd name="connsiteX348" fmla="*/ 415320 w 1100571"/>
                    <a:gd name="connsiteY348" fmla="*/ 162946 h 1138428"/>
                    <a:gd name="connsiteX349" fmla="*/ 415869 w 1100571"/>
                    <a:gd name="connsiteY349" fmla="*/ 159106 h 1138428"/>
                    <a:gd name="connsiteX350" fmla="*/ 418612 w 1100571"/>
                    <a:gd name="connsiteY350" fmla="*/ 157460 h 1138428"/>
                    <a:gd name="connsiteX351" fmla="*/ 420807 w 1100571"/>
                    <a:gd name="connsiteY351" fmla="*/ 153619 h 1138428"/>
                    <a:gd name="connsiteX352" fmla="*/ 421904 w 1100571"/>
                    <a:gd name="connsiteY352" fmla="*/ 153619 h 1138428"/>
                    <a:gd name="connsiteX353" fmla="*/ 424099 w 1100571"/>
                    <a:gd name="connsiteY353" fmla="*/ 156911 h 1138428"/>
                    <a:gd name="connsiteX354" fmla="*/ 425745 w 1100571"/>
                    <a:gd name="connsiteY354" fmla="*/ 156911 h 1138428"/>
                    <a:gd name="connsiteX355" fmla="*/ 431779 w 1100571"/>
                    <a:gd name="connsiteY355" fmla="*/ 149230 h 1138428"/>
                    <a:gd name="connsiteX356" fmla="*/ 431779 w 1100571"/>
                    <a:gd name="connsiteY356" fmla="*/ 147035 h 1138428"/>
                    <a:gd name="connsiteX357" fmla="*/ 425196 w 1100571"/>
                    <a:gd name="connsiteY357" fmla="*/ 137709 h 1138428"/>
                    <a:gd name="connsiteX358" fmla="*/ 424647 w 1100571"/>
                    <a:gd name="connsiteY358" fmla="*/ 134417 h 1138428"/>
                    <a:gd name="connsiteX359" fmla="*/ 425745 w 1100571"/>
                    <a:gd name="connsiteY359" fmla="*/ 132222 h 1138428"/>
                    <a:gd name="connsiteX360" fmla="*/ 425196 w 1100571"/>
                    <a:gd name="connsiteY360" fmla="*/ 129479 h 1138428"/>
                    <a:gd name="connsiteX361" fmla="*/ 418612 w 1100571"/>
                    <a:gd name="connsiteY361" fmla="*/ 126187 h 1138428"/>
                    <a:gd name="connsiteX362" fmla="*/ 415320 w 1100571"/>
                    <a:gd name="connsiteY362" fmla="*/ 126736 h 1138428"/>
                    <a:gd name="connsiteX363" fmla="*/ 414223 w 1100571"/>
                    <a:gd name="connsiteY363" fmla="*/ 124541 h 1138428"/>
                    <a:gd name="connsiteX364" fmla="*/ 408188 w 1100571"/>
                    <a:gd name="connsiteY364" fmla="*/ 119055 h 1138428"/>
                    <a:gd name="connsiteX365" fmla="*/ 408188 w 1100571"/>
                    <a:gd name="connsiteY365" fmla="*/ 109728 h 1138428"/>
                    <a:gd name="connsiteX366" fmla="*/ 411480 w 1100571"/>
                    <a:gd name="connsiteY366" fmla="*/ 108631 h 1138428"/>
                    <a:gd name="connsiteX367" fmla="*/ 410383 w 1100571"/>
                    <a:gd name="connsiteY367" fmla="*/ 104790 h 1138428"/>
                    <a:gd name="connsiteX368" fmla="*/ 410383 w 1100571"/>
                    <a:gd name="connsiteY368" fmla="*/ 102596 h 1138428"/>
                    <a:gd name="connsiteX369" fmla="*/ 411480 w 1100571"/>
                    <a:gd name="connsiteY369" fmla="*/ 102047 h 1138428"/>
                    <a:gd name="connsiteX370" fmla="*/ 407091 w 1100571"/>
                    <a:gd name="connsiteY370" fmla="*/ 96561 h 1138428"/>
                    <a:gd name="connsiteX371" fmla="*/ 407639 w 1100571"/>
                    <a:gd name="connsiteY371" fmla="*/ 92171 h 1138428"/>
                    <a:gd name="connsiteX372" fmla="*/ 407639 w 1100571"/>
                    <a:gd name="connsiteY372" fmla="*/ 91623 h 1138428"/>
                    <a:gd name="connsiteX373" fmla="*/ 414223 w 1100571"/>
                    <a:gd name="connsiteY373" fmla="*/ 92171 h 1138428"/>
                    <a:gd name="connsiteX374" fmla="*/ 417515 w 1100571"/>
                    <a:gd name="connsiteY374" fmla="*/ 89428 h 1138428"/>
                    <a:gd name="connsiteX375" fmla="*/ 424099 w 1100571"/>
                    <a:gd name="connsiteY375" fmla="*/ 91623 h 1138428"/>
                    <a:gd name="connsiteX376" fmla="*/ 426293 w 1100571"/>
                    <a:gd name="connsiteY376" fmla="*/ 90526 h 1138428"/>
                    <a:gd name="connsiteX377" fmla="*/ 432877 w 1100571"/>
                    <a:gd name="connsiteY377" fmla="*/ 80102 h 1138428"/>
                    <a:gd name="connsiteX378" fmla="*/ 432877 w 1100571"/>
                    <a:gd name="connsiteY378" fmla="*/ 72969 h 1138428"/>
                    <a:gd name="connsiteX379" fmla="*/ 439461 w 1100571"/>
                    <a:gd name="connsiteY379" fmla="*/ 71323 h 1138428"/>
                    <a:gd name="connsiteX380" fmla="*/ 440558 w 1100571"/>
                    <a:gd name="connsiteY380" fmla="*/ 70775 h 1138428"/>
                    <a:gd name="connsiteX381" fmla="*/ 438912 w 1100571"/>
                    <a:gd name="connsiteY381" fmla="*/ 69129 h 1138428"/>
                    <a:gd name="connsiteX382" fmla="*/ 439461 w 1100571"/>
                    <a:gd name="connsiteY382" fmla="*/ 66934 h 1138428"/>
                    <a:gd name="connsiteX383" fmla="*/ 442204 w 1100571"/>
                    <a:gd name="connsiteY383" fmla="*/ 65288 h 1138428"/>
                    <a:gd name="connsiteX384" fmla="*/ 442752 w 1100571"/>
                    <a:gd name="connsiteY384" fmla="*/ 63094 h 1138428"/>
                    <a:gd name="connsiteX385" fmla="*/ 449885 w 1100571"/>
                    <a:gd name="connsiteY385" fmla="*/ 57607 h 1138428"/>
                    <a:gd name="connsiteX386" fmla="*/ 449885 w 1100571"/>
                    <a:gd name="connsiteY386" fmla="*/ 53218 h 1138428"/>
                    <a:gd name="connsiteX387" fmla="*/ 453725 w 1100571"/>
                    <a:gd name="connsiteY387" fmla="*/ 49378 h 1138428"/>
                    <a:gd name="connsiteX388" fmla="*/ 455371 w 1100571"/>
                    <a:gd name="connsiteY388" fmla="*/ 36759 h 1138428"/>
                    <a:gd name="connsiteX389" fmla="*/ 457017 w 1100571"/>
                    <a:gd name="connsiteY389" fmla="*/ 34564 h 1138428"/>
                    <a:gd name="connsiteX390" fmla="*/ 457017 w 1100571"/>
                    <a:gd name="connsiteY390" fmla="*/ 29078 h 1138428"/>
                    <a:gd name="connsiteX391" fmla="*/ 461406 w 1100571"/>
                    <a:gd name="connsiteY391" fmla="*/ 24689 h 1138428"/>
                    <a:gd name="connsiteX392" fmla="*/ 461406 w 1100571"/>
                    <a:gd name="connsiteY392" fmla="*/ 22494 h 1138428"/>
                    <a:gd name="connsiteX393" fmla="*/ 459211 w 1100571"/>
                    <a:gd name="connsiteY393" fmla="*/ 20848 h 1138428"/>
                    <a:gd name="connsiteX394" fmla="*/ 456468 w 1100571"/>
                    <a:gd name="connsiteY394" fmla="*/ 20300 h 1138428"/>
                    <a:gd name="connsiteX395" fmla="*/ 451531 w 1100571"/>
                    <a:gd name="connsiteY395" fmla="*/ 26335 h 1138428"/>
                    <a:gd name="connsiteX396" fmla="*/ 449885 w 1100571"/>
                    <a:gd name="connsiteY396" fmla="*/ 26335 h 1138428"/>
                    <a:gd name="connsiteX397" fmla="*/ 447690 w 1100571"/>
                    <a:gd name="connsiteY397" fmla="*/ 24140 h 1138428"/>
                    <a:gd name="connsiteX398" fmla="*/ 446044 w 1100571"/>
                    <a:gd name="connsiteY398" fmla="*/ 16459 h 1138428"/>
                    <a:gd name="connsiteX399" fmla="*/ 442752 w 1100571"/>
                    <a:gd name="connsiteY399" fmla="*/ 18654 h 1138428"/>
                    <a:gd name="connsiteX400" fmla="*/ 440558 w 1100571"/>
                    <a:gd name="connsiteY400" fmla="*/ 18654 h 1138428"/>
                    <a:gd name="connsiteX401" fmla="*/ 438912 w 1100571"/>
                    <a:gd name="connsiteY401" fmla="*/ 15362 h 1138428"/>
                    <a:gd name="connsiteX402" fmla="*/ 436717 w 1100571"/>
                    <a:gd name="connsiteY402" fmla="*/ 15362 h 1138428"/>
                    <a:gd name="connsiteX403" fmla="*/ 435071 w 1100571"/>
                    <a:gd name="connsiteY403" fmla="*/ 14265 h 1138428"/>
                    <a:gd name="connsiteX404" fmla="*/ 434523 w 1100571"/>
                    <a:gd name="connsiteY404" fmla="*/ 7681 h 1138428"/>
                    <a:gd name="connsiteX405" fmla="*/ 431779 w 1100571"/>
                    <a:gd name="connsiteY405" fmla="*/ 7132 h 1138428"/>
                    <a:gd name="connsiteX406" fmla="*/ 431231 w 1100571"/>
                    <a:gd name="connsiteY406" fmla="*/ 4938 h 1138428"/>
                    <a:gd name="connsiteX407" fmla="*/ 429036 w 1100571"/>
                    <a:gd name="connsiteY407" fmla="*/ 4389 h 1138428"/>
                    <a:gd name="connsiteX408" fmla="*/ 426842 w 1100571"/>
                    <a:gd name="connsiteY408" fmla="*/ 4389 h 1138428"/>
                    <a:gd name="connsiteX409" fmla="*/ 424099 w 1100571"/>
                    <a:gd name="connsiteY409" fmla="*/ 1097 h 1138428"/>
                    <a:gd name="connsiteX410" fmla="*/ 423001 w 1100571"/>
                    <a:gd name="connsiteY410" fmla="*/ 0 h 1138428"/>
                    <a:gd name="connsiteX411" fmla="*/ 420258 w 1100571"/>
                    <a:gd name="connsiteY411" fmla="*/ 0 h 1138428"/>
                    <a:gd name="connsiteX412" fmla="*/ 417515 w 1100571"/>
                    <a:gd name="connsiteY412" fmla="*/ 1646 h 1138428"/>
                    <a:gd name="connsiteX413" fmla="*/ 413126 w 1100571"/>
                    <a:gd name="connsiteY413" fmla="*/ 1646 h 1138428"/>
                    <a:gd name="connsiteX414" fmla="*/ 409834 w 1100571"/>
                    <a:gd name="connsiteY414" fmla="*/ 3841 h 1138428"/>
                    <a:gd name="connsiteX415" fmla="*/ 399958 w 1100571"/>
                    <a:gd name="connsiteY415" fmla="*/ 4389 h 1138428"/>
                    <a:gd name="connsiteX416" fmla="*/ 380756 w 1100571"/>
                    <a:gd name="connsiteY416" fmla="*/ 16459 h 1138428"/>
                    <a:gd name="connsiteX417" fmla="*/ 377464 w 1100571"/>
                    <a:gd name="connsiteY417" fmla="*/ 20848 h 1138428"/>
                    <a:gd name="connsiteX418" fmla="*/ 373624 w 1100571"/>
                    <a:gd name="connsiteY418" fmla="*/ 20848 h 1138428"/>
                    <a:gd name="connsiteX419" fmla="*/ 370881 w 1100571"/>
                    <a:gd name="connsiteY419" fmla="*/ 24689 h 1138428"/>
                    <a:gd name="connsiteX420" fmla="*/ 366491 w 1100571"/>
                    <a:gd name="connsiteY420" fmla="*/ 22494 h 1138428"/>
                    <a:gd name="connsiteX421" fmla="*/ 362651 w 1100571"/>
                    <a:gd name="connsiteY421" fmla="*/ 24689 h 1138428"/>
                    <a:gd name="connsiteX422" fmla="*/ 359908 w 1100571"/>
                    <a:gd name="connsiteY422" fmla="*/ 24140 h 1138428"/>
                    <a:gd name="connsiteX423" fmla="*/ 335767 w 1100571"/>
                    <a:gd name="connsiteY423" fmla="*/ 41697 h 1138428"/>
                    <a:gd name="connsiteX424" fmla="*/ 333573 w 1100571"/>
                    <a:gd name="connsiteY424" fmla="*/ 45537 h 1138428"/>
                    <a:gd name="connsiteX425" fmla="*/ 334670 w 1100571"/>
                    <a:gd name="connsiteY425" fmla="*/ 46634 h 1138428"/>
                    <a:gd name="connsiteX426" fmla="*/ 334670 w 1100571"/>
                    <a:gd name="connsiteY426" fmla="*/ 48829 h 1138428"/>
                    <a:gd name="connsiteX427" fmla="*/ 331378 w 1100571"/>
                    <a:gd name="connsiteY427" fmla="*/ 54315 h 1138428"/>
                    <a:gd name="connsiteX428" fmla="*/ 329184 w 1100571"/>
                    <a:gd name="connsiteY428" fmla="*/ 57059 h 1138428"/>
                    <a:gd name="connsiteX429" fmla="*/ 326989 w 1100571"/>
                    <a:gd name="connsiteY429" fmla="*/ 56510 h 1138428"/>
                    <a:gd name="connsiteX430" fmla="*/ 324246 w 1100571"/>
                    <a:gd name="connsiteY430" fmla="*/ 53767 h 1138428"/>
                    <a:gd name="connsiteX431" fmla="*/ 311627 w 1100571"/>
                    <a:gd name="connsiteY431" fmla="*/ 54864 h 1138428"/>
                    <a:gd name="connsiteX432" fmla="*/ 309982 w 1100571"/>
                    <a:gd name="connsiteY432" fmla="*/ 55413 h 1138428"/>
                    <a:gd name="connsiteX433" fmla="*/ 306690 w 1100571"/>
                    <a:gd name="connsiteY433" fmla="*/ 59802 h 1138428"/>
                    <a:gd name="connsiteX434" fmla="*/ 304495 w 1100571"/>
                    <a:gd name="connsiteY434" fmla="*/ 60899 h 1138428"/>
                    <a:gd name="connsiteX435" fmla="*/ 301203 w 1100571"/>
                    <a:gd name="connsiteY435" fmla="*/ 60899 h 1138428"/>
                    <a:gd name="connsiteX436" fmla="*/ 295717 w 1100571"/>
                    <a:gd name="connsiteY436" fmla="*/ 59253 h 1138428"/>
                    <a:gd name="connsiteX437" fmla="*/ 292974 w 1100571"/>
                    <a:gd name="connsiteY437" fmla="*/ 60350 h 1138428"/>
                    <a:gd name="connsiteX438" fmla="*/ 291328 w 1100571"/>
                    <a:gd name="connsiteY438" fmla="*/ 63094 h 1138428"/>
                    <a:gd name="connsiteX439" fmla="*/ 289133 w 1100571"/>
                    <a:gd name="connsiteY439" fmla="*/ 65288 h 1138428"/>
                    <a:gd name="connsiteX440" fmla="*/ 286939 w 1100571"/>
                    <a:gd name="connsiteY440" fmla="*/ 65837 h 1138428"/>
                    <a:gd name="connsiteX441" fmla="*/ 283647 w 1100571"/>
                    <a:gd name="connsiteY441" fmla="*/ 64739 h 1138428"/>
                    <a:gd name="connsiteX442" fmla="*/ 280903 w 1100571"/>
                    <a:gd name="connsiteY442" fmla="*/ 65837 h 1138428"/>
                    <a:gd name="connsiteX443" fmla="*/ 278160 w 1100571"/>
                    <a:gd name="connsiteY443" fmla="*/ 63642 h 1138428"/>
                    <a:gd name="connsiteX444" fmla="*/ 269382 w 1100571"/>
                    <a:gd name="connsiteY444" fmla="*/ 64191 h 1138428"/>
                    <a:gd name="connsiteX445" fmla="*/ 266639 w 1100571"/>
                    <a:gd name="connsiteY445" fmla="*/ 63094 h 1138428"/>
                    <a:gd name="connsiteX446" fmla="*/ 262798 w 1100571"/>
                    <a:gd name="connsiteY446" fmla="*/ 63094 h 1138428"/>
                    <a:gd name="connsiteX447" fmla="*/ 233721 w 1100571"/>
                    <a:gd name="connsiteY447" fmla="*/ 50475 h 1138428"/>
                    <a:gd name="connsiteX448" fmla="*/ 230429 w 1100571"/>
                    <a:gd name="connsiteY448" fmla="*/ 52121 h 1138428"/>
                    <a:gd name="connsiteX449" fmla="*/ 227686 w 1100571"/>
                    <a:gd name="connsiteY449" fmla="*/ 54864 h 1138428"/>
                    <a:gd name="connsiteX450" fmla="*/ 222748 w 1100571"/>
                    <a:gd name="connsiteY450" fmla="*/ 54315 h 1138428"/>
                    <a:gd name="connsiteX451" fmla="*/ 220553 w 1100571"/>
                    <a:gd name="connsiteY451" fmla="*/ 54864 h 1138428"/>
                    <a:gd name="connsiteX452" fmla="*/ 218907 w 1100571"/>
                    <a:gd name="connsiteY452" fmla="*/ 56510 h 1138428"/>
                    <a:gd name="connsiteX453" fmla="*/ 218359 w 1100571"/>
                    <a:gd name="connsiteY453" fmla="*/ 61996 h 1138428"/>
                    <a:gd name="connsiteX454" fmla="*/ 212872 w 1100571"/>
                    <a:gd name="connsiteY454" fmla="*/ 71872 h 1138428"/>
                    <a:gd name="connsiteX455" fmla="*/ 213421 w 1100571"/>
                    <a:gd name="connsiteY455" fmla="*/ 72969 h 1138428"/>
                    <a:gd name="connsiteX456" fmla="*/ 219456 w 1100571"/>
                    <a:gd name="connsiteY456" fmla="*/ 72969 h 1138428"/>
                    <a:gd name="connsiteX457" fmla="*/ 221102 w 1100571"/>
                    <a:gd name="connsiteY457" fmla="*/ 76810 h 1138428"/>
                    <a:gd name="connsiteX458" fmla="*/ 220553 w 1100571"/>
                    <a:gd name="connsiteY458" fmla="*/ 79004 h 1138428"/>
                    <a:gd name="connsiteX459" fmla="*/ 217810 w 1100571"/>
                    <a:gd name="connsiteY459" fmla="*/ 80650 h 1138428"/>
                    <a:gd name="connsiteX460" fmla="*/ 216713 w 1100571"/>
                    <a:gd name="connsiteY460" fmla="*/ 81747 h 1138428"/>
                    <a:gd name="connsiteX461" fmla="*/ 216713 w 1100571"/>
                    <a:gd name="connsiteY461" fmla="*/ 84491 h 1138428"/>
                    <a:gd name="connsiteX462" fmla="*/ 217810 w 1100571"/>
                    <a:gd name="connsiteY462" fmla="*/ 86685 h 1138428"/>
                    <a:gd name="connsiteX463" fmla="*/ 220005 w 1100571"/>
                    <a:gd name="connsiteY463" fmla="*/ 87782 h 1138428"/>
                    <a:gd name="connsiteX464" fmla="*/ 227686 w 1100571"/>
                    <a:gd name="connsiteY464" fmla="*/ 86685 h 1138428"/>
                    <a:gd name="connsiteX465" fmla="*/ 229331 w 1100571"/>
                    <a:gd name="connsiteY465" fmla="*/ 88331 h 1138428"/>
                    <a:gd name="connsiteX466" fmla="*/ 230429 w 1100571"/>
                    <a:gd name="connsiteY466" fmla="*/ 91074 h 1138428"/>
                    <a:gd name="connsiteX467" fmla="*/ 230429 w 1100571"/>
                    <a:gd name="connsiteY467" fmla="*/ 92171 h 1138428"/>
                    <a:gd name="connsiteX468" fmla="*/ 227137 w 1100571"/>
                    <a:gd name="connsiteY468" fmla="*/ 94915 h 1138428"/>
                    <a:gd name="connsiteX469" fmla="*/ 222748 w 1100571"/>
                    <a:gd name="connsiteY469" fmla="*/ 97109 h 1138428"/>
                    <a:gd name="connsiteX470" fmla="*/ 221650 w 1100571"/>
                    <a:gd name="connsiteY470" fmla="*/ 100401 h 1138428"/>
                    <a:gd name="connsiteX471" fmla="*/ 229880 w 1100571"/>
                    <a:gd name="connsiteY471" fmla="*/ 108082 h 1138428"/>
                    <a:gd name="connsiteX472" fmla="*/ 230429 w 1100571"/>
                    <a:gd name="connsiteY472" fmla="*/ 113020 h 1138428"/>
                    <a:gd name="connsiteX473" fmla="*/ 229331 w 1100571"/>
                    <a:gd name="connsiteY473" fmla="*/ 115763 h 1138428"/>
                    <a:gd name="connsiteX474" fmla="*/ 220005 w 1100571"/>
                    <a:gd name="connsiteY474" fmla="*/ 122347 h 1138428"/>
                    <a:gd name="connsiteX475" fmla="*/ 219456 w 1100571"/>
                    <a:gd name="connsiteY475" fmla="*/ 123993 h 1138428"/>
                    <a:gd name="connsiteX476" fmla="*/ 224942 w 1100571"/>
                    <a:gd name="connsiteY476" fmla="*/ 126736 h 1138428"/>
                    <a:gd name="connsiteX477" fmla="*/ 227686 w 1100571"/>
                    <a:gd name="connsiteY477" fmla="*/ 132771 h 1138428"/>
                    <a:gd name="connsiteX478" fmla="*/ 234269 w 1100571"/>
                    <a:gd name="connsiteY478" fmla="*/ 136612 h 1138428"/>
                    <a:gd name="connsiteX479" fmla="*/ 233721 w 1100571"/>
                    <a:gd name="connsiteY479" fmla="*/ 142646 h 1138428"/>
                    <a:gd name="connsiteX480" fmla="*/ 238658 w 1100571"/>
                    <a:gd name="connsiteY480" fmla="*/ 143195 h 1138428"/>
                    <a:gd name="connsiteX481" fmla="*/ 240304 w 1100571"/>
                    <a:gd name="connsiteY481" fmla="*/ 145390 h 1138428"/>
                    <a:gd name="connsiteX482" fmla="*/ 244693 w 1100571"/>
                    <a:gd name="connsiteY482" fmla="*/ 143744 h 1138428"/>
                    <a:gd name="connsiteX483" fmla="*/ 247437 w 1100571"/>
                    <a:gd name="connsiteY483" fmla="*/ 144841 h 1138428"/>
                    <a:gd name="connsiteX484" fmla="*/ 247437 w 1100571"/>
                    <a:gd name="connsiteY484" fmla="*/ 151973 h 1138428"/>
                    <a:gd name="connsiteX485" fmla="*/ 249082 w 1100571"/>
                    <a:gd name="connsiteY485" fmla="*/ 157460 h 1138428"/>
                    <a:gd name="connsiteX486" fmla="*/ 250180 w 1100571"/>
                    <a:gd name="connsiteY486" fmla="*/ 158557 h 1138428"/>
                    <a:gd name="connsiteX487" fmla="*/ 262250 w 1100571"/>
                    <a:gd name="connsiteY487" fmla="*/ 159106 h 1138428"/>
                    <a:gd name="connsiteX488" fmla="*/ 266090 w 1100571"/>
                    <a:gd name="connsiteY488" fmla="*/ 161849 h 1138428"/>
                    <a:gd name="connsiteX489" fmla="*/ 269382 w 1100571"/>
                    <a:gd name="connsiteY489" fmla="*/ 161300 h 1138428"/>
                    <a:gd name="connsiteX490" fmla="*/ 272674 w 1100571"/>
                    <a:gd name="connsiteY490" fmla="*/ 166238 h 1138428"/>
                    <a:gd name="connsiteX491" fmla="*/ 272674 w 1100571"/>
                    <a:gd name="connsiteY491" fmla="*/ 169530 h 1138428"/>
                    <a:gd name="connsiteX492" fmla="*/ 273771 w 1100571"/>
                    <a:gd name="connsiteY492" fmla="*/ 172273 h 1138428"/>
                    <a:gd name="connsiteX493" fmla="*/ 270479 w 1100571"/>
                    <a:gd name="connsiteY493" fmla="*/ 175016 h 1138428"/>
                    <a:gd name="connsiteX494" fmla="*/ 269382 w 1100571"/>
                    <a:gd name="connsiteY494" fmla="*/ 177760 h 1138428"/>
                    <a:gd name="connsiteX495" fmla="*/ 261701 w 1100571"/>
                    <a:gd name="connsiteY495" fmla="*/ 178857 h 1138428"/>
                    <a:gd name="connsiteX496" fmla="*/ 259507 w 1100571"/>
                    <a:gd name="connsiteY496" fmla="*/ 177760 h 1138428"/>
                    <a:gd name="connsiteX497" fmla="*/ 255666 w 1100571"/>
                    <a:gd name="connsiteY497" fmla="*/ 178308 h 1138428"/>
                    <a:gd name="connsiteX498" fmla="*/ 254020 w 1100571"/>
                    <a:gd name="connsiteY498" fmla="*/ 179954 h 1138428"/>
                    <a:gd name="connsiteX499" fmla="*/ 246888 w 1100571"/>
                    <a:gd name="connsiteY499" fmla="*/ 183794 h 1138428"/>
                    <a:gd name="connsiteX500" fmla="*/ 244145 w 1100571"/>
                    <a:gd name="connsiteY500" fmla="*/ 188732 h 1138428"/>
                    <a:gd name="connsiteX501" fmla="*/ 243596 w 1100571"/>
                    <a:gd name="connsiteY501" fmla="*/ 195865 h 1138428"/>
                    <a:gd name="connsiteX502" fmla="*/ 246888 w 1100571"/>
                    <a:gd name="connsiteY502" fmla="*/ 200254 h 1138428"/>
                    <a:gd name="connsiteX503" fmla="*/ 246339 w 1100571"/>
                    <a:gd name="connsiteY503" fmla="*/ 204094 h 1138428"/>
                    <a:gd name="connsiteX504" fmla="*/ 247985 w 1100571"/>
                    <a:gd name="connsiteY504" fmla="*/ 204094 h 1138428"/>
                    <a:gd name="connsiteX505" fmla="*/ 249082 w 1100571"/>
                    <a:gd name="connsiteY505" fmla="*/ 206289 h 1138428"/>
                    <a:gd name="connsiteX506" fmla="*/ 247985 w 1100571"/>
                    <a:gd name="connsiteY506" fmla="*/ 208483 h 1138428"/>
                    <a:gd name="connsiteX507" fmla="*/ 244693 w 1100571"/>
                    <a:gd name="connsiteY507" fmla="*/ 211226 h 1138428"/>
                    <a:gd name="connsiteX508" fmla="*/ 243047 w 1100571"/>
                    <a:gd name="connsiteY508" fmla="*/ 215067 h 1138428"/>
                    <a:gd name="connsiteX509" fmla="*/ 243596 w 1100571"/>
                    <a:gd name="connsiteY509" fmla="*/ 217262 h 1138428"/>
                    <a:gd name="connsiteX510" fmla="*/ 244693 w 1100571"/>
                    <a:gd name="connsiteY510" fmla="*/ 218359 h 1138428"/>
                    <a:gd name="connsiteX511" fmla="*/ 251826 w 1100571"/>
                    <a:gd name="connsiteY511" fmla="*/ 218359 h 1138428"/>
                    <a:gd name="connsiteX512" fmla="*/ 253471 w 1100571"/>
                    <a:gd name="connsiteY512" fmla="*/ 222748 h 1138428"/>
                    <a:gd name="connsiteX513" fmla="*/ 252374 w 1100571"/>
                    <a:gd name="connsiteY513" fmla="*/ 224394 h 1138428"/>
                    <a:gd name="connsiteX514" fmla="*/ 249631 w 1100571"/>
                    <a:gd name="connsiteY514" fmla="*/ 224394 h 1138428"/>
                    <a:gd name="connsiteX515" fmla="*/ 246888 w 1100571"/>
                    <a:gd name="connsiteY515" fmla="*/ 223845 h 1138428"/>
                    <a:gd name="connsiteX516" fmla="*/ 245242 w 1100571"/>
                    <a:gd name="connsiteY516" fmla="*/ 222748 h 1138428"/>
                    <a:gd name="connsiteX517" fmla="*/ 243047 w 1100571"/>
                    <a:gd name="connsiteY517" fmla="*/ 227137 h 1138428"/>
                    <a:gd name="connsiteX518" fmla="*/ 234269 w 1100571"/>
                    <a:gd name="connsiteY518" fmla="*/ 230978 h 1138428"/>
                    <a:gd name="connsiteX519" fmla="*/ 226039 w 1100571"/>
                    <a:gd name="connsiteY519" fmla="*/ 241402 h 1138428"/>
                    <a:gd name="connsiteX520" fmla="*/ 222748 w 1100571"/>
                    <a:gd name="connsiteY520" fmla="*/ 243596 h 1138428"/>
                    <a:gd name="connsiteX521" fmla="*/ 216713 w 1100571"/>
                    <a:gd name="connsiteY521" fmla="*/ 251277 h 1138428"/>
                    <a:gd name="connsiteX522" fmla="*/ 215615 w 1100571"/>
                    <a:gd name="connsiteY522" fmla="*/ 255118 h 1138428"/>
                    <a:gd name="connsiteX523" fmla="*/ 216713 w 1100571"/>
                    <a:gd name="connsiteY523" fmla="*/ 260604 h 1138428"/>
                    <a:gd name="connsiteX524" fmla="*/ 213970 w 1100571"/>
                    <a:gd name="connsiteY524" fmla="*/ 265542 h 1138428"/>
                    <a:gd name="connsiteX525" fmla="*/ 208483 w 1100571"/>
                    <a:gd name="connsiteY525" fmla="*/ 269382 h 1138428"/>
                    <a:gd name="connsiteX526" fmla="*/ 202997 w 1100571"/>
                    <a:gd name="connsiteY526" fmla="*/ 269382 h 1138428"/>
                    <a:gd name="connsiteX527" fmla="*/ 199156 w 1100571"/>
                    <a:gd name="connsiteY527" fmla="*/ 273223 h 1138428"/>
                    <a:gd name="connsiteX528" fmla="*/ 174467 w 1100571"/>
                    <a:gd name="connsiteY528" fmla="*/ 313274 h 1138428"/>
                    <a:gd name="connsiteX529" fmla="*/ 165689 w 1100571"/>
                    <a:gd name="connsiteY529" fmla="*/ 317663 h 1138428"/>
                    <a:gd name="connsiteX530" fmla="*/ 138806 w 1100571"/>
                    <a:gd name="connsiteY530" fmla="*/ 355519 h 1138428"/>
                    <a:gd name="connsiteX531" fmla="*/ 135514 w 1100571"/>
                    <a:gd name="connsiteY531" fmla="*/ 357713 h 1138428"/>
                    <a:gd name="connsiteX532" fmla="*/ 132771 w 1100571"/>
                    <a:gd name="connsiteY532" fmla="*/ 358811 h 1138428"/>
                    <a:gd name="connsiteX533" fmla="*/ 117958 w 1100571"/>
                    <a:gd name="connsiteY533" fmla="*/ 358262 h 1138428"/>
                    <a:gd name="connsiteX534" fmla="*/ 109728 w 1100571"/>
                    <a:gd name="connsiteY534" fmla="*/ 361554 h 1138428"/>
                    <a:gd name="connsiteX535" fmla="*/ 105887 w 1100571"/>
                    <a:gd name="connsiteY535" fmla="*/ 365394 h 1138428"/>
                    <a:gd name="connsiteX536" fmla="*/ 103144 w 1100571"/>
                    <a:gd name="connsiteY536" fmla="*/ 365943 h 1138428"/>
                    <a:gd name="connsiteX537" fmla="*/ 101498 w 1100571"/>
                    <a:gd name="connsiteY537" fmla="*/ 364846 h 1138428"/>
                    <a:gd name="connsiteX538" fmla="*/ 94366 w 1100571"/>
                    <a:gd name="connsiteY538" fmla="*/ 352775 h 1138428"/>
                    <a:gd name="connsiteX539" fmla="*/ 91623 w 1100571"/>
                    <a:gd name="connsiteY539" fmla="*/ 351130 h 1138428"/>
                    <a:gd name="connsiteX540" fmla="*/ 89428 w 1100571"/>
                    <a:gd name="connsiteY540" fmla="*/ 351678 h 1138428"/>
                    <a:gd name="connsiteX541" fmla="*/ 57607 w 1100571"/>
                    <a:gd name="connsiteY541" fmla="*/ 386243 h 1138428"/>
                    <a:gd name="connsiteX542" fmla="*/ 53218 w 1100571"/>
                    <a:gd name="connsiteY542" fmla="*/ 403250 h 1138428"/>
                    <a:gd name="connsiteX543" fmla="*/ 53218 w 1100571"/>
                    <a:gd name="connsiteY543" fmla="*/ 406542 h 1138428"/>
                    <a:gd name="connsiteX544" fmla="*/ 55413 w 1100571"/>
                    <a:gd name="connsiteY544" fmla="*/ 409286 h 1138428"/>
                    <a:gd name="connsiteX545" fmla="*/ 59253 w 1100571"/>
                    <a:gd name="connsiteY545" fmla="*/ 412029 h 1138428"/>
                    <a:gd name="connsiteX546" fmla="*/ 63642 w 1100571"/>
                    <a:gd name="connsiteY546" fmla="*/ 411480 h 1138428"/>
                    <a:gd name="connsiteX547" fmla="*/ 68580 w 1100571"/>
                    <a:gd name="connsiteY547" fmla="*/ 413126 h 1138428"/>
                    <a:gd name="connsiteX548" fmla="*/ 75712 w 1100571"/>
                    <a:gd name="connsiteY548" fmla="*/ 413126 h 1138428"/>
                    <a:gd name="connsiteX549" fmla="*/ 77358 w 1100571"/>
                    <a:gd name="connsiteY549" fmla="*/ 413675 h 1138428"/>
                    <a:gd name="connsiteX550" fmla="*/ 80101 w 1100571"/>
                    <a:gd name="connsiteY550" fmla="*/ 416966 h 1138428"/>
                    <a:gd name="connsiteX551" fmla="*/ 80650 w 1100571"/>
                    <a:gd name="connsiteY551" fmla="*/ 419161 h 1138428"/>
                    <a:gd name="connsiteX552" fmla="*/ 76261 w 1100571"/>
                    <a:gd name="connsiteY552" fmla="*/ 435620 h 1138428"/>
                    <a:gd name="connsiteX553" fmla="*/ 76261 w 1100571"/>
                    <a:gd name="connsiteY553" fmla="*/ 439461 h 1138428"/>
                    <a:gd name="connsiteX554" fmla="*/ 76810 w 1100571"/>
                    <a:gd name="connsiteY554" fmla="*/ 442204 h 1138428"/>
                    <a:gd name="connsiteX555" fmla="*/ 83942 w 1100571"/>
                    <a:gd name="connsiteY555" fmla="*/ 449885 h 1138428"/>
                    <a:gd name="connsiteX556" fmla="*/ 86685 w 1100571"/>
                    <a:gd name="connsiteY556" fmla="*/ 450434 h 1138428"/>
                    <a:gd name="connsiteX557" fmla="*/ 92720 w 1100571"/>
                    <a:gd name="connsiteY557" fmla="*/ 448787 h 1138428"/>
                    <a:gd name="connsiteX558" fmla="*/ 94915 w 1100571"/>
                    <a:gd name="connsiteY558" fmla="*/ 449336 h 1138428"/>
                    <a:gd name="connsiteX559" fmla="*/ 96012 w 1100571"/>
                    <a:gd name="connsiteY559" fmla="*/ 450982 h 1138428"/>
                    <a:gd name="connsiteX560" fmla="*/ 97109 w 1100571"/>
                    <a:gd name="connsiteY560" fmla="*/ 464698 h 1138428"/>
                    <a:gd name="connsiteX561" fmla="*/ 100401 w 1100571"/>
                    <a:gd name="connsiteY561" fmla="*/ 469087 h 1138428"/>
                    <a:gd name="connsiteX562" fmla="*/ 102047 w 1100571"/>
                    <a:gd name="connsiteY562" fmla="*/ 474574 h 1138428"/>
                    <a:gd name="connsiteX563" fmla="*/ 108631 w 1100571"/>
                    <a:gd name="connsiteY563" fmla="*/ 482255 h 1138428"/>
                    <a:gd name="connsiteX564" fmla="*/ 109179 w 1100571"/>
                    <a:gd name="connsiteY564" fmla="*/ 483901 h 1138428"/>
                    <a:gd name="connsiteX565" fmla="*/ 111922 w 1100571"/>
                    <a:gd name="connsiteY565" fmla="*/ 486644 h 1138428"/>
                    <a:gd name="connsiteX566" fmla="*/ 112471 w 1100571"/>
                    <a:gd name="connsiteY566" fmla="*/ 489387 h 1138428"/>
                    <a:gd name="connsiteX567" fmla="*/ 109179 w 1100571"/>
                    <a:gd name="connsiteY567" fmla="*/ 491033 h 1138428"/>
                    <a:gd name="connsiteX568" fmla="*/ 108631 w 1100571"/>
                    <a:gd name="connsiteY568" fmla="*/ 492130 h 1138428"/>
                    <a:gd name="connsiteX569" fmla="*/ 109179 w 1100571"/>
                    <a:gd name="connsiteY569" fmla="*/ 499262 h 1138428"/>
                    <a:gd name="connsiteX570" fmla="*/ 108631 w 1100571"/>
                    <a:gd name="connsiteY570" fmla="*/ 501457 h 1138428"/>
                    <a:gd name="connsiteX571" fmla="*/ 113020 w 1100571"/>
                    <a:gd name="connsiteY571" fmla="*/ 502006 h 1138428"/>
                    <a:gd name="connsiteX572" fmla="*/ 113568 w 1100571"/>
                    <a:gd name="connsiteY572" fmla="*/ 503651 h 1138428"/>
                    <a:gd name="connsiteX573" fmla="*/ 108631 w 1100571"/>
                    <a:gd name="connsiteY573" fmla="*/ 504200 h 1138428"/>
                    <a:gd name="connsiteX574" fmla="*/ 104790 w 1100571"/>
                    <a:gd name="connsiteY574" fmla="*/ 506395 h 1138428"/>
                    <a:gd name="connsiteX575" fmla="*/ 104242 w 1100571"/>
                    <a:gd name="connsiteY575" fmla="*/ 508041 h 1138428"/>
                    <a:gd name="connsiteX576" fmla="*/ 102595 w 1100571"/>
                    <a:gd name="connsiteY576" fmla="*/ 509138 h 1138428"/>
                    <a:gd name="connsiteX577" fmla="*/ 96012 w 1100571"/>
                    <a:gd name="connsiteY577" fmla="*/ 508589 h 1138428"/>
                    <a:gd name="connsiteX578" fmla="*/ 94366 w 1100571"/>
                    <a:gd name="connsiteY578" fmla="*/ 507492 h 1138428"/>
                    <a:gd name="connsiteX579" fmla="*/ 93817 w 1100571"/>
                    <a:gd name="connsiteY579" fmla="*/ 506395 h 1138428"/>
                    <a:gd name="connsiteX580" fmla="*/ 94366 w 1100571"/>
                    <a:gd name="connsiteY580" fmla="*/ 502554 h 1138428"/>
                    <a:gd name="connsiteX581" fmla="*/ 94366 w 1100571"/>
                    <a:gd name="connsiteY581" fmla="*/ 501457 h 1138428"/>
                    <a:gd name="connsiteX582" fmla="*/ 89977 w 1100571"/>
                    <a:gd name="connsiteY582" fmla="*/ 500908 h 1138428"/>
                    <a:gd name="connsiteX583" fmla="*/ 77907 w 1100571"/>
                    <a:gd name="connsiteY583" fmla="*/ 505298 h 1138428"/>
                    <a:gd name="connsiteX584" fmla="*/ 75712 w 1100571"/>
                    <a:gd name="connsiteY584" fmla="*/ 510784 h 1138428"/>
                    <a:gd name="connsiteX585" fmla="*/ 74066 w 1100571"/>
                    <a:gd name="connsiteY585" fmla="*/ 511881 h 1138428"/>
                    <a:gd name="connsiteX586" fmla="*/ 62545 w 1100571"/>
                    <a:gd name="connsiteY586" fmla="*/ 511333 h 1138428"/>
                    <a:gd name="connsiteX587" fmla="*/ 56510 w 1100571"/>
                    <a:gd name="connsiteY587" fmla="*/ 506395 h 1138428"/>
                    <a:gd name="connsiteX588" fmla="*/ 52669 w 1100571"/>
                    <a:gd name="connsiteY588" fmla="*/ 508041 h 1138428"/>
                    <a:gd name="connsiteX589" fmla="*/ 49926 w 1100571"/>
                    <a:gd name="connsiteY589" fmla="*/ 506944 h 1138428"/>
                    <a:gd name="connsiteX590" fmla="*/ 35113 w 1100571"/>
                    <a:gd name="connsiteY590" fmla="*/ 507492 h 1138428"/>
                    <a:gd name="connsiteX591" fmla="*/ 32370 w 1100571"/>
                    <a:gd name="connsiteY591" fmla="*/ 506395 h 1138428"/>
                    <a:gd name="connsiteX592" fmla="*/ 31272 w 1100571"/>
                    <a:gd name="connsiteY592" fmla="*/ 507492 h 1138428"/>
                    <a:gd name="connsiteX593" fmla="*/ 30175 w 1100571"/>
                    <a:gd name="connsiteY593" fmla="*/ 507492 h 1138428"/>
                    <a:gd name="connsiteX594" fmla="*/ 29078 w 1100571"/>
                    <a:gd name="connsiteY594" fmla="*/ 504200 h 1138428"/>
                    <a:gd name="connsiteX595" fmla="*/ 27432 w 1100571"/>
                    <a:gd name="connsiteY595" fmla="*/ 503651 h 1138428"/>
                    <a:gd name="connsiteX596" fmla="*/ 26335 w 1100571"/>
                    <a:gd name="connsiteY596" fmla="*/ 506944 h 1138428"/>
                    <a:gd name="connsiteX597" fmla="*/ 26335 w 1100571"/>
                    <a:gd name="connsiteY597" fmla="*/ 519014 h 1138428"/>
                    <a:gd name="connsiteX598" fmla="*/ 12619 w 1100571"/>
                    <a:gd name="connsiteY598" fmla="*/ 519014 h 1138428"/>
                    <a:gd name="connsiteX599" fmla="*/ 10424 w 1100571"/>
                    <a:gd name="connsiteY599" fmla="*/ 520111 h 1138428"/>
                    <a:gd name="connsiteX600" fmla="*/ 6583 w 1100571"/>
                    <a:gd name="connsiteY600" fmla="*/ 519014 h 1138428"/>
                    <a:gd name="connsiteX601" fmla="*/ 5486 w 1100571"/>
                    <a:gd name="connsiteY601" fmla="*/ 522854 h 1138428"/>
                    <a:gd name="connsiteX602" fmla="*/ 3840 w 1100571"/>
                    <a:gd name="connsiteY602" fmla="*/ 522854 h 1138428"/>
                    <a:gd name="connsiteX603" fmla="*/ 2743 w 1100571"/>
                    <a:gd name="connsiteY603" fmla="*/ 526146 h 1138428"/>
                    <a:gd name="connsiteX604" fmla="*/ 0 w 1100571"/>
                    <a:gd name="connsiteY604" fmla="*/ 528340 h 1138428"/>
                    <a:gd name="connsiteX605" fmla="*/ 549 w 1100571"/>
                    <a:gd name="connsiteY605" fmla="*/ 536021 h 1138428"/>
                    <a:gd name="connsiteX606" fmla="*/ 5486 w 1100571"/>
                    <a:gd name="connsiteY606" fmla="*/ 536570 h 1138428"/>
                    <a:gd name="connsiteX607" fmla="*/ 25237 w 1100571"/>
                    <a:gd name="connsiteY607" fmla="*/ 561808 h 1138428"/>
                    <a:gd name="connsiteX608" fmla="*/ 31821 w 1100571"/>
                    <a:gd name="connsiteY608" fmla="*/ 565648 h 1138428"/>
                    <a:gd name="connsiteX609" fmla="*/ 59802 w 1100571"/>
                    <a:gd name="connsiteY609" fmla="*/ 565648 h 1138428"/>
                    <a:gd name="connsiteX610" fmla="*/ 76810 w 1100571"/>
                    <a:gd name="connsiteY610" fmla="*/ 560710 h 1138428"/>
                    <a:gd name="connsiteX611" fmla="*/ 79553 w 1100571"/>
                    <a:gd name="connsiteY611" fmla="*/ 555224 h 1138428"/>
                    <a:gd name="connsiteX612" fmla="*/ 82845 w 1100571"/>
                    <a:gd name="connsiteY612" fmla="*/ 553578 h 1138428"/>
                    <a:gd name="connsiteX613" fmla="*/ 84490 w 1100571"/>
                    <a:gd name="connsiteY613" fmla="*/ 557418 h 1138428"/>
                    <a:gd name="connsiteX614" fmla="*/ 79553 w 1100571"/>
                    <a:gd name="connsiteY614" fmla="*/ 571683 h 1138428"/>
                    <a:gd name="connsiteX615" fmla="*/ 65288 w 1100571"/>
                    <a:gd name="connsiteY615" fmla="*/ 582656 h 1138428"/>
                    <a:gd name="connsiteX616" fmla="*/ 40051 w 1100571"/>
                    <a:gd name="connsiteY616" fmla="*/ 587045 h 1138428"/>
                    <a:gd name="connsiteX617" fmla="*/ 34564 w 1100571"/>
                    <a:gd name="connsiteY617" fmla="*/ 582656 h 1138428"/>
                    <a:gd name="connsiteX618" fmla="*/ 31821 w 1100571"/>
                    <a:gd name="connsiteY618" fmla="*/ 585947 h 1138428"/>
                    <a:gd name="connsiteX619" fmla="*/ 32918 w 1100571"/>
                    <a:gd name="connsiteY619" fmla="*/ 596920 h 1138428"/>
                    <a:gd name="connsiteX620" fmla="*/ 84490 w 1100571"/>
                    <a:gd name="connsiteY620" fmla="*/ 647395 h 1138428"/>
                    <a:gd name="connsiteX621" fmla="*/ 106436 w 1100571"/>
                    <a:gd name="connsiteY621" fmla="*/ 649041 h 1138428"/>
                    <a:gd name="connsiteX622" fmla="*/ 117958 w 1100571"/>
                    <a:gd name="connsiteY622" fmla="*/ 645749 h 1138428"/>
                    <a:gd name="connsiteX623" fmla="*/ 125090 w 1100571"/>
                    <a:gd name="connsiteY623" fmla="*/ 641360 h 1138428"/>
                    <a:gd name="connsiteX624" fmla="*/ 129479 w 1100571"/>
                    <a:gd name="connsiteY624" fmla="*/ 640811 h 1138428"/>
                    <a:gd name="connsiteX625" fmla="*/ 140452 w 1100571"/>
                    <a:gd name="connsiteY625" fmla="*/ 633679 h 1138428"/>
                    <a:gd name="connsiteX626" fmla="*/ 148133 w 1100571"/>
                    <a:gd name="connsiteY626" fmla="*/ 620512 h 1138428"/>
                    <a:gd name="connsiteX627" fmla="*/ 152522 w 1100571"/>
                    <a:gd name="connsiteY627" fmla="*/ 583753 h 1138428"/>
                    <a:gd name="connsiteX628" fmla="*/ 154168 w 1100571"/>
                    <a:gd name="connsiteY628" fmla="*/ 586496 h 1138428"/>
                    <a:gd name="connsiteX629" fmla="*/ 156362 w 1100571"/>
                    <a:gd name="connsiteY629" fmla="*/ 587594 h 1138428"/>
                    <a:gd name="connsiteX630" fmla="*/ 176662 w 1100571"/>
                    <a:gd name="connsiteY630" fmla="*/ 588142 h 1138428"/>
                    <a:gd name="connsiteX631" fmla="*/ 176662 w 1100571"/>
                    <a:gd name="connsiteY631" fmla="*/ 589240 h 1138428"/>
                    <a:gd name="connsiteX632" fmla="*/ 173370 w 1100571"/>
                    <a:gd name="connsiteY632" fmla="*/ 593629 h 1138428"/>
                    <a:gd name="connsiteX633" fmla="*/ 165689 w 1100571"/>
                    <a:gd name="connsiteY633" fmla="*/ 593629 h 1138428"/>
                    <a:gd name="connsiteX634" fmla="*/ 162946 w 1100571"/>
                    <a:gd name="connsiteY634" fmla="*/ 601858 h 1138428"/>
                    <a:gd name="connsiteX635" fmla="*/ 165141 w 1100571"/>
                    <a:gd name="connsiteY635" fmla="*/ 602956 h 1138428"/>
                    <a:gd name="connsiteX636" fmla="*/ 163495 w 1100571"/>
                    <a:gd name="connsiteY636" fmla="*/ 610636 h 1138428"/>
                    <a:gd name="connsiteX637" fmla="*/ 165141 w 1100571"/>
                    <a:gd name="connsiteY637" fmla="*/ 612831 h 1138428"/>
                    <a:gd name="connsiteX638" fmla="*/ 169530 w 1100571"/>
                    <a:gd name="connsiteY638" fmla="*/ 615026 h 1138428"/>
                    <a:gd name="connsiteX639" fmla="*/ 165689 w 1100571"/>
                    <a:gd name="connsiteY639" fmla="*/ 623804 h 1138428"/>
                    <a:gd name="connsiteX640" fmla="*/ 165689 w 1100571"/>
                    <a:gd name="connsiteY640" fmla="*/ 633679 h 1138428"/>
                    <a:gd name="connsiteX641" fmla="*/ 168432 w 1100571"/>
                    <a:gd name="connsiteY641" fmla="*/ 633679 h 1138428"/>
                    <a:gd name="connsiteX642" fmla="*/ 169530 w 1100571"/>
                    <a:gd name="connsiteY642" fmla="*/ 635874 h 1138428"/>
                    <a:gd name="connsiteX643" fmla="*/ 174467 w 1100571"/>
                    <a:gd name="connsiteY643" fmla="*/ 666049 h 1138428"/>
                    <a:gd name="connsiteX644" fmla="*/ 168981 w 1100571"/>
                    <a:gd name="connsiteY644" fmla="*/ 684703 h 1138428"/>
                    <a:gd name="connsiteX645" fmla="*/ 171175 w 1100571"/>
                    <a:gd name="connsiteY645" fmla="*/ 703905 h 1138428"/>
                    <a:gd name="connsiteX646" fmla="*/ 172822 w 1100571"/>
                    <a:gd name="connsiteY646" fmla="*/ 706648 h 1138428"/>
                    <a:gd name="connsiteX647" fmla="*/ 173370 w 1100571"/>
                    <a:gd name="connsiteY647" fmla="*/ 717621 h 1138428"/>
                    <a:gd name="connsiteX648" fmla="*/ 175016 w 1100571"/>
                    <a:gd name="connsiteY648" fmla="*/ 715427 h 1138428"/>
                    <a:gd name="connsiteX649" fmla="*/ 177759 w 1100571"/>
                    <a:gd name="connsiteY649" fmla="*/ 713781 h 1138428"/>
                    <a:gd name="connsiteX650" fmla="*/ 178857 w 1100571"/>
                    <a:gd name="connsiteY650" fmla="*/ 715975 h 1138428"/>
                    <a:gd name="connsiteX651" fmla="*/ 179405 w 1100571"/>
                    <a:gd name="connsiteY651" fmla="*/ 720913 h 1138428"/>
                    <a:gd name="connsiteX652" fmla="*/ 178308 w 1100571"/>
                    <a:gd name="connsiteY652" fmla="*/ 723107 h 1138428"/>
                    <a:gd name="connsiteX653" fmla="*/ 175565 w 1100571"/>
                    <a:gd name="connsiteY653" fmla="*/ 743407 h 1138428"/>
                    <a:gd name="connsiteX654" fmla="*/ 179405 w 1100571"/>
                    <a:gd name="connsiteY654" fmla="*/ 748894 h 1138428"/>
                    <a:gd name="connsiteX655" fmla="*/ 178857 w 1100571"/>
                    <a:gd name="connsiteY655" fmla="*/ 751088 h 1138428"/>
                    <a:gd name="connsiteX656" fmla="*/ 180502 w 1100571"/>
                    <a:gd name="connsiteY656" fmla="*/ 763158 h 1138428"/>
                    <a:gd name="connsiteX657" fmla="*/ 181051 w 1100571"/>
                    <a:gd name="connsiteY657" fmla="*/ 763158 h 1138428"/>
                    <a:gd name="connsiteX658" fmla="*/ 197510 w 1100571"/>
                    <a:gd name="connsiteY658" fmla="*/ 830641 h 1138428"/>
                    <a:gd name="connsiteX659" fmla="*/ 199705 w 1100571"/>
                    <a:gd name="connsiteY659" fmla="*/ 831738 h 1138428"/>
                    <a:gd name="connsiteX660" fmla="*/ 201351 w 1100571"/>
                    <a:gd name="connsiteY660" fmla="*/ 839419 h 1138428"/>
                    <a:gd name="connsiteX661" fmla="*/ 207386 w 1100571"/>
                    <a:gd name="connsiteY661" fmla="*/ 846551 h 11384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  <a:cxn ang="0">
                      <a:pos x="connsiteX328" y="connsiteY328"/>
                    </a:cxn>
                    <a:cxn ang="0">
                      <a:pos x="connsiteX329" y="connsiteY329"/>
                    </a:cxn>
                    <a:cxn ang="0">
                      <a:pos x="connsiteX330" y="connsiteY330"/>
                    </a:cxn>
                    <a:cxn ang="0">
                      <a:pos x="connsiteX331" y="connsiteY331"/>
                    </a:cxn>
                    <a:cxn ang="0">
                      <a:pos x="connsiteX332" y="connsiteY332"/>
                    </a:cxn>
                    <a:cxn ang="0">
                      <a:pos x="connsiteX333" y="connsiteY333"/>
                    </a:cxn>
                    <a:cxn ang="0">
                      <a:pos x="connsiteX334" y="connsiteY334"/>
                    </a:cxn>
                    <a:cxn ang="0">
                      <a:pos x="connsiteX335" y="connsiteY335"/>
                    </a:cxn>
                    <a:cxn ang="0">
                      <a:pos x="connsiteX336" y="connsiteY336"/>
                    </a:cxn>
                    <a:cxn ang="0">
                      <a:pos x="connsiteX337" y="connsiteY337"/>
                    </a:cxn>
                    <a:cxn ang="0">
                      <a:pos x="connsiteX338" y="connsiteY338"/>
                    </a:cxn>
                    <a:cxn ang="0">
                      <a:pos x="connsiteX339" y="connsiteY339"/>
                    </a:cxn>
                    <a:cxn ang="0">
                      <a:pos x="connsiteX340" y="connsiteY340"/>
                    </a:cxn>
                    <a:cxn ang="0">
                      <a:pos x="connsiteX341" y="connsiteY341"/>
                    </a:cxn>
                    <a:cxn ang="0">
                      <a:pos x="connsiteX342" y="connsiteY342"/>
                    </a:cxn>
                    <a:cxn ang="0">
                      <a:pos x="connsiteX343" y="connsiteY343"/>
                    </a:cxn>
                    <a:cxn ang="0">
                      <a:pos x="connsiteX344" y="connsiteY344"/>
                    </a:cxn>
                    <a:cxn ang="0">
                      <a:pos x="connsiteX345" y="connsiteY345"/>
                    </a:cxn>
                    <a:cxn ang="0">
                      <a:pos x="connsiteX346" y="connsiteY346"/>
                    </a:cxn>
                    <a:cxn ang="0">
                      <a:pos x="connsiteX347" y="connsiteY347"/>
                    </a:cxn>
                    <a:cxn ang="0">
                      <a:pos x="connsiteX348" y="connsiteY348"/>
                    </a:cxn>
                    <a:cxn ang="0">
                      <a:pos x="connsiteX349" y="connsiteY349"/>
                    </a:cxn>
                    <a:cxn ang="0">
                      <a:pos x="connsiteX350" y="connsiteY350"/>
                    </a:cxn>
                    <a:cxn ang="0">
                      <a:pos x="connsiteX351" y="connsiteY351"/>
                    </a:cxn>
                    <a:cxn ang="0">
                      <a:pos x="connsiteX352" y="connsiteY352"/>
                    </a:cxn>
                    <a:cxn ang="0">
                      <a:pos x="connsiteX353" y="connsiteY353"/>
                    </a:cxn>
                    <a:cxn ang="0">
                      <a:pos x="connsiteX354" y="connsiteY354"/>
                    </a:cxn>
                    <a:cxn ang="0">
                      <a:pos x="connsiteX355" y="connsiteY355"/>
                    </a:cxn>
                    <a:cxn ang="0">
                      <a:pos x="connsiteX356" y="connsiteY356"/>
                    </a:cxn>
                    <a:cxn ang="0">
                      <a:pos x="connsiteX357" y="connsiteY357"/>
                    </a:cxn>
                    <a:cxn ang="0">
                      <a:pos x="connsiteX358" y="connsiteY358"/>
                    </a:cxn>
                    <a:cxn ang="0">
                      <a:pos x="connsiteX359" y="connsiteY359"/>
                    </a:cxn>
                    <a:cxn ang="0">
                      <a:pos x="connsiteX360" y="connsiteY360"/>
                    </a:cxn>
                    <a:cxn ang="0">
                      <a:pos x="connsiteX361" y="connsiteY361"/>
                    </a:cxn>
                    <a:cxn ang="0">
                      <a:pos x="connsiteX362" y="connsiteY362"/>
                    </a:cxn>
                    <a:cxn ang="0">
                      <a:pos x="connsiteX363" y="connsiteY363"/>
                    </a:cxn>
                    <a:cxn ang="0">
                      <a:pos x="connsiteX364" y="connsiteY364"/>
                    </a:cxn>
                    <a:cxn ang="0">
                      <a:pos x="connsiteX365" y="connsiteY365"/>
                    </a:cxn>
                    <a:cxn ang="0">
                      <a:pos x="connsiteX366" y="connsiteY366"/>
                    </a:cxn>
                    <a:cxn ang="0">
                      <a:pos x="connsiteX367" y="connsiteY367"/>
                    </a:cxn>
                    <a:cxn ang="0">
                      <a:pos x="connsiteX368" y="connsiteY368"/>
                    </a:cxn>
                    <a:cxn ang="0">
                      <a:pos x="connsiteX369" y="connsiteY369"/>
                    </a:cxn>
                    <a:cxn ang="0">
                      <a:pos x="connsiteX370" y="connsiteY370"/>
                    </a:cxn>
                    <a:cxn ang="0">
                      <a:pos x="connsiteX371" y="connsiteY371"/>
                    </a:cxn>
                    <a:cxn ang="0">
                      <a:pos x="connsiteX372" y="connsiteY372"/>
                    </a:cxn>
                    <a:cxn ang="0">
                      <a:pos x="connsiteX373" y="connsiteY373"/>
                    </a:cxn>
                    <a:cxn ang="0">
                      <a:pos x="connsiteX374" y="connsiteY374"/>
                    </a:cxn>
                    <a:cxn ang="0">
                      <a:pos x="connsiteX375" y="connsiteY375"/>
                    </a:cxn>
                    <a:cxn ang="0">
                      <a:pos x="connsiteX376" y="connsiteY376"/>
                    </a:cxn>
                    <a:cxn ang="0">
                      <a:pos x="connsiteX377" y="connsiteY377"/>
                    </a:cxn>
                    <a:cxn ang="0">
                      <a:pos x="connsiteX378" y="connsiteY378"/>
                    </a:cxn>
                    <a:cxn ang="0">
                      <a:pos x="connsiteX379" y="connsiteY379"/>
                    </a:cxn>
                    <a:cxn ang="0">
                      <a:pos x="connsiteX380" y="connsiteY380"/>
                    </a:cxn>
                    <a:cxn ang="0">
                      <a:pos x="connsiteX381" y="connsiteY381"/>
                    </a:cxn>
                    <a:cxn ang="0">
                      <a:pos x="connsiteX382" y="connsiteY382"/>
                    </a:cxn>
                    <a:cxn ang="0">
                      <a:pos x="connsiteX383" y="connsiteY383"/>
                    </a:cxn>
                    <a:cxn ang="0">
                      <a:pos x="connsiteX384" y="connsiteY384"/>
                    </a:cxn>
                    <a:cxn ang="0">
                      <a:pos x="connsiteX385" y="connsiteY385"/>
                    </a:cxn>
                    <a:cxn ang="0">
                      <a:pos x="connsiteX386" y="connsiteY386"/>
                    </a:cxn>
                    <a:cxn ang="0">
                      <a:pos x="connsiteX387" y="connsiteY387"/>
                    </a:cxn>
                    <a:cxn ang="0">
                      <a:pos x="connsiteX388" y="connsiteY388"/>
                    </a:cxn>
                    <a:cxn ang="0">
                      <a:pos x="connsiteX389" y="connsiteY389"/>
                    </a:cxn>
                    <a:cxn ang="0">
                      <a:pos x="connsiteX390" y="connsiteY390"/>
                    </a:cxn>
                    <a:cxn ang="0">
                      <a:pos x="connsiteX391" y="connsiteY391"/>
                    </a:cxn>
                    <a:cxn ang="0">
                      <a:pos x="connsiteX392" y="connsiteY392"/>
                    </a:cxn>
                    <a:cxn ang="0">
                      <a:pos x="connsiteX393" y="connsiteY393"/>
                    </a:cxn>
                    <a:cxn ang="0">
                      <a:pos x="connsiteX394" y="connsiteY394"/>
                    </a:cxn>
                    <a:cxn ang="0">
                      <a:pos x="connsiteX395" y="connsiteY395"/>
                    </a:cxn>
                    <a:cxn ang="0">
                      <a:pos x="connsiteX396" y="connsiteY396"/>
                    </a:cxn>
                    <a:cxn ang="0">
                      <a:pos x="connsiteX397" y="connsiteY397"/>
                    </a:cxn>
                    <a:cxn ang="0">
                      <a:pos x="connsiteX398" y="connsiteY398"/>
                    </a:cxn>
                    <a:cxn ang="0">
                      <a:pos x="connsiteX399" y="connsiteY399"/>
                    </a:cxn>
                    <a:cxn ang="0">
                      <a:pos x="connsiteX400" y="connsiteY400"/>
                    </a:cxn>
                    <a:cxn ang="0">
                      <a:pos x="connsiteX401" y="connsiteY401"/>
                    </a:cxn>
                    <a:cxn ang="0">
                      <a:pos x="connsiteX402" y="connsiteY402"/>
                    </a:cxn>
                    <a:cxn ang="0">
                      <a:pos x="connsiteX403" y="connsiteY403"/>
                    </a:cxn>
                    <a:cxn ang="0">
                      <a:pos x="connsiteX404" y="connsiteY404"/>
                    </a:cxn>
                    <a:cxn ang="0">
                      <a:pos x="connsiteX405" y="connsiteY405"/>
                    </a:cxn>
                    <a:cxn ang="0">
                      <a:pos x="connsiteX406" y="connsiteY406"/>
                    </a:cxn>
                    <a:cxn ang="0">
                      <a:pos x="connsiteX407" y="connsiteY407"/>
                    </a:cxn>
                    <a:cxn ang="0">
                      <a:pos x="connsiteX408" y="connsiteY408"/>
                    </a:cxn>
                    <a:cxn ang="0">
                      <a:pos x="connsiteX409" y="connsiteY409"/>
                    </a:cxn>
                    <a:cxn ang="0">
                      <a:pos x="connsiteX410" y="connsiteY410"/>
                    </a:cxn>
                    <a:cxn ang="0">
                      <a:pos x="connsiteX411" y="connsiteY411"/>
                    </a:cxn>
                    <a:cxn ang="0">
                      <a:pos x="connsiteX412" y="connsiteY412"/>
                    </a:cxn>
                    <a:cxn ang="0">
                      <a:pos x="connsiteX413" y="connsiteY413"/>
                    </a:cxn>
                    <a:cxn ang="0">
                      <a:pos x="connsiteX414" y="connsiteY414"/>
                    </a:cxn>
                    <a:cxn ang="0">
                      <a:pos x="connsiteX415" y="connsiteY415"/>
                    </a:cxn>
                    <a:cxn ang="0">
                      <a:pos x="connsiteX416" y="connsiteY416"/>
                    </a:cxn>
                    <a:cxn ang="0">
                      <a:pos x="connsiteX417" y="connsiteY417"/>
                    </a:cxn>
                    <a:cxn ang="0">
                      <a:pos x="connsiteX418" y="connsiteY418"/>
                    </a:cxn>
                    <a:cxn ang="0">
                      <a:pos x="connsiteX419" y="connsiteY419"/>
                    </a:cxn>
                    <a:cxn ang="0">
                      <a:pos x="connsiteX420" y="connsiteY420"/>
                    </a:cxn>
                    <a:cxn ang="0">
                      <a:pos x="connsiteX421" y="connsiteY421"/>
                    </a:cxn>
                    <a:cxn ang="0">
                      <a:pos x="connsiteX422" y="connsiteY422"/>
                    </a:cxn>
                    <a:cxn ang="0">
                      <a:pos x="connsiteX423" y="connsiteY423"/>
                    </a:cxn>
                    <a:cxn ang="0">
                      <a:pos x="connsiteX424" y="connsiteY424"/>
                    </a:cxn>
                    <a:cxn ang="0">
                      <a:pos x="connsiteX425" y="connsiteY425"/>
                    </a:cxn>
                    <a:cxn ang="0">
                      <a:pos x="connsiteX426" y="connsiteY426"/>
                    </a:cxn>
                    <a:cxn ang="0">
                      <a:pos x="connsiteX427" y="connsiteY427"/>
                    </a:cxn>
                    <a:cxn ang="0">
                      <a:pos x="connsiteX428" y="connsiteY428"/>
                    </a:cxn>
                    <a:cxn ang="0">
                      <a:pos x="connsiteX429" y="connsiteY429"/>
                    </a:cxn>
                    <a:cxn ang="0">
                      <a:pos x="connsiteX430" y="connsiteY430"/>
                    </a:cxn>
                    <a:cxn ang="0">
                      <a:pos x="connsiteX431" y="connsiteY431"/>
                    </a:cxn>
                    <a:cxn ang="0">
                      <a:pos x="connsiteX432" y="connsiteY432"/>
                    </a:cxn>
                    <a:cxn ang="0">
                      <a:pos x="connsiteX433" y="connsiteY433"/>
                    </a:cxn>
                    <a:cxn ang="0">
                      <a:pos x="connsiteX434" y="connsiteY434"/>
                    </a:cxn>
                    <a:cxn ang="0">
                      <a:pos x="connsiteX435" y="connsiteY435"/>
                    </a:cxn>
                    <a:cxn ang="0">
                      <a:pos x="connsiteX436" y="connsiteY436"/>
                    </a:cxn>
                    <a:cxn ang="0">
                      <a:pos x="connsiteX437" y="connsiteY437"/>
                    </a:cxn>
                    <a:cxn ang="0">
                      <a:pos x="connsiteX438" y="connsiteY438"/>
                    </a:cxn>
                    <a:cxn ang="0">
                      <a:pos x="connsiteX439" y="connsiteY439"/>
                    </a:cxn>
                    <a:cxn ang="0">
                      <a:pos x="connsiteX440" y="connsiteY440"/>
                    </a:cxn>
                    <a:cxn ang="0">
                      <a:pos x="connsiteX441" y="connsiteY441"/>
                    </a:cxn>
                    <a:cxn ang="0">
                      <a:pos x="connsiteX442" y="connsiteY442"/>
                    </a:cxn>
                    <a:cxn ang="0">
                      <a:pos x="connsiteX443" y="connsiteY443"/>
                    </a:cxn>
                    <a:cxn ang="0">
                      <a:pos x="connsiteX444" y="connsiteY444"/>
                    </a:cxn>
                    <a:cxn ang="0">
                      <a:pos x="connsiteX445" y="connsiteY445"/>
                    </a:cxn>
                    <a:cxn ang="0">
                      <a:pos x="connsiteX446" y="connsiteY446"/>
                    </a:cxn>
                    <a:cxn ang="0">
                      <a:pos x="connsiteX447" y="connsiteY447"/>
                    </a:cxn>
                    <a:cxn ang="0">
                      <a:pos x="connsiteX448" y="connsiteY448"/>
                    </a:cxn>
                    <a:cxn ang="0">
                      <a:pos x="connsiteX449" y="connsiteY449"/>
                    </a:cxn>
                    <a:cxn ang="0">
                      <a:pos x="connsiteX450" y="connsiteY450"/>
                    </a:cxn>
                    <a:cxn ang="0">
                      <a:pos x="connsiteX451" y="connsiteY451"/>
                    </a:cxn>
                    <a:cxn ang="0">
                      <a:pos x="connsiteX452" y="connsiteY452"/>
                    </a:cxn>
                    <a:cxn ang="0">
                      <a:pos x="connsiteX453" y="connsiteY453"/>
                    </a:cxn>
                    <a:cxn ang="0">
                      <a:pos x="connsiteX454" y="connsiteY454"/>
                    </a:cxn>
                    <a:cxn ang="0">
                      <a:pos x="connsiteX455" y="connsiteY455"/>
                    </a:cxn>
                    <a:cxn ang="0">
                      <a:pos x="connsiteX456" y="connsiteY456"/>
                    </a:cxn>
                    <a:cxn ang="0">
                      <a:pos x="connsiteX457" y="connsiteY457"/>
                    </a:cxn>
                    <a:cxn ang="0">
                      <a:pos x="connsiteX458" y="connsiteY458"/>
                    </a:cxn>
                    <a:cxn ang="0">
                      <a:pos x="connsiteX459" y="connsiteY459"/>
                    </a:cxn>
                    <a:cxn ang="0">
                      <a:pos x="connsiteX460" y="connsiteY460"/>
                    </a:cxn>
                    <a:cxn ang="0">
                      <a:pos x="connsiteX461" y="connsiteY461"/>
                    </a:cxn>
                    <a:cxn ang="0">
                      <a:pos x="connsiteX462" y="connsiteY462"/>
                    </a:cxn>
                    <a:cxn ang="0">
                      <a:pos x="connsiteX463" y="connsiteY463"/>
                    </a:cxn>
                    <a:cxn ang="0">
                      <a:pos x="connsiteX464" y="connsiteY464"/>
                    </a:cxn>
                    <a:cxn ang="0">
                      <a:pos x="connsiteX465" y="connsiteY465"/>
                    </a:cxn>
                    <a:cxn ang="0">
                      <a:pos x="connsiteX466" y="connsiteY466"/>
                    </a:cxn>
                    <a:cxn ang="0">
                      <a:pos x="connsiteX467" y="connsiteY467"/>
                    </a:cxn>
                    <a:cxn ang="0">
                      <a:pos x="connsiteX468" y="connsiteY468"/>
                    </a:cxn>
                    <a:cxn ang="0">
                      <a:pos x="connsiteX469" y="connsiteY469"/>
                    </a:cxn>
                    <a:cxn ang="0">
                      <a:pos x="connsiteX470" y="connsiteY470"/>
                    </a:cxn>
                    <a:cxn ang="0">
                      <a:pos x="connsiteX471" y="connsiteY471"/>
                    </a:cxn>
                    <a:cxn ang="0">
                      <a:pos x="connsiteX472" y="connsiteY472"/>
                    </a:cxn>
                    <a:cxn ang="0">
                      <a:pos x="connsiteX473" y="connsiteY473"/>
                    </a:cxn>
                    <a:cxn ang="0">
                      <a:pos x="connsiteX474" y="connsiteY474"/>
                    </a:cxn>
                    <a:cxn ang="0">
                      <a:pos x="connsiteX475" y="connsiteY475"/>
                    </a:cxn>
                    <a:cxn ang="0">
                      <a:pos x="connsiteX476" y="connsiteY476"/>
                    </a:cxn>
                    <a:cxn ang="0">
                      <a:pos x="connsiteX477" y="connsiteY477"/>
                    </a:cxn>
                    <a:cxn ang="0">
                      <a:pos x="connsiteX478" y="connsiteY478"/>
                    </a:cxn>
                    <a:cxn ang="0">
                      <a:pos x="connsiteX479" y="connsiteY479"/>
                    </a:cxn>
                    <a:cxn ang="0">
                      <a:pos x="connsiteX480" y="connsiteY480"/>
                    </a:cxn>
                    <a:cxn ang="0">
                      <a:pos x="connsiteX481" y="connsiteY481"/>
                    </a:cxn>
                    <a:cxn ang="0">
                      <a:pos x="connsiteX482" y="connsiteY482"/>
                    </a:cxn>
                    <a:cxn ang="0">
                      <a:pos x="connsiteX483" y="connsiteY483"/>
                    </a:cxn>
                    <a:cxn ang="0">
                      <a:pos x="connsiteX484" y="connsiteY484"/>
                    </a:cxn>
                    <a:cxn ang="0">
                      <a:pos x="connsiteX485" y="connsiteY485"/>
                    </a:cxn>
                    <a:cxn ang="0">
                      <a:pos x="connsiteX486" y="connsiteY486"/>
                    </a:cxn>
                    <a:cxn ang="0">
                      <a:pos x="connsiteX487" y="connsiteY487"/>
                    </a:cxn>
                    <a:cxn ang="0">
                      <a:pos x="connsiteX488" y="connsiteY488"/>
                    </a:cxn>
                    <a:cxn ang="0">
                      <a:pos x="connsiteX489" y="connsiteY489"/>
                    </a:cxn>
                    <a:cxn ang="0">
                      <a:pos x="connsiteX490" y="connsiteY490"/>
                    </a:cxn>
                    <a:cxn ang="0">
                      <a:pos x="connsiteX491" y="connsiteY491"/>
                    </a:cxn>
                    <a:cxn ang="0">
                      <a:pos x="connsiteX492" y="connsiteY492"/>
                    </a:cxn>
                    <a:cxn ang="0">
                      <a:pos x="connsiteX493" y="connsiteY493"/>
                    </a:cxn>
                    <a:cxn ang="0">
                      <a:pos x="connsiteX494" y="connsiteY494"/>
                    </a:cxn>
                    <a:cxn ang="0">
                      <a:pos x="connsiteX495" y="connsiteY495"/>
                    </a:cxn>
                    <a:cxn ang="0">
                      <a:pos x="connsiteX496" y="connsiteY496"/>
                    </a:cxn>
                    <a:cxn ang="0">
                      <a:pos x="connsiteX497" y="connsiteY497"/>
                    </a:cxn>
                    <a:cxn ang="0">
                      <a:pos x="connsiteX498" y="connsiteY498"/>
                    </a:cxn>
                    <a:cxn ang="0">
                      <a:pos x="connsiteX499" y="connsiteY499"/>
                    </a:cxn>
                    <a:cxn ang="0">
                      <a:pos x="connsiteX500" y="connsiteY500"/>
                    </a:cxn>
                    <a:cxn ang="0">
                      <a:pos x="connsiteX501" y="connsiteY501"/>
                    </a:cxn>
                    <a:cxn ang="0">
                      <a:pos x="connsiteX502" y="connsiteY502"/>
                    </a:cxn>
                    <a:cxn ang="0">
                      <a:pos x="connsiteX503" y="connsiteY503"/>
                    </a:cxn>
                    <a:cxn ang="0">
                      <a:pos x="connsiteX504" y="connsiteY504"/>
                    </a:cxn>
                    <a:cxn ang="0">
                      <a:pos x="connsiteX505" y="connsiteY505"/>
                    </a:cxn>
                    <a:cxn ang="0">
                      <a:pos x="connsiteX506" y="connsiteY506"/>
                    </a:cxn>
                    <a:cxn ang="0">
                      <a:pos x="connsiteX507" y="connsiteY507"/>
                    </a:cxn>
                    <a:cxn ang="0">
                      <a:pos x="connsiteX508" y="connsiteY508"/>
                    </a:cxn>
                    <a:cxn ang="0">
                      <a:pos x="connsiteX509" y="connsiteY509"/>
                    </a:cxn>
                    <a:cxn ang="0">
                      <a:pos x="connsiteX510" y="connsiteY510"/>
                    </a:cxn>
                    <a:cxn ang="0">
                      <a:pos x="connsiteX511" y="connsiteY511"/>
                    </a:cxn>
                    <a:cxn ang="0">
                      <a:pos x="connsiteX512" y="connsiteY512"/>
                    </a:cxn>
                    <a:cxn ang="0">
                      <a:pos x="connsiteX513" y="connsiteY513"/>
                    </a:cxn>
                    <a:cxn ang="0">
                      <a:pos x="connsiteX514" y="connsiteY514"/>
                    </a:cxn>
                    <a:cxn ang="0">
                      <a:pos x="connsiteX515" y="connsiteY515"/>
                    </a:cxn>
                    <a:cxn ang="0">
                      <a:pos x="connsiteX516" y="connsiteY516"/>
                    </a:cxn>
                    <a:cxn ang="0">
                      <a:pos x="connsiteX517" y="connsiteY517"/>
                    </a:cxn>
                    <a:cxn ang="0">
                      <a:pos x="connsiteX518" y="connsiteY518"/>
                    </a:cxn>
                    <a:cxn ang="0">
                      <a:pos x="connsiteX519" y="connsiteY519"/>
                    </a:cxn>
                    <a:cxn ang="0">
                      <a:pos x="connsiteX520" y="connsiteY520"/>
                    </a:cxn>
                    <a:cxn ang="0">
                      <a:pos x="connsiteX521" y="connsiteY521"/>
                    </a:cxn>
                    <a:cxn ang="0">
                      <a:pos x="connsiteX522" y="connsiteY522"/>
                    </a:cxn>
                    <a:cxn ang="0">
                      <a:pos x="connsiteX523" y="connsiteY523"/>
                    </a:cxn>
                    <a:cxn ang="0">
                      <a:pos x="connsiteX524" y="connsiteY524"/>
                    </a:cxn>
                    <a:cxn ang="0">
                      <a:pos x="connsiteX525" y="connsiteY525"/>
                    </a:cxn>
                    <a:cxn ang="0">
                      <a:pos x="connsiteX526" y="connsiteY526"/>
                    </a:cxn>
                    <a:cxn ang="0">
                      <a:pos x="connsiteX527" y="connsiteY527"/>
                    </a:cxn>
                    <a:cxn ang="0">
                      <a:pos x="connsiteX528" y="connsiteY528"/>
                    </a:cxn>
                    <a:cxn ang="0">
                      <a:pos x="connsiteX529" y="connsiteY529"/>
                    </a:cxn>
                    <a:cxn ang="0">
                      <a:pos x="connsiteX530" y="connsiteY530"/>
                    </a:cxn>
                    <a:cxn ang="0">
                      <a:pos x="connsiteX531" y="connsiteY531"/>
                    </a:cxn>
                    <a:cxn ang="0">
                      <a:pos x="connsiteX532" y="connsiteY532"/>
                    </a:cxn>
                    <a:cxn ang="0">
                      <a:pos x="connsiteX533" y="connsiteY533"/>
                    </a:cxn>
                    <a:cxn ang="0">
                      <a:pos x="connsiteX534" y="connsiteY534"/>
                    </a:cxn>
                    <a:cxn ang="0">
                      <a:pos x="connsiteX535" y="connsiteY535"/>
                    </a:cxn>
                    <a:cxn ang="0">
                      <a:pos x="connsiteX536" y="connsiteY536"/>
                    </a:cxn>
                    <a:cxn ang="0">
                      <a:pos x="connsiteX537" y="connsiteY537"/>
                    </a:cxn>
                    <a:cxn ang="0">
                      <a:pos x="connsiteX538" y="connsiteY538"/>
                    </a:cxn>
                    <a:cxn ang="0">
                      <a:pos x="connsiteX539" y="connsiteY539"/>
                    </a:cxn>
                    <a:cxn ang="0">
                      <a:pos x="connsiteX540" y="connsiteY540"/>
                    </a:cxn>
                    <a:cxn ang="0">
                      <a:pos x="connsiteX541" y="connsiteY541"/>
                    </a:cxn>
                    <a:cxn ang="0">
                      <a:pos x="connsiteX542" y="connsiteY542"/>
                    </a:cxn>
                    <a:cxn ang="0">
                      <a:pos x="connsiteX543" y="connsiteY543"/>
                    </a:cxn>
                    <a:cxn ang="0">
                      <a:pos x="connsiteX544" y="connsiteY544"/>
                    </a:cxn>
                    <a:cxn ang="0">
                      <a:pos x="connsiteX545" y="connsiteY545"/>
                    </a:cxn>
                    <a:cxn ang="0">
                      <a:pos x="connsiteX546" y="connsiteY546"/>
                    </a:cxn>
                    <a:cxn ang="0">
                      <a:pos x="connsiteX547" y="connsiteY547"/>
                    </a:cxn>
                    <a:cxn ang="0">
                      <a:pos x="connsiteX548" y="connsiteY548"/>
                    </a:cxn>
                    <a:cxn ang="0">
                      <a:pos x="connsiteX549" y="connsiteY549"/>
                    </a:cxn>
                    <a:cxn ang="0">
                      <a:pos x="connsiteX550" y="connsiteY550"/>
                    </a:cxn>
                    <a:cxn ang="0">
                      <a:pos x="connsiteX551" y="connsiteY551"/>
                    </a:cxn>
                    <a:cxn ang="0">
                      <a:pos x="connsiteX552" y="connsiteY552"/>
                    </a:cxn>
                    <a:cxn ang="0">
                      <a:pos x="connsiteX553" y="connsiteY553"/>
                    </a:cxn>
                    <a:cxn ang="0">
                      <a:pos x="connsiteX554" y="connsiteY554"/>
                    </a:cxn>
                    <a:cxn ang="0">
                      <a:pos x="connsiteX555" y="connsiteY555"/>
                    </a:cxn>
                    <a:cxn ang="0">
                      <a:pos x="connsiteX556" y="connsiteY556"/>
                    </a:cxn>
                    <a:cxn ang="0">
                      <a:pos x="connsiteX557" y="connsiteY557"/>
                    </a:cxn>
                    <a:cxn ang="0">
                      <a:pos x="connsiteX558" y="connsiteY558"/>
                    </a:cxn>
                    <a:cxn ang="0">
                      <a:pos x="connsiteX559" y="connsiteY559"/>
                    </a:cxn>
                    <a:cxn ang="0">
                      <a:pos x="connsiteX560" y="connsiteY560"/>
                    </a:cxn>
                    <a:cxn ang="0">
                      <a:pos x="connsiteX561" y="connsiteY561"/>
                    </a:cxn>
                    <a:cxn ang="0">
                      <a:pos x="connsiteX562" y="connsiteY562"/>
                    </a:cxn>
                    <a:cxn ang="0">
                      <a:pos x="connsiteX563" y="connsiteY563"/>
                    </a:cxn>
                    <a:cxn ang="0">
                      <a:pos x="connsiteX564" y="connsiteY564"/>
                    </a:cxn>
                    <a:cxn ang="0">
                      <a:pos x="connsiteX565" y="connsiteY565"/>
                    </a:cxn>
                    <a:cxn ang="0">
                      <a:pos x="connsiteX566" y="connsiteY566"/>
                    </a:cxn>
                    <a:cxn ang="0">
                      <a:pos x="connsiteX567" y="connsiteY567"/>
                    </a:cxn>
                    <a:cxn ang="0">
                      <a:pos x="connsiteX568" y="connsiteY568"/>
                    </a:cxn>
                    <a:cxn ang="0">
                      <a:pos x="connsiteX569" y="connsiteY569"/>
                    </a:cxn>
                    <a:cxn ang="0">
                      <a:pos x="connsiteX570" y="connsiteY570"/>
                    </a:cxn>
                    <a:cxn ang="0">
                      <a:pos x="connsiteX571" y="connsiteY571"/>
                    </a:cxn>
                    <a:cxn ang="0">
                      <a:pos x="connsiteX572" y="connsiteY572"/>
                    </a:cxn>
                    <a:cxn ang="0">
                      <a:pos x="connsiteX573" y="connsiteY573"/>
                    </a:cxn>
                    <a:cxn ang="0">
                      <a:pos x="connsiteX574" y="connsiteY574"/>
                    </a:cxn>
                    <a:cxn ang="0">
                      <a:pos x="connsiteX575" y="connsiteY575"/>
                    </a:cxn>
                    <a:cxn ang="0">
                      <a:pos x="connsiteX576" y="connsiteY576"/>
                    </a:cxn>
                    <a:cxn ang="0">
                      <a:pos x="connsiteX577" y="connsiteY577"/>
                    </a:cxn>
                    <a:cxn ang="0">
                      <a:pos x="connsiteX578" y="connsiteY578"/>
                    </a:cxn>
                    <a:cxn ang="0">
                      <a:pos x="connsiteX579" y="connsiteY579"/>
                    </a:cxn>
                    <a:cxn ang="0">
                      <a:pos x="connsiteX580" y="connsiteY580"/>
                    </a:cxn>
                    <a:cxn ang="0">
                      <a:pos x="connsiteX581" y="connsiteY581"/>
                    </a:cxn>
                    <a:cxn ang="0">
                      <a:pos x="connsiteX582" y="connsiteY582"/>
                    </a:cxn>
                    <a:cxn ang="0">
                      <a:pos x="connsiteX583" y="connsiteY583"/>
                    </a:cxn>
                    <a:cxn ang="0">
                      <a:pos x="connsiteX584" y="connsiteY584"/>
                    </a:cxn>
                    <a:cxn ang="0">
                      <a:pos x="connsiteX585" y="connsiteY585"/>
                    </a:cxn>
                    <a:cxn ang="0">
                      <a:pos x="connsiteX586" y="connsiteY586"/>
                    </a:cxn>
                    <a:cxn ang="0">
                      <a:pos x="connsiteX587" y="connsiteY587"/>
                    </a:cxn>
                    <a:cxn ang="0">
                      <a:pos x="connsiteX588" y="connsiteY588"/>
                    </a:cxn>
                    <a:cxn ang="0">
                      <a:pos x="connsiteX589" y="connsiteY589"/>
                    </a:cxn>
                    <a:cxn ang="0">
                      <a:pos x="connsiteX590" y="connsiteY590"/>
                    </a:cxn>
                    <a:cxn ang="0">
                      <a:pos x="connsiteX591" y="connsiteY591"/>
                    </a:cxn>
                    <a:cxn ang="0">
                      <a:pos x="connsiteX592" y="connsiteY592"/>
                    </a:cxn>
                    <a:cxn ang="0">
                      <a:pos x="connsiteX593" y="connsiteY593"/>
                    </a:cxn>
                    <a:cxn ang="0">
                      <a:pos x="connsiteX594" y="connsiteY594"/>
                    </a:cxn>
                    <a:cxn ang="0">
                      <a:pos x="connsiteX595" y="connsiteY595"/>
                    </a:cxn>
                    <a:cxn ang="0">
                      <a:pos x="connsiteX596" y="connsiteY596"/>
                    </a:cxn>
                    <a:cxn ang="0">
                      <a:pos x="connsiteX597" y="connsiteY597"/>
                    </a:cxn>
                    <a:cxn ang="0">
                      <a:pos x="connsiteX598" y="connsiteY598"/>
                    </a:cxn>
                    <a:cxn ang="0">
                      <a:pos x="connsiteX599" y="connsiteY599"/>
                    </a:cxn>
                    <a:cxn ang="0">
                      <a:pos x="connsiteX600" y="connsiteY600"/>
                    </a:cxn>
                    <a:cxn ang="0">
                      <a:pos x="connsiteX601" y="connsiteY601"/>
                    </a:cxn>
                    <a:cxn ang="0">
                      <a:pos x="connsiteX602" y="connsiteY602"/>
                    </a:cxn>
                    <a:cxn ang="0">
                      <a:pos x="connsiteX603" y="connsiteY603"/>
                    </a:cxn>
                    <a:cxn ang="0">
                      <a:pos x="connsiteX604" y="connsiteY604"/>
                    </a:cxn>
                    <a:cxn ang="0">
                      <a:pos x="connsiteX605" y="connsiteY605"/>
                    </a:cxn>
                    <a:cxn ang="0">
                      <a:pos x="connsiteX606" y="connsiteY606"/>
                    </a:cxn>
                    <a:cxn ang="0">
                      <a:pos x="connsiteX607" y="connsiteY607"/>
                    </a:cxn>
                    <a:cxn ang="0">
                      <a:pos x="connsiteX608" y="connsiteY608"/>
                    </a:cxn>
                    <a:cxn ang="0">
                      <a:pos x="connsiteX609" y="connsiteY609"/>
                    </a:cxn>
                    <a:cxn ang="0">
                      <a:pos x="connsiteX610" y="connsiteY610"/>
                    </a:cxn>
                    <a:cxn ang="0">
                      <a:pos x="connsiteX611" y="connsiteY611"/>
                    </a:cxn>
                    <a:cxn ang="0">
                      <a:pos x="connsiteX612" y="connsiteY612"/>
                    </a:cxn>
                    <a:cxn ang="0">
                      <a:pos x="connsiteX613" y="connsiteY613"/>
                    </a:cxn>
                    <a:cxn ang="0">
                      <a:pos x="connsiteX614" y="connsiteY614"/>
                    </a:cxn>
                    <a:cxn ang="0">
                      <a:pos x="connsiteX615" y="connsiteY615"/>
                    </a:cxn>
                    <a:cxn ang="0">
                      <a:pos x="connsiteX616" y="connsiteY616"/>
                    </a:cxn>
                    <a:cxn ang="0">
                      <a:pos x="connsiteX617" y="connsiteY617"/>
                    </a:cxn>
                    <a:cxn ang="0">
                      <a:pos x="connsiteX618" y="connsiteY618"/>
                    </a:cxn>
                    <a:cxn ang="0">
                      <a:pos x="connsiteX619" y="connsiteY619"/>
                    </a:cxn>
                    <a:cxn ang="0">
                      <a:pos x="connsiteX620" y="connsiteY620"/>
                    </a:cxn>
                    <a:cxn ang="0">
                      <a:pos x="connsiteX621" y="connsiteY621"/>
                    </a:cxn>
                    <a:cxn ang="0">
                      <a:pos x="connsiteX622" y="connsiteY622"/>
                    </a:cxn>
                    <a:cxn ang="0">
                      <a:pos x="connsiteX623" y="connsiteY623"/>
                    </a:cxn>
                    <a:cxn ang="0">
                      <a:pos x="connsiteX624" y="connsiteY624"/>
                    </a:cxn>
                    <a:cxn ang="0">
                      <a:pos x="connsiteX625" y="connsiteY625"/>
                    </a:cxn>
                    <a:cxn ang="0">
                      <a:pos x="connsiteX626" y="connsiteY626"/>
                    </a:cxn>
                    <a:cxn ang="0">
                      <a:pos x="connsiteX627" y="connsiteY627"/>
                    </a:cxn>
                    <a:cxn ang="0">
                      <a:pos x="connsiteX628" y="connsiteY628"/>
                    </a:cxn>
                    <a:cxn ang="0">
                      <a:pos x="connsiteX629" y="connsiteY629"/>
                    </a:cxn>
                    <a:cxn ang="0">
                      <a:pos x="connsiteX630" y="connsiteY630"/>
                    </a:cxn>
                    <a:cxn ang="0">
                      <a:pos x="connsiteX631" y="connsiteY631"/>
                    </a:cxn>
                    <a:cxn ang="0">
                      <a:pos x="connsiteX632" y="connsiteY632"/>
                    </a:cxn>
                    <a:cxn ang="0">
                      <a:pos x="connsiteX633" y="connsiteY633"/>
                    </a:cxn>
                    <a:cxn ang="0">
                      <a:pos x="connsiteX634" y="connsiteY634"/>
                    </a:cxn>
                    <a:cxn ang="0">
                      <a:pos x="connsiteX635" y="connsiteY635"/>
                    </a:cxn>
                    <a:cxn ang="0">
                      <a:pos x="connsiteX636" y="connsiteY636"/>
                    </a:cxn>
                    <a:cxn ang="0">
                      <a:pos x="connsiteX637" y="connsiteY637"/>
                    </a:cxn>
                    <a:cxn ang="0">
                      <a:pos x="connsiteX638" y="connsiteY638"/>
                    </a:cxn>
                    <a:cxn ang="0">
                      <a:pos x="connsiteX639" y="connsiteY639"/>
                    </a:cxn>
                    <a:cxn ang="0">
                      <a:pos x="connsiteX640" y="connsiteY640"/>
                    </a:cxn>
                    <a:cxn ang="0">
                      <a:pos x="connsiteX641" y="connsiteY641"/>
                    </a:cxn>
                    <a:cxn ang="0">
                      <a:pos x="connsiteX642" y="connsiteY642"/>
                    </a:cxn>
                    <a:cxn ang="0">
                      <a:pos x="connsiteX643" y="connsiteY643"/>
                    </a:cxn>
                    <a:cxn ang="0">
                      <a:pos x="connsiteX644" y="connsiteY644"/>
                    </a:cxn>
                    <a:cxn ang="0">
                      <a:pos x="connsiteX645" y="connsiteY645"/>
                    </a:cxn>
                    <a:cxn ang="0">
                      <a:pos x="connsiteX646" y="connsiteY646"/>
                    </a:cxn>
                    <a:cxn ang="0">
                      <a:pos x="connsiteX647" y="connsiteY647"/>
                    </a:cxn>
                    <a:cxn ang="0">
                      <a:pos x="connsiteX648" y="connsiteY648"/>
                    </a:cxn>
                    <a:cxn ang="0">
                      <a:pos x="connsiteX649" y="connsiteY649"/>
                    </a:cxn>
                    <a:cxn ang="0">
                      <a:pos x="connsiteX650" y="connsiteY650"/>
                    </a:cxn>
                    <a:cxn ang="0">
                      <a:pos x="connsiteX651" y="connsiteY651"/>
                    </a:cxn>
                    <a:cxn ang="0">
                      <a:pos x="connsiteX652" y="connsiteY652"/>
                    </a:cxn>
                    <a:cxn ang="0">
                      <a:pos x="connsiteX653" y="connsiteY653"/>
                    </a:cxn>
                    <a:cxn ang="0">
                      <a:pos x="connsiteX654" y="connsiteY654"/>
                    </a:cxn>
                    <a:cxn ang="0">
                      <a:pos x="connsiteX655" y="connsiteY655"/>
                    </a:cxn>
                    <a:cxn ang="0">
                      <a:pos x="connsiteX656" y="connsiteY656"/>
                    </a:cxn>
                    <a:cxn ang="0">
                      <a:pos x="connsiteX657" y="connsiteY657"/>
                    </a:cxn>
                    <a:cxn ang="0">
                      <a:pos x="connsiteX658" y="connsiteY658"/>
                    </a:cxn>
                    <a:cxn ang="0">
                      <a:pos x="connsiteX659" y="connsiteY659"/>
                    </a:cxn>
                    <a:cxn ang="0">
                      <a:pos x="connsiteX660" y="connsiteY660"/>
                    </a:cxn>
                    <a:cxn ang="0">
                      <a:pos x="connsiteX661" y="connsiteY661"/>
                    </a:cxn>
                  </a:cxnLst>
                  <a:rect l="l" t="t" r="r" b="b"/>
                  <a:pathLst>
                    <a:path w="1100571" h="1138428">
                      <a:moveTo>
                        <a:pt x="207386" y="846551"/>
                      </a:moveTo>
                      <a:lnTo>
                        <a:pt x="209032" y="848198"/>
                      </a:lnTo>
                      <a:lnTo>
                        <a:pt x="211226" y="856976"/>
                      </a:lnTo>
                      <a:lnTo>
                        <a:pt x="212872" y="858073"/>
                      </a:lnTo>
                      <a:lnTo>
                        <a:pt x="215067" y="855878"/>
                      </a:lnTo>
                      <a:lnTo>
                        <a:pt x="218359" y="856427"/>
                      </a:lnTo>
                      <a:lnTo>
                        <a:pt x="215615" y="860267"/>
                      </a:lnTo>
                      <a:lnTo>
                        <a:pt x="215615" y="863560"/>
                      </a:lnTo>
                      <a:lnTo>
                        <a:pt x="220005" y="877824"/>
                      </a:lnTo>
                      <a:lnTo>
                        <a:pt x="225491" y="886054"/>
                      </a:lnTo>
                      <a:lnTo>
                        <a:pt x="230429" y="888797"/>
                      </a:lnTo>
                      <a:lnTo>
                        <a:pt x="261153" y="979871"/>
                      </a:lnTo>
                      <a:lnTo>
                        <a:pt x="285841" y="1010046"/>
                      </a:lnTo>
                      <a:lnTo>
                        <a:pt x="314919" y="1096183"/>
                      </a:lnTo>
                      <a:lnTo>
                        <a:pt x="347289" y="1138428"/>
                      </a:lnTo>
                      <a:lnTo>
                        <a:pt x="358810" y="1137880"/>
                      </a:lnTo>
                      <a:lnTo>
                        <a:pt x="364846" y="1132942"/>
                      </a:lnTo>
                      <a:lnTo>
                        <a:pt x="364846" y="1130747"/>
                      </a:lnTo>
                      <a:lnTo>
                        <a:pt x="369235" y="1128553"/>
                      </a:lnTo>
                      <a:lnTo>
                        <a:pt x="373075" y="1124712"/>
                      </a:lnTo>
                      <a:lnTo>
                        <a:pt x="374721" y="1120872"/>
                      </a:lnTo>
                      <a:lnTo>
                        <a:pt x="374172" y="1117580"/>
                      </a:lnTo>
                      <a:lnTo>
                        <a:pt x="379110" y="1103864"/>
                      </a:lnTo>
                      <a:lnTo>
                        <a:pt x="394472" y="1096183"/>
                      </a:lnTo>
                      <a:lnTo>
                        <a:pt x="405994" y="1094537"/>
                      </a:lnTo>
                      <a:lnTo>
                        <a:pt x="405994" y="1081370"/>
                      </a:lnTo>
                      <a:lnTo>
                        <a:pt x="420807" y="1055584"/>
                      </a:lnTo>
                      <a:lnTo>
                        <a:pt x="429585" y="1053938"/>
                      </a:lnTo>
                      <a:lnTo>
                        <a:pt x="432328" y="1056681"/>
                      </a:lnTo>
                      <a:lnTo>
                        <a:pt x="438912" y="1056681"/>
                      </a:lnTo>
                      <a:lnTo>
                        <a:pt x="439461" y="997427"/>
                      </a:lnTo>
                      <a:lnTo>
                        <a:pt x="457566" y="946953"/>
                      </a:lnTo>
                      <a:lnTo>
                        <a:pt x="456468" y="937077"/>
                      </a:lnTo>
                      <a:lnTo>
                        <a:pt x="452628" y="933785"/>
                      </a:lnTo>
                      <a:lnTo>
                        <a:pt x="451531" y="930494"/>
                      </a:lnTo>
                      <a:lnTo>
                        <a:pt x="449885" y="928847"/>
                      </a:lnTo>
                      <a:lnTo>
                        <a:pt x="451531" y="926104"/>
                      </a:lnTo>
                      <a:lnTo>
                        <a:pt x="453725" y="928847"/>
                      </a:lnTo>
                      <a:lnTo>
                        <a:pt x="448787" y="907451"/>
                      </a:lnTo>
                      <a:lnTo>
                        <a:pt x="450982" y="899770"/>
                      </a:lnTo>
                      <a:lnTo>
                        <a:pt x="450433" y="891540"/>
                      </a:lnTo>
                      <a:lnTo>
                        <a:pt x="448239" y="888248"/>
                      </a:lnTo>
                      <a:lnTo>
                        <a:pt x="446593" y="864657"/>
                      </a:lnTo>
                      <a:lnTo>
                        <a:pt x="458114" y="848198"/>
                      </a:lnTo>
                      <a:lnTo>
                        <a:pt x="464698" y="844357"/>
                      </a:lnTo>
                      <a:lnTo>
                        <a:pt x="470733" y="844357"/>
                      </a:lnTo>
                      <a:lnTo>
                        <a:pt x="477317" y="847649"/>
                      </a:lnTo>
                      <a:lnTo>
                        <a:pt x="482803" y="845454"/>
                      </a:lnTo>
                      <a:lnTo>
                        <a:pt x="491033" y="828446"/>
                      </a:lnTo>
                      <a:lnTo>
                        <a:pt x="492130" y="827349"/>
                      </a:lnTo>
                      <a:lnTo>
                        <a:pt x="526146" y="817474"/>
                      </a:lnTo>
                      <a:lnTo>
                        <a:pt x="530535" y="811987"/>
                      </a:lnTo>
                      <a:lnTo>
                        <a:pt x="530535" y="804306"/>
                      </a:lnTo>
                      <a:lnTo>
                        <a:pt x="534375" y="797723"/>
                      </a:lnTo>
                      <a:lnTo>
                        <a:pt x="598566" y="747796"/>
                      </a:lnTo>
                      <a:lnTo>
                        <a:pt x="600212" y="745053"/>
                      </a:lnTo>
                      <a:lnTo>
                        <a:pt x="601858" y="745053"/>
                      </a:lnTo>
                      <a:lnTo>
                        <a:pt x="632582" y="708294"/>
                      </a:lnTo>
                      <a:lnTo>
                        <a:pt x="681411" y="682508"/>
                      </a:lnTo>
                      <a:lnTo>
                        <a:pt x="683057" y="682508"/>
                      </a:lnTo>
                      <a:lnTo>
                        <a:pt x="700065" y="664952"/>
                      </a:lnTo>
                      <a:lnTo>
                        <a:pt x="701710" y="660563"/>
                      </a:lnTo>
                      <a:lnTo>
                        <a:pt x="708843" y="652882"/>
                      </a:lnTo>
                      <a:lnTo>
                        <a:pt x="704454" y="636422"/>
                      </a:lnTo>
                      <a:lnTo>
                        <a:pt x="708843" y="625450"/>
                      </a:lnTo>
                      <a:lnTo>
                        <a:pt x="741761" y="608990"/>
                      </a:lnTo>
                      <a:lnTo>
                        <a:pt x="746150" y="599115"/>
                      </a:lnTo>
                      <a:lnTo>
                        <a:pt x="749991" y="594726"/>
                      </a:lnTo>
                      <a:lnTo>
                        <a:pt x="752185" y="595274"/>
                      </a:lnTo>
                      <a:lnTo>
                        <a:pt x="751088" y="611734"/>
                      </a:lnTo>
                      <a:lnTo>
                        <a:pt x="751637" y="612831"/>
                      </a:lnTo>
                      <a:lnTo>
                        <a:pt x="752734" y="612831"/>
                      </a:lnTo>
                      <a:lnTo>
                        <a:pt x="754929" y="613379"/>
                      </a:lnTo>
                      <a:lnTo>
                        <a:pt x="757672" y="618866"/>
                      </a:lnTo>
                      <a:lnTo>
                        <a:pt x="763158" y="617769"/>
                      </a:lnTo>
                      <a:lnTo>
                        <a:pt x="766999" y="615026"/>
                      </a:lnTo>
                      <a:lnTo>
                        <a:pt x="769742" y="615574"/>
                      </a:lnTo>
                      <a:lnTo>
                        <a:pt x="770290" y="610088"/>
                      </a:lnTo>
                      <a:lnTo>
                        <a:pt x="771936" y="607345"/>
                      </a:lnTo>
                      <a:lnTo>
                        <a:pt x="773582" y="614477"/>
                      </a:lnTo>
                      <a:lnTo>
                        <a:pt x="775777" y="616672"/>
                      </a:lnTo>
                      <a:lnTo>
                        <a:pt x="781263" y="615026"/>
                      </a:lnTo>
                      <a:lnTo>
                        <a:pt x="777423" y="605150"/>
                      </a:lnTo>
                      <a:lnTo>
                        <a:pt x="777972" y="601858"/>
                      </a:lnTo>
                      <a:lnTo>
                        <a:pt x="774679" y="579913"/>
                      </a:lnTo>
                      <a:lnTo>
                        <a:pt x="771388" y="576072"/>
                      </a:lnTo>
                      <a:lnTo>
                        <a:pt x="769193" y="570586"/>
                      </a:lnTo>
                      <a:lnTo>
                        <a:pt x="769193" y="563453"/>
                      </a:lnTo>
                      <a:lnTo>
                        <a:pt x="770290" y="562356"/>
                      </a:lnTo>
                      <a:lnTo>
                        <a:pt x="771388" y="551383"/>
                      </a:lnTo>
                      <a:lnTo>
                        <a:pt x="770290" y="548640"/>
                      </a:lnTo>
                      <a:lnTo>
                        <a:pt x="768096" y="547543"/>
                      </a:lnTo>
                      <a:lnTo>
                        <a:pt x="768096" y="537667"/>
                      </a:lnTo>
                      <a:lnTo>
                        <a:pt x="763707" y="533278"/>
                      </a:lnTo>
                      <a:lnTo>
                        <a:pt x="765901" y="505298"/>
                      </a:lnTo>
                      <a:lnTo>
                        <a:pt x="760415" y="498714"/>
                      </a:lnTo>
                      <a:lnTo>
                        <a:pt x="742858" y="489387"/>
                      </a:lnTo>
                      <a:lnTo>
                        <a:pt x="741761" y="485546"/>
                      </a:lnTo>
                      <a:lnTo>
                        <a:pt x="742858" y="481706"/>
                      </a:lnTo>
                      <a:lnTo>
                        <a:pt x="745602" y="476219"/>
                      </a:lnTo>
                      <a:lnTo>
                        <a:pt x="751088" y="475122"/>
                      </a:lnTo>
                      <a:lnTo>
                        <a:pt x="754929" y="472928"/>
                      </a:lnTo>
                      <a:lnTo>
                        <a:pt x="756574" y="467990"/>
                      </a:lnTo>
                      <a:lnTo>
                        <a:pt x="770839" y="466893"/>
                      </a:lnTo>
                      <a:lnTo>
                        <a:pt x="770290" y="460858"/>
                      </a:lnTo>
                      <a:lnTo>
                        <a:pt x="768096" y="459212"/>
                      </a:lnTo>
                      <a:lnTo>
                        <a:pt x="768645" y="455920"/>
                      </a:lnTo>
                      <a:lnTo>
                        <a:pt x="758220" y="456469"/>
                      </a:lnTo>
                      <a:lnTo>
                        <a:pt x="753283" y="453177"/>
                      </a:lnTo>
                      <a:lnTo>
                        <a:pt x="751637" y="443850"/>
                      </a:lnTo>
                      <a:lnTo>
                        <a:pt x="748894" y="441655"/>
                      </a:lnTo>
                      <a:lnTo>
                        <a:pt x="758769" y="425196"/>
                      </a:lnTo>
                      <a:lnTo>
                        <a:pt x="760963" y="416966"/>
                      </a:lnTo>
                      <a:lnTo>
                        <a:pt x="763707" y="414772"/>
                      </a:lnTo>
                      <a:lnTo>
                        <a:pt x="774679" y="431780"/>
                      </a:lnTo>
                      <a:lnTo>
                        <a:pt x="777423" y="418064"/>
                      </a:lnTo>
                      <a:lnTo>
                        <a:pt x="781812" y="419710"/>
                      </a:lnTo>
                      <a:lnTo>
                        <a:pt x="783458" y="430134"/>
                      </a:lnTo>
                      <a:lnTo>
                        <a:pt x="788944" y="436169"/>
                      </a:lnTo>
                      <a:lnTo>
                        <a:pt x="792785" y="433426"/>
                      </a:lnTo>
                      <a:lnTo>
                        <a:pt x="798271" y="437266"/>
                      </a:lnTo>
                      <a:lnTo>
                        <a:pt x="803758" y="427391"/>
                      </a:lnTo>
                      <a:lnTo>
                        <a:pt x="805404" y="430682"/>
                      </a:lnTo>
                      <a:lnTo>
                        <a:pt x="810890" y="456469"/>
                      </a:lnTo>
                      <a:lnTo>
                        <a:pt x="815279" y="462503"/>
                      </a:lnTo>
                      <a:lnTo>
                        <a:pt x="822960" y="465796"/>
                      </a:lnTo>
                      <a:lnTo>
                        <a:pt x="852586" y="468539"/>
                      </a:lnTo>
                      <a:lnTo>
                        <a:pt x="855330" y="466893"/>
                      </a:lnTo>
                      <a:lnTo>
                        <a:pt x="881116" y="466893"/>
                      </a:lnTo>
                      <a:lnTo>
                        <a:pt x="907450" y="474025"/>
                      </a:lnTo>
                      <a:lnTo>
                        <a:pt x="906353" y="477317"/>
                      </a:lnTo>
                      <a:lnTo>
                        <a:pt x="899221" y="480609"/>
                      </a:lnTo>
                      <a:lnTo>
                        <a:pt x="896478" y="489387"/>
                      </a:lnTo>
                      <a:lnTo>
                        <a:pt x="881116" y="506395"/>
                      </a:lnTo>
                      <a:lnTo>
                        <a:pt x="863559" y="516819"/>
                      </a:lnTo>
                      <a:lnTo>
                        <a:pt x="861913" y="522305"/>
                      </a:lnTo>
                      <a:lnTo>
                        <a:pt x="867400" y="546446"/>
                      </a:lnTo>
                      <a:lnTo>
                        <a:pt x="874532" y="548092"/>
                      </a:lnTo>
                      <a:lnTo>
                        <a:pt x="878373" y="554126"/>
                      </a:lnTo>
                      <a:lnTo>
                        <a:pt x="883310" y="557967"/>
                      </a:lnTo>
                      <a:lnTo>
                        <a:pt x="890991" y="538216"/>
                      </a:lnTo>
                      <a:lnTo>
                        <a:pt x="898123" y="528340"/>
                      </a:lnTo>
                      <a:lnTo>
                        <a:pt x="901964" y="528889"/>
                      </a:lnTo>
                      <a:lnTo>
                        <a:pt x="920618" y="604053"/>
                      </a:lnTo>
                      <a:lnTo>
                        <a:pt x="923361" y="601858"/>
                      </a:lnTo>
                      <a:lnTo>
                        <a:pt x="926653" y="598566"/>
                      </a:lnTo>
                      <a:lnTo>
                        <a:pt x="932688" y="600212"/>
                      </a:lnTo>
                      <a:lnTo>
                        <a:pt x="935980" y="599115"/>
                      </a:lnTo>
                      <a:lnTo>
                        <a:pt x="939820" y="594726"/>
                      </a:lnTo>
                      <a:lnTo>
                        <a:pt x="939820" y="590885"/>
                      </a:lnTo>
                      <a:lnTo>
                        <a:pt x="938723" y="590337"/>
                      </a:lnTo>
                      <a:lnTo>
                        <a:pt x="935980" y="583753"/>
                      </a:lnTo>
                      <a:lnTo>
                        <a:pt x="937077" y="564002"/>
                      </a:lnTo>
                      <a:lnTo>
                        <a:pt x="944758" y="564551"/>
                      </a:lnTo>
                      <a:lnTo>
                        <a:pt x="946953" y="561259"/>
                      </a:lnTo>
                      <a:lnTo>
                        <a:pt x="948598" y="529986"/>
                      </a:lnTo>
                      <a:lnTo>
                        <a:pt x="953536" y="524500"/>
                      </a:lnTo>
                      <a:lnTo>
                        <a:pt x="963412" y="522854"/>
                      </a:lnTo>
                      <a:lnTo>
                        <a:pt x="977676" y="524500"/>
                      </a:lnTo>
                      <a:lnTo>
                        <a:pt x="980419" y="521208"/>
                      </a:lnTo>
                      <a:lnTo>
                        <a:pt x="999622" y="475122"/>
                      </a:lnTo>
                      <a:lnTo>
                        <a:pt x="998525" y="469087"/>
                      </a:lnTo>
                      <a:lnTo>
                        <a:pt x="1002365" y="462503"/>
                      </a:lnTo>
                      <a:lnTo>
                        <a:pt x="1013338" y="455371"/>
                      </a:lnTo>
                      <a:lnTo>
                        <a:pt x="1017727" y="446593"/>
                      </a:lnTo>
                      <a:lnTo>
                        <a:pt x="1016081" y="427391"/>
                      </a:lnTo>
                      <a:lnTo>
                        <a:pt x="1021567" y="416418"/>
                      </a:lnTo>
                      <a:lnTo>
                        <a:pt x="1030894" y="408737"/>
                      </a:lnTo>
                      <a:lnTo>
                        <a:pt x="1041319" y="403799"/>
                      </a:lnTo>
                      <a:lnTo>
                        <a:pt x="1053389" y="388437"/>
                      </a:lnTo>
                      <a:lnTo>
                        <a:pt x="1066556" y="386791"/>
                      </a:lnTo>
                      <a:lnTo>
                        <a:pt x="1073688" y="383500"/>
                      </a:lnTo>
                      <a:lnTo>
                        <a:pt x="1085210" y="386791"/>
                      </a:lnTo>
                      <a:lnTo>
                        <a:pt x="1087953" y="383500"/>
                      </a:lnTo>
                      <a:lnTo>
                        <a:pt x="1085758" y="372527"/>
                      </a:lnTo>
                      <a:lnTo>
                        <a:pt x="1089050" y="363748"/>
                      </a:lnTo>
                      <a:lnTo>
                        <a:pt x="1096183" y="359908"/>
                      </a:lnTo>
                      <a:lnTo>
                        <a:pt x="1100572" y="354970"/>
                      </a:lnTo>
                      <a:lnTo>
                        <a:pt x="1100572" y="346741"/>
                      </a:lnTo>
                      <a:lnTo>
                        <a:pt x="1097829" y="338511"/>
                      </a:lnTo>
                      <a:lnTo>
                        <a:pt x="1090696" y="335768"/>
                      </a:lnTo>
                      <a:lnTo>
                        <a:pt x="1080821" y="335768"/>
                      </a:lnTo>
                      <a:lnTo>
                        <a:pt x="1074786" y="333025"/>
                      </a:lnTo>
                      <a:lnTo>
                        <a:pt x="1062167" y="333025"/>
                      </a:lnTo>
                      <a:lnTo>
                        <a:pt x="1064362" y="312725"/>
                      </a:lnTo>
                      <a:lnTo>
                        <a:pt x="1056132" y="309982"/>
                      </a:lnTo>
                      <a:lnTo>
                        <a:pt x="1054486" y="303398"/>
                      </a:lnTo>
                      <a:lnTo>
                        <a:pt x="1056132" y="297911"/>
                      </a:lnTo>
                      <a:lnTo>
                        <a:pt x="1048451" y="290231"/>
                      </a:lnTo>
                      <a:lnTo>
                        <a:pt x="1040221" y="291877"/>
                      </a:lnTo>
                      <a:lnTo>
                        <a:pt x="1030346" y="298460"/>
                      </a:lnTo>
                      <a:lnTo>
                        <a:pt x="1021019" y="301204"/>
                      </a:lnTo>
                      <a:lnTo>
                        <a:pt x="1001817" y="301204"/>
                      </a:lnTo>
                      <a:lnTo>
                        <a:pt x="996879" y="297911"/>
                      </a:lnTo>
                      <a:lnTo>
                        <a:pt x="994135" y="297363"/>
                      </a:lnTo>
                      <a:lnTo>
                        <a:pt x="980968" y="305044"/>
                      </a:lnTo>
                      <a:lnTo>
                        <a:pt x="977128" y="312176"/>
                      </a:lnTo>
                      <a:lnTo>
                        <a:pt x="963960" y="323698"/>
                      </a:lnTo>
                      <a:lnTo>
                        <a:pt x="953536" y="326990"/>
                      </a:lnTo>
                      <a:lnTo>
                        <a:pt x="937077" y="342900"/>
                      </a:lnTo>
                      <a:lnTo>
                        <a:pt x="887700" y="361554"/>
                      </a:lnTo>
                      <a:lnTo>
                        <a:pt x="888248" y="362651"/>
                      </a:lnTo>
                      <a:lnTo>
                        <a:pt x="888248" y="364297"/>
                      </a:lnTo>
                      <a:lnTo>
                        <a:pt x="886602" y="368138"/>
                      </a:lnTo>
                      <a:lnTo>
                        <a:pt x="886602" y="369784"/>
                      </a:lnTo>
                      <a:lnTo>
                        <a:pt x="887151" y="371978"/>
                      </a:lnTo>
                      <a:lnTo>
                        <a:pt x="899221" y="376916"/>
                      </a:lnTo>
                      <a:lnTo>
                        <a:pt x="903610" y="380756"/>
                      </a:lnTo>
                      <a:lnTo>
                        <a:pt x="902513" y="390632"/>
                      </a:lnTo>
                      <a:lnTo>
                        <a:pt x="903610" y="393375"/>
                      </a:lnTo>
                      <a:lnTo>
                        <a:pt x="903061" y="395570"/>
                      </a:lnTo>
                      <a:lnTo>
                        <a:pt x="897575" y="398313"/>
                      </a:lnTo>
                      <a:lnTo>
                        <a:pt x="854781" y="404896"/>
                      </a:lnTo>
                      <a:lnTo>
                        <a:pt x="838322" y="402153"/>
                      </a:lnTo>
                      <a:lnTo>
                        <a:pt x="821863" y="407639"/>
                      </a:lnTo>
                      <a:lnTo>
                        <a:pt x="793882" y="405994"/>
                      </a:lnTo>
                      <a:lnTo>
                        <a:pt x="786201" y="403250"/>
                      </a:lnTo>
                      <a:lnTo>
                        <a:pt x="783458" y="401056"/>
                      </a:lnTo>
                      <a:lnTo>
                        <a:pt x="781263" y="401605"/>
                      </a:lnTo>
                      <a:lnTo>
                        <a:pt x="780166" y="400507"/>
                      </a:lnTo>
                      <a:lnTo>
                        <a:pt x="780166" y="395570"/>
                      </a:lnTo>
                      <a:lnTo>
                        <a:pt x="779617" y="393923"/>
                      </a:lnTo>
                      <a:lnTo>
                        <a:pt x="776326" y="392826"/>
                      </a:lnTo>
                      <a:lnTo>
                        <a:pt x="776326" y="389534"/>
                      </a:lnTo>
                      <a:lnTo>
                        <a:pt x="781812" y="383500"/>
                      </a:lnTo>
                      <a:lnTo>
                        <a:pt x="782909" y="380756"/>
                      </a:lnTo>
                      <a:lnTo>
                        <a:pt x="779069" y="381305"/>
                      </a:lnTo>
                      <a:lnTo>
                        <a:pt x="776874" y="379659"/>
                      </a:lnTo>
                      <a:lnTo>
                        <a:pt x="775777" y="378013"/>
                      </a:lnTo>
                      <a:lnTo>
                        <a:pt x="775228" y="372527"/>
                      </a:lnTo>
                      <a:lnTo>
                        <a:pt x="777972" y="364297"/>
                      </a:lnTo>
                      <a:lnTo>
                        <a:pt x="776326" y="353324"/>
                      </a:lnTo>
                      <a:lnTo>
                        <a:pt x="774679" y="351130"/>
                      </a:lnTo>
                      <a:lnTo>
                        <a:pt x="771936" y="349484"/>
                      </a:lnTo>
                      <a:lnTo>
                        <a:pt x="768645" y="350032"/>
                      </a:lnTo>
                      <a:lnTo>
                        <a:pt x="762610" y="354422"/>
                      </a:lnTo>
                      <a:lnTo>
                        <a:pt x="757672" y="354422"/>
                      </a:lnTo>
                      <a:lnTo>
                        <a:pt x="751088" y="357165"/>
                      </a:lnTo>
                      <a:lnTo>
                        <a:pt x="746150" y="370881"/>
                      </a:lnTo>
                      <a:lnTo>
                        <a:pt x="745602" y="390083"/>
                      </a:lnTo>
                      <a:lnTo>
                        <a:pt x="742858" y="393923"/>
                      </a:lnTo>
                      <a:lnTo>
                        <a:pt x="742858" y="396118"/>
                      </a:lnTo>
                      <a:lnTo>
                        <a:pt x="748345" y="399410"/>
                      </a:lnTo>
                      <a:lnTo>
                        <a:pt x="752185" y="405445"/>
                      </a:lnTo>
                      <a:lnTo>
                        <a:pt x="751637" y="410932"/>
                      </a:lnTo>
                      <a:lnTo>
                        <a:pt x="747247" y="418064"/>
                      </a:lnTo>
                      <a:lnTo>
                        <a:pt x="747247" y="419710"/>
                      </a:lnTo>
                      <a:lnTo>
                        <a:pt x="739018" y="419161"/>
                      </a:lnTo>
                      <a:lnTo>
                        <a:pt x="731886" y="420807"/>
                      </a:lnTo>
                      <a:lnTo>
                        <a:pt x="722010" y="419710"/>
                      </a:lnTo>
                      <a:lnTo>
                        <a:pt x="715975" y="421355"/>
                      </a:lnTo>
                      <a:lnTo>
                        <a:pt x="709392" y="418064"/>
                      </a:lnTo>
                      <a:lnTo>
                        <a:pt x="666049" y="412029"/>
                      </a:lnTo>
                      <a:lnTo>
                        <a:pt x="661111" y="407639"/>
                      </a:lnTo>
                      <a:lnTo>
                        <a:pt x="633130" y="403799"/>
                      </a:lnTo>
                      <a:lnTo>
                        <a:pt x="620512" y="394472"/>
                      </a:lnTo>
                      <a:lnTo>
                        <a:pt x="613379" y="385145"/>
                      </a:lnTo>
                      <a:lnTo>
                        <a:pt x="608990" y="382402"/>
                      </a:lnTo>
                      <a:lnTo>
                        <a:pt x="594177" y="380756"/>
                      </a:lnTo>
                      <a:lnTo>
                        <a:pt x="592531" y="382402"/>
                      </a:lnTo>
                      <a:lnTo>
                        <a:pt x="588691" y="382402"/>
                      </a:lnTo>
                      <a:lnTo>
                        <a:pt x="582107" y="379659"/>
                      </a:lnTo>
                      <a:lnTo>
                        <a:pt x="574975" y="379110"/>
                      </a:lnTo>
                      <a:lnTo>
                        <a:pt x="568939" y="382402"/>
                      </a:lnTo>
                      <a:lnTo>
                        <a:pt x="551932" y="379110"/>
                      </a:lnTo>
                      <a:lnTo>
                        <a:pt x="544799" y="370881"/>
                      </a:lnTo>
                      <a:lnTo>
                        <a:pt x="542605" y="369784"/>
                      </a:lnTo>
                      <a:lnTo>
                        <a:pt x="534375" y="368686"/>
                      </a:lnTo>
                      <a:lnTo>
                        <a:pt x="528340" y="363200"/>
                      </a:lnTo>
                      <a:lnTo>
                        <a:pt x="520659" y="359908"/>
                      </a:lnTo>
                      <a:lnTo>
                        <a:pt x="513527" y="359359"/>
                      </a:lnTo>
                      <a:lnTo>
                        <a:pt x="503103" y="353324"/>
                      </a:lnTo>
                      <a:lnTo>
                        <a:pt x="494873" y="343449"/>
                      </a:lnTo>
                      <a:lnTo>
                        <a:pt x="483352" y="336865"/>
                      </a:lnTo>
                      <a:lnTo>
                        <a:pt x="480609" y="333573"/>
                      </a:lnTo>
                      <a:lnTo>
                        <a:pt x="471282" y="328636"/>
                      </a:lnTo>
                      <a:lnTo>
                        <a:pt x="469636" y="328636"/>
                      </a:lnTo>
                      <a:lnTo>
                        <a:pt x="468538" y="331927"/>
                      </a:lnTo>
                      <a:lnTo>
                        <a:pt x="465795" y="331927"/>
                      </a:lnTo>
                      <a:lnTo>
                        <a:pt x="462503" y="328636"/>
                      </a:lnTo>
                      <a:lnTo>
                        <a:pt x="461406" y="325343"/>
                      </a:lnTo>
                      <a:lnTo>
                        <a:pt x="458114" y="321503"/>
                      </a:lnTo>
                      <a:lnTo>
                        <a:pt x="450433" y="320406"/>
                      </a:lnTo>
                      <a:lnTo>
                        <a:pt x="449885" y="318760"/>
                      </a:lnTo>
                      <a:lnTo>
                        <a:pt x="450433" y="313822"/>
                      </a:lnTo>
                      <a:lnTo>
                        <a:pt x="453725" y="308884"/>
                      </a:lnTo>
                      <a:lnTo>
                        <a:pt x="456468" y="307787"/>
                      </a:lnTo>
                      <a:lnTo>
                        <a:pt x="457017" y="303398"/>
                      </a:lnTo>
                      <a:lnTo>
                        <a:pt x="459760" y="300106"/>
                      </a:lnTo>
                      <a:lnTo>
                        <a:pt x="457566" y="294620"/>
                      </a:lnTo>
                      <a:lnTo>
                        <a:pt x="459760" y="289133"/>
                      </a:lnTo>
                      <a:lnTo>
                        <a:pt x="463052" y="285293"/>
                      </a:lnTo>
                      <a:lnTo>
                        <a:pt x="461406" y="280355"/>
                      </a:lnTo>
                      <a:lnTo>
                        <a:pt x="461406" y="277612"/>
                      </a:lnTo>
                      <a:lnTo>
                        <a:pt x="464149" y="274869"/>
                      </a:lnTo>
                      <a:lnTo>
                        <a:pt x="468538" y="273772"/>
                      </a:lnTo>
                      <a:lnTo>
                        <a:pt x="470184" y="269382"/>
                      </a:lnTo>
                      <a:lnTo>
                        <a:pt x="475671" y="265542"/>
                      </a:lnTo>
                      <a:lnTo>
                        <a:pt x="478414" y="262250"/>
                      </a:lnTo>
                      <a:lnTo>
                        <a:pt x="479511" y="258410"/>
                      </a:lnTo>
                      <a:lnTo>
                        <a:pt x="480609" y="257861"/>
                      </a:lnTo>
                      <a:lnTo>
                        <a:pt x="482803" y="258958"/>
                      </a:lnTo>
                      <a:lnTo>
                        <a:pt x="486643" y="257861"/>
                      </a:lnTo>
                      <a:lnTo>
                        <a:pt x="484998" y="256215"/>
                      </a:lnTo>
                      <a:lnTo>
                        <a:pt x="472927" y="252923"/>
                      </a:lnTo>
                      <a:lnTo>
                        <a:pt x="471282" y="251277"/>
                      </a:lnTo>
                      <a:lnTo>
                        <a:pt x="468538" y="246888"/>
                      </a:lnTo>
                      <a:lnTo>
                        <a:pt x="465247" y="246888"/>
                      </a:lnTo>
                      <a:lnTo>
                        <a:pt x="457017" y="240304"/>
                      </a:lnTo>
                      <a:lnTo>
                        <a:pt x="448787" y="237561"/>
                      </a:lnTo>
                      <a:lnTo>
                        <a:pt x="447142" y="235367"/>
                      </a:lnTo>
                      <a:lnTo>
                        <a:pt x="447142" y="232075"/>
                      </a:lnTo>
                      <a:lnTo>
                        <a:pt x="445495" y="229880"/>
                      </a:lnTo>
                      <a:lnTo>
                        <a:pt x="442204" y="229331"/>
                      </a:lnTo>
                      <a:lnTo>
                        <a:pt x="441106" y="227686"/>
                      </a:lnTo>
                      <a:lnTo>
                        <a:pt x="438363" y="226588"/>
                      </a:lnTo>
                      <a:lnTo>
                        <a:pt x="432328" y="229331"/>
                      </a:lnTo>
                      <a:lnTo>
                        <a:pt x="431231" y="227686"/>
                      </a:lnTo>
                      <a:lnTo>
                        <a:pt x="430682" y="223845"/>
                      </a:lnTo>
                      <a:lnTo>
                        <a:pt x="429036" y="222748"/>
                      </a:lnTo>
                      <a:lnTo>
                        <a:pt x="426842" y="222199"/>
                      </a:lnTo>
                      <a:lnTo>
                        <a:pt x="415869" y="223297"/>
                      </a:lnTo>
                      <a:lnTo>
                        <a:pt x="411480" y="226040"/>
                      </a:lnTo>
                      <a:lnTo>
                        <a:pt x="409285" y="225491"/>
                      </a:lnTo>
                      <a:lnTo>
                        <a:pt x="407639" y="223845"/>
                      </a:lnTo>
                      <a:lnTo>
                        <a:pt x="408737" y="217262"/>
                      </a:lnTo>
                      <a:lnTo>
                        <a:pt x="404896" y="214518"/>
                      </a:lnTo>
                      <a:lnTo>
                        <a:pt x="402702" y="210678"/>
                      </a:lnTo>
                      <a:lnTo>
                        <a:pt x="402153" y="208483"/>
                      </a:lnTo>
                      <a:lnTo>
                        <a:pt x="398861" y="205192"/>
                      </a:lnTo>
                      <a:lnTo>
                        <a:pt x="398861" y="202448"/>
                      </a:lnTo>
                      <a:lnTo>
                        <a:pt x="401056" y="196962"/>
                      </a:lnTo>
                      <a:lnTo>
                        <a:pt x="398861" y="192573"/>
                      </a:lnTo>
                      <a:lnTo>
                        <a:pt x="399410" y="185440"/>
                      </a:lnTo>
                      <a:lnTo>
                        <a:pt x="401056" y="181051"/>
                      </a:lnTo>
                      <a:lnTo>
                        <a:pt x="390631" y="169530"/>
                      </a:lnTo>
                      <a:lnTo>
                        <a:pt x="390631" y="161849"/>
                      </a:lnTo>
                      <a:lnTo>
                        <a:pt x="388986" y="157460"/>
                      </a:lnTo>
                      <a:lnTo>
                        <a:pt x="389534" y="155265"/>
                      </a:lnTo>
                      <a:lnTo>
                        <a:pt x="397215" y="154168"/>
                      </a:lnTo>
                      <a:lnTo>
                        <a:pt x="399410" y="151425"/>
                      </a:lnTo>
                      <a:lnTo>
                        <a:pt x="400507" y="152522"/>
                      </a:lnTo>
                      <a:lnTo>
                        <a:pt x="401056" y="157460"/>
                      </a:lnTo>
                      <a:lnTo>
                        <a:pt x="402702" y="160203"/>
                      </a:lnTo>
                      <a:lnTo>
                        <a:pt x="404896" y="161849"/>
                      </a:lnTo>
                      <a:lnTo>
                        <a:pt x="408737" y="164044"/>
                      </a:lnTo>
                      <a:lnTo>
                        <a:pt x="410931" y="163495"/>
                      </a:lnTo>
                      <a:lnTo>
                        <a:pt x="412577" y="162398"/>
                      </a:lnTo>
                      <a:lnTo>
                        <a:pt x="415320" y="162946"/>
                      </a:lnTo>
                      <a:lnTo>
                        <a:pt x="415869" y="159106"/>
                      </a:lnTo>
                      <a:lnTo>
                        <a:pt x="418612" y="157460"/>
                      </a:lnTo>
                      <a:lnTo>
                        <a:pt x="420807" y="153619"/>
                      </a:lnTo>
                      <a:lnTo>
                        <a:pt x="421904" y="153619"/>
                      </a:lnTo>
                      <a:lnTo>
                        <a:pt x="424099" y="156911"/>
                      </a:lnTo>
                      <a:lnTo>
                        <a:pt x="425745" y="156911"/>
                      </a:lnTo>
                      <a:lnTo>
                        <a:pt x="431779" y="149230"/>
                      </a:lnTo>
                      <a:lnTo>
                        <a:pt x="431779" y="147035"/>
                      </a:lnTo>
                      <a:lnTo>
                        <a:pt x="425196" y="137709"/>
                      </a:lnTo>
                      <a:lnTo>
                        <a:pt x="424647" y="134417"/>
                      </a:lnTo>
                      <a:lnTo>
                        <a:pt x="425745" y="132222"/>
                      </a:lnTo>
                      <a:lnTo>
                        <a:pt x="425196" y="129479"/>
                      </a:lnTo>
                      <a:lnTo>
                        <a:pt x="418612" y="126187"/>
                      </a:lnTo>
                      <a:lnTo>
                        <a:pt x="415320" y="126736"/>
                      </a:lnTo>
                      <a:lnTo>
                        <a:pt x="414223" y="124541"/>
                      </a:lnTo>
                      <a:lnTo>
                        <a:pt x="408188" y="119055"/>
                      </a:lnTo>
                      <a:lnTo>
                        <a:pt x="408188" y="109728"/>
                      </a:lnTo>
                      <a:lnTo>
                        <a:pt x="411480" y="108631"/>
                      </a:lnTo>
                      <a:lnTo>
                        <a:pt x="410383" y="104790"/>
                      </a:lnTo>
                      <a:lnTo>
                        <a:pt x="410383" y="102596"/>
                      </a:lnTo>
                      <a:lnTo>
                        <a:pt x="411480" y="102047"/>
                      </a:lnTo>
                      <a:lnTo>
                        <a:pt x="407091" y="96561"/>
                      </a:lnTo>
                      <a:lnTo>
                        <a:pt x="407639" y="92171"/>
                      </a:lnTo>
                      <a:lnTo>
                        <a:pt x="407639" y="91623"/>
                      </a:lnTo>
                      <a:lnTo>
                        <a:pt x="414223" y="92171"/>
                      </a:lnTo>
                      <a:lnTo>
                        <a:pt x="417515" y="89428"/>
                      </a:lnTo>
                      <a:lnTo>
                        <a:pt x="424099" y="91623"/>
                      </a:lnTo>
                      <a:lnTo>
                        <a:pt x="426293" y="90526"/>
                      </a:lnTo>
                      <a:lnTo>
                        <a:pt x="432877" y="80102"/>
                      </a:lnTo>
                      <a:lnTo>
                        <a:pt x="432877" y="72969"/>
                      </a:lnTo>
                      <a:lnTo>
                        <a:pt x="439461" y="71323"/>
                      </a:lnTo>
                      <a:lnTo>
                        <a:pt x="440558" y="70775"/>
                      </a:lnTo>
                      <a:lnTo>
                        <a:pt x="438912" y="69129"/>
                      </a:lnTo>
                      <a:lnTo>
                        <a:pt x="439461" y="66934"/>
                      </a:lnTo>
                      <a:lnTo>
                        <a:pt x="442204" y="65288"/>
                      </a:lnTo>
                      <a:lnTo>
                        <a:pt x="442752" y="63094"/>
                      </a:lnTo>
                      <a:lnTo>
                        <a:pt x="449885" y="57607"/>
                      </a:lnTo>
                      <a:lnTo>
                        <a:pt x="449885" y="53218"/>
                      </a:lnTo>
                      <a:lnTo>
                        <a:pt x="453725" y="49378"/>
                      </a:lnTo>
                      <a:lnTo>
                        <a:pt x="455371" y="36759"/>
                      </a:lnTo>
                      <a:lnTo>
                        <a:pt x="457017" y="34564"/>
                      </a:lnTo>
                      <a:lnTo>
                        <a:pt x="457017" y="29078"/>
                      </a:lnTo>
                      <a:lnTo>
                        <a:pt x="461406" y="24689"/>
                      </a:lnTo>
                      <a:lnTo>
                        <a:pt x="461406" y="22494"/>
                      </a:lnTo>
                      <a:lnTo>
                        <a:pt x="459211" y="20848"/>
                      </a:lnTo>
                      <a:lnTo>
                        <a:pt x="456468" y="20300"/>
                      </a:lnTo>
                      <a:lnTo>
                        <a:pt x="451531" y="26335"/>
                      </a:lnTo>
                      <a:lnTo>
                        <a:pt x="449885" y="26335"/>
                      </a:lnTo>
                      <a:lnTo>
                        <a:pt x="447690" y="24140"/>
                      </a:lnTo>
                      <a:lnTo>
                        <a:pt x="446044" y="16459"/>
                      </a:lnTo>
                      <a:lnTo>
                        <a:pt x="442752" y="18654"/>
                      </a:lnTo>
                      <a:lnTo>
                        <a:pt x="440558" y="18654"/>
                      </a:lnTo>
                      <a:lnTo>
                        <a:pt x="438912" y="15362"/>
                      </a:lnTo>
                      <a:lnTo>
                        <a:pt x="436717" y="15362"/>
                      </a:lnTo>
                      <a:lnTo>
                        <a:pt x="435071" y="14265"/>
                      </a:lnTo>
                      <a:lnTo>
                        <a:pt x="434523" y="7681"/>
                      </a:lnTo>
                      <a:lnTo>
                        <a:pt x="431779" y="7132"/>
                      </a:lnTo>
                      <a:lnTo>
                        <a:pt x="431231" y="4938"/>
                      </a:lnTo>
                      <a:lnTo>
                        <a:pt x="429036" y="4389"/>
                      </a:lnTo>
                      <a:lnTo>
                        <a:pt x="426842" y="4389"/>
                      </a:lnTo>
                      <a:lnTo>
                        <a:pt x="424099" y="1097"/>
                      </a:lnTo>
                      <a:lnTo>
                        <a:pt x="423001" y="0"/>
                      </a:lnTo>
                      <a:lnTo>
                        <a:pt x="420258" y="0"/>
                      </a:lnTo>
                      <a:lnTo>
                        <a:pt x="417515" y="1646"/>
                      </a:lnTo>
                      <a:lnTo>
                        <a:pt x="413126" y="1646"/>
                      </a:lnTo>
                      <a:lnTo>
                        <a:pt x="409834" y="3841"/>
                      </a:lnTo>
                      <a:lnTo>
                        <a:pt x="399958" y="4389"/>
                      </a:lnTo>
                      <a:lnTo>
                        <a:pt x="380756" y="16459"/>
                      </a:lnTo>
                      <a:lnTo>
                        <a:pt x="377464" y="20848"/>
                      </a:lnTo>
                      <a:lnTo>
                        <a:pt x="373624" y="20848"/>
                      </a:lnTo>
                      <a:lnTo>
                        <a:pt x="370881" y="24689"/>
                      </a:lnTo>
                      <a:lnTo>
                        <a:pt x="366491" y="22494"/>
                      </a:lnTo>
                      <a:lnTo>
                        <a:pt x="362651" y="24689"/>
                      </a:lnTo>
                      <a:lnTo>
                        <a:pt x="359908" y="24140"/>
                      </a:lnTo>
                      <a:lnTo>
                        <a:pt x="335767" y="41697"/>
                      </a:lnTo>
                      <a:lnTo>
                        <a:pt x="333573" y="45537"/>
                      </a:lnTo>
                      <a:lnTo>
                        <a:pt x="334670" y="46634"/>
                      </a:lnTo>
                      <a:lnTo>
                        <a:pt x="334670" y="48829"/>
                      </a:lnTo>
                      <a:lnTo>
                        <a:pt x="331378" y="54315"/>
                      </a:lnTo>
                      <a:lnTo>
                        <a:pt x="329184" y="57059"/>
                      </a:lnTo>
                      <a:lnTo>
                        <a:pt x="326989" y="56510"/>
                      </a:lnTo>
                      <a:lnTo>
                        <a:pt x="324246" y="53767"/>
                      </a:lnTo>
                      <a:lnTo>
                        <a:pt x="311627" y="54864"/>
                      </a:lnTo>
                      <a:lnTo>
                        <a:pt x="309982" y="55413"/>
                      </a:lnTo>
                      <a:lnTo>
                        <a:pt x="306690" y="59802"/>
                      </a:lnTo>
                      <a:lnTo>
                        <a:pt x="304495" y="60899"/>
                      </a:lnTo>
                      <a:lnTo>
                        <a:pt x="301203" y="60899"/>
                      </a:lnTo>
                      <a:lnTo>
                        <a:pt x="295717" y="59253"/>
                      </a:lnTo>
                      <a:lnTo>
                        <a:pt x="292974" y="60350"/>
                      </a:lnTo>
                      <a:lnTo>
                        <a:pt x="291328" y="63094"/>
                      </a:lnTo>
                      <a:lnTo>
                        <a:pt x="289133" y="65288"/>
                      </a:lnTo>
                      <a:lnTo>
                        <a:pt x="286939" y="65837"/>
                      </a:lnTo>
                      <a:lnTo>
                        <a:pt x="283647" y="64739"/>
                      </a:lnTo>
                      <a:lnTo>
                        <a:pt x="280903" y="65837"/>
                      </a:lnTo>
                      <a:lnTo>
                        <a:pt x="278160" y="63642"/>
                      </a:lnTo>
                      <a:lnTo>
                        <a:pt x="269382" y="64191"/>
                      </a:lnTo>
                      <a:lnTo>
                        <a:pt x="266639" y="63094"/>
                      </a:lnTo>
                      <a:lnTo>
                        <a:pt x="262798" y="63094"/>
                      </a:lnTo>
                      <a:lnTo>
                        <a:pt x="233721" y="50475"/>
                      </a:lnTo>
                      <a:lnTo>
                        <a:pt x="230429" y="52121"/>
                      </a:lnTo>
                      <a:lnTo>
                        <a:pt x="227686" y="54864"/>
                      </a:lnTo>
                      <a:lnTo>
                        <a:pt x="222748" y="54315"/>
                      </a:lnTo>
                      <a:lnTo>
                        <a:pt x="220553" y="54864"/>
                      </a:lnTo>
                      <a:lnTo>
                        <a:pt x="218907" y="56510"/>
                      </a:lnTo>
                      <a:lnTo>
                        <a:pt x="218359" y="61996"/>
                      </a:lnTo>
                      <a:lnTo>
                        <a:pt x="212872" y="71872"/>
                      </a:lnTo>
                      <a:lnTo>
                        <a:pt x="213421" y="72969"/>
                      </a:lnTo>
                      <a:lnTo>
                        <a:pt x="219456" y="72969"/>
                      </a:lnTo>
                      <a:lnTo>
                        <a:pt x="221102" y="76810"/>
                      </a:lnTo>
                      <a:lnTo>
                        <a:pt x="220553" y="79004"/>
                      </a:lnTo>
                      <a:lnTo>
                        <a:pt x="217810" y="80650"/>
                      </a:lnTo>
                      <a:lnTo>
                        <a:pt x="216713" y="81747"/>
                      </a:lnTo>
                      <a:lnTo>
                        <a:pt x="216713" y="84491"/>
                      </a:lnTo>
                      <a:lnTo>
                        <a:pt x="217810" y="86685"/>
                      </a:lnTo>
                      <a:lnTo>
                        <a:pt x="220005" y="87782"/>
                      </a:lnTo>
                      <a:lnTo>
                        <a:pt x="227686" y="86685"/>
                      </a:lnTo>
                      <a:lnTo>
                        <a:pt x="229331" y="88331"/>
                      </a:lnTo>
                      <a:lnTo>
                        <a:pt x="230429" y="91074"/>
                      </a:lnTo>
                      <a:lnTo>
                        <a:pt x="230429" y="92171"/>
                      </a:lnTo>
                      <a:lnTo>
                        <a:pt x="227137" y="94915"/>
                      </a:lnTo>
                      <a:lnTo>
                        <a:pt x="222748" y="97109"/>
                      </a:lnTo>
                      <a:lnTo>
                        <a:pt x="221650" y="100401"/>
                      </a:lnTo>
                      <a:lnTo>
                        <a:pt x="229880" y="108082"/>
                      </a:lnTo>
                      <a:lnTo>
                        <a:pt x="230429" y="113020"/>
                      </a:lnTo>
                      <a:lnTo>
                        <a:pt x="229331" y="115763"/>
                      </a:lnTo>
                      <a:lnTo>
                        <a:pt x="220005" y="122347"/>
                      </a:lnTo>
                      <a:lnTo>
                        <a:pt x="219456" y="123993"/>
                      </a:lnTo>
                      <a:lnTo>
                        <a:pt x="224942" y="126736"/>
                      </a:lnTo>
                      <a:lnTo>
                        <a:pt x="227686" y="132771"/>
                      </a:lnTo>
                      <a:lnTo>
                        <a:pt x="234269" y="136612"/>
                      </a:lnTo>
                      <a:lnTo>
                        <a:pt x="233721" y="142646"/>
                      </a:lnTo>
                      <a:lnTo>
                        <a:pt x="238658" y="143195"/>
                      </a:lnTo>
                      <a:lnTo>
                        <a:pt x="240304" y="145390"/>
                      </a:lnTo>
                      <a:lnTo>
                        <a:pt x="244693" y="143744"/>
                      </a:lnTo>
                      <a:lnTo>
                        <a:pt x="247437" y="144841"/>
                      </a:lnTo>
                      <a:lnTo>
                        <a:pt x="247437" y="151973"/>
                      </a:lnTo>
                      <a:lnTo>
                        <a:pt x="249082" y="157460"/>
                      </a:lnTo>
                      <a:lnTo>
                        <a:pt x="250180" y="158557"/>
                      </a:lnTo>
                      <a:lnTo>
                        <a:pt x="262250" y="159106"/>
                      </a:lnTo>
                      <a:lnTo>
                        <a:pt x="266090" y="161849"/>
                      </a:lnTo>
                      <a:lnTo>
                        <a:pt x="269382" y="161300"/>
                      </a:lnTo>
                      <a:lnTo>
                        <a:pt x="272674" y="166238"/>
                      </a:lnTo>
                      <a:lnTo>
                        <a:pt x="272674" y="169530"/>
                      </a:lnTo>
                      <a:lnTo>
                        <a:pt x="273771" y="172273"/>
                      </a:lnTo>
                      <a:lnTo>
                        <a:pt x="270479" y="175016"/>
                      </a:lnTo>
                      <a:lnTo>
                        <a:pt x="269382" y="177760"/>
                      </a:lnTo>
                      <a:lnTo>
                        <a:pt x="261701" y="178857"/>
                      </a:lnTo>
                      <a:lnTo>
                        <a:pt x="259507" y="177760"/>
                      </a:lnTo>
                      <a:lnTo>
                        <a:pt x="255666" y="178308"/>
                      </a:lnTo>
                      <a:lnTo>
                        <a:pt x="254020" y="179954"/>
                      </a:lnTo>
                      <a:lnTo>
                        <a:pt x="246888" y="183794"/>
                      </a:lnTo>
                      <a:lnTo>
                        <a:pt x="244145" y="188732"/>
                      </a:lnTo>
                      <a:lnTo>
                        <a:pt x="243596" y="195865"/>
                      </a:lnTo>
                      <a:lnTo>
                        <a:pt x="246888" y="200254"/>
                      </a:lnTo>
                      <a:lnTo>
                        <a:pt x="246339" y="204094"/>
                      </a:lnTo>
                      <a:lnTo>
                        <a:pt x="247985" y="204094"/>
                      </a:lnTo>
                      <a:lnTo>
                        <a:pt x="249082" y="206289"/>
                      </a:lnTo>
                      <a:lnTo>
                        <a:pt x="247985" y="208483"/>
                      </a:lnTo>
                      <a:lnTo>
                        <a:pt x="244693" y="211226"/>
                      </a:lnTo>
                      <a:lnTo>
                        <a:pt x="243047" y="215067"/>
                      </a:lnTo>
                      <a:lnTo>
                        <a:pt x="243596" y="217262"/>
                      </a:lnTo>
                      <a:lnTo>
                        <a:pt x="244693" y="218359"/>
                      </a:lnTo>
                      <a:lnTo>
                        <a:pt x="251826" y="218359"/>
                      </a:lnTo>
                      <a:lnTo>
                        <a:pt x="253471" y="222748"/>
                      </a:lnTo>
                      <a:lnTo>
                        <a:pt x="252374" y="224394"/>
                      </a:lnTo>
                      <a:lnTo>
                        <a:pt x="249631" y="224394"/>
                      </a:lnTo>
                      <a:lnTo>
                        <a:pt x="246888" y="223845"/>
                      </a:lnTo>
                      <a:lnTo>
                        <a:pt x="245242" y="222748"/>
                      </a:lnTo>
                      <a:lnTo>
                        <a:pt x="243047" y="227137"/>
                      </a:lnTo>
                      <a:lnTo>
                        <a:pt x="234269" y="230978"/>
                      </a:lnTo>
                      <a:lnTo>
                        <a:pt x="226039" y="241402"/>
                      </a:lnTo>
                      <a:lnTo>
                        <a:pt x="222748" y="243596"/>
                      </a:lnTo>
                      <a:lnTo>
                        <a:pt x="216713" y="251277"/>
                      </a:lnTo>
                      <a:lnTo>
                        <a:pt x="215615" y="255118"/>
                      </a:lnTo>
                      <a:lnTo>
                        <a:pt x="216713" y="260604"/>
                      </a:lnTo>
                      <a:lnTo>
                        <a:pt x="213970" y="265542"/>
                      </a:lnTo>
                      <a:lnTo>
                        <a:pt x="208483" y="269382"/>
                      </a:lnTo>
                      <a:lnTo>
                        <a:pt x="202997" y="269382"/>
                      </a:lnTo>
                      <a:lnTo>
                        <a:pt x="199156" y="273223"/>
                      </a:lnTo>
                      <a:lnTo>
                        <a:pt x="174467" y="313274"/>
                      </a:lnTo>
                      <a:lnTo>
                        <a:pt x="165689" y="317663"/>
                      </a:lnTo>
                      <a:lnTo>
                        <a:pt x="138806" y="355519"/>
                      </a:lnTo>
                      <a:lnTo>
                        <a:pt x="135514" y="357713"/>
                      </a:lnTo>
                      <a:lnTo>
                        <a:pt x="132771" y="358811"/>
                      </a:lnTo>
                      <a:lnTo>
                        <a:pt x="117958" y="358262"/>
                      </a:lnTo>
                      <a:lnTo>
                        <a:pt x="109728" y="361554"/>
                      </a:lnTo>
                      <a:lnTo>
                        <a:pt x="105887" y="365394"/>
                      </a:lnTo>
                      <a:lnTo>
                        <a:pt x="103144" y="365943"/>
                      </a:lnTo>
                      <a:lnTo>
                        <a:pt x="101498" y="364846"/>
                      </a:lnTo>
                      <a:lnTo>
                        <a:pt x="94366" y="352775"/>
                      </a:lnTo>
                      <a:lnTo>
                        <a:pt x="91623" y="351130"/>
                      </a:lnTo>
                      <a:lnTo>
                        <a:pt x="89428" y="351678"/>
                      </a:lnTo>
                      <a:lnTo>
                        <a:pt x="57607" y="386243"/>
                      </a:lnTo>
                      <a:lnTo>
                        <a:pt x="53218" y="403250"/>
                      </a:lnTo>
                      <a:lnTo>
                        <a:pt x="53218" y="406542"/>
                      </a:lnTo>
                      <a:lnTo>
                        <a:pt x="55413" y="409286"/>
                      </a:lnTo>
                      <a:lnTo>
                        <a:pt x="59253" y="412029"/>
                      </a:lnTo>
                      <a:lnTo>
                        <a:pt x="63642" y="411480"/>
                      </a:lnTo>
                      <a:lnTo>
                        <a:pt x="68580" y="413126"/>
                      </a:lnTo>
                      <a:lnTo>
                        <a:pt x="75712" y="413126"/>
                      </a:lnTo>
                      <a:lnTo>
                        <a:pt x="77358" y="413675"/>
                      </a:lnTo>
                      <a:lnTo>
                        <a:pt x="80101" y="416966"/>
                      </a:lnTo>
                      <a:lnTo>
                        <a:pt x="80650" y="419161"/>
                      </a:lnTo>
                      <a:lnTo>
                        <a:pt x="76261" y="435620"/>
                      </a:lnTo>
                      <a:lnTo>
                        <a:pt x="76261" y="439461"/>
                      </a:lnTo>
                      <a:lnTo>
                        <a:pt x="76810" y="442204"/>
                      </a:lnTo>
                      <a:lnTo>
                        <a:pt x="83942" y="449885"/>
                      </a:lnTo>
                      <a:lnTo>
                        <a:pt x="86685" y="450434"/>
                      </a:lnTo>
                      <a:lnTo>
                        <a:pt x="92720" y="448787"/>
                      </a:lnTo>
                      <a:lnTo>
                        <a:pt x="94915" y="449336"/>
                      </a:lnTo>
                      <a:lnTo>
                        <a:pt x="96012" y="450982"/>
                      </a:lnTo>
                      <a:lnTo>
                        <a:pt x="97109" y="464698"/>
                      </a:lnTo>
                      <a:lnTo>
                        <a:pt x="100401" y="469087"/>
                      </a:lnTo>
                      <a:lnTo>
                        <a:pt x="102047" y="474574"/>
                      </a:lnTo>
                      <a:lnTo>
                        <a:pt x="108631" y="482255"/>
                      </a:lnTo>
                      <a:lnTo>
                        <a:pt x="109179" y="483901"/>
                      </a:lnTo>
                      <a:lnTo>
                        <a:pt x="111922" y="486644"/>
                      </a:lnTo>
                      <a:lnTo>
                        <a:pt x="112471" y="489387"/>
                      </a:lnTo>
                      <a:lnTo>
                        <a:pt x="109179" y="491033"/>
                      </a:lnTo>
                      <a:lnTo>
                        <a:pt x="108631" y="492130"/>
                      </a:lnTo>
                      <a:lnTo>
                        <a:pt x="109179" y="499262"/>
                      </a:lnTo>
                      <a:lnTo>
                        <a:pt x="108631" y="501457"/>
                      </a:lnTo>
                      <a:lnTo>
                        <a:pt x="113020" y="502006"/>
                      </a:lnTo>
                      <a:lnTo>
                        <a:pt x="113568" y="503651"/>
                      </a:lnTo>
                      <a:lnTo>
                        <a:pt x="108631" y="504200"/>
                      </a:lnTo>
                      <a:lnTo>
                        <a:pt x="104790" y="506395"/>
                      </a:lnTo>
                      <a:lnTo>
                        <a:pt x="104242" y="508041"/>
                      </a:lnTo>
                      <a:lnTo>
                        <a:pt x="102595" y="509138"/>
                      </a:lnTo>
                      <a:lnTo>
                        <a:pt x="96012" y="508589"/>
                      </a:lnTo>
                      <a:lnTo>
                        <a:pt x="94366" y="507492"/>
                      </a:lnTo>
                      <a:lnTo>
                        <a:pt x="93817" y="506395"/>
                      </a:lnTo>
                      <a:lnTo>
                        <a:pt x="94366" y="502554"/>
                      </a:lnTo>
                      <a:lnTo>
                        <a:pt x="94366" y="501457"/>
                      </a:lnTo>
                      <a:lnTo>
                        <a:pt x="89977" y="500908"/>
                      </a:lnTo>
                      <a:lnTo>
                        <a:pt x="77907" y="505298"/>
                      </a:lnTo>
                      <a:lnTo>
                        <a:pt x="75712" y="510784"/>
                      </a:lnTo>
                      <a:lnTo>
                        <a:pt x="74066" y="511881"/>
                      </a:lnTo>
                      <a:lnTo>
                        <a:pt x="62545" y="511333"/>
                      </a:lnTo>
                      <a:lnTo>
                        <a:pt x="56510" y="506395"/>
                      </a:lnTo>
                      <a:lnTo>
                        <a:pt x="52669" y="508041"/>
                      </a:lnTo>
                      <a:lnTo>
                        <a:pt x="49926" y="506944"/>
                      </a:lnTo>
                      <a:lnTo>
                        <a:pt x="35113" y="507492"/>
                      </a:lnTo>
                      <a:lnTo>
                        <a:pt x="32370" y="506395"/>
                      </a:lnTo>
                      <a:lnTo>
                        <a:pt x="31272" y="507492"/>
                      </a:lnTo>
                      <a:lnTo>
                        <a:pt x="30175" y="507492"/>
                      </a:lnTo>
                      <a:lnTo>
                        <a:pt x="29078" y="504200"/>
                      </a:lnTo>
                      <a:lnTo>
                        <a:pt x="27432" y="503651"/>
                      </a:lnTo>
                      <a:lnTo>
                        <a:pt x="26335" y="506944"/>
                      </a:lnTo>
                      <a:lnTo>
                        <a:pt x="26335" y="519014"/>
                      </a:lnTo>
                      <a:lnTo>
                        <a:pt x="12619" y="519014"/>
                      </a:lnTo>
                      <a:lnTo>
                        <a:pt x="10424" y="520111"/>
                      </a:lnTo>
                      <a:lnTo>
                        <a:pt x="6583" y="519014"/>
                      </a:lnTo>
                      <a:lnTo>
                        <a:pt x="5486" y="522854"/>
                      </a:lnTo>
                      <a:lnTo>
                        <a:pt x="3840" y="522854"/>
                      </a:lnTo>
                      <a:lnTo>
                        <a:pt x="2743" y="526146"/>
                      </a:lnTo>
                      <a:lnTo>
                        <a:pt x="0" y="528340"/>
                      </a:lnTo>
                      <a:lnTo>
                        <a:pt x="549" y="536021"/>
                      </a:lnTo>
                      <a:lnTo>
                        <a:pt x="5486" y="536570"/>
                      </a:lnTo>
                      <a:lnTo>
                        <a:pt x="25237" y="561808"/>
                      </a:lnTo>
                      <a:lnTo>
                        <a:pt x="31821" y="565648"/>
                      </a:lnTo>
                      <a:lnTo>
                        <a:pt x="59802" y="565648"/>
                      </a:lnTo>
                      <a:lnTo>
                        <a:pt x="76810" y="560710"/>
                      </a:lnTo>
                      <a:lnTo>
                        <a:pt x="79553" y="555224"/>
                      </a:lnTo>
                      <a:lnTo>
                        <a:pt x="82845" y="553578"/>
                      </a:lnTo>
                      <a:lnTo>
                        <a:pt x="84490" y="557418"/>
                      </a:lnTo>
                      <a:lnTo>
                        <a:pt x="79553" y="571683"/>
                      </a:lnTo>
                      <a:lnTo>
                        <a:pt x="65288" y="582656"/>
                      </a:lnTo>
                      <a:lnTo>
                        <a:pt x="40051" y="587045"/>
                      </a:lnTo>
                      <a:lnTo>
                        <a:pt x="34564" y="582656"/>
                      </a:lnTo>
                      <a:lnTo>
                        <a:pt x="31821" y="585947"/>
                      </a:lnTo>
                      <a:lnTo>
                        <a:pt x="32918" y="596920"/>
                      </a:lnTo>
                      <a:lnTo>
                        <a:pt x="84490" y="647395"/>
                      </a:lnTo>
                      <a:lnTo>
                        <a:pt x="106436" y="649041"/>
                      </a:lnTo>
                      <a:lnTo>
                        <a:pt x="117958" y="645749"/>
                      </a:lnTo>
                      <a:lnTo>
                        <a:pt x="125090" y="641360"/>
                      </a:lnTo>
                      <a:lnTo>
                        <a:pt x="129479" y="640811"/>
                      </a:lnTo>
                      <a:lnTo>
                        <a:pt x="140452" y="633679"/>
                      </a:lnTo>
                      <a:lnTo>
                        <a:pt x="148133" y="620512"/>
                      </a:lnTo>
                      <a:lnTo>
                        <a:pt x="152522" y="583753"/>
                      </a:lnTo>
                      <a:lnTo>
                        <a:pt x="154168" y="586496"/>
                      </a:lnTo>
                      <a:lnTo>
                        <a:pt x="156362" y="587594"/>
                      </a:lnTo>
                      <a:lnTo>
                        <a:pt x="176662" y="588142"/>
                      </a:lnTo>
                      <a:lnTo>
                        <a:pt x="176662" y="589240"/>
                      </a:lnTo>
                      <a:lnTo>
                        <a:pt x="173370" y="593629"/>
                      </a:lnTo>
                      <a:lnTo>
                        <a:pt x="165689" y="593629"/>
                      </a:lnTo>
                      <a:lnTo>
                        <a:pt x="162946" y="601858"/>
                      </a:lnTo>
                      <a:lnTo>
                        <a:pt x="165141" y="602956"/>
                      </a:lnTo>
                      <a:lnTo>
                        <a:pt x="163495" y="610636"/>
                      </a:lnTo>
                      <a:lnTo>
                        <a:pt x="165141" y="612831"/>
                      </a:lnTo>
                      <a:lnTo>
                        <a:pt x="169530" y="615026"/>
                      </a:lnTo>
                      <a:lnTo>
                        <a:pt x="165689" y="623804"/>
                      </a:lnTo>
                      <a:lnTo>
                        <a:pt x="165689" y="633679"/>
                      </a:lnTo>
                      <a:lnTo>
                        <a:pt x="168432" y="633679"/>
                      </a:lnTo>
                      <a:lnTo>
                        <a:pt x="169530" y="635874"/>
                      </a:lnTo>
                      <a:lnTo>
                        <a:pt x="174467" y="666049"/>
                      </a:lnTo>
                      <a:lnTo>
                        <a:pt x="168981" y="684703"/>
                      </a:lnTo>
                      <a:lnTo>
                        <a:pt x="171175" y="703905"/>
                      </a:lnTo>
                      <a:lnTo>
                        <a:pt x="172822" y="706648"/>
                      </a:lnTo>
                      <a:lnTo>
                        <a:pt x="173370" y="717621"/>
                      </a:lnTo>
                      <a:lnTo>
                        <a:pt x="175016" y="715427"/>
                      </a:lnTo>
                      <a:lnTo>
                        <a:pt x="177759" y="713781"/>
                      </a:lnTo>
                      <a:lnTo>
                        <a:pt x="178857" y="715975"/>
                      </a:lnTo>
                      <a:lnTo>
                        <a:pt x="179405" y="720913"/>
                      </a:lnTo>
                      <a:lnTo>
                        <a:pt x="178308" y="723107"/>
                      </a:lnTo>
                      <a:lnTo>
                        <a:pt x="175565" y="743407"/>
                      </a:lnTo>
                      <a:lnTo>
                        <a:pt x="179405" y="748894"/>
                      </a:lnTo>
                      <a:lnTo>
                        <a:pt x="178857" y="751088"/>
                      </a:lnTo>
                      <a:lnTo>
                        <a:pt x="180502" y="763158"/>
                      </a:lnTo>
                      <a:lnTo>
                        <a:pt x="181051" y="763158"/>
                      </a:lnTo>
                      <a:lnTo>
                        <a:pt x="197510" y="830641"/>
                      </a:lnTo>
                      <a:lnTo>
                        <a:pt x="199705" y="831738"/>
                      </a:lnTo>
                      <a:lnTo>
                        <a:pt x="201351" y="839419"/>
                      </a:lnTo>
                      <a:lnTo>
                        <a:pt x="207386" y="846551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55" name="Graphic 7">
                  <a:extLst>
                    <a:ext uri="{FF2B5EF4-FFF2-40B4-BE49-F238E27FC236}">
                      <a16:creationId xmlns:a16="http://schemas.microsoft.com/office/drawing/2014/main" id="{319C9EC5-8B2C-BB4F-5694-CB9A46BCA896}"/>
                    </a:ext>
                  </a:extLst>
                </p:cNvPr>
                <p:cNvSpPr/>
                <p:nvPr/>
              </p:nvSpPr>
              <p:spPr>
                <a:xfrm>
                  <a:off x="8235285" y="3774815"/>
                  <a:ext cx="211320" cy="444501"/>
                </a:xfrm>
                <a:custGeom>
                  <a:avLst/>
                  <a:gdLst>
                    <a:gd name="connsiteX0" fmla="*/ 155814 w 270479"/>
                    <a:gd name="connsiteY0" fmla="*/ 529438 h 568939"/>
                    <a:gd name="connsiteX1" fmla="*/ 162946 w 270479"/>
                    <a:gd name="connsiteY1" fmla="*/ 531632 h 568939"/>
                    <a:gd name="connsiteX2" fmla="*/ 165141 w 270479"/>
                    <a:gd name="connsiteY2" fmla="*/ 525597 h 568939"/>
                    <a:gd name="connsiteX3" fmla="*/ 161849 w 270479"/>
                    <a:gd name="connsiteY3" fmla="*/ 519014 h 568939"/>
                    <a:gd name="connsiteX4" fmla="*/ 163495 w 270479"/>
                    <a:gd name="connsiteY4" fmla="*/ 515173 h 568939"/>
                    <a:gd name="connsiteX5" fmla="*/ 167884 w 270479"/>
                    <a:gd name="connsiteY5" fmla="*/ 515722 h 568939"/>
                    <a:gd name="connsiteX6" fmla="*/ 168433 w 270479"/>
                    <a:gd name="connsiteY6" fmla="*/ 512430 h 568939"/>
                    <a:gd name="connsiteX7" fmla="*/ 171176 w 270479"/>
                    <a:gd name="connsiteY7" fmla="*/ 512430 h 568939"/>
                    <a:gd name="connsiteX8" fmla="*/ 170078 w 270479"/>
                    <a:gd name="connsiteY8" fmla="*/ 506944 h 568939"/>
                    <a:gd name="connsiteX9" fmla="*/ 172822 w 270479"/>
                    <a:gd name="connsiteY9" fmla="*/ 504749 h 568939"/>
                    <a:gd name="connsiteX10" fmla="*/ 175016 w 270479"/>
                    <a:gd name="connsiteY10" fmla="*/ 500360 h 568939"/>
                    <a:gd name="connsiteX11" fmla="*/ 184343 w 270479"/>
                    <a:gd name="connsiteY11" fmla="*/ 497617 h 568939"/>
                    <a:gd name="connsiteX12" fmla="*/ 188732 w 270479"/>
                    <a:gd name="connsiteY12" fmla="*/ 499811 h 568939"/>
                    <a:gd name="connsiteX13" fmla="*/ 193670 w 270479"/>
                    <a:gd name="connsiteY13" fmla="*/ 500360 h 568939"/>
                    <a:gd name="connsiteX14" fmla="*/ 220005 w 270479"/>
                    <a:gd name="connsiteY14" fmla="*/ 487741 h 568939"/>
                    <a:gd name="connsiteX15" fmla="*/ 225491 w 270479"/>
                    <a:gd name="connsiteY15" fmla="*/ 480060 h 568939"/>
                    <a:gd name="connsiteX16" fmla="*/ 246340 w 270479"/>
                    <a:gd name="connsiteY16" fmla="*/ 470185 h 568939"/>
                    <a:gd name="connsiteX17" fmla="*/ 251277 w 270479"/>
                    <a:gd name="connsiteY17" fmla="*/ 465796 h 568939"/>
                    <a:gd name="connsiteX18" fmla="*/ 257312 w 270479"/>
                    <a:gd name="connsiteY18" fmla="*/ 465247 h 568939"/>
                    <a:gd name="connsiteX19" fmla="*/ 259507 w 270479"/>
                    <a:gd name="connsiteY19" fmla="*/ 454823 h 568939"/>
                    <a:gd name="connsiteX20" fmla="*/ 263896 w 270479"/>
                    <a:gd name="connsiteY20" fmla="*/ 451531 h 568939"/>
                    <a:gd name="connsiteX21" fmla="*/ 264445 w 270479"/>
                    <a:gd name="connsiteY21" fmla="*/ 447142 h 568939"/>
                    <a:gd name="connsiteX22" fmla="*/ 262250 w 270479"/>
                    <a:gd name="connsiteY22" fmla="*/ 444947 h 568939"/>
                    <a:gd name="connsiteX23" fmla="*/ 263347 w 270479"/>
                    <a:gd name="connsiteY23" fmla="*/ 442204 h 568939"/>
                    <a:gd name="connsiteX24" fmla="*/ 264993 w 270479"/>
                    <a:gd name="connsiteY24" fmla="*/ 442753 h 568939"/>
                    <a:gd name="connsiteX25" fmla="*/ 262250 w 270479"/>
                    <a:gd name="connsiteY25" fmla="*/ 423550 h 568939"/>
                    <a:gd name="connsiteX26" fmla="*/ 263347 w 270479"/>
                    <a:gd name="connsiteY26" fmla="*/ 421355 h 568939"/>
                    <a:gd name="connsiteX27" fmla="*/ 265542 w 270479"/>
                    <a:gd name="connsiteY27" fmla="*/ 423002 h 568939"/>
                    <a:gd name="connsiteX28" fmla="*/ 264993 w 270479"/>
                    <a:gd name="connsiteY28" fmla="*/ 415321 h 568939"/>
                    <a:gd name="connsiteX29" fmla="*/ 267736 w 270479"/>
                    <a:gd name="connsiteY29" fmla="*/ 412029 h 568939"/>
                    <a:gd name="connsiteX30" fmla="*/ 270479 w 270479"/>
                    <a:gd name="connsiteY30" fmla="*/ 412577 h 568939"/>
                    <a:gd name="connsiteX31" fmla="*/ 270479 w 270479"/>
                    <a:gd name="connsiteY31" fmla="*/ 414772 h 568939"/>
                    <a:gd name="connsiteX32" fmla="*/ 269382 w 270479"/>
                    <a:gd name="connsiteY32" fmla="*/ 401605 h 568939"/>
                    <a:gd name="connsiteX33" fmla="*/ 266639 w 270479"/>
                    <a:gd name="connsiteY33" fmla="*/ 399959 h 568939"/>
                    <a:gd name="connsiteX34" fmla="*/ 250180 w 270479"/>
                    <a:gd name="connsiteY34" fmla="*/ 311627 h 568939"/>
                    <a:gd name="connsiteX35" fmla="*/ 230977 w 270479"/>
                    <a:gd name="connsiteY35" fmla="*/ 289682 h 568939"/>
                    <a:gd name="connsiteX36" fmla="*/ 229331 w 270479"/>
                    <a:gd name="connsiteY36" fmla="*/ 280355 h 568939"/>
                    <a:gd name="connsiteX37" fmla="*/ 229331 w 270479"/>
                    <a:gd name="connsiteY37" fmla="*/ 282550 h 568939"/>
                    <a:gd name="connsiteX38" fmla="*/ 224942 w 270479"/>
                    <a:gd name="connsiteY38" fmla="*/ 283098 h 568939"/>
                    <a:gd name="connsiteX39" fmla="*/ 224394 w 270479"/>
                    <a:gd name="connsiteY39" fmla="*/ 279806 h 568939"/>
                    <a:gd name="connsiteX40" fmla="*/ 221102 w 270479"/>
                    <a:gd name="connsiteY40" fmla="*/ 274320 h 568939"/>
                    <a:gd name="connsiteX41" fmla="*/ 209032 w 270479"/>
                    <a:gd name="connsiteY41" fmla="*/ 272126 h 568939"/>
                    <a:gd name="connsiteX42" fmla="*/ 161300 w 270479"/>
                    <a:gd name="connsiteY42" fmla="*/ 221651 h 568939"/>
                    <a:gd name="connsiteX43" fmla="*/ 155814 w 270479"/>
                    <a:gd name="connsiteY43" fmla="*/ 202997 h 568939"/>
                    <a:gd name="connsiteX44" fmla="*/ 134417 w 270479"/>
                    <a:gd name="connsiteY44" fmla="*/ 184343 h 568939"/>
                    <a:gd name="connsiteX45" fmla="*/ 131125 w 270479"/>
                    <a:gd name="connsiteY45" fmla="*/ 176114 h 568939"/>
                    <a:gd name="connsiteX46" fmla="*/ 143744 w 270479"/>
                    <a:gd name="connsiteY46" fmla="*/ 133319 h 568939"/>
                    <a:gd name="connsiteX47" fmla="*/ 165689 w 270479"/>
                    <a:gd name="connsiteY47" fmla="*/ 113569 h 568939"/>
                    <a:gd name="connsiteX48" fmla="*/ 167884 w 270479"/>
                    <a:gd name="connsiteY48" fmla="*/ 103693 h 568939"/>
                    <a:gd name="connsiteX49" fmla="*/ 176113 w 270479"/>
                    <a:gd name="connsiteY49" fmla="*/ 95463 h 568939"/>
                    <a:gd name="connsiteX50" fmla="*/ 195316 w 270479"/>
                    <a:gd name="connsiteY50" fmla="*/ 84491 h 568939"/>
                    <a:gd name="connsiteX51" fmla="*/ 196413 w 270479"/>
                    <a:gd name="connsiteY51" fmla="*/ 78455 h 568939"/>
                    <a:gd name="connsiteX52" fmla="*/ 209581 w 270479"/>
                    <a:gd name="connsiteY52" fmla="*/ 71323 h 568939"/>
                    <a:gd name="connsiteX53" fmla="*/ 215615 w 270479"/>
                    <a:gd name="connsiteY53" fmla="*/ 73518 h 568939"/>
                    <a:gd name="connsiteX54" fmla="*/ 217261 w 270479"/>
                    <a:gd name="connsiteY54" fmla="*/ 71872 h 568939"/>
                    <a:gd name="connsiteX55" fmla="*/ 217810 w 270479"/>
                    <a:gd name="connsiteY55" fmla="*/ 69677 h 568939"/>
                    <a:gd name="connsiteX56" fmla="*/ 213421 w 270479"/>
                    <a:gd name="connsiteY56" fmla="*/ 66386 h 568939"/>
                    <a:gd name="connsiteX57" fmla="*/ 193121 w 270479"/>
                    <a:gd name="connsiteY57" fmla="*/ 65288 h 568939"/>
                    <a:gd name="connsiteX58" fmla="*/ 190378 w 270479"/>
                    <a:gd name="connsiteY58" fmla="*/ 61996 h 568939"/>
                    <a:gd name="connsiteX59" fmla="*/ 174467 w 270479"/>
                    <a:gd name="connsiteY59" fmla="*/ 52670 h 568939"/>
                    <a:gd name="connsiteX60" fmla="*/ 168981 w 270479"/>
                    <a:gd name="connsiteY60" fmla="*/ 44440 h 568939"/>
                    <a:gd name="connsiteX61" fmla="*/ 166238 w 270479"/>
                    <a:gd name="connsiteY61" fmla="*/ 34016 h 568939"/>
                    <a:gd name="connsiteX62" fmla="*/ 169530 w 270479"/>
                    <a:gd name="connsiteY62" fmla="*/ 23591 h 568939"/>
                    <a:gd name="connsiteX63" fmla="*/ 166238 w 270479"/>
                    <a:gd name="connsiteY63" fmla="*/ 17008 h 568939"/>
                    <a:gd name="connsiteX64" fmla="*/ 144292 w 270479"/>
                    <a:gd name="connsiteY64" fmla="*/ 14265 h 568939"/>
                    <a:gd name="connsiteX65" fmla="*/ 115214 w 270479"/>
                    <a:gd name="connsiteY65" fmla="*/ 0 h 568939"/>
                    <a:gd name="connsiteX66" fmla="*/ 110277 w 270479"/>
                    <a:gd name="connsiteY66" fmla="*/ 549 h 568939"/>
                    <a:gd name="connsiteX67" fmla="*/ 97109 w 270479"/>
                    <a:gd name="connsiteY67" fmla="*/ 12619 h 568939"/>
                    <a:gd name="connsiteX68" fmla="*/ 82296 w 270479"/>
                    <a:gd name="connsiteY68" fmla="*/ 19202 h 568939"/>
                    <a:gd name="connsiteX69" fmla="*/ 76261 w 270479"/>
                    <a:gd name="connsiteY69" fmla="*/ 17008 h 568939"/>
                    <a:gd name="connsiteX70" fmla="*/ 70775 w 270479"/>
                    <a:gd name="connsiteY70" fmla="*/ 22494 h 568939"/>
                    <a:gd name="connsiteX71" fmla="*/ 64191 w 270479"/>
                    <a:gd name="connsiteY71" fmla="*/ 25786 h 568939"/>
                    <a:gd name="connsiteX72" fmla="*/ 61448 w 270479"/>
                    <a:gd name="connsiteY72" fmla="*/ 21397 h 568939"/>
                    <a:gd name="connsiteX73" fmla="*/ 52121 w 270479"/>
                    <a:gd name="connsiteY73" fmla="*/ 24140 h 568939"/>
                    <a:gd name="connsiteX74" fmla="*/ 48280 w 270479"/>
                    <a:gd name="connsiteY74" fmla="*/ 20300 h 568939"/>
                    <a:gd name="connsiteX75" fmla="*/ 43891 w 270479"/>
                    <a:gd name="connsiteY75" fmla="*/ 21946 h 568939"/>
                    <a:gd name="connsiteX76" fmla="*/ 34016 w 270479"/>
                    <a:gd name="connsiteY76" fmla="*/ 27981 h 568939"/>
                    <a:gd name="connsiteX77" fmla="*/ 29627 w 270479"/>
                    <a:gd name="connsiteY77" fmla="*/ 27432 h 568939"/>
                    <a:gd name="connsiteX78" fmla="*/ 24689 w 270479"/>
                    <a:gd name="connsiteY78" fmla="*/ 22494 h 568939"/>
                    <a:gd name="connsiteX79" fmla="*/ 15362 w 270479"/>
                    <a:gd name="connsiteY79" fmla="*/ 20848 h 568939"/>
                    <a:gd name="connsiteX80" fmla="*/ 13716 w 270479"/>
                    <a:gd name="connsiteY80" fmla="*/ 19202 h 568939"/>
                    <a:gd name="connsiteX81" fmla="*/ 11521 w 270479"/>
                    <a:gd name="connsiteY81" fmla="*/ 20300 h 568939"/>
                    <a:gd name="connsiteX82" fmla="*/ 4389 w 270479"/>
                    <a:gd name="connsiteY82" fmla="*/ 30175 h 568939"/>
                    <a:gd name="connsiteX83" fmla="*/ 4389 w 270479"/>
                    <a:gd name="connsiteY83" fmla="*/ 32370 h 568939"/>
                    <a:gd name="connsiteX84" fmla="*/ 0 w 270479"/>
                    <a:gd name="connsiteY84" fmla="*/ 30175 h 568939"/>
                    <a:gd name="connsiteX85" fmla="*/ 30175 w 270479"/>
                    <a:gd name="connsiteY85" fmla="*/ 67483 h 568939"/>
                    <a:gd name="connsiteX86" fmla="*/ 27981 w 270479"/>
                    <a:gd name="connsiteY86" fmla="*/ 76261 h 568939"/>
                    <a:gd name="connsiteX87" fmla="*/ 29078 w 270479"/>
                    <a:gd name="connsiteY87" fmla="*/ 81747 h 568939"/>
                    <a:gd name="connsiteX88" fmla="*/ 38953 w 270479"/>
                    <a:gd name="connsiteY88" fmla="*/ 92171 h 568939"/>
                    <a:gd name="connsiteX89" fmla="*/ 52121 w 270479"/>
                    <a:gd name="connsiteY89" fmla="*/ 94915 h 568939"/>
                    <a:gd name="connsiteX90" fmla="*/ 66385 w 270479"/>
                    <a:gd name="connsiteY90" fmla="*/ 91623 h 568939"/>
                    <a:gd name="connsiteX91" fmla="*/ 76261 w 270479"/>
                    <a:gd name="connsiteY91" fmla="*/ 92171 h 568939"/>
                    <a:gd name="connsiteX92" fmla="*/ 87234 w 270479"/>
                    <a:gd name="connsiteY92" fmla="*/ 105887 h 568939"/>
                    <a:gd name="connsiteX93" fmla="*/ 87782 w 270479"/>
                    <a:gd name="connsiteY93" fmla="*/ 110825 h 568939"/>
                    <a:gd name="connsiteX94" fmla="*/ 93817 w 270479"/>
                    <a:gd name="connsiteY94" fmla="*/ 115214 h 568939"/>
                    <a:gd name="connsiteX95" fmla="*/ 96561 w 270479"/>
                    <a:gd name="connsiteY95" fmla="*/ 121250 h 568939"/>
                    <a:gd name="connsiteX96" fmla="*/ 99853 w 270479"/>
                    <a:gd name="connsiteY96" fmla="*/ 125090 h 568939"/>
                    <a:gd name="connsiteX97" fmla="*/ 99304 w 270479"/>
                    <a:gd name="connsiteY97" fmla="*/ 131125 h 568939"/>
                    <a:gd name="connsiteX98" fmla="*/ 88880 w 270479"/>
                    <a:gd name="connsiteY98" fmla="*/ 141549 h 568939"/>
                    <a:gd name="connsiteX99" fmla="*/ 77358 w 270479"/>
                    <a:gd name="connsiteY99" fmla="*/ 140452 h 568939"/>
                    <a:gd name="connsiteX100" fmla="*/ 72421 w 270479"/>
                    <a:gd name="connsiteY100" fmla="*/ 141549 h 568939"/>
                    <a:gd name="connsiteX101" fmla="*/ 69677 w 270479"/>
                    <a:gd name="connsiteY101" fmla="*/ 145390 h 568939"/>
                    <a:gd name="connsiteX102" fmla="*/ 67483 w 270479"/>
                    <a:gd name="connsiteY102" fmla="*/ 151425 h 568939"/>
                    <a:gd name="connsiteX103" fmla="*/ 68031 w 270479"/>
                    <a:gd name="connsiteY103" fmla="*/ 156362 h 568939"/>
                    <a:gd name="connsiteX104" fmla="*/ 109728 w 270479"/>
                    <a:gd name="connsiteY104" fmla="*/ 182149 h 568939"/>
                    <a:gd name="connsiteX105" fmla="*/ 112471 w 270479"/>
                    <a:gd name="connsiteY105" fmla="*/ 192024 h 568939"/>
                    <a:gd name="connsiteX106" fmla="*/ 127833 w 270479"/>
                    <a:gd name="connsiteY106" fmla="*/ 205740 h 568939"/>
                    <a:gd name="connsiteX107" fmla="*/ 130576 w 270479"/>
                    <a:gd name="connsiteY107" fmla="*/ 212324 h 568939"/>
                    <a:gd name="connsiteX108" fmla="*/ 142098 w 270479"/>
                    <a:gd name="connsiteY108" fmla="*/ 225491 h 568939"/>
                    <a:gd name="connsiteX109" fmla="*/ 146487 w 270479"/>
                    <a:gd name="connsiteY109" fmla="*/ 226588 h 568939"/>
                    <a:gd name="connsiteX110" fmla="*/ 157460 w 270479"/>
                    <a:gd name="connsiteY110" fmla="*/ 235367 h 568939"/>
                    <a:gd name="connsiteX111" fmla="*/ 162946 w 270479"/>
                    <a:gd name="connsiteY111" fmla="*/ 252923 h 568939"/>
                    <a:gd name="connsiteX112" fmla="*/ 162946 w 270479"/>
                    <a:gd name="connsiteY112" fmla="*/ 254020 h 568939"/>
                    <a:gd name="connsiteX113" fmla="*/ 163495 w 270479"/>
                    <a:gd name="connsiteY113" fmla="*/ 254569 h 568939"/>
                    <a:gd name="connsiteX114" fmla="*/ 166238 w 270479"/>
                    <a:gd name="connsiteY114" fmla="*/ 263896 h 568939"/>
                    <a:gd name="connsiteX115" fmla="*/ 172273 w 270479"/>
                    <a:gd name="connsiteY115" fmla="*/ 263896 h 568939"/>
                    <a:gd name="connsiteX116" fmla="*/ 186538 w 270479"/>
                    <a:gd name="connsiteY116" fmla="*/ 275966 h 568939"/>
                    <a:gd name="connsiteX117" fmla="*/ 198608 w 270479"/>
                    <a:gd name="connsiteY117" fmla="*/ 307238 h 568939"/>
                    <a:gd name="connsiteX118" fmla="*/ 200254 w 270479"/>
                    <a:gd name="connsiteY118" fmla="*/ 371429 h 568939"/>
                    <a:gd name="connsiteX119" fmla="*/ 205192 w 270479"/>
                    <a:gd name="connsiteY119" fmla="*/ 381305 h 568939"/>
                    <a:gd name="connsiteX120" fmla="*/ 202448 w 270479"/>
                    <a:gd name="connsiteY120" fmla="*/ 423550 h 568939"/>
                    <a:gd name="connsiteX121" fmla="*/ 198059 w 270479"/>
                    <a:gd name="connsiteY121" fmla="*/ 429585 h 568939"/>
                    <a:gd name="connsiteX122" fmla="*/ 192024 w 270479"/>
                    <a:gd name="connsiteY122" fmla="*/ 427939 h 568939"/>
                    <a:gd name="connsiteX123" fmla="*/ 180503 w 270479"/>
                    <a:gd name="connsiteY123" fmla="*/ 436718 h 568939"/>
                    <a:gd name="connsiteX124" fmla="*/ 175016 w 270479"/>
                    <a:gd name="connsiteY124" fmla="*/ 436718 h 568939"/>
                    <a:gd name="connsiteX125" fmla="*/ 162397 w 270479"/>
                    <a:gd name="connsiteY125" fmla="*/ 442204 h 568939"/>
                    <a:gd name="connsiteX126" fmla="*/ 161849 w 270479"/>
                    <a:gd name="connsiteY126" fmla="*/ 448787 h 568939"/>
                    <a:gd name="connsiteX127" fmla="*/ 142098 w 270479"/>
                    <a:gd name="connsiteY127" fmla="*/ 452080 h 568939"/>
                    <a:gd name="connsiteX128" fmla="*/ 140452 w 270479"/>
                    <a:gd name="connsiteY128" fmla="*/ 461955 h 568939"/>
                    <a:gd name="connsiteX129" fmla="*/ 142098 w 270479"/>
                    <a:gd name="connsiteY129" fmla="*/ 473476 h 568939"/>
                    <a:gd name="connsiteX130" fmla="*/ 132771 w 270479"/>
                    <a:gd name="connsiteY130" fmla="*/ 476219 h 568939"/>
                    <a:gd name="connsiteX131" fmla="*/ 124541 w 270479"/>
                    <a:gd name="connsiteY131" fmla="*/ 482255 h 568939"/>
                    <a:gd name="connsiteX132" fmla="*/ 117409 w 270479"/>
                    <a:gd name="connsiteY132" fmla="*/ 484449 h 568939"/>
                    <a:gd name="connsiteX133" fmla="*/ 112471 w 270479"/>
                    <a:gd name="connsiteY133" fmla="*/ 482803 h 568939"/>
                    <a:gd name="connsiteX134" fmla="*/ 108631 w 270479"/>
                    <a:gd name="connsiteY134" fmla="*/ 482803 h 568939"/>
                    <a:gd name="connsiteX135" fmla="*/ 106985 w 270479"/>
                    <a:gd name="connsiteY135" fmla="*/ 488838 h 568939"/>
                    <a:gd name="connsiteX136" fmla="*/ 103693 w 270479"/>
                    <a:gd name="connsiteY136" fmla="*/ 492679 h 568939"/>
                    <a:gd name="connsiteX137" fmla="*/ 87782 w 270479"/>
                    <a:gd name="connsiteY137" fmla="*/ 497617 h 568939"/>
                    <a:gd name="connsiteX138" fmla="*/ 92720 w 270479"/>
                    <a:gd name="connsiteY138" fmla="*/ 505846 h 568939"/>
                    <a:gd name="connsiteX139" fmla="*/ 105339 w 270479"/>
                    <a:gd name="connsiteY139" fmla="*/ 510235 h 568939"/>
                    <a:gd name="connsiteX140" fmla="*/ 109728 w 270479"/>
                    <a:gd name="connsiteY140" fmla="*/ 514076 h 568939"/>
                    <a:gd name="connsiteX141" fmla="*/ 102047 w 270479"/>
                    <a:gd name="connsiteY141" fmla="*/ 527243 h 568939"/>
                    <a:gd name="connsiteX142" fmla="*/ 101498 w 270479"/>
                    <a:gd name="connsiteY142" fmla="*/ 545897 h 568939"/>
                    <a:gd name="connsiteX143" fmla="*/ 106436 w 270479"/>
                    <a:gd name="connsiteY143" fmla="*/ 562905 h 568939"/>
                    <a:gd name="connsiteX144" fmla="*/ 103144 w 270479"/>
                    <a:gd name="connsiteY144" fmla="*/ 565648 h 568939"/>
                    <a:gd name="connsiteX145" fmla="*/ 104242 w 270479"/>
                    <a:gd name="connsiteY145" fmla="*/ 568940 h 568939"/>
                    <a:gd name="connsiteX146" fmla="*/ 110277 w 270479"/>
                    <a:gd name="connsiteY146" fmla="*/ 568391 h 568939"/>
                    <a:gd name="connsiteX147" fmla="*/ 133319 w 270479"/>
                    <a:gd name="connsiteY147" fmla="*/ 545897 h 568939"/>
                    <a:gd name="connsiteX148" fmla="*/ 148133 w 270479"/>
                    <a:gd name="connsiteY148" fmla="*/ 539862 h 568939"/>
                    <a:gd name="connsiteX149" fmla="*/ 150328 w 270479"/>
                    <a:gd name="connsiteY149" fmla="*/ 537119 h 568939"/>
                    <a:gd name="connsiteX150" fmla="*/ 149779 w 270479"/>
                    <a:gd name="connsiteY150" fmla="*/ 532181 h 568939"/>
                    <a:gd name="connsiteX151" fmla="*/ 155814 w 270479"/>
                    <a:gd name="connsiteY151" fmla="*/ 529438 h 5689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</a:cxnLst>
                  <a:rect l="l" t="t" r="r" b="b"/>
                  <a:pathLst>
                    <a:path w="270479" h="568939">
                      <a:moveTo>
                        <a:pt x="155814" y="529438"/>
                      </a:moveTo>
                      <a:lnTo>
                        <a:pt x="162946" y="531632"/>
                      </a:lnTo>
                      <a:lnTo>
                        <a:pt x="165141" y="525597"/>
                      </a:lnTo>
                      <a:lnTo>
                        <a:pt x="161849" y="519014"/>
                      </a:lnTo>
                      <a:lnTo>
                        <a:pt x="163495" y="515173"/>
                      </a:lnTo>
                      <a:lnTo>
                        <a:pt x="167884" y="515722"/>
                      </a:lnTo>
                      <a:lnTo>
                        <a:pt x="168433" y="512430"/>
                      </a:lnTo>
                      <a:lnTo>
                        <a:pt x="171176" y="512430"/>
                      </a:lnTo>
                      <a:lnTo>
                        <a:pt x="170078" y="506944"/>
                      </a:lnTo>
                      <a:lnTo>
                        <a:pt x="172822" y="504749"/>
                      </a:lnTo>
                      <a:lnTo>
                        <a:pt x="175016" y="500360"/>
                      </a:lnTo>
                      <a:lnTo>
                        <a:pt x="184343" y="497617"/>
                      </a:lnTo>
                      <a:lnTo>
                        <a:pt x="188732" y="499811"/>
                      </a:lnTo>
                      <a:lnTo>
                        <a:pt x="193670" y="500360"/>
                      </a:lnTo>
                      <a:lnTo>
                        <a:pt x="220005" y="487741"/>
                      </a:lnTo>
                      <a:lnTo>
                        <a:pt x="225491" y="480060"/>
                      </a:lnTo>
                      <a:lnTo>
                        <a:pt x="246340" y="470185"/>
                      </a:lnTo>
                      <a:lnTo>
                        <a:pt x="251277" y="465796"/>
                      </a:lnTo>
                      <a:lnTo>
                        <a:pt x="257312" y="465247"/>
                      </a:lnTo>
                      <a:lnTo>
                        <a:pt x="259507" y="454823"/>
                      </a:lnTo>
                      <a:lnTo>
                        <a:pt x="263896" y="451531"/>
                      </a:lnTo>
                      <a:lnTo>
                        <a:pt x="264445" y="447142"/>
                      </a:lnTo>
                      <a:lnTo>
                        <a:pt x="262250" y="444947"/>
                      </a:lnTo>
                      <a:lnTo>
                        <a:pt x="263347" y="442204"/>
                      </a:lnTo>
                      <a:lnTo>
                        <a:pt x="264993" y="442753"/>
                      </a:lnTo>
                      <a:lnTo>
                        <a:pt x="262250" y="423550"/>
                      </a:lnTo>
                      <a:lnTo>
                        <a:pt x="263347" y="421355"/>
                      </a:lnTo>
                      <a:lnTo>
                        <a:pt x="265542" y="423002"/>
                      </a:lnTo>
                      <a:lnTo>
                        <a:pt x="264993" y="415321"/>
                      </a:lnTo>
                      <a:lnTo>
                        <a:pt x="267736" y="412029"/>
                      </a:lnTo>
                      <a:lnTo>
                        <a:pt x="270479" y="412577"/>
                      </a:lnTo>
                      <a:lnTo>
                        <a:pt x="270479" y="414772"/>
                      </a:lnTo>
                      <a:lnTo>
                        <a:pt x="269382" y="401605"/>
                      </a:lnTo>
                      <a:lnTo>
                        <a:pt x="266639" y="399959"/>
                      </a:lnTo>
                      <a:lnTo>
                        <a:pt x="250180" y="311627"/>
                      </a:lnTo>
                      <a:lnTo>
                        <a:pt x="230977" y="289682"/>
                      </a:lnTo>
                      <a:lnTo>
                        <a:pt x="229331" y="280355"/>
                      </a:lnTo>
                      <a:lnTo>
                        <a:pt x="229331" y="282550"/>
                      </a:lnTo>
                      <a:lnTo>
                        <a:pt x="224942" y="283098"/>
                      </a:lnTo>
                      <a:lnTo>
                        <a:pt x="224394" y="279806"/>
                      </a:lnTo>
                      <a:lnTo>
                        <a:pt x="221102" y="274320"/>
                      </a:lnTo>
                      <a:lnTo>
                        <a:pt x="209032" y="272126"/>
                      </a:lnTo>
                      <a:lnTo>
                        <a:pt x="161300" y="221651"/>
                      </a:lnTo>
                      <a:lnTo>
                        <a:pt x="155814" y="202997"/>
                      </a:lnTo>
                      <a:lnTo>
                        <a:pt x="134417" y="184343"/>
                      </a:lnTo>
                      <a:lnTo>
                        <a:pt x="131125" y="176114"/>
                      </a:lnTo>
                      <a:lnTo>
                        <a:pt x="143744" y="133319"/>
                      </a:lnTo>
                      <a:lnTo>
                        <a:pt x="165689" y="113569"/>
                      </a:lnTo>
                      <a:lnTo>
                        <a:pt x="167884" y="103693"/>
                      </a:lnTo>
                      <a:lnTo>
                        <a:pt x="176113" y="95463"/>
                      </a:lnTo>
                      <a:lnTo>
                        <a:pt x="195316" y="84491"/>
                      </a:lnTo>
                      <a:lnTo>
                        <a:pt x="196413" y="78455"/>
                      </a:lnTo>
                      <a:lnTo>
                        <a:pt x="209581" y="71323"/>
                      </a:lnTo>
                      <a:lnTo>
                        <a:pt x="215615" y="73518"/>
                      </a:lnTo>
                      <a:lnTo>
                        <a:pt x="217261" y="71872"/>
                      </a:lnTo>
                      <a:lnTo>
                        <a:pt x="217810" y="69677"/>
                      </a:lnTo>
                      <a:lnTo>
                        <a:pt x="213421" y="66386"/>
                      </a:lnTo>
                      <a:lnTo>
                        <a:pt x="193121" y="65288"/>
                      </a:lnTo>
                      <a:lnTo>
                        <a:pt x="190378" y="61996"/>
                      </a:lnTo>
                      <a:lnTo>
                        <a:pt x="174467" y="52670"/>
                      </a:lnTo>
                      <a:lnTo>
                        <a:pt x="168981" y="44440"/>
                      </a:lnTo>
                      <a:lnTo>
                        <a:pt x="166238" y="34016"/>
                      </a:lnTo>
                      <a:lnTo>
                        <a:pt x="169530" y="23591"/>
                      </a:lnTo>
                      <a:lnTo>
                        <a:pt x="166238" y="17008"/>
                      </a:lnTo>
                      <a:lnTo>
                        <a:pt x="144292" y="14265"/>
                      </a:lnTo>
                      <a:lnTo>
                        <a:pt x="115214" y="0"/>
                      </a:lnTo>
                      <a:lnTo>
                        <a:pt x="110277" y="549"/>
                      </a:lnTo>
                      <a:lnTo>
                        <a:pt x="97109" y="12619"/>
                      </a:lnTo>
                      <a:lnTo>
                        <a:pt x="82296" y="19202"/>
                      </a:lnTo>
                      <a:lnTo>
                        <a:pt x="76261" y="17008"/>
                      </a:lnTo>
                      <a:lnTo>
                        <a:pt x="70775" y="22494"/>
                      </a:lnTo>
                      <a:lnTo>
                        <a:pt x="64191" y="25786"/>
                      </a:lnTo>
                      <a:lnTo>
                        <a:pt x="61448" y="21397"/>
                      </a:lnTo>
                      <a:lnTo>
                        <a:pt x="52121" y="24140"/>
                      </a:lnTo>
                      <a:lnTo>
                        <a:pt x="48280" y="20300"/>
                      </a:lnTo>
                      <a:lnTo>
                        <a:pt x="43891" y="21946"/>
                      </a:lnTo>
                      <a:lnTo>
                        <a:pt x="34016" y="27981"/>
                      </a:lnTo>
                      <a:lnTo>
                        <a:pt x="29627" y="27432"/>
                      </a:lnTo>
                      <a:lnTo>
                        <a:pt x="24689" y="22494"/>
                      </a:lnTo>
                      <a:lnTo>
                        <a:pt x="15362" y="20848"/>
                      </a:lnTo>
                      <a:lnTo>
                        <a:pt x="13716" y="19202"/>
                      </a:lnTo>
                      <a:lnTo>
                        <a:pt x="11521" y="20300"/>
                      </a:lnTo>
                      <a:lnTo>
                        <a:pt x="4389" y="30175"/>
                      </a:lnTo>
                      <a:lnTo>
                        <a:pt x="4389" y="32370"/>
                      </a:lnTo>
                      <a:lnTo>
                        <a:pt x="0" y="30175"/>
                      </a:lnTo>
                      <a:lnTo>
                        <a:pt x="30175" y="67483"/>
                      </a:lnTo>
                      <a:lnTo>
                        <a:pt x="27981" y="76261"/>
                      </a:lnTo>
                      <a:lnTo>
                        <a:pt x="29078" y="81747"/>
                      </a:lnTo>
                      <a:lnTo>
                        <a:pt x="38953" y="92171"/>
                      </a:lnTo>
                      <a:lnTo>
                        <a:pt x="52121" y="94915"/>
                      </a:lnTo>
                      <a:lnTo>
                        <a:pt x="66385" y="91623"/>
                      </a:lnTo>
                      <a:lnTo>
                        <a:pt x="76261" y="92171"/>
                      </a:lnTo>
                      <a:lnTo>
                        <a:pt x="87234" y="105887"/>
                      </a:lnTo>
                      <a:lnTo>
                        <a:pt x="87782" y="110825"/>
                      </a:lnTo>
                      <a:lnTo>
                        <a:pt x="93817" y="115214"/>
                      </a:lnTo>
                      <a:lnTo>
                        <a:pt x="96561" y="121250"/>
                      </a:lnTo>
                      <a:lnTo>
                        <a:pt x="99853" y="125090"/>
                      </a:lnTo>
                      <a:lnTo>
                        <a:pt x="99304" y="131125"/>
                      </a:lnTo>
                      <a:lnTo>
                        <a:pt x="88880" y="141549"/>
                      </a:lnTo>
                      <a:lnTo>
                        <a:pt x="77358" y="140452"/>
                      </a:lnTo>
                      <a:lnTo>
                        <a:pt x="72421" y="141549"/>
                      </a:lnTo>
                      <a:lnTo>
                        <a:pt x="69677" y="145390"/>
                      </a:lnTo>
                      <a:lnTo>
                        <a:pt x="67483" y="151425"/>
                      </a:lnTo>
                      <a:lnTo>
                        <a:pt x="68031" y="156362"/>
                      </a:lnTo>
                      <a:lnTo>
                        <a:pt x="109728" y="182149"/>
                      </a:lnTo>
                      <a:lnTo>
                        <a:pt x="112471" y="192024"/>
                      </a:lnTo>
                      <a:lnTo>
                        <a:pt x="127833" y="205740"/>
                      </a:lnTo>
                      <a:lnTo>
                        <a:pt x="130576" y="212324"/>
                      </a:lnTo>
                      <a:lnTo>
                        <a:pt x="142098" y="225491"/>
                      </a:lnTo>
                      <a:lnTo>
                        <a:pt x="146487" y="226588"/>
                      </a:lnTo>
                      <a:lnTo>
                        <a:pt x="157460" y="235367"/>
                      </a:lnTo>
                      <a:lnTo>
                        <a:pt x="162946" y="252923"/>
                      </a:lnTo>
                      <a:lnTo>
                        <a:pt x="162946" y="254020"/>
                      </a:lnTo>
                      <a:lnTo>
                        <a:pt x="163495" y="254569"/>
                      </a:lnTo>
                      <a:lnTo>
                        <a:pt x="166238" y="263896"/>
                      </a:lnTo>
                      <a:lnTo>
                        <a:pt x="172273" y="263896"/>
                      </a:lnTo>
                      <a:lnTo>
                        <a:pt x="186538" y="275966"/>
                      </a:lnTo>
                      <a:lnTo>
                        <a:pt x="198608" y="307238"/>
                      </a:lnTo>
                      <a:lnTo>
                        <a:pt x="200254" y="371429"/>
                      </a:lnTo>
                      <a:lnTo>
                        <a:pt x="205192" y="381305"/>
                      </a:lnTo>
                      <a:lnTo>
                        <a:pt x="202448" y="423550"/>
                      </a:lnTo>
                      <a:lnTo>
                        <a:pt x="198059" y="429585"/>
                      </a:lnTo>
                      <a:lnTo>
                        <a:pt x="192024" y="427939"/>
                      </a:lnTo>
                      <a:lnTo>
                        <a:pt x="180503" y="436718"/>
                      </a:lnTo>
                      <a:lnTo>
                        <a:pt x="175016" y="436718"/>
                      </a:lnTo>
                      <a:lnTo>
                        <a:pt x="162397" y="442204"/>
                      </a:lnTo>
                      <a:lnTo>
                        <a:pt x="161849" y="448787"/>
                      </a:lnTo>
                      <a:lnTo>
                        <a:pt x="142098" y="452080"/>
                      </a:lnTo>
                      <a:lnTo>
                        <a:pt x="140452" y="461955"/>
                      </a:lnTo>
                      <a:lnTo>
                        <a:pt x="142098" y="473476"/>
                      </a:lnTo>
                      <a:lnTo>
                        <a:pt x="132771" y="476219"/>
                      </a:lnTo>
                      <a:lnTo>
                        <a:pt x="124541" y="482255"/>
                      </a:lnTo>
                      <a:lnTo>
                        <a:pt x="117409" y="484449"/>
                      </a:lnTo>
                      <a:lnTo>
                        <a:pt x="112471" y="482803"/>
                      </a:lnTo>
                      <a:lnTo>
                        <a:pt x="108631" y="482803"/>
                      </a:lnTo>
                      <a:lnTo>
                        <a:pt x="106985" y="488838"/>
                      </a:lnTo>
                      <a:lnTo>
                        <a:pt x="103693" y="492679"/>
                      </a:lnTo>
                      <a:lnTo>
                        <a:pt x="87782" y="497617"/>
                      </a:lnTo>
                      <a:lnTo>
                        <a:pt x="92720" y="505846"/>
                      </a:lnTo>
                      <a:lnTo>
                        <a:pt x="105339" y="510235"/>
                      </a:lnTo>
                      <a:lnTo>
                        <a:pt x="109728" y="514076"/>
                      </a:lnTo>
                      <a:lnTo>
                        <a:pt x="102047" y="527243"/>
                      </a:lnTo>
                      <a:lnTo>
                        <a:pt x="101498" y="545897"/>
                      </a:lnTo>
                      <a:lnTo>
                        <a:pt x="106436" y="562905"/>
                      </a:lnTo>
                      <a:lnTo>
                        <a:pt x="103144" y="565648"/>
                      </a:lnTo>
                      <a:lnTo>
                        <a:pt x="104242" y="568940"/>
                      </a:lnTo>
                      <a:lnTo>
                        <a:pt x="110277" y="568391"/>
                      </a:lnTo>
                      <a:lnTo>
                        <a:pt x="133319" y="545897"/>
                      </a:lnTo>
                      <a:lnTo>
                        <a:pt x="148133" y="539862"/>
                      </a:lnTo>
                      <a:lnTo>
                        <a:pt x="150328" y="537119"/>
                      </a:lnTo>
                      <a:lnTo>
                        <a:pt x="149779" y="532181"/>
                      </a:lnTo>
                      <a:lnTo>
                        <a:pt x="155814" y="529438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56" name="Graphic 7">
                  <a:extLst>
                    <a:ext uri="{FF2B5EF4-FFF2-40B4-BE49-F238E27FC236}">
                      <a16:creationId xmlns:a16="http://schemas.microsoft.com/office/drawing/2014/main" id="{87CA166E-1CA5-D808-AD7B-C35951425C4C}"/>
                    </a:ext>
                  </a:extLst>
                </p:cNvPr>
                <p:cNvSpPr/>
                <p:nvPr/>
              </p:nvSpPr>
              <p:spPr>
                <a:xfrm>
                  <a:off x="8939115" y="3251871"/>
                  <a:ext cx="102017" cy="152168"/>
                </a:xfrm>
                <a:custGeom>
                  <a:avLst/>
                  <a:gdLst>
                    <a:gd name="connsiteX0" fmla="*/ 86137 w 130576"/>
                    <a:gd name="connsiteY0" fmla="*/ 0 h 194767"/>
                    <a:gd name="connsiteX1" fmla="*/ 123993 w 130576"/>
                    <a:gd name="connsiteY1" fmla="*/ 61996 h 194767"/>
                    <a:gd name="connsiteX2" fmla="*/ 126736 w 130576"/>
                    <a:gd name="connsiteY2" fmla="*/ 115763 h 194767"/>
                    <a:gd name="connsiteX3" fmla="*/ 130577 w 130576"/>
                    <a:gd name="connsiteY3" fmla="*/ 116312 h 194767"/>
                    <a:gd name="connsiteX4" fmla="*/ 120152 w 130576"/>
                    <a:gd name="connsiteY4" fmla="*/ 147584 h 194767"/>
                    <a:gd name="connsiteX5" fmla="*/ 112471 w 130576"/>
                    <a:gd name="connsiteY5" fmla="*/ 154717 h 194767"/>
                    <a:gd name="connsiteX6" fmla="*/ 98207 w 130576"/>
                    <a:gd name="connsiteY6" fmla="*/ 158557 h 194767"/>
                    <a:gd name="connsiteX7" fmla="*/ 92720 w 130576"/>
                    <a:gd name="connsiteY7" fmla="*/ 156362 h 194767"/>
                    <a:gd name="connsiteX8" fmla="*/ 82845 w 130576"/>
                    <a:gd name="connsiteY8" fmla="*/ 172273 h 194767"/>
                    <a:gd name="connsiteX9" fmla="*/ 80650 w 130576"/>
                    <a:gd name="connsiteY9" fmla="*/ 167335 h 194767"/>
                    <a:gd name="connsiteX10" fmla="*/ 76810 w 130576"/>
                    <a:gd name="connsiteY10" fmla="*/ 167335 h 194767"/>
                    <a:gd name="connsiteX11" fmla="*/ 69678 w 130576"/>
                    <a:gd name="connsiteY11" fmla="*/ 163495 h 194767"/>
                    <a:gd name="connsiteX12" fmla="*/ 57607 w 130576"/>
                    <a:gd name="connsiteY12" fmla="*/ 167884 h 194767"/>
                    <a:gd name="connsiteX13" fmla="*/ 60900 w 130576"/>
                    <a:gd name="connsiteY13" fmla="*/ 172273 h 194767"/>
                    <a:gd name="connsiteX14" fmla="*/ 59253 w 130576"/>
                    <a:gd name="connsiteY14" fmla="*/ 176662 h 194767"/>
                    <a:gd name="connsiteX15" fmla="*/ 55413 w 130576"/>
                    <a:gd name="connsiteY15" fmla="*/ 178857 h 194767"/>
                    <a:gd name="connsiteX16" fmla="*/ 52670 w 130576"/>
                    <a:gd name="connsiteY16" fmla="*/ 174467 h 194767"/>
                    <a:gd name="connsiteX17" fmla="*/ 49927 w 130576"/>
                    <a:gd name="connsiteY17" fmla="*/ 171724 h 194767"/>
                    <a:gd name="connsiteX18" fmla="*/ 49378 w 130576"/>
                    <a:gd name="connsiteY18" fmla="*/ 182697 h 194767"/>
                    <a:gd name="connsiteX19" fmla="*/ 45537 w 130576"/>
                    <a:gd name="connsiteY19" fmla="*/ 185989 h 194767"/>
                    <a:gd name="connsiteX20" fmla="*/ 42246 w 130576"/>
                    <a:gd name="connsiteY20" fmla="*/ 186538 h 194767"/>
                    <a:gd name="connsiteX21" fmla="*/ 40051 w 130576"/>
                    <a:gd name="connsiteY21" fmla="*/ 183246 h 194767"/>
                    <a:gd name="connsiteX22" fmla="*/ 44989 w 130576"/>
                    <a:gd name="connsiteY22" fmla="*/ 178857 h 194767"/>
                    <a:gd name="connsiteX23" fmla="*/ 45537 w 130576"/>
                    <a:gd name="connsiteY23" fmla="*/ 175565 h 194767"/>
                    <a:gd name="connsiteX24" fmla="*/ 35662 w 130576"/>
                    <a:gd name="connsiteY24" fmla="*/ 180503 h 194767"/>
                    <a:gd name="connsiteX25" fmla="*/ 29078 w 130576"/>
                    <a:gd name="connsiteY25" fmla="*/ 188183 h 194767"/>
                    <a:gd name="connsiteX26" fmla="*/ 26335 w 130576"/>
                    <a:gd name="connsiteY26" fmla="*/ 188183 h 194767"/>
                    <a:gd name="connsiteX27" fmla="*/ 24689 w 130576"/>
                    <a:gd name="connsiteY27" fmla="*/ 183794 h 194767"/>
                    <a:gd name="connsiteX28" fmla="*/ 15362 w 130576"/>
                    <a:gd name="connsiteY28" fmla="*/ 193121 h 194767"/>
                    <a:gd name="connsiteX29" fmla="*/ 14814 w 130576"/>
                    <a:gd name="connsiteY29" fmla="*/ 187086 h 194767"/>
                    <a:gd name="connsiteX30" fmla="*/ 8779 w 130576"/>
                    <a:gd name="connsiteY30" fmla="*/ 189281 h 194767"/>
                    <a:gd name="connsiteX31" fmla="*/ 6036 w 130576"/>
                    <a:gd name="connsiteY31" fmla="*/ 194767 h 194767"/>
                    <a:gd name="connsiteX32" fmla="*/ 3841 w 130576"/>
                    <a:gd name="connsiteY32" fmla="*/ 192024 h 194767"/>
                    <a:gd name="connsiteX33" fmla="*/ 8230 w 130576"/>
                    <a:gd name="connsiteY33" fmla="*/ 179954 h 194767"/>
                    <a:gd name="connsiteX34" fmla="*/ 15362 w 130576"/>
                    <a:gd name="connsiteY34" fmla="*/ 182149 h 194767"/>
                    <a:gd name="connsiteX35" fmla="*/ 14814 w 130576"/>
                    <a:gd name="connsiteY35" fmla="*/ 177211 h 194767"/>
                    <a:gd name="connsiteX36" fmla="*/ 17008 w 130576"/>
                    <a:gd name="connsiteY36" fmla="*/ 172273 h 194767"/>
                    <a:gd name="connsiteX37" fmla="*/ 13167 w 130576"/>
                    <a:gd name="connsiteY37" fmla="*/ 170078 h 194767"/>
                    <a:gd name="connsiteX38" fmla="*/ 9876 w 130576"/>
                    <a:gd name="connsiteY38" fmla="*/ 174467 h 194767"/>
                    <a:gd name="connsiteX39" fmla="*/ 7681 w 130576"/>
                    <a:gd name="connsiteY39" fmla="*/ 168981 h 194767"/>
                    <a:gd name="connsiteX40" fmla="*/ 11522 w 130576"/>
                    <a:gd name="connsiteY40" fmla="*/ 159654 h 194767"/>
                    <a:gd name="connsiteX41" fmla="*/ 11522 w 130576"/>
                    <a:gd name="connsiteY41" fmla="*/ 153071 h 194767"/>
                    <a:gd name="connsiteX42" fmla="*/ 18654 w 130576"/>
                    <a:gd name="connsiteY42" fmla="*/ 138257 h 194767"/>
                    <a:gd name="connsiteX43" fmla="*/ 16459 w 130576"/>
                    <a:gd name="connsiteY43" fmla="*/ 136063 h 194767"/>
                    <a:gd name="connsiteX44" fmla="*/ 22495 w 130576"/>
                    <a:gd name="connsiteY44" fmla="*/ 131125 h 194767"/>
                    <a:gd name="connsiteX45" fmla="*/ 24140 w 130576"/>
                    <a:gd name="connsiteY45" fmla="*/ 126187 h 194767"/>
                    <a:gd name="connsiteX46" fmla="*/ 21397 w 130576"/>
                    <a:gd name="connsiteY46" fmla="*/ 122347 h 194767"/>
                    <a:gd name="connsiteX47" fmla="*/ 21397 w 130576"/>
                    <a:gd name="connsiteY47" fmla="*/ 117958 h 194767"/>
                    <a:gd name="connsiteX48" fmla="*/ 17008 w 130576"/>
                    <a:gd name="connsiteY48" fmla="*/ 114117 h 194767"/>
                    <a:gd name="connsiteX49" fmla="*/ 13167 w 130576"/>
                    <a:gd name="connsiteY49" fmla="*/ 88331 h 194767"/>
                    <a:gd name="connsiteX50" fmla="*/ 9327 w 130576"/>
                    <a:gd name="connsiteY50" fmla="*/ 86137 h 194767"/>
                    <a:gd name="connsiteX51" fmla="*/ 10973 w 130576"/>
                    <a:gd name="connsiteY51" fmla="*/ 94366 h 194767"/>
                    <a:gd name="connsiteX52" fmla="*/ 7681 w 130576"/>
                    <a:gd name="connsiteY52" fmla="*/ 96561 h 194767"/>
                    <a:gd name="connsiteX53" fmla="*/ 3841 w 130576"/>
                    <a:gd name="connsiteY53" fmla="*/ 89977 h 194767"/>
                    <a:gd name="connsiteX54" fmla="*/ 0 w 130576"/>
                    <a:gd name="connsiteY54" fmla="*/ 89977 h 194767"/>
                    <a:gd name="connsiteX55" fmla="*/ 1098 w 130576"/>
                    <a:gd name="connsiteY55" fmla="*/ 83393 h 194767"/>
                    <a:gd name="connsiteX56" fmla="*/ 6036 w 130576"/>
                    <a:gd name="connsiteY56" fmla="*/ 77907 h 194767"/>
                    <a:gd name="connsiteX57" fmla="*/ 20849 w 130576"/>
                    <a:gd name="connsiteY57" fmla="*/ 74066 h 194767"/>
                    <a:gd name="connsiteX58" fmla="*/ 26883 w 130576"/>
                    <a:gd name="connsiteY58" fmla="*/ 79004 h 194767"/>
                    <a:gd name="connsiteX59" fmla="*/ 29627 w 130576"/>
                    <a:gd name="connsiteY59" fmla="*/ 80102 h 194767"/>
                    <a:gd name="connsiteX60" fmla="*/ 26335 w 130576"/>
                    <a:gd name="connsiteY60" fmla="*/ 73518 h 194767"/>
                    <a:gd name="connsiteX61" fmla="*/ 26335 w 130576"/>
                    <a:gd name="connsiteY61" fmla="*/ 67483 h 194767"/>
                    <a:gd name="connsiteX62" fmla="*/ 24140 w 130576"/>
                    <a:gd name="connsiteY62" fmla="*/ 64191 h 194767"/>
                    <a:gd name="connsiteX63" fmla="*/ 24689 w 130576"/>
                    <a:gd name="connsiteY63" fmla="*/ 59802 h 194767"/>
                    <a:gd name="connsiteX64" fmla="*/ 26335 w 130576"/>
                    <a:gd name="connsiteY64" fmla="*/ 58156 h 194767"/>
                    <a:gd name="connsiteX65" fmla="*/ 22495 w 130576"/>
                    <a:gd name="connsiteY65" fmla="*/ 55413 h 194767"/>
                    <a:gd name="connsiteX66" fmla="*/ 20300 w 130576"/>
                    <a:gd name="connsiteY66" fmla="*/ 55413 h 194767"/>
                    <a:gd name="connsiteX67" fmla="*/ 17557 w 130576"/>
                    <a:gd name="connsiteY67" fmla="*/ 51572 h 194767"/>
                    <a:gd name="connsiteX68" fmla="*/ 17008 w 130576"/>
                    <a:gd name="connsiteY68" fmla="*/ 48280 h 194767"/>
                    <a:gd name="connsiteX69" fmla="*/ 19202 w 130576"/>
                    <a:gd name="connsiteY69" fmla="*/ 48280 h 194767"/>
                    <a:gd name="connsiteX70" fmla="*/ 15362 w 130576"/>
                    <a:gd name="connsiteY70" fmla="*/ 43343 h 194767"/>
                    <a:gd name="connsiteX71" fmla="*/ 13716 w 130576"/>
                    <a:gd name="connsiteY71" fmla="*/ 39502 h 194767"/>
                    <a:gd name="connsiteX72" fmla="*/ 13716 w 130576"/>
                    <a:gd name="connsiteY72" fmla="*/ 35662 h 194767"/>
                    <a:gd name="connsiteX73" fmla="*/ 16459 w 130576"/>
                    <a:gd name="connsiteY73" fmla="*/ 36759 h 194767"/>
                    <a:gd name="connsiteX74" fmla="*/ 41148 w 130576"/>
                    <a:gd name="connsiteY74" fmla="*/ 14813 h 194767"/>
                    <a:gd name="connsiteX75" fmla="*/ 64191 w 130576"/>
                    <a:gd name="connsiteY75" fmla="*/ 14813 h 194767"/>
                    <a:gd name="connsiteX76" fmla="*/ 74066 w 130576"/>
                    <a:gd name="connsiteY76" fmla="*/ 10424 h 194767"/>
                    <a:gd name="connsiteX77" fmla="*/ 86137 w 130576"/>
                    <a:gd name="connsiteY77" fmla="*/ 0 h 1947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</a:cxnLst>
                  <a:rect l="l" t="t" r="r" b="b"/>
                  <a:pathLst>
                    <a:path w="130576" h="194767">
                      <a:moveTo>
                        <a:pt x="86137" y="0"/>
                      </a:moveTo>
                      <a:lnTo>
                        <a:pt x="123993" y="61996"/>
                      </a:lnTo>
                      <a:lnTo>
                        <a:pt x="126736" y="115763"/>
                      </a:lnTo>
                      <a:lnTo>
                        <a:pt x="130577" y="116312"/>
                      </a:lnTo>
                      <a:lnTo>
                        <a:pt x="120152" y="147584"/>
                      </a:lnTo>
                      <a:lnTo>
                        <a:pt x="112471" y="154717"/>
                      </a:lnTo>
                      <a:lnTo>
                        <a:pt x="98207" y="158557"/>
                      </a:lnTo>
                      <a:lnTo>
                        <a:pt x="92720" y="156362"/>
                      </a:lnTo>
                      <a:lnTo>
                        <a:pt x="82845" y="172273"/>
                      </a:lnTo>
                      <a:lnTo>
                        <a:pt x="80650" y="167335"/>
                      </a:lnTo>
                      <a:lnTo>
                        <a:pt x="76810" y="167335"/>
                      </a:lnTo>
                      <a:lnTo>
                        <a:pt x="69678" y="163495"/>
                      </a:lnTo>
                      <a:lnTo>
                        <a:pt x="57607" y="167884"/>
                      </a:lnTo>
                      <a:lnTo>
                        <a:pt x="60900" y="172273"/>
                      </a:lnTo>
                      <a:lnTo>
                        <a:pt x="59253" y="176662"/>
                      </a:lnTo>
                      <a:lnTo>
                        <a:pt x="55413" y="178857"/>
                      </a:lnTo>
                      <a:lnTo>
                        <a:pt x="52670" y="174467"/>
                      </a:lnTo>
                      <a:lnTo>
                        <a:pt x="49927" y="171724"/>
                      </a:lnTo>
                      <a:lnTo>
                        <a:pt x="49378" y="182697"/>
                      </a:lnTo>
                      <a:lnTo>
                        <a:pt x="45537" y="185989"/>
                      </a:lnTo>
                      <a:lnTo>
                        <a:pt x="42246" y="186538"/>
                      </a:lnTo>
                      <a:lnTo>
                        <a:pt x="40051" y="183246"/>
                      </a:lnTo>
                      <a:lnTo>
                        <a:pt x="44989" y="178857"/>
                      </a:lnTo>
                      <a:lnTo>
                        <a:pt x="45537" y="175565"/>
                      </a:lnTo>
                      <a:lnTo>
                        <a:pt x="35662" y="180503"/>
                      </a:lnTo>
                      <a:lnTo>
                        <a:pt x="29078" y="188183"/>
                      </a:lnTo>
                      <a:lnTo>
                        <a:pt x="26335" y="188183"/>
                      </a:lnTo>
                      <a:lnTo>
                        <a:pt x="24689" y="183794"/>
                      </a:lnTo>
                      <a:lnTo>
                        <a:pt x="15362" y="193121"/>
                      </a:lnTo>
                      <a:lnTo>
                        <a:pt x="14814" y="187086"/>
                      </a:lnTo>
                      <a:lnTo>
                        <a:pt x="8779" y="189281"/>
                      </a:lnTo>
                      <a:lnTo>
                        <a:pt x="6036" y="194767"/>
                      </a:lnTo>
                      <a:lnTo>
                        <a:pt x="3841" y="192024"/>
                      </a:lnTo>
                      <a:lnTo>
                        <a:pt x="8230" y="179954"/>
                      </a:lnTo>
                      <a:lnTo>
                        <a:pt x="15362" y="182149"/>
                      </a:lnTo>
                      <a:lnTo>
                        <a:pt x="14814" y="177211"/>
                      </a:lnTo>
                      <a:lnTo>
                        <a:pt x="17008" y="172273"/>
                      </a:lnTo>
                      <a:lnTo>
                        <a:pt x="13167" y="170078"/>
                      </a:lnTo>
                      <a:lnTo>
                        <a:pt x="9876" y="174467"/>
                      </a:lnTo>
                      <a:lnTo>
                        <a:pt x="7681" y="168981"/>
                      </a:lnTo>
                      <a:lnTo>
                        <a:pt x="11522" y="159654"/>
                      </a:lnTo>
                      <a:lnTo>
                        <a:pt x="11522" y="153071"/>
                      </a:lnTo>
                      <a:lnTo>
                        <a:pt x="18654" y="138257"/>
                      </a:lnTo>
                      <a:lnTo>
                        <a:pt x="16459" y="136063"/>
                      </a:lnTo>
                      <a:lnTo>
                        <a:pt x="22495" y="131125"/>
                      </a:lnTo>
                      <a:lnTo>
                        <a:pt x="24140" y="126187"/>
                      </a:lnTo>
                      <a:lnTo>
                        <a:pt x="21397" y="122347"/>
                      </a:lnTo>
                      <a:lnTo>
                        <a:pt x="21397" y="117958"/>
                      </a:lnTo>
                      <a:lnTo>
                        <a:pt x="17008" y="114117"/>
                      </a:lnTo>
                      <a:lnTo>
                        <a:pt x="13167" y="88331"/>
                      </a:lnTo>
                      <a:lnTo>
                        <a:pt x="9327" y="86137"/>
                      </a:lnTo>
                      <a:lnTo>
                        <a:pt x="10973" y="94366"/>
                      </a:lnTo>
                      <a:lnTo>
                        <a:pt x="7681" y="96561"/>
                      </a:lnTo>
                      <a:lnTo>
                        <a:pt x="3841" y="89977"/>
                      </a:lnTo>
                      <a:lnTo>
                        <a:pt x="0" y="89977"/>
                      </a:lnTo>
                      <a:lnTo>
                        <a:pt x="1098" y="83393"/>
                      </a:lnTo>
                      <a:lnTo>
                        <a:pt x="6036" y="77907"/>
                      </a:lnTo>
                      <a:lnTo>
                        <a:pt x="20849" y="74066"/>
                      </a:lnTo>
                      <a:lnTo>
                        <a:pt x="26883" y="79004"/>
                      </a:lnTo>
                      <a:lnTo>
                        <a:pt x="29627" y="80102"/>
                      </a:lnTo>
                      <a:lnTo>
                        <a:pt x="26335" y="73518"/>
                      </a:lnTo>
                      <a:lnTo>
                        <a:pt x="26335" y="67483"/>
                      </a:lnTo>
                      <a:lnTo>
                        <a:pt x="24140" y="64191"/>
                      </a:lnTo>
                      <a:lnTo>
                        <a:pt x="24689" y="59802"/>
                      </a:lnTo>
                      <a:lnTo>
                        <a:pt x="26335" y="58156"/>
                      </a:lnTo>
                      <a:lnTo>
                        <a:pt x="22495" y="55413"/>
                      </a:lnTo>
                      <a:lnTo>
                        <a:pt x="20300" y="55413"/>
                      </a:lnTo>
                      <a:lnTo>
                        <a:pt x="17557" y="51572"/>
                      </a:lnTo>
                      <a:lnTo>
                        <a:pt x="17008" y="48280"/>
                      </a:lnTo>
                      <a:lnTo>
                        <a:pt x="19202" y="48280"/>
                      </a:lnTo>
                      <a:lnTo>
                        <a:pt x="15362" y="43343"/>
                      </a:lnTo>
                      <a:lnTo>
                        <a:pt x="13716" y="39502"/>
                      </a:lnTo>
                      <a:lnTo>
                        <a:pt x="13716" y="35662"/>
                      </a:lnTo>
                      <a:lnTo>
                        <a:pt x="16459" y="36759"/>
                      </a:lnTo>
                      <a:lnTo>
                        <a:pt x="41148" y="14813"/>
                      </a:lnTo>
                      <a:lnTo>
                        <a:pt x="64191" y="14813"/>
                      </a:lnTo>
                      <a:lnTo>
                        <a:pt x="74066" y="10424"/>
                      </a:lnTo>
                      <a:lnTo>
                        <a:pt x="86137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57" name="Graphic 7">
                  <a:extLst>
                    <a:ext uri="{FF2B5EF4-FFF2-40B4-BE49-F238E27FC236}">
                      <a16:creationId xmlns:a16="http://schemas.microsoft.com/office/drawing/2014/main" id="{D2D80B48-FAB3-DC60-601D-BFBB16376AD2}"/>
                    </a:ext>
                  </a:extLst>
                </p:cNvPr>
                <p:cNvSpPr/>
                <p:nvPr/>
              </p:nvSpPr>
              <p:spPr>
                <a:xfrm>
                  <a:off x="8453893" y="4267325"/>
                  <a:ext cx="283761" cy="176171"/>
                </a:xfrm>
                <a:custGeom>
                  <a:avLst/>
                  <a:gdLst>
                    <a:gd name="connsiteX0" fmla="*/ 165689 w 363199"/>
                    <a:gd name="connsiteY0" fmla="*/ 88331 h 225490"/>
                    <a:gd name="connsiteX1" fmla="*/ 168433 w 363199"/>
                    <a:gd name="connsiteY1" fmla="*/ 89428 h 225490"/>
                    <a:gd name="connsiteX2" fmla="*/ 185989 w 363199"/>
                    <a:gd name="connsiteY2" fmla="*/ 108631 h 225490"/>
                    <a:gd name="connsiteX3" fmla="*/ 189281 w 363199"/>
                    <a:gd name="connsiteY3" fmla="*/ 109179 h 225490"/>
                    <a:gd name="connsiteX4" fmla="*/ 192024 w 363199"/>
                    <a:gd name="connsiteY4" fmla="*/ 107533 h 225490"/>
                    <a:gd name="connsiteX5" fmla="*/ 194219 w 363199"/>
                    <a:gd name="connsiteY5" fmla="*/ 102596 h 225490"/>
                    <a:gd name="connsiteX6" fmla="*/ 194767 w 363199"/>
                    <a:gd name="connsiteY6" fmla="*/ 85588 h 225490"/>
                    <a:gd name="connsiteX7" fmla="*/ 197510 w 363199"/>
                    <a:gd name="connsiteY7" fmla="*/ 82845 h 225490"/>
                    <a:gd name="connsiteX8" fmla="*/ 200802 w 363199"/>
                    <a:gd name="connsiteY8" fmla="*/ 81199 h 225490"/>
                    <a:gd name="connsiteX9" fmla="*/ 203545 w 363199"/>
                    <a:gd name="connsiteY9" fmla="*/ 81199 h 225490"/>
                    <a:gd name="connsiteX10" fmla="*/ 205740 w 363199"/>
                    <a:gd name="connsiteY10" fmla="*/ 83393 h 225490"/>
                    <a:gd name="connsiteX11" fmla="*/ 210129 w 363199"/>
                    <a:gd name="connsiteY11" fmla="*/ 93269 h 225490"/>
                    <a:gd name="connsiteX12" fmla="*/ 213421 w 363199"/>
                    <a:gd name="connsiteY12" fmla="*/ 95463 h 225490"/>
                    <a:gd name="connsiteX13" fmla="*/ 217261 w 363199"/>
                    <a:gd name="connsiteY13" fmla="*/ 95463 h 225490"/>
                    <a:gd name="connsiteX14" fmla="*/ 218908 w 363199"/>
                    <a:gd name="connsiteY14" fmla="*/ 92171 h 225490"/>
                    <a:gd name="connsiteX15" fmla="*/ 217810 w 363199"/>
                    <a:gd name="connsiteY15" fmla="*/ 83942 h 225490"/>
                    <a:gd name="connsiteX16" fmla="*/ 215615 w 363199"/>
                    <a:gd name="connsiteY16" fmla="*/ 79004 h 225490"/>
                    <a:gd name="connsiteX17" fmla="*/ 211775 w 363199"/>
                    <a:gd name="connsiteY17" fmla="*/ 75712 h 225490"/>
                    <a:gd name="connsiteX18" fmla="*/ 216164 w 363199"/>
                    <a:gd name="connsiteY18" fmla="*/ 75164 h 225490"/>
                    <a:gd name="connsiteX19" fmla="*/ 219456 w 363199"/>
                    <a:gd name="connsiteY19" fmla="*/ 72969 h 225490"/>
                    <a:gd name="connsiteX20" fmla="*/ 224394 w 363199"/>
                    <a:gd name="connsiteY20" fmla="*/ 66385 h 225490"/>
                    <a:gd name="connsiteX21" fmla="*/ 220553 w 363199"/>
                    <a:gd name="connsiteY21" fmla="*/ 64191 h 225490"/>
                    <a:gd name="connsiteX22" fmla="*/ 218908 w 363199"/>
                    <a:gd name="connsiteY22" fmla="*/ 60350 h 225490"/>
                    <a:gd name="connsiteX23" fmla="*/ 221651 w 363199"/>
                    <a:gd name="connsiteY23" fmla="*/ 55413 h 225490"/>
                    <a:gd name="connsiteX24" fmla="*/ 224942 w 363199"/>
                    <a:gd name="connsiteY24" fmla="*/ 54315 h 225490"/>
                    <a:gd name="connsiteX25" fmla="*/ 232075 w 363199"/>
                    <a:gd name="connsiteY25" fmla="*/ 54315 h 225490"/>
                    <a:gd name="connsiteX26" fmla="*/ 244145 w 363199"/>
                    <a:gd name="connsiteY26" fmla="*/ 36210 h 225490"/>
                    <a:gd name="connsiteX27" fmla="*/ 244693 w 363199"/>
                    <a:gd name="connsiteY27" fmla="*/ 32370 h 225490"/>
                    <a:gd name="connsiteX28" fmla="*/ 264445 w 363199"/>
                    <a:gd name="connsiteY28" fmla="*/ 8778 h 225490"/>
                    <a:gd name="connsiteX29" fmla="*/ 265542 w 363199"/>
                    <a:gd name="connsiteY29" fmla="*/ 4389 h 225490"/>
                    <a:gd name="connsiteX30" fmla="*/ 268285 w 363199"/>
                    <a:gd name="connsiteY30" fmla="*/ 0 h 225490"/>
                    <a:gd name="connsiteX31" fmla="*/ 269931 w 363199"/>
                    <a:gd name="connsiteY31" fmla="*/ 549 h 225490"/>
                    <a:gd name="connsiteX32" fmla="*/ 270479 w 363199"/>
                    <a:gd name="connsiteY32" fmla="*/ 2194 h 225490"/>
                    <a:gd name="connsiteX33" fmla="*/ 270479 w 363199"/>
                    <a:gd name="connsiteY33" fmla="*/ 9875 h 225490"/>
                    <a:gd name="connsiteX34" fmla="*/ 269382 w 363199"/>
                    <a:gd name="connsiteY34" fmla="*/ 13167 h 225490"/>
                    <a:gd name="connsiteX35" fmla="*/ 269382 w 363199"/>
                    <a:gd name="connsiteY35" fmla="*/ 15362 h 225490"/>
                    <a:gd name="connsiteX36" fmla="*/ 276515 w 363199"/>
                    <a:gd name="connsiteY36" fmla="*/ 6584 h 225490"/>
                    <a:gd name="connsiteX37" fmla="*/ 279258 w 363199"/>
                    <a:gd name="connsiteY37" fmla="*/ 549 h 225490"/>
                    <a:gd name="connsiteX38" fmla="*/ 284195 w 363199"/>
                    <a:gd name="connsiteY38" fmla="*/ 549 h 225490"/>
                    <a:gd name="connsiteX39" fmla="*/ 285841 w 363199"/>
                    <a:gd name="connsiteY39" fmla="*/ 2743 h 225490"/>
                    <a:gd name="connsiteX40" fmla="*/ 289133 w 363199"/>
                    <a:gd name="connsiteY40" fmla="*/ 12619 h 225490"/>
                    <a:gd name="connsiteX41" fmla="*/ 293522 w 363199"/>
                    <a:gd name="connsiteY41" fmla="*/ 15362 h 225490"/>
                    <a:gd name="connsiteX42" fmla="*/ 296814 w 363199"/>
                    <a:gd name="connsiteY42" fmla="*/ 13167 h 225490"/>
                    <a:gd name="connsiteX43" fmla="*/ 303398 w 363199"/>
                    <a:gd name="connsiteY43" fmla="*/ 19202 h 225490"/>
                    <a:gd name="connsiteX44" fmla="*/ 305044 w 363199"/>
                    <a:gd name="connsiteY44" fmla="*/ 26883 h 225490"/>
                    <a:gd name="connsiteX45" fmla="*/ 302849 w 363199"/>
                    <a:gd name="connsiteY45" fmla="*/ 30175 h 225490"/>
                    <a:gd name="connsiteX46" fmla="*/ 303398 w 363199"/>
                    <a:gd name="connsiteY46" fmla="*/ 38953 h 225490"/>
                    <a:gd name="connsiteX47" fmla="*/ 304495 w 363199"/>
                    <a:gd name="connsiteY47" fmla="*/ 39502 h 225490"/>
                    <a:gd name="connsiteX48" fmla="*/ 307238 w 363199"/>
                    <a:gd name="connsiteY48" fmla="*/ 38405 h 225490"/>
                    <a:gd name="connsiteX49" fmla="*/ 309433 w 363199"/>
                    <a:gd name="connsiteY49" fmla="*/ 38953 h 225490"/>
                    <a:gd name="connsiteX50" fmla="*/ 313273 w 363199"/>
                    <a:gd name="connsiteY50" fmla="*/ 36759 h 225490"/>
                    <a:gd name="connsiteX51" fmla="*/ 317114 w 363199"/>
                    <a:gd name="connsiteY51" fmla="*/ 36759 h 225490"/>
                    <a:gd name="connsiteX52" fmla="*/ 319309 w 363199"/>
                    <a:gd name="connsiteY52" fmla="*/ 40051 h 225490"/>
                    <a:gd name="connsiteX53" fmla="*/ 318760 w 363199"/>
                    <a:gd name="connsiteY53" fmla="*/ 43891 h 225490"/>
                    <a:gd name="connsiteX54" fmla="*/ 315468 w 363199"/>
                    <a:gd name="connsiteY54" fmla="*/ 46634 h 225490"/>
                    <a:gd name="connsiteX55" fmla="*/ 317114 w 363199"/>
                    <a:gd name="connsiteY55" fmla="*/ 48280 h 225490"/>
                    <a:gd name="connsiteX56" fmla="*/ 320406 w 363199"/>
                    <a:gd name="connsiteY56" fmla="*/ 48280 h 225490"/>
                    <a:gd name="connsiteX57" fmla="*/ 324795 w 363199"/>
                    <a:gd name="connsiteY57" fmla="*/ 44440 h 225490"/>
                    <a:gd name="connsiteX58" fmla="*/ 328636 w 363199"/>
                    <a:gd name="connsiteY58" fmla="*/ 44989 h 225490"/>
                    <a:gd name="connsiteX59" fmla="*/ 343997 w 363199"/>
                    <a:gd name="connsiteY59" fmla="*/ 54864 h 225490"/>
                    <a:gd name="connsiteX60" fmla="*/ 358262 w 363199"/>
                    <a:gd name="connsiteY60" fmla="*/ 59253 h 225490"/>
                    <a:gd name="connsiteX61" fmla="*/ 362651 w 363199"/>
                    <a:gd name="connsiteY61" fmla="*/ 61996 h 225490"/>
                    <a:gd name="connsiteX62" fmla="*/ 363200 w 363199"/>
                    <a:gd name="connsiteY62" fmla="*/ 65288 h 225490"/>
                    <a:gd name="connsiteX63" fmla="*/ 361554 w 363199"/>
                    <a:gd name="connsiteY63" fmla="*/ 68580 h 225490"/>
                    <a:gd name="connsiteX64" fmla="*/ 335768 w 363199"/>
                    <a:gd name="connsiteY64" fmla="*/ 77907 h 225490"/>
                    <a:gd name="connsiteX65" fmla="*/ 330281 w 363199"/>
                    <a:gd name="connsiteY65" fmla="*/ 75164 h 225490"/>
                    <a:gd name="connsiteX66" fmla="*/ 325343 w 363199"/>
                    <a:gd name="connsiteY66" fmla="*/ 77907 h 225490"/>
                    <a:gd name="connsiteX67" fmla="*/ 324795 w 363199"/>
                    <a:gd name="connsiteY67" fmla="*/ 82296 h 225490"/>
                    <a:gd name="connsiteX68" fmla="*/ 326441 w 363199"/>
                    <a:gd name="connsiteY68" fmla="*/ 86685 h 225490"/>
                    <a:gd name="connsiteX69" fmla="*/ 330281 w 363199"/>
                    <a:gd name="connsiteY69" fmla="*/ 89977 h 225490"/>
                    <a:gd name="connsiteX70" fmla="*/ 333573 w 363199"/>
                    <a:gd name="connsiteY70" fmla="*/ 91074 h 225490"/>
                    <a:gd name="connsiteX71" fmla="*/ 337414 w 363199"/>
                    <a:gd name="connsiteY71" fmla="*/ 93269 h 225490"/>
                    <a:gd name="connsiteX72" fmla="*/ 337962 w 363199"/>
                    <a:gd name="connsiteY72" fmla="*/ 96012 h 225490"/>
                    <a:gd name="connsiteX73" fmla="*/ 317114 w 363199"/>
                    <a:gd name="connsiteY73" fmla="*/ 102047 h 225490"/>
                    <a:gd name="connsiteX74" fmla="*/ 309433 w 363199"/>
                    <a:gd name="connsiteY74" fmla="*/ 100401 h 225490"/>
                    <a:gd name="connsiteX75" fmla="*/ 305593 w 363199"/>
                    <a:gd name="connsiteY75" fmla="*/ 97658 h 225490"/>
                    <a:gd name="connsiteX76" fmla="*/ 304495 w 363199"/>
                    <a:gd name="connsiteY76" fmla="*/ 98206 h 225490"/>
                    <a:gd name="connsiteX77" fmla="*/ 303398 w 363199"/>
                    <a:gd name="connsiteY77" fmla="*/ 101498 h 225490"/>
                    <a:gd name="connsiteX78" fmla="*/ 301204 w 363199"/>
                    <a:gd name="connsiteY78" fmla="*/ 103693 h 225490"/>
                    <a:gd name="connsiteX79" fmla="*/ 288036 w 363199"/>
                    <a:gd name="connsiteY79" fmla="*/ 100401 h 225490"/>
                    <a:gd name="connsiteX80" fmla="*/ 282550 w 363199"/>
                    <a:gd name="connsiteY80" fmla="*/ 97109 h 225490"/>
                    <a:gd name="connsiteX81" fmla="*/ 234818 w 363199"/>
                    <a:gd name="connsiteY81" fmla="*/ 97109 h 225490"/>
                    <a:gd name="connsiteX82" fmla="*/ 230429 w 363199"/>
                    <a:gd name="connsiteY82" fmla="*/ 103144 h 225490"/>
                    <a:gd name="connsiteX83" fmla="*/ 221102 w 363199"/>
                    <a:gd name="connsiteY83" fmla="*/ 137160 h 225490"/>
                    <a:gd name="connsiteX84" fmla="*/ 202997 w 363199"/>
                    <a:gd name="connsiteY84" fmla="*/ 157460 h 225490"/>
                    <a:gd name="connsiteX85" fmla="*/ 185989 w 363199"/>
                    <a:gd name="connsiteY85" fmla="*/ 200802 h 225490"/>
                    <a:gd name="connsiteX86" fmla="*/ 181051 w 363199"/>
                    <a:gd name="connsiteY86" fmla="*/ 204643 h 225490"/>
                    <a:gd name="connsiteX87" fmla="*/ 149779 w 363199"/>
                    <a:gd name="connsiteY87" fmla="*/ 214518 h 225490"/>
                    <a:gd name="connsiteX88" fmla="*/ 143744 w 363199"/>
                    <a:gd name="connsiteY88" fmla="*/ 214518 h 225490"/>
                    <a:gd name="connsiteX89" fmla="*/ 125639 w 363199"/>
                    <a:gd name="connsiteY89" fmla="*/ 209581 h 225490"/>
                    <a:gd name="connsiteX90" fmla="*/ 125090 w 363199"/>
                    <a:gd name="connsiteY90" fmla="*/ 204643 h 225490"/>
                    <a:gd name="connsiteX91" fmla="*/ 121798 w 363199"/>
                    <a:gd name="connsiteY91" fmla="*/ 202997 h 225490"/>
                    <a:gd name="connsiteX92" fmla="*/ 103144 w 363199"/>
                    <a:gd name="connsiteY92" fmla="*/ 202448 h 225490"/>
                    <a:gd name="connsiteX93" fmla="*/ 99853 w 363199"/>
                    <a:gd name="connsiteY93" fmla="*/ 202997 h 225490"/>
                    <a:gd name="connsiteX94" fmla="*/ 83393 w 363199"/>
                    <a:gd name="connsiteY94" fmla="*/ 221650 h 225490"/>
                    <a:gd name="connsiteX95" fmla="*/ 78455 w 363199"/>
                    <a:gd name="connsiteY95" fmla="*/ 223845 h 225490"/>
                    <a:gd name="connsiteX96" fmla="*/ 65288 w 363199"/>
                    <a:gd name="connsiteY96" fmla="*/ 223297 h 225490"/>
                    <a:gd name="connsiteX97" fmla="*/ 59253 w 363199"/>
                    <a:gd name="connsiteY97" fmla="*/ 225491 h 225490"/>
                    <a:gd name="connsiteX98" fmla="*/ 52669 w 363199"/>
                    <a:gd name="connsiteY98" fmla="*/ 221650 h 225490"/>
                    <a:gd name="connsiteX99" fmla="*/ 44989 w 363199"/>
                    <a:gd name="connsiteY99" fmla="*/ 222199 h 225490"/>
                    <a:gd name="connsiteX100" fmla="*/ 37307 w 363199"/>
                    <a:gd name="connsiteY100" fmla="*/ 224942 h 225490"/>
                    <a:gd name="connsiteX101" fmla="*/ 26883 w 363199"/>
                    <a:gd name="connsiteY101" fmla="*/ 222748 h 225490"/>
                    <a:gd name="connsiteX102" fmla="*/ 0 w 363199"/>
                    <a:gd name="connsiteY102" fmla="*/ 187635 h 225490"/>
                    <a:gd name="connsiteX103" fmla="*/ 0 w 363199"/>
                    <a:gd name="connsiteY103" fmla="*/ 184892 h 225490"/>
                    <a:gd name="connsiteX104" fmla="*/ 3292 w 363199"/>
                    <a:gd name="connsiteY104" fmla="*/ 181600 h 225490"/>
                    <a:gd name="connsiteX105" fmla="*/ 4938 w 363199"/>
                    <a:gd name="connsiteY105" fmla="*/ 181051 h 225490"/>
                    <a:gd name="connsiteX106" fmla="*/ 6584 w 363199"/>
                    <a:gd name="connsiteY106" fmla="*/ 187086 h 225490"/>
                    <a:gd name="connsiteX107" fmla="*/ 9327 w 363199"/>
                    <a:gd name="connsiteY107" fmla="*/ 190378 h 225490"/>
                    <a:gd name="connsiteX108" fmla="*/ 23591 w 363199"/>
                    <a:gd name="connsiteY108" fmla="*/ 194767 h 225490"/>
                    <a:gd name="connsiteX109" fmla="*/ 31821 w 363199"/>
                    <a:gd name="connsiteY109" fmla="*/ 193121 h 225490"/>
                    <a:gd name="connsiteX110" fmla="*/ 40051 w 363199"/>
                    <a:gd name="connsiteY110" fmla="*/ 197510 h 225490"/>
                    <a:gd name="connsiteX111" fmla="*/ 57607 w 363199"/>
                    <a:gd name="connsiteY111" fmla="*/ 200254 h 225490"/>
                    <a:gd name="connsiteX112" fmla="*/ 63642 w 363199"/>
                    <a:gd name="connsiteY112" fmla="*/ 180502 h 225490"/>
                    <a:gd name="connsiteX113" fmla="*/ 61996 w 363199"/>
                    <a:gd name="connsiteY113" fmla="*/ 173370 h 225490"/>
                    <a:gd name="connsiteX114" fmla="*/ 65288 w 363199"/>
                    <a:gd name="connsiteY114" fmla="*/ 171176 h 225490"/>
                    <a:gd name="connsiteX115" fmla="*/ 69677 w 363199"/>
                    <a:gd name="connsiteY115" fmla="*/ 172273 h 225490"/>
                    <a:gd name="connsiteX116" fmla="*/ 70775 w 363199"/>
                    <a:gd name="connsiteY116" fmla="*/ 173370 h 225490"/>
                    <a:gd name="connsiteX117" fmla="*/ 70775 w 363199"/>
                    <a:gd name="connsiteY117" fmla="*/ 163495 h 225490"/>
                    <a:gd name="connsiteX118" fmla="*/ 71872 w 363199"/>
                    <a:gd name="connsiteY118" fmla="*/ 160751 h 225490"/>
                    <a:gd name="connsiteX119" fmla="*/ 76810 w 363199"/>
                    <a:gd name="connsiteY119" fmla="*/ 154168 h 225490"/>
                    <a:gd name="connsiteX120" fmla="*/ 80101 w 363199"/>
                    <a:gd name="connsiteY120" fmla="*/ 151973 h 225490"/>
                    <a:gd name="connsiteX121" fmla="*/ 91074 w 363199"/>
                    <a:gd name="connsiteY121" fmla="*/ 150876 h 225490"/>
                    <a:gd name="connsiteX122" fmla="*/ 93817 w 363199"/>
                    <a:gd name="connsiteY122" fmla="*/ 149779 h 225490"/>
                    <a:gd name="connsiteX123" fmla="*/ 93817 w 363199"/>
                    <a:gd name="connsiteY123" fmla="*/ 149230 h 225490"/>
                    <a:gd name="connsiteX124" fmla="*/ 119055 w 363199"/>
                    <a:gd name="connsiteY124" fmla="*/ 146487 h 225490"/>
                    <a:gd name="connsiteX125" fmla="*/ 122896 w 363199"/>
                    <a:gd name="connsiteY125" fmla="*/ 144841 h 225490"/>
                    <a:gd name="connsiteX126" fmla="*/ 163495 w 363199"/>
                    <a:gd name="connsiteY126" fmla="*/ 97658 h 225490"/>
                    <a:gd name="connsiteX127" fmla="*/ 164592 w 363199"/>
                    <a:gd name="connsiteY127" fmla="*/ 89428 h 225490"/>
                    <a:gd name="connsiteX128" fmla="*/ 165689 w 363199"/>
                    <a:gd name="connsiteY128" fmla="*/ 88331 h 2254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</a:cxnLst>
                  <a:rect l="l" t="t" r="r" b="b"/>
                  <a:pathLst>
                    <a:path w="363199" h="225490">
                      <a:moveTo>
                        <a:pt x="165689" y="88331"/>
                      </a:moveTo>
                      <a:lnTo>
                        <a:pt x="168433" y="89428"/>
                      </a:lnTo>
                      <a:lnTo>
                        <a:pt x="185989" y="108631"/>
                      </a:lnTo>
                      <a:lnTo>
                        <a:pt x="189281" y="109179"/>
                      </a:lnTo>
                      <a:lnTo>
                        <a:pt x="192024" y="107533"/>
                      </a:lnTo>
                      <a:lnTo>
                        <a:pt x="194219" y="102596"/>
                      </a:lnTo>
                      <a:lnTo>
                        <a:pt x="194767" y="85588"/>
                      </a:lnTo>
                      <a:lnTo>
                        <a:pt x="197510" y="82845"/>
                      </a:lnTo>
                      <a:lnTo>
                        <a:pt x="200802" y="81199"/>
                      </a:lnTo>
                      <a:lnTo>
                        <a:pt x="203545" y="81199"/>
                      </a:lnTo>
                      <a:lnTo>
                        <a:pt x="205740" y="83393"/>
                      </a:lnTo>
                      <a:lnTo>
                        <a:pt x="210129" y="93269"/>
                      </a:lnTo>
                      <a:lnTo>
                        <a:pt x="213421" y="95463"/>
                      </a:lnTo>
                      <a:lnTo>
                        <a:pt x="217261" y="95463"/>
                      </a:lnTo>
                      <a:lnTo>
                        <a:pt x="218908" y="92171"/>
                      </a:lnTo>
                      <a:lnTo>
                        <a:pt x="217810" y="83942"/>
                      </a:lnTo>
                      <a:lnTo>
                        <a:pt x="215615" y="79004"/>
                      </a:lnTo>
                      <a:lnTo>
                        <a:pt x="211775" y="75712"/>
                      </a:lnTo>
                      <a:lnTo>
                        <a:pt x="216164" y="75164"/>
                      </a:lnTo>
                      <a:lnTo>
                        <a:pt x="219456" y="72969"/>
                      </a:lnTo>
                      <a:lnTo>
                        <a:pt x="224394" y="66385"/>
                      </a:lnTo>
                      <a:lnTo>
                        <a:pt x="220553" y="64191"/>
                      </a:lnTo>
                      <a:lnTo>
                        <a:pt x="218908" y="60350"/>
                      </a:lnTo>
                      <a:lnTo>
                        <a:pt x="221651" y="55413"/>
                      </a:lnTo>
                      <a:lnTo>
                        <a:pt x="224942" y="54315"/>
                      </a:lnTo>
                      <a:lnTo>
                        <a:pt x="232075" y="54315"/>
                      </a:lnTo>
                      <a:lnTo>
                        <a:pt x="244145" y="36210"/>
                      </a:lnTo>
                      <a:lnTo>
                        <a:pt x="244693" y="32370"/>
                      </a:lnTo>
                      <a:lnTo>
                        <a:pt x="264445" y="8778"/>
                      </a:lnTo>
                      <a:lnTo>
                        <a:pt x="265542" y="4389"/>
                      </a:lnTo>
                      <a:lnTo>
                        <a:pt x="268285" y="0"/>
                      </a:lnTo>
                      <a:lnTo>
                        <a:pt x="269931" y="549"/>
                      </a:lnTo>
                      <a:lnTo>
                        <a:pt x="270479" y="2194"/>
                      </a:lnTo>
                      <a:lnTo>
                        <a:pt x="270479" y="9875"/>
                      </a:lnTo>
                      <a:lnTo>
                        <a:pt x="269382" y="13167"/>
                      </a:lnTo>
                      <a:lnTo>
                        <a:pt x="269382" y="15362"/>
                      </a:lnTo>
                      <a:lnTo>
                        <a:pt x="276515" y="6584"/>
                      </a:lnTo>
                      <a:lnTo>
                        <a:pt x="279258" y="549"/>
                      </a:lnTo>
                      <a:lnTo>
                        <a:pt x="284195" y="549"/>
                      </a:lnTo>
                      <a:lnTo>
                        <a:pt x="285841" y="2743"/>
                      </a:lnTo>
                      <a:lnTo>
                        <a:pt x="289133" y="12619"/>
                      </a:lnTo>
                      <a:lnTo>
                        <a:pt x="293522" y="15362"/>
                      </a:lnTo>
                      <a:lnTo>
                        <a:pt x="296814" y="13167"/>
                      </a:lnTo>
                      <a:lnTo>
                        <a:pt x="303398" y="19202"/>
                      </a:lnTo>
                      <a:lnTo>
                        <a:pt x="305044" y="26883"/>
                      </a:lnTo>
                      <a:lnTo>
                        <a:pt x="302849" y="30175"/>
                      </a:lnTo>
                      <a:lnTo>
                        <a:pt x="303398" y="38953"/>
                      </a:lnTo>
                      <a:lnTo>
                        <a:pt x="304495" y="39502"/>
                      </a:lnTo>
                      <a:lnTo>
                        <a:pt x="307238" y="38405"/>
                      </a:lnTo>
                      <a:lnTo>
                        <a:pt x="309433" y="38953"/>
                      </a:lnTo>
                      <a:lnTo>
                        <a:pt x="313273" y="36759"/>
                      </a:lnTo>
                      <a:lnTo>
                        <a:pt x="317114" y="36759"/>
                      </a:lnTo>
                      <a:lnTo>
                        <a:pt x="319309" y="40051"/>
                      </a:lnTo>
                      <a:lnTo>
                        <a:pt x="318760" y="43891"/>
                      </a:lnTo>
                      <a:lnTo>
                        <a:pt x="315468" y="46634"/>
                      </a:lnTo>
                      <a:lnTo>
                        <a:pt x="317114" y="48280"/>
                      </a:lnTo>
                      <a:lnTo>
                        <a:pt x="320406" y="48280"/>
                      </a:lnTo>
                      <a:lnTo>
                        <a:pt x="324795" y="44440"/>
                      </a:lnTo>
                      <a:lnTo>
                        <a:pt x="328636" y="44989"/>
                      </a:lnTo>
                      <a:lnTo>
                        <a:pt x="343997" y="54864"/>
                      </a:lnTo>
                      <a:lnTo>
                        <a:pt x="358262" y="59253"/>
                      </a:lnTo>
                      <a:lnTo>
                        <a:pt x="362651" y="61996"/>
                      </a:lnTo>
                      <a:lnTo>
                        <a:pt x="363200" y="65288"/>
                      </a:lnTo>
                      <a:lnTo>
                        <a:pt x="361554" y="68580"/>
                      </a:lnTo>
                      <a:lnTo>
                        <a:pt x="335768" y="77907"/>
                      </a:lnTo>
                      <a:lnTo>
                        <a:pt x="330281" y="75164"/>
                      </a:lnTo>
                      <a:lnTo>
                        <a:pt x="325343" y="77907"/>
                      </a:lnTo>
                      <a:lnTo>
                        <a:pt x="324795" y="82296"/>
                      </a:lnTo>
                      <a:lnTo>
                        <a:pt x="326441" y="86685"/>
                      </a:lnTo>
                      <a:lnTo>
                        <a:pt x="330281" y="89977"/>
                      </a:lnTo>
                      <a:lnTo>
                        <a:pt x="333573" y="91074"/>
                      </a:lnTo>
                      <a:lnTo>
                        <a:pt x="337414" y="93269"/>
                      </a:lnTo>
                      <a:lnTo>
                        <a:pt x="337962" y="96012"/>
                      </a:lnTo>
                      <a:lnTo>
                        <a:pt x="317114" y="102047"/>
                      </a:lnTo>
                      <a:lnTo>
                        <a:pt x="309433" y="100401"/>
                      </a:lnTo>
                      <a:lnTo>
                        <a:pt x="305593" y="97658"/>
                      </a:lnTo>
                      <a:lnTo>
                        <a:pt x="304495" y="98206"/>
                      </a:lnTo>
                      <a:lnTo>
                        <a:pt x="303398" y="101498"/>
                      </a:lnTo>
                      <a:lnTo>
                        <a:pt x="301204" y="103693"/>
                      </a:lnTo>
                      <a:lnTo>
                        <a:pt x="288036" y="100401"/>
                      </a:lnTo>
                      <a:lnTo>
                        <a:pt x="282550" y="97109"/>
                      </a:lnTo>
                      <a:lnTo>
                        <a:pt x="234818" y="97109"/>
                      </a:lnTo>
                      <a:lnTo>
                        <a:pt x="230429" y="103144"/>
                      </a:lnTo>
                      <a:lnTo>
                        <a:pt x="221102" y="137160"/>
                      </a:lnTo>
                      <a:lnTo>
                        <a:pt x="202997" y="157460"/>
                      </a:lnTo>
                      <a:lnTo>
                        <a:pt x="185989" y="200802"/>
                      </a:lnTo>
                      <a:lnTo>
                        <a:pt x="181051" y="204643"/>
                      </a:lnTo>
                      <a:lnTo>
                        <a:pt x="149779" y="214518"/>
                      </a:lnTo>
                      <a:lnTo>
                        <a:pt x="143744" y="214518"/>
                      </a:lnTo>
                      <a:lnTo>
                        <a:pt x="125639" y="209581"/>
                      </a:lnTo>
                      <a:lnTo>
                        <a:pt x="125090" y="204643"/>
                      </a:lnTo>
                      <a:lnTo>
                        <a:pt x="121798" y="202997"/>
                      </a:lnTo>
                      <a:lnTo>
                        <a:pt x="103144" y="202448"/>
                      </a:lnTo>
                      <a:lnTo>
                        <a:pt x="99853" y="202997"/>
                      </a:lnTo>
                      <a:lnTo>
                        <a:pt x="83393" y="221650"/>
                      </a:lnTo>
                      <a:lnTo>
                        <a:pt x="78455" y="223845"/>
                      </a:lnTo>
                      <a:lnTo>
                        <a:pt x="65288" y="223297"/>
                      </a:lnTo>
                      <a:lnTo>
                        <a:pt x="59253" y="225491"/>
                      </a:lnTo>
                      <a:lnTo>
                        <a:pt x="52669" y="221650"/>
                      </a:lnTo>
                      <a:lnTo>
                        <a:pt x="44989" y="222199"/>
                      </a:lnTo>
                      <a:lnTo>
                        <a:pt x="37307" y="224942"/>
                      </a:lnTo>
                      <a:lnTo>
                        <a:pt x="26883" y="222748"/>
                      </a:lnTo>
                      <a:lnTo>
                        <a:pt x="0" y="187635"/>
                      </a:lnTo>
                      <a:lnTo>
                        <a:pt x="0" y="184892"/>
                      </a:lnTo>
                      <a:lnTo>
                        <a:pt x="3292" y="181600"/>
                      </a:lnTo>
                      <a:lnTo>
                        <a:pt x="4938" y="181051"/>
                      </a:lnTo>
                      <a:lnTo>
                        <a:pt x="6584" y="187086"/>
                      </a:lnTo>
                      <a:lnTo>
                        <a:pt x="9327" y="190378"/>
                      </a:lnTo>
                      <a:lnTo>
                        <a:pt x="23591" y="194767"/>
                      </a:lnTo>
                      <a:lnTo>
                        <a:pt x="31821" y="193121"/>
                      </a:lnTo>
                      <a:lnTo>
                        <a:pt x="40051" y="197510"/>
                      </a:lnTo>
                      <a:lnTo>
                        <a:pt x="57607" y="200254"/>
                      </a:lnTo>
                      <a:lnTo>
                        <a:pt x="63642" y="180502"/>
                      </a:lnTo>
                      <a:lnTo>
                        <a:pt x="61996" y="173370"/>
                      </a:lnTo>
                      <a:lnTo>
                        <a:pt x="65288" y="171176"/>
                      </a:lnTo>
                      <a:lnTo>
                        <a:pt x="69677" y="172273"/>
                      </a:lnTo>
                      <a:lnTo>
                        <a:pt x="70775" y="173370"/>
                      </a:lnTo>
                      <a:lnTo>
                        <a:pt x="70775" y="163495"/>
                      </a:lnTo>
                      <a:lnTo>
                        <a:pt x="71872" y="160751"/>
                      </a:lnTo>
                      <a:lnTo>
                        <a:pt x="76810" y="154168"/>
                      </a:lnTo>
                      <a:lnTo>
                        <a:pt x="80101" y="151973"/>
                      </a:lnTo>
                      <a:lnTo>
                        <a:pt x="91074" y="150876"/>
                      </a:lnTo>
                      <a:lnTo>
                        <a:pt x="93817" y="149779"/>
                      </a:lnTo>
                      <a:lnTo>
                        <a:pt x="93817" y="149230"/>
                      </a:lnTo>
                      <a:lnTo>
                        <a:pt x="119055" y="146487"/>
                      </a:lnTo>
                      <a:lnTo>
                        <a:pt x="122896" y="144841"/>
                      </a:lnTo>
                      <a:lnTo>
                        <a:pt x="163495" y="97658"/>
                      </a:lnTo>
                      <a:lnTo>
                        <a:pt x="164592" y="89428"/>
                      </a:lnTo>
                      <a:lnTo>
                        <a:pt x="165689" y="88331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58" name="Graphic 7">
                  <a:extLst>
                    <a:ext uri="{FF2B5EF4-FFF2-40B4-BE49-F238E27FC236}">
                      <a16:creationId xmlns:a16="http://schemas.microsoft.com/office/drawing/2014/main" id="{81F4E1C9-78C6-8A52-407F-B1E033BFFBA5}"/>
                    </a:ext>
                  </a:extLst>
                </p:cNvPr>
                <p:cNvSpPr/>
                <p:nvPr/>
              </p:nvSpPr>
              <p:spPr>
                <a:xfrm>
                  <a:off x="7319705" y="3186718"/>
                  <a:ext cx="8572" cy="11144"/>
                </a:xfrm>
                <a:custGeom>
                  <a:avLst/>
                  <a:gdLst>
                    <a:gd name="connsiteX0" fmla="*/ 10973 w 10972"/>
                    <a:gd name="connsiteY0" fmla="*/ 13167 h 14264"/>
                    <a:gd name="connsiteX1" fmla="*/ 10973 w 10972"/>
                    <a:gd name="connsiteY1" fmla="*/ 8230 h 14264"/>
                    <a:gd name="connsiteX2" fmla="*/ 3840 w 10972"/>
                    <a:gd name="connsiteY2" fmla="*/ 0 h 14264"/>
                    <a:gd name="connsiteX3" fmla="*/ 0 w 10972"/>
                    <a:gd name="connsiteY3" fmla="*/ 3841 h 14264"/>
                    <a:gd name="connsiteX4" fmla="*/ 3292 w 10972"/>
                    <a:gd name="connsiteY4" fmla="*/ 14265 h 14264"/>
                    <a:gd name="connsiteX5" fmla="*/ 8778 w 10972"/>
                    <a:gd name="connsiteY5" fmla="*/ 14265 h 14264"/>
                    <a:gd name="connsiteX6" fmla="*/ 10973 w 10972"/>
                    <a:gd name="connsiteY6" fmla="*/ 13167 h 142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72" h="14264">
                      <a:moveTo>
                        <a:pt x="10973" y="13167"/>
                      </a:moveTo>
                      <a:lnTo>
                        <a:pt x="10973" y="8230"/>
                      </a:lnTo>
                      <a:lnTo>
                        <a:pt x="3840" y="0"/>
                      </a:lnTo>
                      <a:lnTo>
                        <a:pt x="0" y="3841"/>
                      </a:lnTo>
                      <a:lnTo>
                        <a:pt x="3292" y="14265"/>
                      </a:lnTo>
                      <a:lnTo>
                        <a:pt x="8778" y="14265"/>
                      </a:lnTo>
                      <a:lnTo>
                        <a:pt x="10973" y="13167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59" name="Graphic 7">
                  <a:extLst>
                    <a:ext uri="{FF2B5EF4-FFF2-40B4-BE49-F238E27FC236}">
                      <a16:creationId xmlns:a16="http://schemas.microsoft.com/office/drawing/2014/main" id="{A226F090-820D-CB7B-11AC-9E8779C01177}"/>
                    </a:ext>
                  </a:extLst>
                </p:cNvPr>
                <p:cNvSpPr/>
                <p:nvPr/>
              </p:nvSpPr>
              <p:spPr>
                <a:xfrm>
                  <a:off x="7338565" y="3193576"/>
                  <a:ext cx="7286" cy="4286"/>
                </a:xfrm>
                <a:custGeom>
                  <a:avLst/>
                  <a:gdLst>
                    <a:gd name="connsiteX0" fmla="*/ 9327 w 9326"/>
                    <a:gd name="connsiteY0" fmla="*/ 2743 h 5486"/>
                    <a:gd name="connsiteX1" fmla="*/ 4938 w 9326"/>
                    <a:gd name="connsiteY1" fmla="*/ 0 h 5486"/>
                    <a:gd name="connsiteX2" fmla="*/ 0 w 9326"/>
                    <a:gd name="connsiteY2" fmla="*/ 1646 h 5486"/>
                    <a:gd name="connsiteX3" fmla="*/ 3841 w 9326"/>
                    <a:gd name="connsiteY3" fmla="*/ 5486 h 5486"/>
                    <a:gd name="connsiteX4" fmla="*/ 9327 w 9326"/>
                    <a:gd name="connsiteY4" fmla="*/ 4389 h 5486"/>
                    <a:gd name="connsiteX5" fmla="*/ 9327 w 9326"/>
                    <a:gd name="connsiteY5" fmla="*/ 2743 h 54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9326" h="5486">
                      <a:moveTo>
                        <a:pt x="9327" y="2743"/>
                      </a:moveTo>
                      <a:lnTo>
                        <a:pt x="4938" y="0"/>
                      </a:lnTo>
                      <a:lnTo>
                        <a:pt x="0" y="1646"/>
                      </a:lnTo>
                      <a:lnTo>
                        <a:pt x="3841" y="5486"/>
                      </a:lnTo>
                      <a:lnTo>
                        <a:pt x="9327" y="4389"/>
                      </a:lnTo>
                      <a:lnTo>
                        <a:pt x="9327" y="2743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60" name="Graphic 7">
                  <a:extLst>
                    <a:ext uri="{FF2B5EF4-FFF2-40B4-BE49-F238E27FC236}">
                      <a16:creationId xmlns:a16="http://schemas.microsoft.com/office/drawing/2014/main" id="{285AF2AA-FFB7-D474-CE9E-6661F477A978}"/>
                    </a:ext>
                  </a:extLst>
                </p:cNvPr>
                <p:cNvSpPr/>
                <p:nvPr/>
              </p:nvSpPr>
              <p:spPr>
                <a:xfrm>
                  <a:off x="7215546" y="3151998"/>
                  <a:ext cx="222893" cy="167170"/>
                </a:xfrm>
                <a:custGeom>
                  <a:avLst/>
                  <a:gdLst>
                    <a:gd name="connsiteX0" fmla="*/ 12619 w 285292"/>
                    <a:gd name="connsiteY0" fmla="*/ 184892 h 213969"/>
                    <a:gd name="connsiteX1" fmla="*/ 25238 w 285292"/>
                    <a:gd name="connsiteY1" fmla="*/ 198608 h 213969"/>
                    <a:gd name="connsiteX2" fmla="*/ 30175 w 285292"/>
                    <a:gd name="connsiteY2" fmla="*/ 196413 h 213969"/>
                    <a:gd name="connsiteX3" fmla="*/ 35113 w 285292"/>
                    <a:gd name="connsiteY3" fmla="*/ 196413 h 213969"/>
                    <a:gd name="connsiteX4" fmla="*/ 36210 w 285292"/>
                    <a:gd name="connsiteY4" fmla="*/ 192573 h 213969"/>
                    <a:gd name="connsiteX5" fmla="*/ 48829 w 285292"/>
                    <a:gd name="connsiteY5" fmla="*/ 187086 h 213969"/>
                    <a:gd name="connsiteX6" fmla="*/ 52121 w 285292"/>
                    <a:gd name="connsiteY6" fmla="*/ 187635 h 213969"/>
                    <a:gd name="connsiteX7" fmla="*/ 53767 w 285292"/>
                    <a:gd name="connsiteY7" fmla="*/ 185440 h 213969"/>
                    <a:gd name="connsiteX8" fmla="*/ 58156 w 285292"/>
                    <a:gd name="connsiteY8" fmla="*/ 183794 h 213969"/>
                    <a:gd name="connsiteX9" fmla="*/ 60350 w 285292"/>
                    <a:gd name="connsiteY9" fmla="*/ 184343 h 213969"/>
                    <a:gd name="connsiteX10" fmla="*/ 63642 w 285292"/>
                    <a:gd name="connsiteY10" fmla="*/ 187635 h 213969"/>
                    <a:gd name="connsiteX11" fmla="*/ 73518 w 285292"/>
                    <a:gd name="connsiteY11" fmla="*/ 190927 h 213969"/>
                    <a:gd name="connsiteX12" fmla="*/ 76261 w 285292"/>
                    <a:gd name="connsiteY12" fmla="*/ 189281 h 213969"/>
                    <a:gd name="connsiteX13" fmla="*/ 76810 w 285292"/>
                    <a:gd name="connsiteY13" fmla="*/ 187635 h 213969"/>
                    <a:gd name="connsiteX14" fmla="*/ 76810 w 285292"/>
                    <a:gd name="connsiteY14" fmla="*/ 184343 h 213969"/>
                    <a:gd name="connsiteX15" fmla="*/ 75164 w 285292"/>
                    <a:gd name="connsiteY15" fmla="*/ 181600 h 213969"/>
                    <a:gd name="connsiteX16" fmla="*/ 74615 w 285292"/>
                    <a:gd name="connsiteY16" fmla="*/ 177211 h 213969"/>
                    <a:gd name="connsiteX17" fmla="*/ 80650 w 285292"/>
                    <a:gd name="connsiteY17" fmla="*/ 168981 h 213969"/>
                    <a:gd name="connsiteX18" fmla="*/ 83942 w 285292"/>
                    <a:gd name="connsiteY18" fmla="*/ 168433 h 213969"/>
                    <a:gd name="connsiteX19" fmla="*/ 88331 w 285292"/>
                    <a:gd name="connsiteY19" fmla="*/ 170078 h 213969"/>
                    <a:gd name="connsiteX20" fmla="*/ 93818 w 285292"/>
                    <a:gd name="connsiteY20" fmla="*/ 168981 h 213969"/>
                    <a:gd name="connsiteX21" fmla="*/ 99304 w 285292"/>
                    <a:gd name="connsiteY21" fmla="*/ 172273 h 213969"/>
                    <a:gd name="connsiteX22" fmla="*/ 102047 w 285292"/>
                    <a:gd name="connsiteY22" fmla="*/ 172822 h 213969"/>
                    <a:gd name="connsiteX23" fmla="*/ 103693 w 285292"/>
                    <a:gd name="connsiteY23" fmla="*/ 172273 h 213969"/>
                    <a:gd name="connsiteX24" fmla="*/ 108631 w 285292"/>
                    <a:gd name="connsiteY24" fmla="*/ 166238 h 213969"/>
                    <a:gd name="connsiteX25" fmla="*/ 109728 w 285292"/>
                    <a:gd name="connsiteY25" fmla="*/ 163495 h 213969"/>
                    <a:gd name="connsiteX26" fmla="*/ 105888 w 285292"/>
                    <a:gd name="connsiteY26" fmla="*/ 159106 h 213969"/>
                    <a:gd name="connsiteX27" fmla="*/ 105888 w 285292"/>
                    <a:gd name="connsiteY27" fmla="*/ 155265 h 213969"/>
                    <a:gd name="connsiteX28" fmla="*/ 120152 w 285292"/>
                    <a:gd name="connsiteY28" fmla="*/ 135514 h 213969"/>
                    <a:gd name="connsiteX29" fmla="*/ 122347 w 285292"/>
                    <a:gd name="connsiteY29" fmla="*/ 134417 h 213969"/>
                    <a:gd name="connsiteX30" fmla="*/ 123993 w 285292"/>
                    <a:gd name="connsiteY30" fmla="*/ 130576 h 213969"/>
                    <a:gd name="connsiteX31" fmla="*/ 124541 w 285292"/>
                    <a:gd name="connsiteY31" fmla="*/ 129479 h 213969"/>
                    <a:gd name="connsiteX32" fmla="*/ 129479 w 285292"/>
                    <a:gd name="connsiteY32" fmla="*/ 130576 h 213969"/>
                    <a:gd name="connsiteX33" fmla="*/ 132771 w 285292"/>
                    <a:gd name="connsiteY33" fmla="*/ 128382 h 213969"/>
                    <a:gd name="connsiteX34" fmla="*/ 139355 w 285292"/>
                    <a:gd name="connsiteY34" fmla="*/ 129479 h 213969"/>
                    <a:gd name="connsiteX35" fmla="*/ 148133 w 285292"/>
                    <a:gd name="connsiteY35" fmla="*/ 138257 h 213969"/>
                    <a:gd name="connsiteX36" fmla="*/ 148133 w 285292"/>
                    <a:gd name="connsiteY36" fmla="*/ 142646 h 213969"/>
                    <a:gd name="connsiteX37" fmla="*/ 145390 w 285292"/>
                    <a:gd name="connsiteY37" fmla="*/ 147584 h 213969"/>
                    <a:gd name="connsiteX38" fmla="*/ 145390 w 285292"/>
                    <a:gd name="connsiteY38" fmla="*/ 150876 h 213969"/>
                    <a:gd name="connsiteX39" fmla="*/ 146487 w 285292"/>
                    <a:gd name="connsiteY39" fmla="*/ 152522 h 213969"/>
                    <a:gd name="connsiteX40" fmla="*/ 149779 w 285292"/>
                    <a:gd name="connsiteY40" fmla="*/ 154717 h 213969"/>
                    <a:gd name="connsiteX41" fmla="*/ 153619 w 285292"/>
                    <a:gd name="connsiteY41" fmla="*/ 153619 h 213969"/>
                    <a:gd name="connsiteX42" fmla="*/ 156362 w 285292"/>
                    <a:gd name="connsiteY42" fmla="*/ 154717 h 213969"/>
                    <a:gd name="connsiteX43" fmla="*/ 157460 w 285292"/>
                    <a:gd name="connsiteY43" fmla="*/ 158008 h 213969"/>
                    <a:gd name="connsiteX44" fmla="*/ 155265 w 285292"/>
                    <a:gd name="connsiteY44" fmla="*/ 160203 h 213969"/>
                    <a:gd name="connsiteX45" fmla="*/ 154717 w 285292"/>
                    <a:gd name="connsiteY45" fmla="*/ 163495 h 213969"/>
                    <a:gd name="connsiteX46" fmla="*/ 155265 w 285292"/>
                    <a:gd name="connsiteY46" fmla="*/ 170627 h 213969"/>
                    <a:gd name="connsiteX47" fmla="*/ 154717 w 285292"/>
                    <a:gd name="connsiteY47" fmla="*/ 174467 h 213969"/>
                    <a:gd name="connsiteX48" fmla="*/ 153071 w 285292"/>
                    <a:gd name="connsiteY48" fmla="*/ 178308 h 213969"/>
                    <a:gd name="connsiteX49" fmla="*/ 153071 w 285292"/>
                    <a:gd name="connsiteY49" fmla="*/ 184892 h 213969"/>
                    <a:gd name="connsiteX50" fmla="*/ 150876 w 285292"/>
                    <a:gd name="connsiteY50" fmla="*/ 190927 h 213969"/>
                    <a:gd name="connsiteX51" fmla="*/ 152522 w 285292"/>
                    <a:gd name="connsiteY51" fmla="*/ 197510 h 213969"/>
                    <a:gd name="connsiteX52" fmla="*/ 160752 w 285292"/>
                    <a:gd name="connsiteY52" fmla="*/ 211775 h 213969"/>
                    <a:gd name="connsiteX53" fmla="*/ 161849 w 285292"/>
                    <a:gd name="connsiteY53" fmla="*/ 212872 h 213969"/>
                    <a:gd name="connsiteX54" fmla="*/ 164592 w 285292"/>
                    <a:gd name="connsiteY54" fmla="*/ 213970 h 213969"/>
                    <a:gd name="connsiteX55" fmla="*/ 185441 w 285292"/>
                    <a:gd name="connsiteY55" fmla="*/ 200254 h 213969"/>
                    <a:gd name="connsiteX56" fmla="*/ 199705 w 285292"/>
                    <a:gd name="connsiteY56" fmla="*/ 196413 h 213969"/>
                    <a:gd name="connsiteX57" fmla="*/ 201351 w 285292"/>
                    <a:gd name="connsiteY57" fmla="*/ 195316 h 213969"/>
                    <a:gd name="connsiteX58" fmla="*/ 204094 w 285292"/>
                    <a:gd name="connsiteY58" fmla="*/ 190927 h 213969"/>
                    <a:gd name="connsiteX59" fmla="*/ 209581 w 285292"/>
                    <a:gd name="connsiteY59" fmla="*/ 188183 h 213969"/>
                    <a:gd name="connsiteX60" fmla="*/ 210678 w 285292"/>
                    <a:gd name="connsiteY60" fmla="*/ 185989 h 213969"/>
                    <a:gd name="connsiteX61" fmla="*/ 213421 w 285292"/>
                    <a:gd name="connsiteY61" fmla="*/ 185440 h 213969"/>
                    <a:gd name="connsiteX62" fmla="*/ 220005 w 285292"/>
                    <a:gd name="connsiteY62" fmla="*/ 180503 h 213969"/>
                    <a:gd name="connsiteX63" fmla="*/ 223845 w 285292"/>
                    <a:gd name="connsiteY63" fmla="*/ 179405 h 213969"/>
                    <a:gd name="connsiteX64" fmla="*/ 228234 w 285292"/>
                    <a:gd name="connsiteY64" fmla="*/ 176113 h 213969"/>
                    <a:gd name="connsiteX65" fmla="*/ 232624 w 285292"/>
                    <a:gd name="connsiteY65" fmla="*/ 176113 h 213969"/>
                    <a:gd name="connsiteX66" fmla="*/ 234269 w 285292"/>
                    <a:gd name="connsiteY66" fmla="*/ 178308 h 213969"/>
                    <a:gd name="connsiteX67" fmla="*/ 239207 w 285292"/>
                    <a:gd name="connsiteY67" fmla="*/ 178308 h 213969"/>
                    <a:gd name="connsiteX68" fmla="*/ 240305 w 285292"/>
                    <a:gd name="connsiteY68" fmla="*/ 185440 h 213969"/>
                    <a:gd name="connsiteX69" fmla="*/ 242499 w 285292"/>
                    <a:gd name="connsiteY69" fmla="*/ 187635 h 213969"/>
                    <a:gd name="connsiteX70" fmla="*/ 244145 w 285292"/>
                    <a:gd name="connsiteY70" fmla="*/ 187086 h 213969"/>
                    <a:gd name="connsiteX71" fmla="*/ 248534 w 285292"/>
                    <a:gd name="connsiteY71" fmla="*/ 183246 h 213969"/>
                    <a:gd name="connsiteX72" fmla="*/ 249083 w 285292"/>
                    <a:gd name="connsiteY72" fmla="*/ 183794 h 213969"/>
                    <a:gd name="connsiteX73" fmla="*/ 259507 w 285292"/>
                    <a:gd name="connsiteY73" fmla="*/ 179954 h 213969"/>
                    <a:gd name="connsiteX74" fmla="*/ 271028 w 285292"/>
                    <a:gd name="connsiteY74" fmla="*/ 178857 h 213969"/>
                    <a:gd name="connsiteX75" fmla="*/ 274320 w 285292"/>
                    <a:gd name="connsiteY75" fmla="*/ 181051 h 213969"/>
                    <a:gd name="connsiteX76" fmla="*/ 279258 w 285292"/>
                    <a:gd name="connsiteY76" fmla="*/ 181051 h 213969"/>
                    <a:gd name="connsiteX77" fmla="*/ 280904 w 285292"/>
                    <a:gd name="connsiteY77" fmla="*/ 183246 h 213969"/>
                    <a:gd name="connsiteX78" fmla="*/ 280355 w 285292"/>
                    <a:gd name="connsiteY78" fmla="*/ 185440 h 213969"/>
                    <a:gd name="connsiteX79" fmla="*/ 277612 w 285292"/>
                    <a:gd name="connsiteY79" fmla="*/ 185989 h 213969"/>
                    <a:gd name="connsiteX80" fmla="*/ 283098 w 285292"/>
                    <a:gd name="connsiteY80" fmla="*/ 187635 h 213969"/>
                    <a:gd name="connsiteX81" fmla="*/ 285293 w 285292"/>
                    <a:gd name="connsiteY81" fmla="*/ 186538 h 213969"/>
                    <a:gd name="connsiteX82" fmla="*/ 285293 w 285292"/>
                    <a:gd name="connsiteY82" fmla="*/ 162946 h 213969"/>
                    <a:gd name="connsiteX83" fmla="*/ 278161 w 285292"/>
                    <a:gd name="connsiteY83" fmla="*/ 145938 h 213969"/>
                    <a:gd name="connsiteX84" fmla="*/ 278161 w 285292"/>
                    <a:gd name="connsiteY84" fmla="*/ 132222 h 213969"/>
                    <a:gd name="connsiteX85" fmla="*/ 272674 w 285292"/>
                    <a:gd name="connsiteY85" fmla="*/ 125090 h 213969"/>
                    <a:gd name="connsiteX86" fmla="*/ 261153 w 285292"/>
                    <a:gd name="connsiteY86" fmla="*/ 123993 h 213969"/>
                    <a:gd name="connsiteX87" fmla="*/ 246888 w 285292"/>
                    <a:gd name="connsiteY87" fmla="*/ 127833 h 213969"/>
                    <a:gd name="connsiteX88" fmla="*/ 239756 w 285292"/>
                    <a:gd name="connsiteY88" fmla="*/ 123444 h 213969"/>
                    <a:gd name="connsiteX89" fmla="*/ 235367 w 285292"/>
                    <a:gd name="connsiteY89" fmla="*/ 97658 h 213969"/>
                    <a:gd name="connsiteX90" fmla="*/ 243048 w 285292"/>
                    <a:gd name="connsiteY90" fmla="*/ 74615 h 213969"/>
                    <a:gd name="connsiteX91" fmla="*/ 229332 w 285292"/>
                    <a:gd name="connsiteY91" fmla="*/ 72421 h 213969"/>
                    <a:gd name="connsiteX92" fmla="*/ 227686 w 285292"/>
                    <a:gd name="connsiteY92" fmla="*/ 82845 h 213969"/>
                    <a:gd name="connsiteX93" fmla="*/ 221102 w 285292"/>
                    <a:gd name="connsiteY93" fmla="*/ 82296 h 213969"/>
                    <a:gd name="connsiteX94" fmla="*/ 214518 w 285292"/>
                    <a:gd name="connsiteY94" fmla="*/ 83942 h 213969"/>
                    <a:gd name="connsiteX95" fmla="*/ 203546 w 285292"/>
                    <a:gd name="connsiteY95" fmla="*/ 82296 h 213969"/>
                    <a:gd name="connsiteX96" fmla="*/ 192573 w 285292"/>
                    <a:gd name="connsiteY96" fmla="*/ 83393 h 213969"/>
                    <a:gd name="connsiteX97" fmla="*/ 182697 w 285292"/>
                    <a:gd name="connsiteY97" fmla="*/ 88331 h 213969"/>
                    <a:gd name="connsiteX98" fmla="*/ 177211 w 285292"/>
                    <a:gd name="connsiteY98" fmla="*/ 86685 h 213969"/>
                    <a:gd name="connsiteX99" fmla="*/ 166238 w 285292"/>
                    <a:gd name="connsiteY99" fmla="*/ 87782 h 213969"/>
                    <a:gd name="connsiteX100" fmla="*/ 163495 w 285292"/>
                    <a:gd name="connsiteY100" fmla="*/ 76810 h 213969"/>
                    <a:gd name="connsiteX101" fmla="*/ 158009 w 285292"/>
                    <a:gd name="connsiteY101" fmla="*/ 75712 h 213969"/>
                    <a:gd name="connsiteX102" fmla="*/ 153071 w 285292"/>
                    <a:gd name="connsiteY102" fmla="*/ 72969 h 213969"/>
                    <a:gd name="connsiteX103" fmla="*/ 131674 w 285292"/>
                    <a:gd name="connsiteY103" fmla="*/ 79553 h 213969"/>
                    <a:gd name="connsiteX104" fmla="*/ 126187 w 285292"/>
                    <a:gd name="connsiteY104" fmla="*/ 78455 h 213969"/>
                    <a:gd name="connsiteX105" fmla="*/ 122896 w 285292"/>
                    <a:gd name="connsiteY105" fmla="*/ 74066 h 213969"/>
                    <a:gd name="connsiteX106" fmla="*/ 111923 w 285292"/>
                    <a:gd name="connsiteY106" fmla="*/ 72421 h 213969"/>
                    <a:gd name="connsiteX107" fmla="*/ 95464 w 285292"/>
                    <a:gd name="connsiteY107" fmla="*/ 75712 h 213969"/>
                    <a:gd name="connsiteX108" fmla="*/ 85039 w 285292"/>
                    <a:gd name="connsiteY108" fmla="*/ 72969 h 213969"/>
                    <a:gd name="connsiteX109" fmla="*/ 79553 w 285292"/>
                    <a:gd name="connsiteY109" fmla="*/ 74615 h 213969"/>
                    <a:gd name="connsiteX110" fmla="*/ 74066 w 285292"/>
                    <a:gd name="connsiteY110" fmla="*/ 74615 h 213969"/>
                    <a:gd name="connsiteX111" fmla="*/ 70775 w 285292"/>
                    <a:gd name="connsiteY111" fmla="*/ 70226 h 213969"/>
                    <a:gd name="connsiteX112" fmla="*/ 70775 w 285292"/>
                    <a:gd name="connsiteY112" fmla="*/ 53767 h 213969"/>
                    <a:gd name="connsiteX113" fmla="*/ 86137 w 285292"/>
                    <a:gd name="connsiteY113" fmla="*/ 46634 h 213969"/>
                    <a:gd name="connsiteX114" fmla="*/ 108082 w 285292"/>
                    <a:gd name="connsiteY114" fmla="*/ 47183 h 213969"/>
                    <a:gd name="connsiteX115" fmla="*/ 117409 w 285292"/>
                    <a:gd name="connsiteY115" fmla="*/ 53218 h 213969"/>
                    <a:gd name="connsiteX116" fmla="*/ 122896 w 285292"/>
                    <a:gd name="connsiteY116" fmla="*/ 51572 h 213969"/>
                    <a:gd name="connsiteX117" fmla="*/ 125639 w 285292"/>
                    <a:gd name="connsiteY117" fmla="*/ 46634 h 213969"/>
                    <a:gd name="connsiteX118" fmla="*/ 131125 w 285292"/>
                    <a:gd name="connsiteY118" fmla="*/ 44440 h 213969"/>
                    <a:gd name="connsiteX119" fmla="*/ 133868 w 285292"/>
                    <a:gd name="connsiteY119" fmla="*/ 38405 h 213969"/>
                    <a:gd name="connsiteX120" fmla="*/ 131125 w 285292"/>
                    <a:gd name="connsiteY120" fmla="*/ 38953 h 213969"/>
                    <a:gd name="connsiteX121" fmla="*/ 125639 w 285292"/>
                    <a:gd name="connsiteY121" fmla="*/ 41148 h 213969"/>
                    <a:gd name="connsiteX122" fmla="*/ 120152 w 285292"/>
                    <a:gd name="connsiteY122" fmla="*/ 42245 h 213969"/>
                    <a:gd name="connsiteX123" fmla="*/ 114666 w 285292"/>
                    <a:gd name="connsiteY123" fmla="*/ 26883 h 213969"/>
                    <a:gd name="connsiteX124" fmla="*/ 117958 w 285292"/>
                    <a:gd name="connsiteY124" fmla="*/ 22494 h 213969"/>
                    <a:gd name="connsiteX125" fmla="*/ 123444 w 285292"/>
                    <a:gd name="connsiteY125" fmla="*/ 20848 h 213969"/>
                    <a:gd name="connsiteX126" fmla="*/ 126187 w 285292"/>
                    <a:gd name="connsiteY126" fmla="*/ 15911 h 213969"/>
                    <a:gd name="connsiteX127" fmla="*/ 125639 w 285292"/>
                    <a:gd name="connsiteY127" fmla="*/ 10424 h 213969"/>
                    <a:gd name="connsiteX128" fmla="*/ 121798 w 285292"/>
                    <a:gd name="connsiteY128" fmla="*/ 6035 h 213969"/>
                    <a:gd name="connsiteX129" fmla="*/ 121250 w 285292"/>
                    <a:gd name="connsiteY129" fmla="*/ 549 h 213969"/>
                    <a:gd name="connsiteX130" fmla="*/ 115763 w 285292"/>
                    <a:gd name="connsiteY130" fmla="*/ 0 h 213969"/>
                    <a:gd name="connsiteX131" fmla="*/ 111923 w 285292"/>
                    <a:gd name="connsiteY131" fmla="*/ 3841 h 213969"/>
                    <a:gd name="connsiteX132" fmla="*/ 109180 w 285292"/>
                    <a:gd name="connsiteY132" fmla="*/ 8778 h 213969"/>
                    <a:gd name="connsiteX133" fmla="*/ 89429 w 285292"/>
                    <a:gd name="connsiteY133" fmla="*/ 19202 h 213969"/>
                    <a:gd name="connsiteX134" fmla="*/ 84491 w 285292"/>
                    <a:gd name="connsiteY134" fmla="*/ 19751 h 213969"/>
                    <a:gd name="connsiteX135" fmla="*/ 80102 w 285292"/>
                    <a:gd name="connsiteY135" fmla="*/ 16459 h 213969"/>
                    <a:gd name="connsiteX136" fmla="*/ 75164 w 285292"/>
                    <a:gd name="connsiteY136" fmla="*/ 19202 h 213969"/>
                    <a:gd name="connsiteX137" fmla="*/ 74066 w 285292"/>
                    <a:gd name="connsiteY137" fmla="*/ 24140 h 213969"/>
                    <a:gd name="connsiteX138" fmla="*/ 70226 w 285292"/>
                    <a:gd name="connsiteY138" fmla="*/ 27981 h 213969"/>
                    <a:gd name="connsiteX139" fmla="*/ 72421 w 285292"/>
                    <a:gd name="connsiteY139" fmla="*/ 32370 h 213969"/>
                    <a:gd name="connsiteX140" fmla="*/ 72969 w 285292"/>
                    <a:gd name="connsiteY140" fmla="*/ 37856 h 213969"/>
                    <a:gd name="connsiteX141" fmla="*/ 70775 w 285292"/>
                    <a:gd name="connsiteY141" fmla="*/ 43343 h 213969"/>
                    <a:gd name="connsiteX142" fmla="*/ 66934 w 285292"/>
                    <a:gd name="connsiteY142" fmla="*/ 46634 h 213969"/>
                    <a:gd name="connsiteX143" fmla="*/ 56510 w 285292"/>
                    <a:gd name="connsiteY143" fmla="*/ 48280 h 213969"/>
                    <a:gd name="connsiteX144" fmla="*/ 51572 w 285292"/>
                    <a:gd name="connsiteY144" fmla="*/ 51023 h 213969"/>
                    <a:gd name="connsiteX145" fmla="*/ 51024 w 285292"/>
                    <a:gd name="connsiteY145" fmla="*/ 57059 h 213969"/>
                    <a:gd name="connsiteX146" fmla="*/ 42794 w 285292"/>
                    <a:gd name="connsiteY146" fmla="*/ 71872 h 213969"/>
                    <a:gd name="connsiteX147" fmla="*/ 37856 w 285292"/>
                    <a:gd name="connsiteY147" fmla="*/ 74066 h 213969"/>
                    <a:gd name="connsiteX148" fmla="*/ 21397 w 285292"/>
                    <a:gd name="connsiteY148" fmla="*/ 72969 h 213969"/>
                    <a:gd name="connsiteX149" fmla="*/ 17557 w 285292"/>
                    <a:gd name="connsiteY149" fmla="*/ 69129 h 213969"/>
                    <a:gd name="connsiteX150" fmla="*/ 7133 w 285292"/>
                    <a:gd name="connsiteY150" fmla="*/ 72969 h 213969"/>
                    <a:gd name="connsiteX151" fmla="*/ 3841 w 285292"/>
                    <a:gd name="connsiteY151" fmla="*/ 77358 h 213969"/>
                    <a:gd name="connsiteX152" fmla="*/ 4938 w 285292"/>
                    <a:gd name="connsiteY152" fmla="*/ 82845 h 213969"/>
                    <a:gd name="connsiteX153" fmla="*/ 0 w 285292"/>
                    <a:gd name="connsiteY153" fmla="*/ 85588 h 213969"/>
                    <a:gd name="connsiteX154" fmla="*/ 8778 w 285292"/>
                    <a:gd name="connsiteY154" fmla="*/ 93269 h 213969"/>
                    <a:gd name="connsiteX155" fmla="*/ 10973 w 285292"/>
                    <a:gd name="connsiteY155" fmla="*/ 98755 h 213969"/>
                    <a:gd name="connsiteX156" fmla="*/ 16459 w 285292"/>
                    <a:gd name="connsiteY156" fmla="*/ 99853 h 213969"/>
                    <a:gd name="connsiteX157" fmla="*/ 22494 w 285292"/>
                    <a:gd name="connsiteY157" fmla="*/ 98755 h 213969"/>
                    <a:gd name="connsiteX158" fmla="*/ 26883 w 285292"/>
                    <a:gd name="connsiteY158" fmla="*/ 102047 h 213969"/>
                    <a:gd name="connsiteX159" fmla="*/ 28529 w 285292"/>
                    <a:gd name="connsiteY159" fmla="*/ 106985 h 213969"/>
                    <a:gd name="connsiteX160" fmla="*/ 24689 w 285292"/>
                    <a:gd name="connsiteY160" fmla="*/ 117409 h 213969"/>
                    <a:gd name="connsiteX161" fmla="*/ 27981 w 285292"/>
                    <a:gd name="connsiteY161" fmla="*/ 128382 h 213969"/>
                    <a:gd name="connsiteX162" fmla="*/ 31273 w 285292"/>
                    <a:gd name="connsiteY162" fmla="*/ 133319 h 213969"/>
                    <a:gd name="connsiteX163" fmla="*/ 36210 w 285292"/>
                    <a:gd name="connsiteY163" fmla="*/ 136612 h 213969"/>
                    <a:gd name="connsiteX164" fmla="*/ 36759 w 285292"/>
                    <a:gd name="connsiteY164" fmla="*/ 141001 h 213969"/>
                    <a:gd name="connsiteX165" fmla="*/ 35113 w 285292"/>
                    <a:gd name="connsiteY165" fmla="*/ 145390 h 213969"/>
                    <a:gd name="connsiteX166" fmla="*/ 31821 w 285292"/>
                    <a:gd name="connsiteY166" fmla="*/ 149230 h 213969"/>
                    <a:gd name="connsiteX167" fmla="*/ 27432 w 285292"/>
                    <a:gd name="connsiteY167" fmla="*/ 151973 h 213969"/>
                    <a:gd name="connsiteX168" fmla="*/ 14813 w 285292"/>
                    <a:gd name="connsiteY168" fmla="*/ 173370 h 213969"/>
                    <a:gd name="connsiteX169" fmla="*/ 15911 w 285292"/>
                    <a:gd name="connsiteY169" fmla="*/ 183246 h 213969"/>
                    <a:gd name="connsiteX170" fmla="*/ 12619 w 285292"/>
                    <a:gd name="connsiteY170" fmla="*/ 184892 h 213969"/>
                    <a:gd name="connsiteX171" fmla="*/ 12619 w 285292"/>
                    <a:gd name="connsiteY171" fmla="*/ 184892 h 2139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</a:cxnLst>
                  <a:rect l="l" t="t" r="r" b="b"/>
                  <a:pathLst>
                    <a:path w="285292" h="213969">
                      <a:moveTo>
                        <a:pt x="12619" y="184892"/>
                      </a:moveTo>
                      <a:lnTo>
                        <a:pt x="25238" y="198608"/>
                      </a:lnTo>
                      <a:lnTo>
                        <a:pt x="30175" y="196413"/>
                      </a:lnTo>
                      <a:lnTo>
                        <a:pt x="35113" y="196413"/>
                      </a:lnTo>
                      <a:lnTo>
                        <a:pt x="36210" y="192573"/>
                      </a:lnTo>
                      <a:lnTo>
                        <a:pt x="48829" y="187086"/>
                      </a:lnTo>
                      <a:lnTo>
                        <a:pt x="52121" y="187635"/>
                      </a:lnTo>
                      <a:lnTo>
                        <a:pt x="53767" y="185440"/>
                      </a:lnTo>
                      <a:lnTo>
                        <a:pt x="58156" y="183794"/>
                      </a:lnTo>
                      <a:lnTo>
                        <a:pt x="60350" y="184343"/>
                      </a:lnTo>
                      <a:lnTo>
                        <a:pt x="63642" y="187635"/>
                      </a:lnTo>
                      <a:lnTo>
                        <a:pt x="73518" y="190927"/>
                      </a:lnTo>
                      <a:lnTo>
                        <a:pt x="76261" y="189281"/>
                      </a:lnTo>
                      <a:lnTo>
                        <a:pt x="76810" y="187635"/>
                      </a:lnTo>
                      <a:lnTo>
                        <a:pt x="76810" y="184343"/>
                      </a:lnTo>
                      <a:lnTo>
                        <a:pt x="75164" y="181600"/>
                      </a:lnTo>
                      <a:lnTo>
                        <a:pt x="74615" y="177211"/>
                      </a:lnTo>
                      <a:lnTo>
                        <a:pt x="80650" y="168981"/>
                      </a:lnTo>
                      <a:lnTo>
                        <a:pt x="83942" y="168433"/>
                      </a:lnTo>
                      <a:lnTo>
                        <a:pt x="88331" y="170078"/>
                      </a:lnTo>
                      <a:lnTo>
                        <a:pt x="93818" y="168981"/>
                      </a:lnTo>
                      <a:lnTo>
                        <a:pt x="99304" y="172273"/>
                      </a:lnTo>
                      <a:lnTo>
                        <a:pt x="102047" y="172822"/>
                      </a:lnTo>
                      <a:lnTo>
                        <a:pt x="103693" y="172273"/>
                      </a:lnTo>
                      <a:lnTo>
                        <a:pt x="108631" y="166238"/>
                      </a:lnTo>
                      <a:lnTo>
                        <a:pt x="109728" y="163495"/>
                      </a:lnTo>
                      <a:lnTo>
                        <a:pt x="105888" y="159106"/>
                      </a:lnTo>
                      <a:lnTo>
                        <a:pt x="105888" y="155265"/>
                      </a:lnTo>
                      <a:lnTo>
                        <a:pt x="120152" y="135514"/>
                      </a:lnTo>
                      <a:lnTo>
                        <a:pt x="122347" y="134417"/>
                      </a:lnTo>
                      <a:lnTo>
                        <a:pt x="123993" y="130576"/>
                      </a:lnTo>
                      <a:lnTo>
                        <a:pt x="124541" y="129479"/>
                      </a:lnTo>
                      <a:lnTo>
                        <a:pt x="129479" y="130576"/>
                      </a:lnTo>
                      <a:lnTo>
                        <a:pt x="132771" y="128382"/>
                      </a:lnTo>
                      <a:lnTo>
                        <a:pt x="139355" y="129479"/>
                      </a:lnTo>
                      <a:lnTo>
                        <a:pt x="148133" y="138257"/>
                      </a:lnTo>
                      <a:lnTo>
                        <a:pt x="148133" y="142646"/>
                      </a:lnTo>
                      <a:lnTo>
                        <a:pt x="145390" y="147584"/>
                      </a:lnTo>
                      <a:lnTo>
                        <a:pt x="145390" y="150876"/>
                      </a:lnTo>
                      <a:lnTo>
                        <a:pt x="146487" y="152522"/>
                      </a:lnTo>
                      <a:lnTo>
                        <a:pt x="149779" y="154717"/>
                      </a:lnTo>
                      <a:lnTo>
                        <a:pt x="153619" y="153619"/>
                      </a:lnTo>
                      <a:lnTo>
                        <a:pt x="156362" y="154717"/>
                      </a:lnTo>
                      <a:lnTo>
                        <a:pt x="157460" y="158008"/>
                      </a:lnTo>
                      <a:lnTo>
                        <a:pt x="155265" y="160203"/>
                      </a:lnTo>
                      <a:lnTo>
                        <a:pt x="154717" y="163495"/>
                      </a:lnTo>
                      <a:lnTo>
                        <a:pt x="155265" y="170627"/>
                      </a:lnTo>
                      <a:lnTo>
                        <a:pt x="154717" y="174467"/>
                      </a:lnTo>
                      <a:lnTo>
                        <a:pt x="153071" y="178308"/>
                      </a:lnTo>
                      <a:lnTo>
                        <a:pt x="153071" y="184892"/>
                      </a:lnTo>
                      <a:lnTo>
                        <a:pt x="150876" y="190927"/>
                      </a:lnTo>
                      <a:lnTo>
                        <a:pt x="152522" y="197510"/>
                      </a:lnTo>
                      <a:lnTo>
                        <a:pt x="160752" y="211775"/>
                      </a:lnTo>
                      <a:lnTo>
                        <a:pt x="161849" y="212872"/>
                      </a:lnTo>
                      <a:lnTo>
                        <a:pt x="164592" y="213970"/>
                      </a:lnTo>
                      <a:lnTo>
                        <a:pt x="185441" y="200254"/>
                      </a:lnTo>
                      <a:lnTo>
                        <a:pt x="199705" y="196413"/>
                      </a:lnTo>
                      <a:lnTo>
                        <a:pt x="201351" y="195316"/>
                      </a:lnTo>
                      <a:lnTo>
                        <a:pt x="204094" y="190927"/>
                      </a:lnTo>
                      <a:lnTo>
                        <a:pt x="209581" y="188183"/>
                      </a:lnTo>
                      <a:lnTo>
                        <a:pt x="210678" y="185989"/>
                      </a:lnTo>
                      <a:lnTo>
                        <a:pt x="213421" y="185440"/>
                      </a:lnTo>
                      <a:lnTo>
                        <a:pt x="220005" y="180503"/>
                      </a:lnTo>
                      <a:lnTo>
                        <a:pt x="223845" y="179405"/>
                      </a:lnTo>
                      <a:lnTo>
                        <a:pt x="228234" y="176113"/>
                      </a:lnTo>
                      <a:lnTo>
                        <a:pt x="232624" y="176113"/>
                      </a:lnTo>
                      <a:lnTo>
                        <a:pt x="234269" y="178308"/>
                      </a:lnTo>
                      <a:lnTo>
                        <a:pt x="239207" y="178308"/>
                      </a:lnTo>
                      <a:lnTo>
                        <a:pt x="240305" y="185440"/>
                      </a:lnTo>
                      <a:lnTo>
                        <a:pt x="242499" y="187635"/>
                      </a:lnTo>
                      <a:lnTo>
                        <a:pt x="244145" y="187086"/>
                      </a:lnTo>
                      <a:lnTo>
                        <a:pt x="248534" y="183246"/>
                      </a:lnTo>
                      <a:lnTo>
                        <a:pt x="249083" y="183794"/>
                      </a:lnTo>
                      <a:lnTo>
                        <a:pt x="259507" y="179954"/>
                      </a:lnTo>
                      <a:lnTo>
                        <a:pt x="271028" y="178857"/>
                      </a:lnTo>
                      <a:lnTo>
                        <a:pt x="274320" y="181051"/>
                      </a:lnTo>
                      <a:lnTo>
                        <a:pt x="279258" y="181051"/>
                      </a:lnTo>
                      <a:lnTo>
                        <a:pt x="280904" y="183246"/>
                      </a:lnTo>
                      <a:lnTo>
                        <a:pt x="280355" y="185440"/>
                      </a:lnTo>
                      <a:lnTo>
                        <a:pt x="277612" y="185989"/>
                      </a:lnTo>
                      <a:lnTo>
                        <a:pt x="283098" y="187635"/>
                      </a:lnTo>
                      <a:lnTo>
                        <a:pt x="285293" y="186538"/>
                      </a:lnTo>
                      <a:lnTo>
                        <a:pt x="285293" y="162946"/>
                      </a:lnTo>
                      <a:lnTo>
                        <a:pt x="278161" y="145938"/>
                      </a:lnTo>
                      <a:lnTo>
                        <a:pt x="278161" y="132222"/>
                      </a:lnTo>
                      <a:lnTo>
                        <a:pt x="272674" y="125090"/>
                      </a:lnTo>
                      <a:lnTo>
                        <a:pt x="261153" y="123993"/>
                      </a:lnTo>
                      <a:lnTo>
                        <a:pt x="246888" y="127833"/>
                      </a:lnTo>
                      <a:lnTo>
                        <a:pt x="239756" y="123444"/>
                      </a:lnTo>
                      <a:lnTo>
                        <a:pt x="235367" y="97658"/>
                      </a:lnTo>
                      <a:lnTo>
                        <a:pt x="243048" y="74615"/>
                      </a:lnTo>
                      <a:lnTo>
                        <a:pt x="229332" y="72421"/>
                      </a:lnTo>
                      <a:lnTo>
                        <a:pt x="227686" y="82845"/>
                      </a:lnTo>
                      <a:lnTo>
                        <a:pt x="221102" y="82296"/>
                      </a:lnTo>
                      <a:lnTo>
                        <a:pt x="214518" y="83942"/>
                      </a:lnTo>
                      <a:lnTo>
                        <a:pt x="203546" y="82296"/>
                      </a:lnTo>
                      <a:lnTo>
                        <a:pt x="192573" y="83393"/>
                      </a:lnTo>
                      <a:lnTo>
                        <a:pt x="182697" y="88331"/>
                      </a:lnTo>
                      <a:lnTo>
                        <a:pt x="177211" y="86685"/>
                      </a:lnTo>
                      <a:lnTo>
                        <a:pt x="166238" y="87782"/>
                      </a:lnTo>
                      <a:lnTo>
                        <a:pt x="163495" y="76810"/>
                      </a:lnTo>
                      <a:lnTo>
                        <a:pt x="158009" y="75712"/>
                      </a:lnTo>
                      <a:lnTo>
                        <a:pt x="153071" y="72969"/>
                      </a:lnTo>
                      <a:lnTo>
                        <a:pt x="131674" y="79553"/>
                      </a:lnTo>
                      <a:lnTo>
                        <a:pt x="126187" y="78455"/>
                      </a:lnTo>
                      <a:lnTo>
                        <a:pt x="122896" y="74066"/>
                      </a:lnTo>
                      <a:lnTo>
                        <a:pt x="111923" y="72421"/>
                      </a:lnTo>
                      <a:lnTo>
                        <a:pt x="95464" y="75712"/>
                      </a:lnTo>
                      <a:lnTo>
                        <a:pt x="85039" y="72969"/>
                      </a:lnTo>
                      <a:lnTo>
                        <a:pt x="79553" y="74615"/>
                      </a:lnTo>
                      <a:lnTo>
                        <a:pt x="74066" y="74615"/>
                      </a:lnTo>
                      <a:lnTo>
                        <a:pt x="70775" y="70226"/>
                      </a:lnTo>
                      <a:lnTo>
                        <a:pt x="70775" y="53767"/>
                      </a:lnTo>
                      <a:lnTo>
                        <a:pt x="86137" y="46634"/>
                      </a:lnTo>
                      <a:lnTo>
                        <a:pt x="108082" y="47183"/>
                      </a:lnTo>
                      <a:lnTo>
                        <a:pt x="117409" y="53218"/>
                      </a:lnTo>
                      <a:lnTo>
                        <a:pt x="122896" y="51572"/>
                      </a:lnTo>
                      <a:lnTo>
                        <a:pt x="125639" y="46634"/>
                      </a:lnTo>
                      <a:lnTo>
                        <a:pt x="131125" y="44440"/>
                      </a:lnTo>
                      <a:lnTo>
                        <a:pt x="133868" y="38405"/>
                      </a:lnTo>
                      <a:lnTo>
                        <a:pt x="131125" y="38953"/>
                      </a:lnTo>
                      <a:lnTo>
                        <a:pt x="125639" y="41148"/>
                      </a:lnTo>
                      <a:lnTo>
                        <a:pt x="120152" y="42245"/>
                      </a:lnTo>
                      <a:lnTo>
                        <a:pt x="114666" y="26883"/>
                      </a:lnTo>
                      <a:lnTo>
                        <a:pt x="117958" y="22494"/>
                      </a:lnTo>
                      <a:lnTo>
                        <a:pt x="123444" y="20848"/>
                      </a:lnTo>
                      <a:lnTo>
                        <a:pt x="126187" y="15911"/>
                      </a:lnTo>
                      <a:lnTo>
                        <a:pt x="125639" y="10424"/>
                      </a:lnTo>
                      <a:lnTo>
                        <a:pt x="121798" y="6035"/>
                      </a:lnTo>
                      <a:lnTo>
                        <a:pt x="121250" y="549"/>
                      </a:lnTo>
                      <a:lnTo>
                        <a:pt x="115763" y="0"/>
                      </a:lnTo>
                      <a:lnTo>
                        <a:pt x="111923" y="3841"/>
                      </a:lnTo>
                      <a:lnTo>
                        <a:pt x="109180" y="8778"/>
                      </a:lnTo>
                      <a:lnTo>
                        <a:pt x="89429" y="19202"/>
                      </a:lnTo>
                      <a:lnTo>
                        <a:pt x="84491" y="19751"/>
                      </a:lnTo>
                      <a:lnTo>
                        <a:pt x="80102" y="16459"/>
                      </a:lnTo>
                      <a:lnTo>
                        <a:pt x="75164" y="19202"/>
                      </a:lnTo>
                      <a:lnTo>
                        <a:pt x="74066" y="24140"/>
                      </a:lnTo>
                      <a:lnTo>
                        <a:pt x="70226" y="27981"/>
                      </a:lnTo>
                      <a:lnTo>
                        <a:pt x="72421" y="32370"/>
                      </a:lnTo>
                      <a:lnTo>
                        <a:pt x="72969" y="37856"/>
                      </a:lnTo>
                      <a:lnTo>
                        <a:pt x="70775" y="43343"/>
                      </a:lnTo>
                      <a:lnTo>
                        <a:pt x="66934" y="46634"/>
                      </a:lnTo>
                      <a:lnTo>
                        <a:pt x="56510" y="48280"/>
                      </a:lnTo>
                      <a:lnTo>
                        <a:pt x="51572" y="51023"/>
                      </a:lnTo>
                      <a:lnTo>
                        <a:pt x="51024" y="57059"/>
                      </a:lnTo>
                      <a:lnTo>
                        <a:pt x="42794" y="71872"/>
                      </a:lnTo>
                      <a:lnTo>
                        <a:pt x="37856" y="74066"/>
                      </a:lnTo>
                      <a:lnTo>
                        <a:pt x="21397" y="72969"/>
                      </a:lnTo>
                      <a:lnTo>
                        <a:pt x="17557" y="69129"/>
                      </a:lnTo>
                      <a:lnTo>
                        <a:pt x="7133" y="72969"/>
                      </a:lnTo>
                      <a:lnTo>
                        <a:pt x="3841" y="77358"/>
                      </a:lnTo>
                      <a:lnTo>
                        <a:pt x="4938" y="82845"/>
                      </a:lnTo>
                      <a:lnTo>
                        <a:pt x="0" y="85588"/>
                      </a:lnTo>
                      <a:lnTo>
                        <a:pt x="8778" y="93269"/>
                      </a:lnTo>
                      <a:lnTo>
                        <a:pt x="10973" y="98755"/>
                      </a:lnTo>
                      <a:lnTo>
                        <a:pt x="16459" y="99853"/>
                      </a:lnTo>
                      <a:lnTo>
                        <a:pt x="22494" y="98755"/>
                      </a:lnTo>
                      <a:lnTo>
                        <a:pt x="26883" y="102047"/>
                      </a:lnTo>
                      <a:lnTo>
                        <a:pt x="28529" y="106985"/>
                      </a:lnTo>
                      <a:lnTo>
                        <a:pt x="24689" y="117409"/>
                      </a:lnTo>
                      <a:lnTo>
                        <a:pt x="27981" y="128382"/>
                      </a:lnTo>
                      <a:lnTo>
                        <a:pt x="31273" y="133319"/>
                      </a:lnTo>
                      <a:lnTo>
                        <a:pt x="36210" y="136612"/>
                      </a:lnTo>
                      <a:lnTo>
                        <a:pt x="36759" y="141001"/>
                      </a:lnTo>
                      <a:lnTo>
                        <a:pt x="35113" y="145390"/>
                      </a:lnTo>
                      <a:lnTo>
                        <a:pt x="31821" y="149230"/>
                      </a:lnTo>
                      <a:lnTo>
                        <a:pt x="27432" y="151973"/>
                      </a:lnTo>
                      <a:lnTo>
                        <a:pt x="14813" y="173370"/>
                      </a:lnTo>
                      <a:lnTo>
                        <a:pt x="15911" y="183246"/>
                      </a:lnTo>
                      <a:lnTo>
                        <a:pt x="12619" y="184892"/>
                      </a:lnTo>
                      <a:lnTo>
                        <a:pt x="12619" y="184892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61" name="Graphic 7">
                  <a:extLst>
                    <a:ext uri="{FF2B5EF4-FFF2-40B4-BE49-F238E27FC236}">
                      <a16:creationId xmlns:a16="http://schemas.microsoft.com/office/drawing/2014/main" id="{5BBB2B27-76A9-C157-1E54-AFAF4D625668}"/>
                    </a:ext>
                  </a:extLst>
                </p:cNvPr>
                <p:cNvSpPr/>
                <p:nvPr/>
              </p:nvSpPr>
              <p:spPr>
                <a:xfrm>
                  <a:off x="7815216" y="2679205"/>
                  <a:ext cx="927582" cy="454360"/>
                </a:xfrm>
                <a:custGeom>
                  <a:avLst/>
                  <a:gdLst>
                    <a:gd name="connsiteX0" fmla="*/ 0 w 1187257"/>
                    <a:gd name="connsiteY0" fmla="*/ 187086 h 581558"/>
                    <a:gd name="connsiteX1" fmla="*/ 7681 w 1187257"/>
                    <a:gd name="connsiteY1" fmla="*/ 172822 h 581558"/>
                    <a:gd name="connsiteX2" fmla="*/ 19202 w 1187257"/>
                    <a:gd name="connsiteY2" fmla="*/ 160203 h 581558"/>
                    <a:gd name="connsiteX3" fmla="*/ 43891 w 1187257"/>
                    <a:gd name="connsiteY3" fmla="*/ 151425 h 581558"/>
                    <a:gd name="connsiteX4" fmla="*/ 105339 w 1187257"/>
                    <a:gd name="connsiteY4" fmla="*/ 108631 h 581558"/>
                    <a:gd name="connsiteX5" fmla="*/ 166238 w 1187257"/>
                    <a:gd name="connsiteY5" fmla="*/ 90526 h 581558"/>
                    <a:gd name="connsiteX6" fmla="*/ 192573 w 1187257"/>
                    <a:gd name="connsiteY6" fmla="*/ 97658 h 581558"/>
                    <a:gd name="connsiteX7" fmla="*/ 201351 w 1187257"/>
                    <a:gd name="connsiteY7" fmla="*/ 105339 h 581558"/>
                    <a:gd name="connsiteX8" fmla="*/ 228234 w 1187257"/>
                    <a:gd name="connsiteY8" fmla="*/ 101498 h 581558"/>
                    <a:gd name="connsiteX9" fmla="*/ 240304 w 1187257"/>
                    <a:gd name="connsiteY9" fmla="*/ 103144 h 581558"/>
                    <a:gd name="connsiteX10" fmla="*/ 264445 w 1187257"/>
                    <a:gd name="connsiteY10" fmla="*/ 128930 h 581558"/>
                    <a:gd name="connsiteX11" fmla="*/ 276515 w 1187257"/>
                    <a:gd name="connsiteY11" fmla="*/ 130576 h 581558"/>
                    <a:gd name="connsiteX12" fmla="*/ 308336 w 1187257"/>
                    <a:gd name="connsiteY12" fmla="*/ 125090 h 581558"/>
                    <a:gd name="connsiteX13" fmla="*/ 317663 w 1187257"/>
                    <a:gd name="connsiteY13" fmla="*/ 129479 h 581558"/>
                    <a:gd name="connsiteX14" fmla="*/ 374173 w 1187257"/>
                    <a:gd name="connsiteY14" fmla="*/ 127284 h 581558"/>
                    <a:gd name="connsiteX15" fmla="*/ 380756 w 1187257"/>
                    <a:gd name="connsiteY15" fmla="*/ 123444 h 581558"/>
                    <a:gd name="connsiteX16" fmla="*/ 378013 w 1187257"/>
                    <a:gd name="connsiteY16" fmla="*/ 110277 h 581558"/>
                    <a:gd name="connsiteX17" fmla="*/ 379659 w 1187257"/>
                    <a:gd name="connsiteY17" fmla="*/ 100401 h 581558"/>
                    <a:gd name="connsiteX18" fmla="*/ 386791 w 1187257"/>
                    <a:gd name="connsiteY18" fmla="*/ 88880 h 581558"/>
                    <a:gd name="connsiteX19" fmla="*/ 386243 w 1187257"/>
                    <a:gd name="connsiteY19" fmla="*/ 77907 h 581558"/>
                    <a:gd name="connsiteX20" fmla="*/ 379110 w 1187257"/>
                    <a:gd name="connsiteY20" fmla="*/ 68031 h 581558"/>
                    <a:gd name="connsiteX21" fmla="*/ 376916 w 1187257"/>
                    <a:gd name="connsiteY21" fmla="*/ 55413 h 581558"/>
                    <a:gd name="connsiteX22" fmla="*/ 378013 w 1187257"/>
                    <a:gd name="connsiteY22" fmla="*/ 43343 h 581558"/>
                    <a:gd name="connsiteX23" fmla="*/ 418612 w 1187257"/>
                    <a:gd name="connsiteY23" fmla="*/ 1097 h 581558"/>
                    <a:gd name="connsiteX24" fmla="*/ 427939 w 1187257"/>
                    <a:gd name="connsiteY24" fmla="*/ 0 h 581558"/>
                    <a:gd name="connsiteX25" fmla="*/ 441107 w 1187257"/>
                    <a:gd name="connsiteY25" fmla="*/ 3840 h 581558"/>
                    <a:gd name="connsiteX26" fmla="*/ 451531 w 1187257"/>
                    <a:gd name="connsiteY26" fmla="*/ 11521 h 581558"/>
                    <a:gd name="connsiteX27" fmla="*/ 476768 w 1187257"/>
                    <a:gd name="connsiteY27" fmla="*/ 18105 h 581558"/>
                    <a:gd name="connsiteX28" fmla="*/ 484449 w 1187257"/>
                    <a:gd name="connsiteY28" fmla="*/ 28529 h 581558"/>
                    <a:gd name="connsiteX29" fmla="*/ 528889 w 1187257"/>
                    <a:gd name="connsiteY29" fmla="*/ 38953 h 581558"/>
                    <a:gd name="connsiteX30" fmla="*/ 535473 w 1187257"/>
                    <a:gd name="connsiteY30" fmla="*/ 50475 h 581558"/>
                    <a:gd name="connsiteX31" fmla="*/ 538765 w 1187257"/>
                    <a:gd name="connsiteY31" fmla="*/ 85039 h 581558"/>
                    <a:gd name="connsiteX32" fmla="*/ 542605 w 1187257"/>
                    <a:gd name="connsiteY32" fmla="*/ 85039 h 581558"/>
                    <a:gd name="connsiteX33" fmla="*/ 568391 w 1187257"/>
                    <a:gd name="connsiteY33" fmla="*/ 105887 h 581558"/>
                    <a:gd name="connsiteX34" fmla="*/ 591434 w 1187257"/>
                    <a:gd name="connsiteY34" fmla="*/ 113020 h 581558"/>
                    <a:gd name="connsiteX35" fmla="*/ 610636 w 1187257"/>
                    <a:gd name="connsiteY35" fmla="*/ 109179 h 581558"/>
                    <a:gd name="connsiteX36" fmla="*/ 646847 w 1187257"/>
                    <a:gd name="connsiteY36" fmla="*/ 90526 h 581558"/>
                    <a:gd name="connsiteX37" fmla="*/ 700065 w 1187257"/>
                    <a:gd name="connsiteY37" fmla="*/ 108082 h 581558"/>
                    <a:gd name="connsiteX38" fmla="*/ 706648 w 1187257"/>
                    <a:gd name="connsiteY38" fmla="*/ 115763 h 581558"/>
                    <a:gd name="connsiteX39" fmla="*/ 708294 w 1187257"/>
                    <a:gd name="connsiteY39" fmla="*/ 115763 h 581558"/>
                    <a:gd name="connsiteX40" fmla="*/ 726948 w 1187257"/>
                    <a:gd name="connsiteY40" fmla="*/ 127833 h 581558"/>
                    <a:gd name="connsiteX41" fmla="*/ 756026 w 1187257"/>
                    <a:gd name="connsiteY41" fmla="*/ 137160 h 581558"/>
                    <a:gd name="connsiteX42" fmla="*/ 764804 w 1187257"/>
                    <a:gd name="connsiteY42" fmla="*/ 151425 h 581558"/>
                    <a:gd name="connsiteX43" fmla="*/ 783458 w 1187257"/>
                    <a:gd name="connsiteY43" fmla="*/ 162397 h 581558"/>
                    <a:gd name="connsiteX44" fmla="*/ 850941 w 1187257"/>
                    <a:gd name="connsiteY44" fmla="*/ 170078 h 581558"/>
                    <a:gd name="connsiteX45" fmla="*/ 863560 w 1187257"/>
                    <a:gd name="connsiteY45" fmla="*/ 175565 h 581558"/>
                    <a:gd name="connsiteX46" fmla="*/ 943661 w 1187257"/>
                    <a:gd name="connsiteY46" fmla="*/ 154168 h 581558"/>
                    <a:gd name="connsiteX47" fmla="*/ 985357 w 1187257"/>
                    <a:gd name="connsiteY47" fmla="*/ 122347 h 581558"/>
                    <a:gd name="connsiteX48" fmla="*/ 1002914 w 1187257"/>
                    <a:gd name="connsiteY48" fmla="*/ 116860 h 581558"/>
                    <a:gd name="connsiteX49" fmla="*/ 1019373 w 1187257"/>
                    <a:gd name="connsiteY49" fmla="*/ 123444 h 581558"/>
                    <a:gd name="connsiteX50" fmla="*/ 1031443 w 1187257"/>
                    <a:gd name="connsiteY50" fmla="*/ 133319 h 581558"/>
                    <a:gd name="connsiteX51" fmla="*/ 1046257 w 1187257"/>
                    <a:gd name="connsiteY51" fmla="*/ 136611 h 581558"/>
                    <a:gd name="connsiteX52" fmla="*/ 1057778 w 1187257"/>
                    <a:gd name="connsiteY52" fmla="*/ 133868 h 581558"/>
                    <a:gd name="connsiteX53" fmla="*/ 1067105 w 1187257"/>
                    <a:gd name="connsiteY53" fmla="*/ 128930 h 581558"/>
                    <a:gd name="connsiteX54" fmla="*/ 1071494 w 1187257"/>
                    <a:gd name="connsiteY54" fmla="*/ 130576 h 581558"/>
                    <a:gd name="connsiteX55" fmla="*/ 1071494 w 1187257"/>
                    <a:gd name="connsiteY55" fmla="*/ 130576 h 581558"/>
                    <a:gd name="connsiteX56" fmla="*/ 1071494 w 1187257"/>
                    <a:gd name="connsiteY56" fmla="*/ 133319 h 581558"/>
                    <a:gd name="connsiteX57" fmla="*/ 1065459 w 1187257"/>
                    <a:gd name="connsiteY57" fmla="*/ 139355 h 581558"/>
                    <a:gd name="connsiteX58" fmla="*/ 1044062 w 1187257"/>
                    <a:gd name="connsiteY58" fmla="*/ 175016 h 581558"/>
                    <a:gd name="connsiteX59" fmla="*/ 1044611 w 1187257"/>
                    <a:gd name="connsiteY59" fmla="*/ 210678 h 581558"/>
                    <a:gd name="connsiteX60" fmla="*/ 1038027 w 1187257"/>
                    <a:gd name="connsiteY60" fmla="*/ 222748 h 581558"/>
                    <a:gd name="connsiteX61" fmla="*/ 1041319 w 1187257"/>
                    <a:gd name="connsiteY61" fmla="*/ 251277 h 581558"/>
                    <a:gd name="connsiteX62" fmla="*/ 1046805 w 1187257"/>
                    <a:gd name="connsiteY62" fmla="*/ 261701 h 581558"/>
                    <a:gd name="connsiteX63" fmla="*/ 1074237 w 1187257"/>
                    <a:gd name="connsiteY63" fmla="*/ 267736 h 581558"/>
                    <a:gd name="connsiteX64" fmla="*/ 1108801 w 1187257"/>
                    <a:gd name="connsiteY64" fmla="*/ 261701 h 581558"/>
                    <a:gd name="connsiteX65" fmla="*/ 1140623 w 1187257"/>
                    <a:gd name="connsiteY65" fmla="*/ 239207 h 581558"/>
                    <a:gd name="connsiteX66" fmla="*/ 1154339 w 1187257"/>
                    <a:gd name="connsiteY66" fmla="*/ 258409 h 581558"/>
                    <a:gd name="connsiteX67" fmla="*/ 1174090 w 1187257"/>
                    <a:gd name="connsiteY67" fmla="*/ 274869 h 581558"/>
                    <a:gd name="connsiteX68" fmla="*/ 1178479 w 1187257"/>
                    <a:gd name="connsiteY68" fmla="*/ 283647 h 581558"/>
                    <a:gd name="connsiteX69" fmla="*/ 1177381 w 1187257"/>
                    <a:gd name="connsiteY69" fmla="*/ 299009 h 581558"/>
                    <a:gd name="connsiteX70" fmla="*/ 1186160 w 1187257"/>
                    <a:gd name="connsiteY70" fmla="*/ 305044 h 581558"/>
                    <a:gd name="connsiteX71" fmla="*/ 1187257 w 1187257"/>
                    <a:gd name="connsiteY71" fmla="*/ 313822 h 581558"/>
                    <a:gd name="connsiteX72" fmla="*/ 1180673 w 1187257"/>
                    <a:gd name="connsiteY72" fmla="*/ 317663 h 581558"/>
                    <a:gd name="connsiteX73" fmla="*/ 1154887 w 1187257"/>
                    <a:gd name="connsiteY73" fmla="*/ 312176 h 581558"/>
                    <a:gd name="connsiteX74" fmla="*/ 1089599 w 1187257"/>
                    <a:gd name="connsiteY74" fmla="*/ 320406 h 581558"/>
                    <a:gd name="connsiteX75" fmla="*/ 1044611 w 1187257"/>
                    <a:gd name="connsiteY75" fmla="*/ 368686 h 581558"/>
                    <a:gd name="connsiteX76" fmla="*/ 1027054 w 1187257"/>
                    <a:gd name="connsiteY76" fmla="*/ 378562 h 581558"/>
                    <a:gd name="connsiteX77" fmla="*/ 1011144 w 1187257"/>
                    <a:gd name="connsiteY77" fmla="*/ 378013 h 581558"/>
                    <a:gd name="connsiteX78" fmla="*/ 984809 w 1187257"/>
                    <a:gd name="connsiteY78" fmla="*/ 407091 h 581558"/>
                    <a:gd name="connsiteX79" fmla="*/ 965606 w 1187257"/>
                    <a:gd name="connsiteY79" fmla="*/ 418612 h 581558"/>
                    <a:gd name="connsiteX80" fmla="*/ 939272 w 1187257"/>
                    <a:gd name="connsiteY80" fmla="*/ 415321 h 581558"/>
                    <a:gd name="connsiteX81" fmla="*/ 931042 w 1187257"/>
                    <a:gd name="connsiteY81" fmla="*/ 406542 h 581558"/>
                    <a:gd name="connsiteX82" fmla="*/ 920069 w 1187257"/>
                    <a:gd name="connsiteY82" fmla="*/ 402702 h 581558"/>
                    <a:gd name="connsiteX83" fmla="*/ 905805 w 1187257"/>
                    <a:gd name="connsiteY83" fmla="*/ 407639 h 581558"/>
                    <a:gd name="connsiteX84" fmla="*/ 890992 w 1187257"/>
                    <a:gd name="connsiteY84" fmla="*/ 432328 h 581558"/>
                    <a:gd name="connsiteX85" fmla="*/ 888797 w 1187257"/>
                    <a:gd name="connsiteY85" fmla="*/ 442204 h 581558"/>
                    <a:gd name="connsiteX86" fmla="*/ 903610 w 1187257"/>
                    <a:gd name="connsiteY86" fmla="*/ 462503 h 581558"/>
                    <a:gd name="connsiteX87" fmla="*/ 905256 w 1187257"/>
                    <a:gd name="connsiteY87" fmla="*/ 471830 h 581558"/>
                    <a:gd name="connsiteX88" fmla="*/ 865754 w 1187257"/>
                    <a:gd name="connsiteY88" fmla="*/ 505297 h 581558"/>
                    <a:gd name="connsiteX89" fmla="*/ 859170 w 1187257"/>
                    <a:gd name="connsiteY89" fmla="*/ 515722 h 581558"/>
                    <a:gd name="connsiteX90" fmla="*/ 815828 w 1187257"/>
                    <a:gd name="connsiteY90" fmla="*/ 539313 h 581558"/>
                    <a:gd name="connsiteX91" fmla="*/ 796625 w 1187257"/>
                    <a:gd name="connsiteY91" fmla="*/ 540410 h 581558"/>
                    <a:gd name="connsiteX92" fmla="*/ 792785 w 1187257"/>
                    <a:gd name="connsiteY92" fmla="*/ 542056 h 581558"/>
                    <a:gd name="connsiteX93" fmla="*/ 774131 w 1187257"/>
                    <a:gd name="connsiteY93" fmla="*/ 536570 h 581558"/>
                    <a:gd name="connsiteX94" fmla="*/ 762610 w 1187257"/>
                    <a:gd name="connsiteY94" fmla="*/ 540959 h 581558"/>
                    <a:gd name="connsiteX95" fmla="*/ 744505 w 1187257"/>
                    <a:gd name="connsiteY95" fmla="*/ 539313 h 581558"/>
                    <a:gd name="connsiteX96" fmla="*/ 699516 w 1187257"/>
                    <a:gd name="connsiteY96" fmla="*/ 551932 h 581558"/>
                    <a:gd name="connsiteX97" fmla="*/ 694578 w 1187257"/>
                    <a:gd name="connsiteY97" fmla="*/ 557967 h 581558"/>
                    <a:gd name="connsiteX98" fmla="*/ 657820 w 1187257"/>
                    <a:gd name="connsiteY98" fmla="*/ 570037 h 581558"/>
                    <a:gd name="connsiteX99" fmla="*/ 644104 w 1187257"/>
                    <a:gd name="connsiteY99" fmla="*/ 579913 h 581558"/>
                    <a:gd name="connsiteX100" fmla="*/ 637520 w 1187257"/>
                    <a:gd name="connsiteY100" fmla="*/ 581558 h 581558"/>
                    <a:gd name="connsiteX101" fmla="*/ 629290 w 1187257"/>
                    <a:gd name="connsiteY101" fmla="*/ 578266 h 581558"/>
                    <a:gd name="connsiteX102" fmla="*/ 622158 w 1187257"/>
                    <a:gd name="connsiteY102" fmla="*/ 572780 h 581558"/>
                    <a:gd name="connsiteX103" fmla="*/ 532181 w 1187257"/>
                    <a:gd name="connsiteY103" fmla="*/ 544251 h 581558"/>
                    <a:gd name="connsiteX104" fmla="*/ 515722 w 1187257"/>
                    <a:gd name="connsiteY104" fmla="*/ 528340 h 581558"/>
                    <a:gd name="connsiteX105" fmla="*/ 474025 w 1187257"/>
                    <a:gd name="connsiteY105" fmla="*/ 515722 h 581558"/>
                    <a:gd name="connsiteX106" fmla="*/ 346741 w 1187257"/>
                    <a:gd name="connsiteY106" fmla="*/ 524500 h 581558"/>
                    <a:gd name="connsiteX107" fmla="*/ 336865 w 1187257"/>
                    <a:gd name="connsiteY107" fmla="*/ 520659 h 581558"/>
                    <a:gd name="connsiteX108" fmla="*/ 280355 w 1187257"/>
                    <a:gd name="connsiteY108" fmla="*/ 441655 h 581558"/>
                    <a:gd name="connsiteX109" fmla="*/ 272125 w 1187257"/>
                    <a:gd name="connsiteY109" fmla="*/ 440558 h 581558"/>
                    <a:gd name="connsiteX110" fmla="*/ 191476 w 1187257"/>
                    <a:gd name="connsiteY110" fmla="*/ 404348 h 581558"/>
                    <a:gd name="connsiteX111" fmla="*/ 173919 w 1187257"/>
                    <a:gd name="connsiteY111" fmla="*/ 408188 h 581558"/>
                    <a:gd name="connsiteX112" fmla="*/ 112471 w 1187257"/>
                    <a:gd name="connsiteY112" fmla="*/ 393923 h 581558"/>
                    <a:gd name="connsiteX113" fmla="*/ 106985 w 1187257"/>
                    <a:gd name="connsiteY113" fmla="*/ 388437 h 581558"/>
                    <a:gd name="connsiteX114" fmla="*/ 108082 w 1187257"/>
                    <a:gd name="connsiteY114" fmla="*/ 379110 h 581558"/>
                    <a:gd name="connsiteX115" fmla="*/ 113569 w 1187257"/>
                    <a:gd name="connsiteY115" fmla="*/ 367040 h 581558"/>
                    <a:gd name="connsiteX116" fmla="*/ 103144 w 1187257"/>
                    <a:gd name="connsiteY116" fmla="*/ 292425 h 581558"/>
                    <a:gd name="connsiteX117" fmla="*/ 84491 w 1187257"/>
                    <a:gd name="connsiteY117" fmla="*/ 254569 h 581558"/>
                    <a:gd name="connsiteX118" fmla="*/ 73518 w 1187257"/>
                    <a:gd name="connsiteY118" fmla="*/ 253472 h 581558"/>
                    <a:gd name="connsiteX119" fmla="*/ 63642 w 1187257"/>
                    <a:gd name="connsiteY119" fmla="*/ 247437 h 581558"/>
                    <a:gd name="connsiteX120" fmla="*/ 52669 w 1187257"/>
                    <a:gd name="connsiteY120" fmla="*/ 245242 h 581558"/>
                    <a:gd name="connsiteX121" fmla="*/ 47183 w 1187257"/>
                    <a:gd name="connsiteY121" fmla="*/ 252923 h 581558"/>
                    <a:gd name="connsiteX122" fmla="*/ 37307 w 1187257"/>
                    <a:gd name="connsiteY122" fmla="*/ 245242 h 581558"/>
                    <a:gd name="connsiteX123" fmla="*/ 30175 w 1187257"/>
                    <a:gd name="connsiteY123" fmla="*/ 231526 h 581558"/>
                    <a:gd name="connsiteX124" fmla="*/ 9327 w 1187257"/>
                    <a:gd name="connsiteY124" fmla="*/ 215067 h 581558"/>
                    <a:gd name="connsiteX125" fmla="*/ 0 w 1187257"/>
                    <a:gd name="connsiteY125" fmla="*/ 189829 h 581558"/>
                    <a:gd name="connsiteX126" fmla="*/ 0 w 1187257"/>
                    <a:gd name="connsiteY126" fmla="*/ 187086 h 581558"/>
                    <a:gd name="connsiteX127" fmla="*/ 0 w 1187257"/>
                    <a:gd name="connsiteY127" fmla="*/ 187086 h 5815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</a:cxnLst>
                  <a:rect l="l" t="t" r="r" b="b"/>
                  <a:pathLst>
                    <a:path w="1187257" h="581558">
                      <a:moveTo>
                        <a:pt x="0" y="187086"/>
                      </a:moveTo>
                      <a:lnTo>
                        <a:pt x="7681" y="172822"/>
                      </a:lnTo>
                      <a:lnTo>
                        <a:pt x="19202" y="160203"/>
                      </a:lnTo>
                      <a:lnTo>
                        <a:pt x="43891" y="151425"/>
                      </a:lnTo>
                      <a:lnTo>
                        <a:pt x="105339" y="108631"/>
                      </a:lnTo>
                      <a:lnTo>
                        <a:pt x="166238" y="90526"/>
                      </a:lnTo>
                      <a:lnTo>
                        <a:pt x="192573" y="97658"/>
                      </a:lnTo>
                      <a:lnTo>
                        <a:pt x="201351" y="105339"/>
                      </a:lnTo>
                      <a:lnTo>
                        <a:pt x="228234" y="101498"/>
                      </a:lnTo>
                      <a:lnTo>
                        <a:pt x="240304" y="103144"/>
                      </a:lnTo>
                      <a:lnTo>
                        <a:pt x="264445" y="128930"/>
                      </a:lnTo>
                      <a:lnTo>
                        <a:pt x="276515" y="130576"/>
                      </a:lnTo>
                      <a:lnTo>
                        <a:pt x="308336" y="125090"/>
                      </a:lnTo>
                      <a:lnTo>
                        <a:pt x="317663" y="129479"/>
                      </a:lnTo>
                      <a:lnTo>
                        <a:pt x="374173" y="127284"/>
                      </a:lnTo>
                      <a:lnTo>
                        <a:pt x="380756" y="123444"/>
                      </a:lnTo>
                      <a:lnTo>
                        <a:pt x="378013" y="110277"/>
                      </a:lnTo>
                      <a:lnTo>
                        <a:pt x="379659" y="100401"/>
                      </a:lnTo>
                      <a:lnTo>
                        <a:pt x="386791" y="88880"/>
                      </a:lnTo>
                      <a:lnTo>
                        <a:pt x="386243" y="77907"/>
                      </a:lnTo>
                      <a:lnTo>
                        <a:pt x="379110" y="68031"/>
                      </a:lnTo>
                      <a:lnTo>
                        <a:pt x="376916" y="55413"/>
                      </a:lnTo>
                      <a:lnTo>
                        <a:pt x="378013" y="43343"/>
                      </a:lnTo>
                      <a:lnTo>
                        <a:pt x="418612" y="1097"/>
                      </a:lnTo>
                      <a:lnTo>
                        <a:pt x="427939" y="0"/>
                      </a:lnTo>
                      <a:lnTo>
                        <a:pt x="441107" y="3840"/>
                      </a:lnTo>
                      <a:lnTo>
                        <a:pt x="451531" y="11521"/>
                      </a:lnTo>
                      <a:lnTo>
                        <a:pt x="476768" y="18105"/>
                      </a:lnTo>
                      <a:lnTo>
                        <a:pt x="484449" y="28529"/>
                      </a:lnTo>
                      <a:lnTo>
                        <a:pt x="528889" y="38953"/>
                      </a:lnTo>
                      <a:lnTo>
                        <a:pt x="535473" y="50475"/>
                      </a:lnTo>
                      <a:lnTo>
                        <a:pt x="538765" y="85039"/>
                      </a:lnTo>
                      <a:lnTo>
                        <a:pt x="542605" y="85039"/>
                      </a:lnTo>
                      <a:lnTo>
                        <a:pt x="568391" y="105887"/>
                      </a:lnTo>
                      <a:lnTo>
                        <a:pt x="591434" y="113020"/>
                      </a:lnTo>
                      <a:lnTo>
                        <a:pt x="610636" y="109179"/>
                      </a:lnTo>
                      <a:lnTo>
                        <a:pt x="646847" y="90526"/>
                      </a:lnTo>
                      <a:lnTo>
                        <a:pt x="700065" y="108082"/>
                      </a:lnTo>
                      <a:lnTo>
                        <a:pt x="706648" y="115763"/>
                      </a:lnTo>
                      <a:lnTo>
                        <a:pt x="708294" y="115763"/>
                      </a:lnTo>
                      <a:lnTo>
                        <a:pt x="726948" y="127833"/>
                      </a:lnTo>
                      <a:lnTo>
                        <a:pt x="756026" y="137160"/>
                      </a:lnTo>
                      <a:lnTo>
                        <a:pt x="764804" y="151425"/>
                      </a:lnTo>
                      <a:lnTo>
                        <a:pt x="783458" y="162397"/>
                      </a:lnTo>
                      <a:lnTo>
                        <a:pt x="850941" y="170078"/>
                      </a:lnTo>
                      <a:lnTo>
                        <a:pt x="863560" y="175565"/>
                      </a:lnTo>
                      <a:lnTo>
                        <a:pt x="943661" y="154168"/>
                      </a:lnTo>
                      <a:lnTo>
                        <a:pt x="985357" y="122347"/>
                      </a:lnTo>
                      <a:lnTo>
                        <a:pt x="1002914" y="116860"/>
                      </a:lnTo>
                      <a:lnTo>
                        <a:pt x="1019373" y="123444"/>
                      </a:lnTo>
                      <a:lnTo>
                        <a:pt x="1031443" y="133319"/>
                      </a:lnTo>
                      <a:lnTo>
                        <a:pt x="1046257" y="136611"/>
                      </a:lnTo>
                      <a:lnTo>
                        <a:pt x="1057778" y="133868"/>
                      </a:lnTo>
                      <a:lnTo>
                        <a:pt x="1067105" y="128930"/>
                      </a:lnTo>
                      <a:lnTo>
                        <a:pt x="1071494" y="130576"/>
                      </a:lnTo>
                      <a:lnTo>
                        <a:pt x="1071494" y="130576"/>
                      </a:lnTo>
                      <a:lnTo>
                        <a:pt x="1071494" y="133319"/>
                      </a:lnTo>
                      <a:lnTo>
                        <a:pt x="1065459" y="139355"/>
                      </a:lnTo>
                      <a:lnTo>
                        <a:pt x="1044062" y="175016"/>
                      </a:lnTo>
                      <a:lnTo>
                        <a:pt x="1044611" y="210678"/>
                      </a:lnTo>
                      <a:lnTo>
                        <a:pt x="1038027" y="222748"/>
                      </a:lnTo>
                      <a:lnTo>
                        <a:pt x="1041319" y="251277"/>
                      </a:lnTo>
                      <a:lnTo>
                        <a:pt x="1046805" y="261701"/>
                      </a:lnTo>
                      <a:lnTo>
                        <a:pt x="1074237" y="267736"/>
                      </a:lnTo>
                      <a:lnTo>
                        <a:pt x="1108801" y="261701"/>
                      </a:lnTo>
                      <a:lnTo>
                        <a:pt x="1140623" y="239207"/>
                      </a:lnTo>
                      <a:lnTo>
                        <a:pt x="1154339" y="258409"/>
                      </a:lnTo>
                      <a:lnTo>
                        <a:pt x="1174090" y="274869"/>
                      </a:lnTo>
                      <a:lnTo>
                        <a:pt x="1178479" y="283647"/>
                      </a:lnTo>
                      <a:lnTo>
                        <a:pt x="1177381" y="299009"/>
                      </a:lnTo>
                      <a:lnTo>
                        <a:pt x="1186160" y="305044"/>
                      </a:lnTo>
                      <a:lnTo>
                        <a:pt x="1187257" y="313822"/>
                      </a:lnTo>
                      <a:lnTo>
                        <a:pt x="1180673" y="317663"/>
                      </a:lnTo>
                      <a:lnTo>
                        <a:pt x="1154887" y="312176"/>
                      </a:lnTo>
                      <a:lnTo>
                        <a:pt x="1089599" y="320406"/>
                      </a:lnTo>
                      <a:lnTo>
                        <a:pt x="1044611" y="368686"/>
                      </a:lnTo>
                      <a:lnTo>
                        <a:pt x="1027054" y="378562"/>
                      </a:lnTo>
                      <a:lnTo>
                        <a:pt x="1011144" y="378013"/>
                      </a:lnTo>
                      <a:lnTo>
                        <a:pt x="984809" y="407091"/>
                      </a:lnTo>
                      <a:lnTo>
                        <a:pt x="965606" y="418612"/>
                      </a:lnTo>
                      <a:lnTo>
                        <a:pt x="939272" y="415321"/>
                      </a:lnTo>
                      <a:lnTo>
                        <a:pt x="931042" y="406542"/>
                      </a:lnTo>
                      <a:lnTo>
                        <a:pt x="920069" y="402702"/>
                      </a:lnTo>
                      <a:lnTo>
                        <a:pt x="905805" y="407639"/>
                      </a:lnTo>
                      <a:lnTo>
                        <a:pt x="890992" y="432328"/>
                      </a:lnTo>
                      <a:lnTo>
                        <a:pt x="888797" y="442204"/>
                      </a:lnTo>
                      <a:lnTo>
                        <a:pt x="903610" y="462503"/>
                      </a:lnTo>
                      <a:lnTo>
                        <a:pt x="905256" y="471830"/>
                      </a:lnTo>
                      <a:lnTo>
                        <a:pt x="865754" y="505297"/>
                      </a:lnTo>
                      <a:lnTo>
                        <a:pt x="859170" y="515722"/>
                      </a:lnTo>
                      <a:lnTo>
                        <a:pt x="815828" y="539313"/>
                      </a:lnTo>
                      <a:lnTo>
                        <a:pt x="796625" y="540410"/>
                      </a:lnTo>
                      <a:lnTo>
                        <a:pt x="792785" y="542056"/>
                      </a:lnTo>
                      <a:lnTo>
                        <a:pt x="774131" y="536570"/>
                      </a:lnTo>
                      <a:lnTo>
                        <a:pt x="762610" y="540959"/>
                      </a:lnTo>
                      <a:lnTo>
                        <a:pt x="744505" y="539313"/>
                      </a:lnTo>
                      <a:lnTo>
                        <a:pt x="699516" y="551932"/>
                      </a:lnTo>
                      <a:lnTo>
                        <a:pt x="694578" y="557967"/>
                      </a:lnTo>
                      <a:lnTo>
                        <a:pt x="657820" y="570037"/>
                      </a:lnTo>
                      <a:lnTo>
                        <a:pt x="644104" y="579913"/>
                      </a:lnTo>
                      <a:lnTo>
                        <a:pt x="637520" y="581558"/>
                      </a:lnTo>
                      <a:lnTo>
                        <a:pt x="629290" y="578266"/>
                      </a:lnTo>
                      <a:lnTo>
                        <a:pt x="622158" y="572780"/>
                      </a:lnTo>
                      <a:lnTo>
                        <a:pt x="532181" y="544251"/>
                      </a:lnTo>
                      <a:lnTo>
                        <a:pt x="515722" y="528340"/>
                      </a:lnTo>
                      <a:lnTo>
                        <a:pt x="474025" y="515722"/>
                      </a:lnTo>
                      <a:lnTo>
                        <a:pt x="346741" y="524500"/>
                      </a:lnTo>
                      <a:lnTo>
                        <a:pt x="336865" y="520659"/>
                      </a:lnTo>
                      <a:lnTo>
                        <a:pt x="280355" y="441655"/>
                      </a:lnTo>
                      <a:lnTo>
                        <a:pt x="272125" y="440558"/>
                      </a:lnTo>
                      <a:lnTo>
                        <a:pt x="191476" y="404348"/>
                      </a:lnTo>
                      <a:lnTo>
                        <a:pt x="173919" y="408188"/>
                      </a:lnTo>
                      <a:lnTo>
                        <a:pt x="112471" y="393923"/>
                      </a:lnTo>
                      <a:lnTo>
                        <a:pt x="106985" y="388437"/>
                      </a:lnTo>
                      <a:lnTo>
                        <a:pt x="108082" y="379110"/>
                      </a:lnTo>
                      <a:lnTo>
                        <a:pt x="113569" y="367040"/>
                      </a:lnTo>
                      <a:lnTo>
                        <a:pt x="103144" y="292425"/>
                      </a:lnTo>
                      <a:lnTo>
                        <a:pt x="84491" y="254569"/>
                      </a:lnTo>
                      <a:lnTo>
                        <a:pt x="73518" y="253472"/>
                      </a:lnTo>
                      <a:lnTo>
                        <a:pt x="63642" y="247437"/>
                      </a:lnTo>
                      <a:lnTo>
                        <a:pt x="52669" y="245242"/>
                      </a:lnTo>
                      <a:lnTo>
                        <a:pt x="47183" y="252923"/>
                      </a:lnTo>
                      <a:lnTo>
                        <a:pt x="37307" y="245242"/>
                      </a:lnTo>
                      <a:lnTo>
                        <a:pt x="30175" y="231526"/>
                      </a:lnTo>
                      <a:lnTo>
                        <a:pt x="9327" y="215067"/>
                      </a:lnTo>
                      <a:lnTo>
                        <a:pt x="0" y="189829"/>
                      </a:lnTo>
                      <a:lnTo>
                        <a:pt x="0" y="187086"/>
                      </a:lnTo>
                      <a:lnTo>
                        <a:pt x="0" y="187086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62" name="Graphic 7">
                  <a:extLst>
                    <a:ext uri="{FF2B5EF4-FFF2-40B4-BE49-F238E27FC236}">
                      <a16:creationId xmlns:a16="http://schemas.microsoft.com/office/drawing/2014/main" id="{0345ADEA-1A83-0E0B-9B85-C30B1DFD7B70}"/>
                    </a:ext>
                  </a:extLst>
                </p:cNvPr>
                <p:cNvSpPr/>
                <p:nvPr/>
              </p:nvSpPr>
              <p:spPr>
                <a:xfrm>
                  <a:off x="8178276" y="4274183"/>
                  <a:ext cx="120877" cy="155597"/>
                </a:xfrm>
                <a:custGeom>
                  <a:avLst/>
                  <a:gdLst>
                    <a:gd name="connsiteX0" fmla="*/ 3292 w 154716"/>
                    <a:gd name="connsiteY0" fmla="*/ 10424 h 199156"/>
                    <a:gd name="connsiteX1" fmla="*/ 1646 w 154716"/>
                    <a:gd name="connsiteY1" fmla="*/ 10973 h 199156"/>
                    <a:gd name="connsiteX2" fmla="*/ 12619 w 154716"/>
                    <a:gd name="connsiteY2" fmla="*/ 66934 h 199156"/>
                    <a:gd name="connsiteX3" fmla="*/ 18105 w 154716"/>
                    <a:gd name="connsiteY3" fmla="*/ 70775 h 199156"/>
                    <a:gd name="connsiteX4" fmla="*/ 17557 w 154716"/>
                    <a:gd name="connsiteY4" fmla="*/ 89428 h 199156"/>
                    <a:gd name="connsiteX5" fmla="*/ 21397 w 154716"/>
                    <a:gd name="connsiteY5" fmla="*/ 97109 h 199156"/>
                    <a:gd name="connsiteX6" fmla="*/ 22494 w 154716"/>
                    <a:gd name="connsiteY6" fmla="*/ 101498 h 199156"/>
                    <a:gd name="connsiteX7" fmla="*/ 45537 w 154716"/>
                    <a:gd name="connsiteY7" fmla="*/ 133868 h 199156"/>
                    <a:gd name="connsiteX8" fmla="*/ 46634 w 154716"/>
                    <a:gd name="connsiteY8" fmla="*/ 142646 h 199156"/>
                    <a:gd name="connsiteX9" fmla="*/ 121798 w 154716"/>
                    <a:gd name="connsiteY9" fmla="*/ 196962 h 199156"/>
                    <a:gd name="connsiteX10" fmla="*/ 123993 w 154716"/>
                    <a:gd name="connsiteY10" fmla="*/ 195316 h 199156"/>
                    <a:gd name="connsiteX11" fmla="*/ 126736 w 154716"/>
                    <a:gd name="connsiteY11" fmla="*/ 199156 h 199156"/>
                    <a:gd name="connsiteX12" fmla="*/ 129479 w 154716"/>
                    <a:gd name="connsiteY12" fmla="*/ 196413 h 199156"/>
                    <a:gd name="connsiteX13" fmla="*/ 131125 w 154716"/>
                    <a:gd name="connsiteY13" fmla="*/ 192024 h 199156"/>
                    <a:gd name="connsiteX14" fmla="*/ 135514 w 154716"/>
                    <a:gd name="connsiteY14" fmla="*/ 189830 h 199156"/>
                    <a:gd name="connsiteX15" fmla="*/ 144841 w 154716"/>
                    <a:gd name="connsiteY15" fmla="*/ 191476 h 199156"/>
                    <a:gd name="connsiteX16" fmla="*/ 150327 w 154716"/>
                    <a:gd name="connsiteY16" fmla="*/ 197510 h 199156"/>
                    <a:gd name="connsiteX17" fmla="*/ 153070 w 154716"/>
                    <a:gd name="connsiteY17" fmla="*/ 192024 h 199156"/>
                    <a:gd name="connsiteX18" fmla="*/ 154717 w 154716"/>
                    <a:gd name="connsiteY18" fmla="*/ 181600 h 199156"/>
                    <a:gd name="connsiteX19" fmla="*/ 140452 w 154716"/>
                    <a:gd name="connsiteY19" fmla="*/ 152522 h 199156"/>
                    <a:gd name="connsiteX20" fmla="*/ 128930 w 154716"/>
                    <a:gd name="connsiteY20" fmla="*/ 143744 h 199156"/>
                    <a:gd name="connsiteX21" fmla="*/ 123993 w 154716"/>
                    <a:gd name="connsiteY21" fmla="*/ 65288 h 199156"/>
                    <a:gd name="connsiteX22" fmla="*/ 108631 w 154716"/>
                    <a:gd name="connsiteY22" fmla="*/ 41148 h 199156"/>
                    <a:gd name="connsiteX23" fmla="*/ 83942 w 154716"/>
                    <a:gd name="connsiteY23" fmla="*/ 19751 h 199156"/>
                    <a:gd name="connsiteX24" fmla="*/ 75712 w 154716"/>
                    <a:gd name="connsiteY24" fmla="*/ 19751 h 199156"/>
                    <a:gd name="connsiteX25" fmla="*/ 70774 w 154716"/>
                    <a:gd name="connsiteY25" fmla="*/ 28529 h 199156"/>
                    <a:gd name="connsiteX26" fmla="*/ 63094 w 154716"/>
                    <a:gd name="connsiteY26" fmla="*/ 29627 h 199156"/>
                    <a:gd name="connsiteX27" fmla="*/ 55961 w 154716"/>
                    <a:gd name="connsiteY27" fmla="*/ 27981 h 199156"/>
                    <a:gd name="connsiteX28" fmla="*/ 40051 w 154716"/>
                    <a:gd name="connsiteY28" fmla="*/ 38954 h 199156"/>
                    <a:gd name="connsiteX29" fmla="*/ 36759 w 154716"/>
                    <a:gd name="connsiteY29" fmla="*/ 30724 h 199156"/>
                    <a:gd name="connsiteX30" fmla="*/ 38953 w 154716"/>
                    <a:gd name="connsiteY30" fmla="*/ 19751 h 199156"/>
                    <a:gd name="connsiteX31" fmla="*/ 31821 w 154716"/>
                    <a:gd name="connsiteY31" fmla="*/ 9327 h 199156"/>
                    <a:gd name="connsiteX32" fmla="*/ 13716 w 154716"/>
                    <a:gd name="connsiteY32" fmla="*/ 6584 h 199156"/>
                    <a:gd name="connsiteX33" fmla="*/ 8230 w 154716"/>
                    <a:gd name="connsiteY33" fmla="*/ 0 h 199156"/>
                    <a:gd name="connsiteX34" fmla="*/ 0 w 154716"/>
                    <a:gd name="connsiteY34" fmla="*/ 0 h 199156"/>
                    <a:gd name="connsiteX35" fmla="*/ 3292 w 154716"/>
                    <a:gd name="connsiteY35" fmla="*/ 10424 h 1991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</a:cxnLst>
                  <a:rect l="l" t="t" r="r" b="b"/>
                  <a:pathLst>
                    <a:path w="154716" h="199156">
                      <a:moveTo>
                        <a:pt x="3292" y="10424"/>
                      </a:moveTo>
                      <a:lnTo>
                        <a:pt x="1646" y="10973"/>
                      </a:lnTo>
                      <a:lnTo>
                        <a:pt x="12619" y="66934"/>
                      </a:lnTo>
                      <a:lnTo>
                        <a:pt x="18105" y="70775"/>
                      </a:lnTo>
                      <a:lnTo>
                        <a:pt x="17557" y="89428"/>
                      </a:lnTo>
                      <a:lnTo>
                        <a:pt x="21397" y="97109"/>
                      </a:lnTo>
                      <a:lnTo>
                        <a:pt x="22494" y="101498"/>
                      </a:lnTo>
                      <a:lnTo>
                        <a:pt x="45537" y="133868"/>
                      </a:lnTo>
                      <a:lnTo>
                        <a:pt x="46634" y="142646"/>
                      </a:lnTo>
                      <a:lnTo>
                        <a:pt x="121798" y="196962"/>
                      </a:lnTo>
                      <a:lnTo>
                        <a:pt x="123993" y="195316"/>
                      </a:lnTo>
                      <a:lnTo>
                        <a:pt x="126736" y="199156"/>
                      </a:lnTo>
                      <a:lnTo>
                        <a:pt x="129479" y="196413"/>
                      </a:lnTo>
                      <a:lnTo>
                        <a:pt x="131125" y="192024"/>
                      </a:lnTo>
                      <a:lnTo>
                        <a:pt x="135514" y="189830"/>
                      </a:lnTo>
                      <a:lnTo>
                        <a:pt x="144841" y="191476"/>
                      </a:lnTo>
                      <a:lnTo>
                        <a:pt x="150327" y="197510"/>
                      </a:lnTo>
                      <a:lnTo>
                        <a:pt x="153070" y="192024"/>
                      </a:lnTo>
                      <a:lnTo>
                        <a:pt x="154717" y="181600"/>
                      </a:lnTo>
                      <a:lnTo>
                        <a:pt x="140452" y="152522"/>
                      </a:lnTo>
                      <a:lnTo>
                        <a:pt x="128930" y="143744"/>
                      </a:lnTo>
                      <a:lnTo>
                        <a:pt x="123993" y="65288"/>
                      </a:lnTo>
                      <a:lnTo>
                        <a:pt x="108631" y="41148"/>
                      </a:lnTo>
                      <a:lnTo>
                        <a:pt x="83942" y="19751"/>
                      </a:lnTo>
                      <a:lnTo>
                        <a:pt x="75712" y="19751"/>
                      </a:lnTo>
                      <a:lnTo>
                        <a:pt x="70774" y="28529"/>
                      </a:lnTo>
                      <a:lnTo>
                        <a:pt x="63094" y="29627"/>
                      </a:lnTo>
                      <a:lnTo>
                        <a:pt x="55961" y="27981"/>
                      </a:lnTo>
                      <a:lnTo>
                        <a:pt x="40051" y="38954"/>
                      </a:lnTo>
                      <a:lnTo>
                        <a:pt x="36759" y="30724"/>
                      </a:lnTo>
                      <a:lnTo>
                        <a:pt x="38953" y="19751"/>
                      </a:lnTo>
                      <a:lnTo>
                        <a:pt x="31821" y="9327"/>
                      </a:lnTo>
                      <a:lnTo>
                        <a:pt x="13716" y="6584"/>
                      </a:lnTo>
                      <a:lnTo>
                        <a:pt x="8230" y="0"/>
                      </a:lnTo>
                      <a:lnTo>
                        <a:pt x="0" y="0"/>
                      </a:lnTo>
                      <a:lnTo>
                        <a:pt x="3292" y="10424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63" name="Graphic 7">
                  <a:extLst>
                    <a:ext uri="{FF2B5EF4-FFF2-40B4-BE49-F238E27FC236}">
                      <a16:creationId xmlns:a16="http://schemas.microsoft.com/office/drawing/2014/main" id="{108526C5-CEEC-580C-252E-8797904116DC}"/>
                    </a:ext>
                  </a:extLst>
                </p:cNvPr>
                <p:cNvSpPr/>
                <p:nvPr/>
              </p:nvSpPr>
              <p:spPr>
                <a:xfrm>
                  <a:off x="8123410" y="4123301"/>
                  <a:ext cx="7715" cy="8144"/>
                </a:xfrm>
                <a:custGeom>
                  <a:avLst/>
                  <a:gdLst>
                    <a:gd name="connsiteX0" fmla="*/ 7132 w 9875"/>
                    <a:gd name="connsiteY0" fmla="*/ 549 h 10424"/>
                    <a:gd name="connsiteX1" fmla="*/ 8230 w 9875"/>
                    <a:gd name="connsiteY1" fmla="*/ 2195 h 10424"/>
                    <a:gd name="connsiteX2" fmla="*/ 6035 w 9875"/>
                    <a:gd name="connsiteY2" fmla="*/ 0 h 10424"/>
                    <a:gd name="connsiteX3" fmla="*/ 0 w 9875"/>
                    <a:gd name="connsiteY3" fmla="*/ 8778 h 10424"/>
                    <a:gd name="connsiteX4" fmla="*/ 6035 w 9875"/>
                    <a:gd name="connsiteY4" fmla="*/ 10424 h 10424"/>
                    <a:gd name="connsiteX5" fmla="*/ 8778 w 9875"/>
                    <a:gd name="connsiteY5" fmla="*/ 9327 h 10424"/>
                    <a:gd name="connsiteX6" fmla="*/ 9875 w 9875"/>
                    <a:gd name="connsiteY6" fmla="*/ 3841 h 10424"/>
                    <a:gd name="connsiteX7" fmla="*/ 7132 w 9875"/>
                    <a:gd name="connsiteY7" fmla="*/ 549 h 104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9875" h="10424">
                      <a:moveTo>
                        <a:pt x="7132" y="549"/>
                      </a:moveTo>
                      <a:lnTo>
                        <a:pt x="8230" y="2195"/>
                      </a:lnTo>
                      <a:lnTo>
                        <a:pt x="6035" y="0"/>
                      </a:lnTo>
                      <a:lnTo>
                        <a:pt x="0" y="8778"/>
                      </a:lnTo>
                      <a:lnTo>
                        <a:pt x="6035" y="10424"/>
                      </a:lnTo>
                      <a:lnTo>
                        <a:pt x="8778" y="9327"/>
                      </a:lnTo>
                      <a:lnTo>
                        <a:pt x="9875" y="3841"/>
                      </a:lnTo>
                      <a:lnTo>
                        <a:pt x="7132" y="549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64" name="Graphic 7">
                  <a:extLst>
                    <a:ext uri="{FF2B5EF4-FFF2-40B4-BE49-F238E27FC236}">
                      <a16:creationId xmlns:a16="http://schemas.microsoft.com/office/drawing/2014/main" id="{2DF923DA-82C7-786E-DE2D-12B0731F0D2A}"/>
                    </a:ext>
                  </a:extLst>
                </p:cNvPr>
                <p:cNvSpPr/>
                <p:nvPr/>
              </p:nvSpPr>
              <p:spPr>
                <a:xfrm>
                  <a:off x="8121695" y="4125016"/>
                  <a:ext cx="3000" cy="8144"/>
                </a:xfrm>
                <a:custGeom>
                  <a:avLst/>
                  <a:gdLst>
                    <a:gd name="connsiteX0" fmla="*/ 2195 w 3840"/>
                    <a:gd name="connsiteY0" fmla="*/ 549 h 10424"/>
                    <a:gd name="connsiteX1" fmla="*/ 1646 w 3840"/>
                    <a:gd name="connsiteY1" fmla="*/ 1097 h 10424"/>
                    <a:gd name="connsiteX2" fmla="*/ 0 w 3840"/>
                    <a:gd name="connsiteY2" fmla="*/ 10424 h 10424"/>
                    <a:gd name="connsiteX3" fmla="*/ 2195 w 3840"/>
                    <a:gd name="connsiteY3" fmla="*/ 6584 h 10424"/>
                    <a:gd name="connsiteX4" fmla="*/ 3841 w 3840"/>
                    <a:gd name="connsiteY4" fmla="*/ 0 h 10424"/>
                    <a:gd name="connsiteX5" fmla="*/ 2195 w 3840"/>
                    <a:gd name="connsiteY5" fmla="*/ 549 h 104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840" h="10424">
                      <a:moveTo>
                        <a:pt x="2195" y="549"/>
                      </a:moveTo>
                      <a:lnTo>
                        <a:pt x="1646" y="1097"/>
                      </a:lnTo>
                      <a:lnTo>
                        <a:pt x="0" y="10424"/>
                      </a:lnTo>
                      <a:lnTo>
                        <a:pt x="2195" y="6584"/>
                      </a:lnTo>
                      <a:lnTo>
                        <a:pt x="3841" y="0"/>
                      </a:lnTo>
                      <a:lnTo>
                        <a:pt x="2195" y="549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65" name="Graphic 7">
                  <a:extLst>
                    <a:ext uri="{FF2B5EF4-FFF2-40B4-BE49-F238E27FC236}">
                      <a16:creationId xmlns:a16="http://schemas.microsoft.com/office/drawing/2014/main" id="{44E143AA-719E-2A2F-0974-EF73CED4012B}"/>
                    </a:ext>
                  </a:extLst>
                </p:cNvPr>
                <p:cNvSpPr/>
                <p:nvPr/>
              </p:nvSpPr>
              <p:spPr>
                <a:xfrm>
                  <a:off x="8124267" y="4098011"/>
                  <a:ext cx="3000" cy="9430"/>
                </a:xfrm>
                <a:custGeom>
                  <a:avLst/>
                  <a:gdLst>
                    <a:gd name="connsiteX0" fmla="*/ 549 w 3840"/>
                    <a:gd name="connsiteY0" fmla="*/ 0 h 12070"/>
                    <a:gd name="connsiteX1" fmla="*/ 0 w 3840"/>
                    <a:gd name="connsiteY1" fmla="*/ 9327 h 12070"/>
                    <a:gd name="connsiteX2" fmla="*/ 1097 w 3840"/>
                    <a:gd name="connsiteY2" fmla="*/ 12070 h 12070"/>
                    <a:gd name="connsiteX3" fmla="*/ 3841 w 3840"/>
                    <a:gd name="connsiteY3" fmla="*/ 9327 h 12070"/>
                    <a:gd name="connsiteX4" fmla="*/ 549 w 3840"/>
                    <a:gd name="connsiteY4" fmla="*/ 0 h 120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40" h="12070">
                      <a:moveTo>
                        <a:pt x="549" y="0"/>
                      </a:moveTo>
                      <a:lnTo>
                        <a:pt x="0" y="9327"/>
                      </a:lnTo>
                      <a:lnTo>
                        <a:pt x="1097" y="12070"/>
                      </a:lnTo>
                      <a:lnTo>
                        <a:pt x="3841" y="9327"/>
                      </a:lnTo>
                      <a:lnTo>
                        <a:pt x="549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66" name="Graphic 7">
                  <a:extLst>
                    <a:ext uri="{FF2B5EF4-FFF2-40B4-BE49-F238E27FC236}">
                      <a16:creationId xmlns:a16="http://schemas.microsoft.com/office/drawing/2014/main" id="{B6D71AB7-472C-BF5A-E69A-E5585797E14A}"/>
                    </a:ext>
                  </a:extLst>
                </p:cNvPr>
                <p:cNvSpPr/>
                <p:nvPr/>
              </p:nvSpPr>
              <p:spPr>
                <a:xfrm>
                  <a:off x="8678072" y="4136589"/>
                  <a:ext cx="69439" cy="87872"/>
                </a:xfrm>
                <a:custGeom>
                  <a:avLst/>
                  <a:gdLst>
                    <a:gd name="connsiteX0" fmla="*/ 82845 w 88879"/>
                    <a:gd name="connsiteY0" fmla="*/ 1646 h 112471"/>
                    <a:gd name="connsiteX1" fmla="*/ 85039 w 88879"/>
                    <a:gd name="connsiteY1" fmla="*/ 0 h 112471"/>
                    <a:gd name="connsiteX2" fmla="*/ 85588 w 88879"/>
                    <a:gd name="connsiteY2" fmla="*/ 1097 h 112471"/>
                    <a:gd name="connsiteX3" fmla="*/ 86137 w 88879"/>
                    <a:gd name="connsiteY3" fmla="*/ 10424 h 112471"/>
                    <a:gd name="connsiteX4" fmla="*/ 87782 w 88879"/>
                    <a:gd name="connsiteY4" fmla="*/ 12619 h 112471"/>
                    <a:gd name="connsiteX5" fmla="*/ 85588 w 88879"/>
                    <a:gd name="connsiteY5" fmla="*/ 16459 h 112471"/>
                    <a:gd name="connsiteX6" fmla="*/ 88880 w 88879"/>
                    <a:gd name="connsiteY6" fmla="*/ 31821 h 112471"/>
                    <a:gd name="connsiteX7" fmla="*/ 87234 w 88879"/>
                    <a:gd name="connsiteY7" fmla="*/ 36210 h 112471"/>
                    <a:gd name="connsiteX8" fmla="*/ 80650 w 88879"/>
                    <a:gd name="connsiteY8" fmla="*/ 40599 h 112471"/>
                    <a:gd name="connsiteX9" fmla="*/ 70775 w 88879"/>
                    <a:gd name="connsiteY9" fmla="*/ 52121 h 112471"/>
                    <a:gd name="connsiteX10" fmla="*/ 59253 w 88879"/>
                    <a:gd name="connsiteY10" fmla="*/ 58156 h 112471"/>
                    <a:gd name="connsiteX11" fmla="*/ 56510 w 88879"/>
                    <a:gd name="connsiteY11" fmla="*/ 67483 h 112471"/>
                    <a:gd name="connsiteX12" fmla="*/ 19751 w 88879"/>
                    <a:gd name="connsiteY12" fmla="*/ 102596 h 112471"/>
                    <a:gd name="connsiteX13" fmla="*/ 13716 w 88879"/>
                    <a:gd name="connsiteY13" fmla="*/ 103693 h 112471"/>
                    <a:gd name="connsiteX14" fmla="*/ 4938 w 88879"/>
                    <a:gd name="connsiteY14" fmla="*/ 112471 h 112471"/>
                    <a:gd name="connsiteX15" fmla="*/ 0 w 88879"/>
                    <a:gd name="connsiteY15" fmla="*/ 111374 h 112471"/>
                    <a:gd name="connsiteX16" fmla="*/ 2195 w 88879"/>
                    <a:gd name="connsiteY16" fmla="*/ 102596 h 112471"/>
                    <a:gd name="connsiteX17" fmla="*/ 7132 w 88879"/>
                    <a:gd name="connsiteY17" fmla="*/ 94366 h 112471"/>
                    <a:gd name="connsiteX18" fmla="*/ 21946 w 88879"/>
                    <a:gd name="connsiteY18" fmla="*/ 81747 h 112471"/>
                    <a:gd name="connsiteX19" fmla="*/ 25786 w 88879"/>
                    <a:gd name="connsiteY19" fmla="*/ 81199 h 112471"/>
                    <a:gd name="connsiteX20" fmla="*/ 53218 w 88879"/>
                    <a:gd name="connsiteY20" fmla="*/ 51023 h 112471"/>
                    <a:gd name="connsiteX21" fmla="*/ 57059 w 88879"/>
                    <a:gd name="connsiteY21" fmla="*/ 49378 h 112471"/>
                    <a:gd name="connsiteX22" fmla="*/ 61448 w 88879"/>
                    <a:gd name="connsiteY22" fmla="*/ 42794 h 112471"/>
                    <a:gd name="connsiteX23" fmla="*/ 66934 w 88879"/>
                    <a:gd name="connsiteY23" fmla="*/ 38405 h 112471"/>
                    <a:gd name="connsiteX24" fmla="*/ 71872 w 88879"/>
                    <a:gd name="connsiteY24" fmla="*/ 36210 h 112471"/>
                    <a:gd name="connsiteX25" fmla="*/ 76810 w 88879"/>
                    <a:gd name="connsiteY25" fmla="*/ 27432 h 112471"/>
                    <a:gd name="connsiteX26" fmla="*/ 76261 w 88879"/>
                    <a:gd name="connsiteY26" fmla="*/ 20300 h 112471"/>
                    <a:gd name="connsiteX27" fmla="*/ 77907 w 88879"/>
                    <a:gd name="connsiteY27" fmla="*/ 23591 h 112471"/>
                    <a:gd name="connsiteX28" fmla="*/ 80650 w 88879"/>
                    <a:gd name="connsiteY28" fmla="*/ 21397 h 112471"/>
                    <a:gd name="connsiteX29" fmla="*/ 79553 w 88879"/>
                    <a:gd name="connsiteY29" fmla="*/ 19202 h 112471"/>
                    <a:gd name="connsiteX30" fmla="*/ 76810 w 88879"/>
                    <a:gd name="connsiteY30" fmla="*/ 16459 h 112471"/>
                    <a:gd name="connsiteX31" fmla="*/ 80650 w 88879"/>
                    <a:gd name="connsiteY31" fmla="*/ 9327 h 112471"/>
                    <a:gd name="connsiteX32" fmla="*/ 81199 w 88879"/>
                    <a:gd name="connsiteY32" fmla="*/ 3292 h 112471"/>
                    <a:gd name="connsiteX33" fmla="*/ 82845 w 88879"/>
                    <a:gd name="connsiteY33" fmla="*/ 1646 h 1124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</a:cxnLst>
                  <a:rect l="l" t="t" r="r" b="b"/>
                  <a:pathLst>
                    <a:path w="88879" h="112471">
                      <a:moveTo>
                        <a:pt x="82845" y="1646"/>
                      </a:moveTo>
                      <a:lnTo>
                        <a:pt x="85039" y="0"/>
                      </a:lnTo>
                      <a:lnTo>
                        <a:pt x="85588" y="1097"/>
                      </a:lnTo>
                      <a:lnTo>
                        <a:pt x="86137" y="10424"/>
                      </a:lnTo>
                      <a:lnTo>
                        <a:pt x="87782" y="12619"/>
                      </a:lnTo>
                      <a:lnTo>
                        <a:pt x="85588" y="16459"/>
                      </a:lnTo>
                      <a:lnTo>
                        <a:pt x="88880" y="31821"/>
                      </a:lnTo>
                      <a:lnTo>
                        <a:pt x="87234" y="36210"/>
                      </a:lnTo>
                      <a:lnTo>
                        <a:pt x="80650" y="40599"/>
                      </a:lnTo>
                      <a:lnTo>
                        <a:pt x="70775" y="52121"/>
                      </a:lnTo>
                      <a:lnTo>
                        <a:pt x="59253" y="58156"/>
                      </a:lnTo>
                      <a:lnTo>
                        <a:pt x="56510" y="67483"/>
                      </a:lnTo>
                      <a:lnTo>
                        <a:pt x="19751" y="102596"/>
                      </a:lnTo>
                      <a:lnTo>
                        <a:pt x="13716" y="103693"/>
                      </a:lnTo>
                      <a:lnTo>
                        <a:pt x="4938" y="112471"/>
                      </a:lnTo>
                      <a:lnTo>
                        <a:pt x="0" y="111374"/>
                      </a:lnTo>
                      <a:lnTo>
                        <a:pt x="2195" y="102596"/>
                      </a:lnTo>
                      <a:lnTo>
                        <a:pt x="7132" y="94366"/>
                      </a:lnTo>
                      <a:lnTo>
                        <a:pt x="21946" y="81747"/>
                      </a:lnTo>
                      <a:lnTo>
                        <a:pt x="25786" y="81199"/>
                      </a:lnTo>
                      <a:lnTo>
                        <a:pt x="53218" y="51023"/>
                      </a:lnTo>
                      <a:lnTo>
                        <a:pt x="57059" y="49378"/>
                      </a:lnTo>
                      <a:lnTo>
                        <a:pt x="61448" y="42794"/>
                      </a:lnTo>
                      <a:lnTo>
                        <a:pt x="66934" y="38405"/>
                      </a:lnTo>
                      <a:lnTo>
                        <a:pt x="71872" y="36210"/>
                      </a:lnTo>
                      <a:lnTo>
                        <a:pt x="76810" y="27432"/>
                      </a:lnTo>
                      <a:lnTo>
                        <a:pt x="76261" y="20300"/>
                      </a:lnTo>
                      <a:lnTo>
                        <a:pt x="77907" y="23591"/>
                      </a:lnTo>
                      <a:lnTo>
                        <a:pt x="80650" y="21397"/>
                      </a:lnTo>
                      <a:lnTo>
                        <a:pt x="79553" y="19202"/>
                      </a:lnTo>
                      <a:lnTo>
                        <a:pt x="76810" y="16459"/>
                      </a:lnTo>
                      <a:lnTo>
                        <a:pt x="80650" y="9327"/>
                      </a:lnTo>
                      <a:lnTo>
                        <a:pt x="81199" y="3292"/>
                      </a:lnTo>
                      <a:lnTo>
                        <a:pt x="82845" y="1646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67" name="Graphic 7">
                  <a:extLst>
                    <a:ext uri="{FF2B5EF4-FFF2-40B4-BE49-F238E27FC236}">
                      <a16:creationId xmlns:a16="http://schemas.microsoft.com/office/drawing/2014/main" id="{893CF62A-A3EF-F2E9-9091-82C82F751DBE}"/>
                    </a:ext>
                  </a:extLst>
                </p:cNvPr>
                <p:cNvSpPr/>
                <p:nvPr/>
              </p:nvSpPr>
              <p:spPr>
                <a:xfrm>
                  <a:off x="8755228" y="4120301"/>
                  <a:ext cx="5572" cy="6858"/>
                </a:xfrm>
                <a:custGeom>
                  <a:avLst/>
                  <a:gdLst>
                    <a:gd name="connsiteX0" fmla="*/ 0 w 7132"/>
                    <a:gd name="connsiteY0" fmla="*/ 0 h 8778"/>
                    <a:gd name="connsiteX1" fmla="*/ 4938 w 7132"/>
                    <a:gd name="connsiteY1" fmla="*/ 2743 h 8778"/>
                    <a:gd name="connsiteX2" fmla="*/ 7132 w 7132"/>
                    <a:gd name="connsiteY2" fmla="*/ 4938 h 8778"/>
                    <a:gd name="connsiteX3" fmla="*/ 6584 w 7132"/>
                    <a:gd name="connsiteY3" fmla="*/ 7132 h 8778"/>
                    <a:gd name="connsiteX4" fmla="*/ 4938 w 7132"/>
                    <a:gd name="connsiteY4" fmla="*/ 8778 h 8778"/>
                    <a:gd name="connsiteX5" fmla="*/ 2743 w 7132"/>
                    <a:gd name="connsiteY5" fmla="*/ 7132 h 8778"/>
                    <a:gd name="connsiteX6" fmla="*/ 0 w 7132"/>
                    <a:gd name="connsiteY6" fmla="*/ 1646 h 8778"/>
                    <a:gd name="connsiteX7" fmla="*/ 0 w 7132"/>
                    <a:gd name="connsiteY7" fmla="*/ 0 h 87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7132" h="8778">
                      <a:moveTo>
                        <a:pt x="0" y="0"/>
                      </a:moveTo>
                      <a:lnTo>
                        <a:pt x="4938" y="2743"/>
                      </a:lnTo>
                      <a:lnTo>
                        <a:pt x="7132" y="4938"/>
                      </a:lnTo>
                      <a:lnTo>
                        <a:pt x="6584" y="7132"/>
                      </a:lnTo>
                      <a:lnTo>
                        <a:pt x="4938" y="8778"/>
                      </a:lnTo>
                      <a:lnTo>
                        <a:pt x="2743" y="7132"/>
                      </a:lnTo>
                      <a:lnTo>
                        <a:pt x="0" y="1646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68" name="Graphic 7">
                  <a:extLst>
                    <a:ext uri="{FF2B5EF4-FFF2-40B4-BE49-F238E27FC236}">
                      <a16:creationId xmlns:a16="http://schemas.microsoft.com/office/drawing/2014/main" id="{A6947CE7-CA9D-256B-905B-3CCA155E5347}"/>
                    </a:ext>
                  </a:extLst>
                </p:cNvPr>
                <p:cNvSpPr/>
                <p:nvPr/>
              </p:nvSpPr>
              <p:spPr>
                <a:xfrm>
                  <a:off x="8755657" y="4109585"/>
                  <a:ext cx="10716" cy="8143"/>
                </a:xfrm>
                <a:custGeom>
                  <a:avLst/>
                  <a:gdLst>
                    <a:gd name="connsiteX0" fmla="*/ 1097 w 13716"/>
                    <a:gd name="connsiteY0" fmla="*/ 0 h 10423"/>
                    <a:gd name="connsiteX1" fmla="*/ 0 w 13716"/>
                    <a:gd name="connsiteY1" fmla="*/ 549 h 10423"/>
                    <a:gd name="connsiteX2" fmla="*/ 6035 w 13716"/>
                    <a:gd name="connsiteY2" fmla="*/ 4938 h 10423"/>
                    <a:gd name="connsiteX3" fmla="*/ 10973 w 13716"/>
                    <a:gd name="connsiteY3" fmla="*/ 4938 h 10423"/>
                    <a:gd name="connsiteX4" fmla="*/ 13167 w 13716"/>
                    <a:gd name="connsiteY4" fmla="*/ 8230 h 10423"/>
                    <a:gd name="connsiteX5" fmla="*/ 13716 w 13716"/>
                    <a:gd name="connsiteY5" fmla="*/ 9875 h 10423"/>
                    <a:gd name="connsiteX6" fmla="*/ 8778 w 13716"/>
                    <a:gd name="connsiteY6" fmla="*/ 10424 h 10423"/>
                    <a:gd name="connsiteX7" fmla="*/ 4389 w 13716"/>
                    <a:gd name="connsiteY7" fmla="*/ 7681 h 10423"/>
                    <a:gd name="connsiteX8" fmla="*/ 1097 w 13716"/>
                    <a:gd name="connsiteY8" fmla="*/ 0 h 104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3716" h="10423">
                      <a:moveTo>
                        <a:pt x="1097" y="0"/>
                      </a:moveTo>
                      <a:lnTo>
                        <a:pt x="0" y="549"/>
                      </a:lnTo>
                      <a:lnTo>
                        <a:pt x="6035" y="4938"/>
                      </a:lnTo>
                      <a:lnTo>
                        <a:pt x="10973" y="4938"/>
                      </a:lnTo>
                      <a:lnTo>
                        <a:pt x="13167" y="8230"/>
                      </a:lnTo>
                      <a:lnTo>
                        <a:pt x="13716" y="9875"/>
                      </a:lnTo>
                      <a:lnTo>
                        <a:pt x="8778" y="10424"/>
                      </a:lnTo>
                      <a:lnTo>
                        <a:pt x="4389" y="7681"/>
                      </a:lnTo>
                      <a:lnTo>
                        <a:pt x="1097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69" name="Graphic 7">
                  <a:extLst>
                    <a:ext uri="{FF2B5EF4-FFF2-40B4-BE49-F238E27FC236}">
                      <a16:creationId xmlns:a16="http://schemas.microsoft.com/office/drawing/2014/main" id="{EA4CF45B-C55A-8353-9942-B363809ECAFC}"/>
                    </a:ext>
                  </a:extLst>
                </p:cNvPr>
                <p:cNvSpPr/>
                <p:nvPr/>
              </p:nvSpPr>
              <p:spPr>
                <a:xfrm>
                  <a:off x="8769374" y="4074007"/>
                  <a:ext cx="35148" cy="38577"/>
                </a:xfrm>
                <a:custGeom>
                  <a:avLst/>
                  <a:gdLst>
                    <a:gd name="connsiteX0" fmla="*/ 1097 w 44988"/>
                    <a:gd name="connsiteY0" fmla="*/ 2195 h 49377"/>
                    <a:gd name="connsiteX1" fmla="*/ 0 w 44988"/>
                    <a:gd name="connsiteY1" fmla="*/ 0 h 49377"/>
                    <a:gd name="connsiteX2" fmla="*/ 31821 w 44988"/>
                    <a:gd name="connsiteY2" fmla="*/ 2195 h 49377"/>
                    <a:gd name="connsiteX3" fmla="*/ 40051 w 44988"/>
                    <a:gd name="connsiteY3" fmla="*/ 11522 h 49377"/>
                    <a:gd name="connsiteX4" fmla="*/ 42794 w 44988"/>
                    <a:gd name="connsiteY4" fmla="*/ 12070 h 49377"/>
                    <a:gd name="connsiteX5" fmla="*/ 44989 w 44988"/>
                    <a:gd name="connsiteY5" fmla="*/ 34565 h 49377"/>
                    <a:gd name="connsiteX6" fmla="*/ 42794 w 44988"/>
                    <a:gd name="connsiteY6" fmla="*/ 36759 h 49377"/>
                    <a:gd name="connsiteX7" fmla="*/ 42245 w 44988"/>
                    <a:gd name="connsiteY7" fmla="*/ 42245 h 49377"/>
                    <a:gd name="connsiteX8" fmla="*/ 32918 w 44988"/>
                    <a:gd name="connsiteY8" fmla="*/ 49378 h 49377"/>
                    <a:gd name="connsiteX9" fmla="*/ 30175 w 44988"/>
                    <a:gd name="connsiteY9" fmla="*/ 43891 h 49377"/>
                    <a:gd name="connsiteX10" fmla="*/ 24689 w 44988"/>
                    <a:gd name="connsiteY10" fmla="*/ 39502 h 49377"/>
                    <a:gd name="connsiteX11" fmla="*/ 17557 w 44988"/>
                    <a:gd name="connsiteY11" fmla="*/ 25238 h 49377"/>
                    <a:gd name="connsiteX12" fmla="*/ 16459 w 44988"/>
                    <a:gd name="connsiteY12" fmla="*/ 17008 h 49377"/>
                    <a:gd name="connsiteX13" fmla="*/ 12619 w 44988"/>
                    <a:gd name="connsiteY13" fmla="*/ 10973 h 49377"/>
                    <a:gd name="connsiteX14" fmla="*/ 8230 w 44988"/>
                    <a:gd name="connsiteY14" fmla="*/ 8230 h 49377"/>
                    <a:gd name="connsiteX15" fmla="*/ 6035 w 44988"/>
                    <a:gd name="connsiteY15" fmla="*/ 3292 h 49377"/>
                    <a:gd name="connsiteX16" fmla="*/ 2743 w 44988"/>
                    <a:gd name="connsiteY16" fmla="*/ 2195 h 49377"/>
                    <a:gd name="connsiteX17" fmla="*/ 1097 w 44988"/>
                    <a:gd name="connsiteY17" fmla="*/ 2195 h 493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44988" h="49377">
                      <a:moveTo>
                        <a:pt x="1097" y="2195"/>
                      </a:moveTo>
                      <a:lnTo>
                        <a:pt x="0" y="0"/>
                      </a:lnTo>
                      <a:lnTo>
                        <a:pt x="31821" y="2195"/>
                      </a:lnTo>
                      <a:lnTo>
                        <a:pt x="40051" y="11522"/>
                      </a:lnTo>
                      <a:lnTo>
                        <a:pt x="42794" y="12070"/>
                      </a:lnTo>
                      <a:lnTo>
                        <a:pt x="44989" y="34565"/>
                      </a:lnTo>
                      <a:lnTo>
                        <a:pt x="42794" y="36759"/>
                      </a:lnTo>
                      <a:lnTo>
                        <a:pt x="42245" y="42245"/>
                      </a:lnTo>
                      <a:lnTo>
                        <a:pt x="32918" y="49378"/>
                      </a:lnTo>
                      <a:lnTo>
                        <a:pt x="30175" y="43891"/>
                      </a:lnTo>
                      <a:lnTo>
                        <a:pt x="24689" y="39502"/>
                      </a:lnTo>
                      <a:lnTo>
                        <a:pt x="17557" y="25238"/>
                      </a:lnTo>
                      <a:lnTo>
                        <a:pt x="16459" y="17008"/>
                      </a:lnTo>
                      <a:lnTo>
                        <a:pt x="12619" y="10973"/>
                      </a:lnTo>
                      <a:lnTo>
                        <a:pt x="8230" y="8230"/>
                      </a:lnTo>
                      <a:lnTo>
                        <a:pt x="6035" y="3292"/>
                      </a:lnTo>
                      <a:lnTo>
                        <a:pt x="2743" y="2195"/>
                      </a:lnTo>
                      <a:lnTo>
                        <a:pt x="1097" y="2195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70" name="Graphic 7">
                  <a:extLst>
                    <a:ext uri="{FF2B5EF4-FFF2-40B4-BE49-F238E27FC236}">
                      <a16:creationId xmlns:a16="http://schemas.microsoft.com/office/drawing/2014/main" id="{2ACB0D9E-675E-5AB4-0B27-C4AB33E4091A}"/>
                    </a:ext>
                  </a:extLst>
                </p:cNvPr>
                <p:cNvSpPr/>
                <p:nvPr/>
              </p:nvSpPr>
              <p:spPr>
                <a:xfrm>
                  <a:off x="8753085" y="3918410"/>
                  <a:ext cx="126449" cy="184316"/>
                </a:xfrm>
                <a:custGeom>
                  <a:avLst/>
                  <a:gdLst>
                    <a:gd name="connsiteX0" fmla="*/ 92171 w 161848"/>
                    <a:gd name="connsiteY0" fmla="*/ 7132 h 235915"/>
                    <a:gd name="connsiteX1" fmla="*/ 94915 w 161848"/>
                    <a:gd name="connsiteY1" fmla="*/ 9327 h 235915"/>
                    <a:gd name="connsiteX2" fmla="*/ 94915 w 161848"/>
                    <a:gd name="connsiteY2" fmla="*/ 11522 h 235915"/>
                    <a:gd name="connsiteX3" fmla="*/ 89428 w 161848"/>
                    <a:gd name="connsiteY3" fmla="*/ 23043 h 235915"/>
                    <a:gd name="connsiteX4" fmla="*/ 88880 w 161848"/>
                    <a:gd name="connsiteY4" fmla="*/ 45537 h 235915"/>
                    <a:gd name="connsiteX5" fmla="*/ 92171 w 161848"/>
                    <a:gd name="connsiteY5" fmla="*/ 49926 h 235915"/>
                    <a:gd name="connsiteX6" fmla="*/ 95464 w 161848"/>
                    <a:gd name="connsiteY6" fmla="*/ 51572 h 235915"/>
                    <a:gd name="connsiteX7" fmla="*/ 97109 w 161848"/>
                    <a:gd name="connsiteY7" fmla="*/ 55413 h 235915"/>
                    <a:gd name="connsiteX8" fmla="*/ 100401 w 161848"/>
                    <a:gd name="connsiteY8" fmla="*/ 59802 h 235915"/>
                    <a:gd name="connsiteX9" fmla="*/ 100401 w 161848"/>
                    <a:gd name="connsiteY9" fmla="*/ 66386 h 235915"/>
                    <a:gd name="connsiteX10" fmla="*/ 87782 w 161848"/>
                    <a:gd name="connsiteY10" fmla="*/ 97658 h 235915"/>
                    <a:gd name="connsiteX11" fmla="*/ 83942 w 161848"/>
                    <a:gd name="connsiteY11" fmla="*/ 100950 h 235915"/>
                    <a:gd name="connsiteX12" fmla="*/ 83393 w 161848"/>
                    <a:gd name="connsiteY12" fmla="*/ 98755 h 235915"/>
                    <a:gd name="connsiteX13" fmla="*/ 71872 w 161848"/>
                    <a:gd name="connsiteY13" fmla="*/ 106436 h 235915"/>
                    <a:gd name="connsiteX14" fmla="*/ 68031 w 161848"/>
                    <a:gd name="connsiteY14" fmla="*/ 113020 h 235915"/>
                    <a:gd name="connsiteX15" fmla="*/ 67483 w 161848"/>
                    <a:gd name="connsiteY15" fmla="*/ 119055 h 235915"/>
                    <a:gd name="connsiteX16" fmla="*/ 64739 w 161848"/>
                    <a:gd name="connsiteY16" fmla="*/ 126187 h 235915"/>
                    <a:gd name="connsiteX17" fmla="*/ 60350 w 161848"/>
                    <a:gd name="connsiteY17" fmla="*/ 128930 h 235915"/>
                    <a:gd name="connsiteX18" fmla="*/ 63642 w 161848"/>
                    <a:gd name="connsiteY18" fmla="*/ 142646 h 235915"/>
                    <a:gd name="connsiteX19" fmla="*/ 70775 w 161848"/>
                    <a:gd name="connsiteY19" fmla="*/ 152522 h 235915"/>
                    <a:gd name="connsiteX20" fmla="*/ 68580 w 161848"/>
                    <a:gd name="connsiteY20" fmla="*/ 155814 h 235915"/>
                    <a:gd name="connsiteX21" fmla="*/ 69129 w 161848"/>
                    <a:gd name="connsiteY21" fmla="*/ 162946 h 235915"/>
                    <a:gd name="connsiteX22" fmla="*/ 71872 w 161848"/>
                    <a:gd name="connsiteY22" fmla="*/ 168981 h 235915"/>
                    <a:gd name="connsiteX23" fmla="*/ 72421 w 161848"/>
                    <a:gd name="connsiteY23" fmla="*/ 174467 h 235915"/>
                    <a:gd name="connsiteX24" fmla="*/ 82845 w 161848"/>
                    <a:gd name="connsiteY24" fmla="*/ 183246 h 235915"/>
                    <a:gd name="connsiteX25" fmla="*/ 86685 w 161848"/>
                    <a:gd name="connsiteY25" fmla="*/ 183794 h 235915"/>
                    <a:gd name="connsiteX26" fmla="*/ 91623 w 161848"/>
                    <a:gd name="connsiteY26" fmla="*/ 181600 h 235915"/>
                    <a:gd name="connsiteX27" fmla="*/ 90526 w 161848"/>
                    <a:gd name="connsiteY27" fmla="*/ 178857 h 235915"/>
                    <a:gd name="connsiteX28" fmla="*/ 91623 w 161848"/>
                    <a:gd name="connsiteY28" fmla="*/ 172273 h 235915"/>
                    <a:gd name="connsiteX29" fmla="*/ 93269 w 161848"/>
                    <a:gd name="connsiteY29" fmla="*/ 173370 h 235915"/>
                    <a:gd name="connsiteX30" fmla="*/ 99304 w 161848"/>
                    <a:gd name="connsiteY30" fmla="*/ 167884 h 235915"/>
                    <a:gd name="connsiteX31" fmla="*/ 106436 w 161848"/>
                    <a:gd name="connsiteY31" fmla="*/ 168981 h 235915"/>
                    <a:gd name="connsiteX32" fmla="*/ 109728 w 161848"/>
                    <a:gd name="connsiteY32" fmla="*/ 166238 h 235915"/>
                    <a:gd name="connsiteX33" fmla="*/ 114666 w 161848"/>
                    <a:gd name="connsiteY33" fmla="*/ 167884 h 235915"/>
                    <a:gd name="connsiteX34" fmla="*/ 119055 w 161848"/>
                    <a:gd name="connsiteY34" fmla="*/ 172822 h 235915"/>
                    <a:gd name="connsiteX35" fmla="*/ 122347 w 161848"/>
                    <a:gd name="connsiteY35" fmla="*/ 179954 h 235915"/>
                    <a:gd name="connsiteX36" fmla="*/ 123444 w 161848"/>
                    <a:gd name="connsiteY36" fmla="*/ 186538 h 235915"/>
                    <a:gd name="connsiteX37" fmla="*/ 126736 w 161848"/>
                    <a:gd name="connsiteY37" fmla="*/ 189281 h 235915"/>
                    <a:gd name="connsiteX38" fmla="*/ 130576 w 161848"/>
                    <a:gd name="connsiteY38" fmla="*/ 185440 h 235915"/>
                    <a:gd name="connsiteX39" fmla="*/ 130028 w 161848"/>
                    <a:gd name="connsiteY39" fmla="*/ 177760 h 235915"/>
                    <a:gd name="connsiteX40" fmla="*/ 133868 w 161848"/>
                    <a:gd name="connsiteY40" fmla="*/ 179405 h 235915"/>
                    <a:gd name="connsiteX41" fmla="*/ 135514 w 161848"/>
                    <a:gd name="connsiteY41" fmla="*/ 181051 h 235915"/>
                    <a:gd name="connsiteX42" fmla="*/ 151973 w 161848"/>
                    <a:gd name="connsiteY42" fmla="*/ 187086 h 235915"/>
                    <a:gd name="connsiteX43" fmla="*/ 153619 w 161848"/>
                    <a:gd name="connsiteY43" fmla="*/ 190378 h 235915"/>
                    <a:gd name="connsiteX44" fmla="*/ 147584 w 161848"/>
                    <a:gd name="connsiteY44" fmla="*/ 190927 h 235915"/>
                    <a:gd name="connsiteX45" fmla="*/ 142098 w 161848"/>
                    <a:gd name="connsiteY45" fmla="*/ 195865 h 235915"/>
                    <a:gd name="connsiteX46" fmla="*/ 143744 w 161848"/>
                    <a:gd name="connsiteY46" fmla="*/ 201351 h 235915"/>
                    <a:gd name="connsiteX47" fmla="*/ 148133 w 161848"/>
                    <a:gd name="connsiteY47" fmla="*/ 204643 h 235915"/>
                    <a:gd name="connsiteX48" fmla="*/ 151973 w 161848"/>
                    <a:gd name="connsiteY48" fmla="*/ 206289 h 235915"/>
                    <a:gd name="connsiteX49" fmla="*/ 150328 w 161848"/>
                    <a:gd name="connsiteY49" fmla="*/ 211775 h 235915"/>
                    <a:gd name="connsiteX50" fmla="*/ 150876 w 161848"/>
                    <a:gd name="connsiteY50" fmla="*/ 213970 h 235915"/>
                    <a:gd name="connsiteX51" fmla="*/ 154717 w 161848"/>
                    <a:gd name="connsiteY51" fmla="*/ 213970 h 235915"/>
                    <a:gd name="connsiteX52" fmla="*/ 155265 w 161848"/>
                    <a:gd name="connsiteY52" fmla="*/ 216164 h 235915"/>
                    <a:gd name="connsiteX53" fmla="*/ 159106 w 161848"/>
                    <a:gd name="connsiteY53" fmla="*/ 216713 h 235915"/>
                    <a:gd name="connsiteX54" fmla="*/ 161849 w 161848"/>
                    <a:gd name="connsiteY54" fmla="*/ 220005 h 235915"/>
                    <a:gd name="connsiteX55" fmla="*/ 161849 w 161848"/>
                    <a:gd name="connsiteY55" fmla="*/ 232624 h 235915"/>
                    <a:gd name="connsiteX56" fmla="*/ 158557 w 161848"/>
                    <a:gd name="connsiteY56" fmla="*/ 235915 h 235915"/>
                    <a:gd name="connsiteX57" fmla="*/ 153619 w 161848"/>
                    <a:gd name="connsiteY57" fmla="*/ 231526 h 235915"/>
                    <a:gd name="connsiteX58" fmla="*/ 151425 w 161848"/>
                    <a:gd name="connsiteY58" fmla="*/ 226040 h 235915"/>
                    <a:gd name="connsiteX59" fmla="*/ 156362 w 161848"/>
                    <a:gd name="connsiteY59" fmla="*/ 222748 h 235915"/>
                    <a:gd name="connsiteX60" fmla="*/ 153619 w 161848"/>
                    <a:gd name="connsiteY60" fmla="*/ 221651 h 235915"/>
                    <a:gd name="connsiteX61" fmla="*/ 145390 w 161848"/>
                    <a:gd name="connsiteY61" fmla="*/ 222199 h 235915"/>
                    <a:gd name="connsiteX62" fmla="*/ 138257 w 161848"/>
                    <a:gd name="connsiteY62" fmla="*/ 216713 h 235915"/>
                    <a:gd name="connsiteX63" fmla="*/ 133319 w 161848"/>
                    <a:gd name="connsiteY63" fmla="*/ 215067 h 235915"/>
                    <a:gd name="connsiteX64" fmla="*/ 130576 w 161848"/>
                    <a:gd name="connsiteY64" fmla="*/ 207386 h 235915"/>
                    <a:gd name="connsiteX65" fmla="*/ 126736 w 161848"/>
                    <a:gd name="connsiteY65" fmla="*/ 201351 h 235915"/>
                    <a:gd name="connsiteX66" fmla="*/ 119055 w 161848"/>
                    <a:gd name="connsiteY66" fmla="*/ 197510 h 235915"/>
                    <a:gd name="connsiteX67" fmla="*/ 115214 w 161848"/>
                    <a:gd name="connsiteY67" fmla="*/ 194219 h 235915"/>
                    <a:gd name="connsiteX68" fmla="*/ 114117 w 161848"/>
                    <a:gd name="connsiteY68" fmla="*/ 191476 h 235915"/>
                    <a:gd name="connsiteX69" fmla="*/ 108082 w 161848"/>
                    <a:gd name="connsiteY69" fmla="*/ 185440 h 235915"/>
                    <a:gd name="connsiteX70" fmla="*/ 100950 w 161848"/>
                    <a:gd name="connsiteY70" fmla="*/ 183246 h 235915"/>
                    <a:gd name="connsiteX71" fmla="*/ 102047 w 161848"/>
                    <a:gd name="connsiteY71" fmla="*/ 192024 h 235915"/>
                    <a:gd name="connsiteX72" fmla="*/ 108631 w 161848"/>
                    <a:gd name="connsiteY72" fmla="*/ 207386 h 235915"/>
                    <a:gd name="connsiteX73" fmla="*/ 108631 w 161848"/>
                    <a:gd name="connsiteY73" fmla="*/ 209581 h 235915"/>
                    <a:gd name="connsiteX74" fmla="*/ 104790 w 161848"/>
                    <a:gd name="connsiteY74" fmla="*/ 209581 h 235915"/>
                    <a:gd name="connsiteX75" fmla="*/ 100950 w 161848"/>
                    <a:gd name="connsiteY75" fmla="*/ 201351 h 235915"/>
                    <a:gd name="connsiteX76" fmla="*/ 85588 w 161848"/>
                    <a:gd name="connsiteY76" fmla="*/ 187086 h 235915"/>
                    <a:gd name="connsiteX77" fmla="*/ 75164 w 161848"/>
                    <a:gd name="connsiteY77" fmla="*/ 182697 h 235915"/>
                    <a:gd name="connsiteX78" fmla="*/ 67483 w 161848"/>
                    <a:gd name="connsiteY78" fmla="*/ 183246 h 235915"/>
                    <a:gd name="connsiteX79" fmla="*/ 63642 w 161848"/>
                    <a:gd name="connsiteY79" fmla="*/ 190378 h 235915"/>
                    <a:gd name="connsiteX80" fmla="*/ 58156 w 161848"/>
                    <a:gd name="connsiteY80" fmla="*/ 193670 h 235915"/>
                    <a:gd name="connsiteX81" fmla="*/ 52121 w 161848"/>
                    <a:gd name="connsiteY81" fmla="*/ 194219 h 235915"/>
                    <a:gd name="connsiteX82" fmla="*/ 48280 w 161848"/>
                    <a:gd name="connsiteY82" fmla="*/ 190378 h 235915"/>
                    <a:gd name="connsiteX83" fmla="*/ 43891 w 161848"/>
                    <a:gd name="connsiteY83" fmla="*/ 189281 h 235915"/>
                    <a:gd name="connsiteX84" fmla="*/ 38405 w 161848"/>
                    <a:gd name="connsiteY84" fmla="*/ 184892 h 235915"/>
                    <a:gd name="connsiteX85" fmla="*/ 35113 w 161848"/>
                    <a:gd name="connsiteY85" fmla="*/ 187635 h 235915"/>
                    <a:gd name="connsiteX86" fmla="*/ 31821 w 161848"/>
                    <a:gd name="connsiteY86" fmla="*/ 173919 h 235915"/>
                    <a:gd name="connsiteX87" fmla="*/ 33467 w 161848"/>
                    <a:gd name="connsiteY87" fmla="*/ 168981 h 235915"/>
                    <a:gd name="connsiteX88" fmla="*/ 42245 w 161848"/>
                    <a:gd name="connsiteY88" fmla="*/ 158557 h 235915"/>
                    <a:gd name="connsiteX89" fmla="*/ 42245 w 161848"/>
                    <a:gd name="connsiteY89" fmla="*/ 153619 h 235915"/>
                    <a:gd name="connsiteX90" fmla="*/ 37856 w 161848"/>
                    <a:gd name="connsiteY90" fmla="*/ 150876 h 235915"/>
                    <a:gd name="connsiteX91" fmla="*/ 31273 w 161848"/>
                    <a:gd name="connsiteY91" fmla="*/ 150328 h 235915"/>
                    <a:gd name="connsiteX92" fmla="*/ 30175 w 161848"/>
                    <a:gd name="connsiteY92" fmla="*/ 160203 h 235915"/>
                    <a:gd name="connsiteX93" fmla="*/ 28529 w 161848"/>
                    <a:gd name="connsiteY93" fmla="*/ 163495 h 235915"/>
                    <a:gd name="connsiteX94" fmla="*/ 19751 w 161848"/>
                    <a:gd name="connsiteY94" fmla="*/ 150328 h 235915"/>
                    <a:gd name="connsiteX95" fmla="*/ 14813 w 161848"/>
                    <a:gd name="connsiteY95" fmla="*/ 149779 h 235915"/>
                    <a:gd name="connsiteX96" fmla="*/ 0 w 161848"/>
                    <a:gd name="connsiteY96" fmla="*/ 93818 h 235915"/>
                    <a:gd name="connsiteX97" fmla="*/ 549 w 161848"/>
                    <a:gd name="connsiteY97" fmla="*/ 91623 h 235915"/>
                    <a:gd name="connsiteX98" fmla="*/ 6584 w 161848"/>
                    <a:gd name="connsiteY98" fmla="*/ 93269 h 235915"/>
                    <a:gd name="connsiteX99" fmla="*/ 12619 w 161848"/>
                    <a:gd name="connsiteY99" fmla="*/ 99853 h 235915"/>
                    <a:gd name="connsiteX100" fmla="*/ 20848 w 161848"/>
                    <a:gd name="connsiteY100" fmla="*/ 97658 h 235915"/>
                    <a:gd name="connsiteX101" fmla="*/ 26335 w 161848"/>
                    <a:gd name="connsiteY101" fmla="*/ 12070 h 235915"/>
                    <a:gd name="connsiteX102" fmla="*/ 34564 w 161848"/>
                    <a:gd name="connsiteY102" fmla="*/ 0 h 235915"/>
                    <a:gd name="connsiteX103" fmla="*/ 55413 w 161848"/>
                    <a:gd name="connsiteY103" fmla="*/ 3292 h 235915"/>
                    <a:gd name="connsiteX104" fmla="*/ 70226 w 161848"/>
                    <a:gd name="connsiteY104" fmla="*/ 11522 h 235915"/>
                    <a:gd name="connsiteX105" fmla="*/ 77907 w 161848"/>
                    <a:gd name="connsiteY105" fmla="*/ 12070 h 235915"/>
                    <a:gd name="connsiteX106" fmla="*/ 83393 w 161848"/>
                    <a:gd name="connsiteY106" fmla="*/ 10424 h 235915"/>
                    <a:gd name="connsiteX107" fmla="*/ 83942 w 161848"/>
                    <a:gd name="connsiteY107" fmla="*/ 3292 h 235915"/>
                    <a:gd name="connsiteX108" fmla="*/ 89428 w 161848"/>
                    <a:gd name="connsiteY108" fmla="*/ 2743 h 235915"/>
                    <a:gd name="connsiteX109" fmla="*/ 92171 w 161848"/>
                    <a:gd name="connsiteY109" fmla="*/ 7132 h 2359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</a:cxnLst>
                  <a:rect l="l" t="t" r="r" b="b"/>
                  <a:pathLst>
                    <a:path w="161848" h="235915">
                      <a:moveTo>
                        <a:pt x="92171" y="7132"/>
                      </a:moveTo>
                      <a:lnTo>
                        <a:pt x="94915" y="9327"/>
                      </a:lnTo>
                      <a:lnTo>
                        <a:pt x="94915" y="11522"/>
                      </a:lnTo>
                      <a:lnTo>
                        <a:pt x="89428" y="23043"/>
                      </a:lnTo>
                      <a:lnTo>
                        <a:pt x="88880" y="45537"/>
                      </a:lnTo>
                      <a:lnTo>
                        <a:pt x="92171" y="49926"/>
                      </a:lnTo>
                      <a:lnTo>
                        <a:pt x="95464" y="51572"/>
                      </a:lnTo>
                      <a:lnTo>
                        <a:pt x="97109" y="55413"/>
                      </a:lnTo>
                      <a:lnTo>
                        <a:pt x="100401" y="59802"/>
                      </a:lnTo>
                      <a:lnTo>
                        <a:pt x="100401" y="66386"/>
                      </a:lnTo>
                      <a:lnTo>
                        <a:pt x="87782" y="97658"/>
                      </a:lnTo>
                      <a:lnTo>
                        <a:pt x="83942" y="100950"/>
                      </a:lnTo>
                      <a:lnTo>
                        <a:pt x="83393" y="98755"/>
                      </a:lnTo>
                      <a:lnTo>
                        <a:pt x="71872" y="106436"/>
                      </a:lnTo>
                      <a:lnTo>
                        <a:pt x="68031" y="113020"/>
                      </a:lnTo>
                      <a:lnTo>
                        <a:pt x="67483" y="119055"/>
                      </a:lnTo>
                      <a:lnTo>
                        <a:pt x="64739" y="126187"/>
                      </a:lnTo>
                      <a:lnTo>
                        <a:pt x="60350" y="128930"/>
                      </a:lnTo>
                      <a:lnTo>
                        <a:pt x="63642" y="142646"/>
                      </a:lnTo>
                      <a:lnTo>
                        <a:pt x="70775" y="152522"/>
                      </a:lnTo>
                      <a:lnTo>
                        <a:pt x="68580" y="155814"/>
                      </a:lnTo>
                      <a:lnTo>
                        <a:pt x="69129" y="162946"/>
                      </a:lnTo>
                      <a:lnTo>
                        <a:pt x="71872" y="168981"/>
                      </a:lnTo>
                      <a:lnTo>
                        <a:pt x="72421" y="174467"/>
                      </a:lnTo>
                      <a:lnTo>
                        <a:pt x="82845" y="183246"/>
                      </a:lnTo>
                      <a:lnTo>
                        <a:pt x="86685" y="183794"/>
                      </a:lnTo>
                      <a:lnTo>
                        <a:pt x="91623" y="181600"/>
                      </a:lnTo>
                      <a:lnTo>
                        <a:pt x="90526" y="178857"/>
                      </a:lnTo>
                      <a:lnTo>
                        <a:pt x="91623" y="172273"/>
                      </a:lnTo>
                      <a:lnTo>
                        <a:pt x="93269" y="173370"/>
                      </a:lnTo>
                      <a:lnTo>
                        <a:pt x="99304" y="167884"/>
                      </a:lnTo>
                      <a:lnTo>
                        <a:pt x="106436" y="168981"/>
                      </a:lnTo>
                      <a:lnTo>
                        <a:pt x="109728" y="166238"/>
                      </a:lnTo>
                      <a:lnTo>
                        <a:pt x="114666" y="167884"/>
                      </a:lnTo>
                      <a:lnTo>
                        <a:pt x="119055" y="172822"/>
                      </a:lnTo>
                      <a:lnTo>
                        <a:pt x="122347" y="179954"/>
                      </a:lnTo>
                      <a:lnTo>
                        <a:pt x="123444" y="186538"/>
                      </a:lnTo>
                      <a:lnTo>
                        <a:pt x="126736" y="189281"/>
                      </a:lnTo>
                      <a:lnTo>
                        <a:pt x="130576" y="185440"/>
                      </a:lnTo>
                      <a:lnTo>
                        <a:pt x="130028" y="177760"/>
                      </a:lnTo>
                      <a:lnTo>
                        <a:pt x="133868" y="179405"/>
                      </a:lnTo>
                      <a:lnTo>
                        <a:pt x="135514" y="181051"/>
                      </a:lnTo>
                      <a:lnTo>
                        <a:pt x="151973" y="187086"/>
                      </a:lnTo>
                      <a:lnTo>
                        <a:pt x="153619" y="190378"/>
                      </a:lnTo>
                      <a:lnTo>
                        <a:pt x="147584" y="190927"/>
                      </a:lnTo>
                      <a:lnTo>
                        <a:pt x="142098" y="195865"/>
                      </a:lnTo>
                      <a:lnTo>
                        <a:pt x="143744" y="201351"/>
                      </a:lnTo>
                      <a:lnTo>
                        <a:pt x="148133" y="204643"/>
                      </a:lnTo>
                      <a:lnTo>
                        <a:pt x="151973" y="206289"/>
                      </a:lnTo>
                      <a:lnTo>
                        <a:pt x="150328" y="211775"/>
                      </a:lnTo>
                      <a:lnTo>
                        <a:pt x="150876" y="213970"/>
                      </a:lnTo>
                      <a:lnTo>
                        <a:pt x="154717" y="213970"/>
                      </a:lnTo>
                      <a:lnTo>
                        <a:pt x="155265" y="216164"/>
                      </a:lnTo>
                      <a:lnTo>
                        <a:pt x="159106" y="216713"/>
                      </a:lnTo>
                      <a:lnTo>
                        <a:pt x="161849" y="220005"/>
                      </a:lnTo>
                      <a:lnTo>
                        <a:pt x="161849" y="232624"/>
                      </a:lnTo>
                      <a:lnTo>
                        <a:pt x="158557" y="235915"/>
                      </a:lnTo>
                      <a:lnTo>
                        <a:pt x="153619" y="231526"/>
                      </a:lnTo>
                      <a:lnTo>
                        <a:pt x="151425" y="226040"/>
                      </a:lnTo>
                      <a:lnTo>
                        <a:pt x="156362" y="222748"/>
                      </a:lnTo>
                      <a:lnTo>
                        <a:pt x="153619" y="221651"/>
                      </a:lnTo>
                      <a:lnTo>
                        <a:pt x="145390" y="222199"/>
                      </a:lnTo>
                      <a:lnTo>
                        <a:pt x="138257" y="216713"/>
                      </a:lnTo>
                      <a:lnTo>
                        <a:pt x="133319" y="215067"/>
                      </a:lnTo>
                      <a:lnTo>
                        <a:pt x="130576" y="207386"/>
                      </a:lnTo>
                      <a:lnTo>
                        <a:pt x="126736" y="201351"/>
                      </a:lnTo>
                      <a:lnTo>
                        <a:pt x="119055" y="197510"/>
                      </a:lnTo>
                      <a:lnTo>
                        <a:pt x="115214" y="194219"/>
                      </a:lnTo>
                      <a:lnTo>
                        <a:pt x="114117" y="191476"/>
                      </a:lnTo>
                      <a:lnTo>
                        <a:pt x="108082" y="185440"/>
                      </a:lnTo>
                      <a:lnTo>
                        <a:pt x="100950" y="183246"/>
                      </a:lnTo>
                      <a:lnTo>
                        <a:pt x="102047" y="192024"/>
                      </a:lnTo>
                      <a:lnTo>
                        <a:pt x="108631" y="207386"/>
                      </a:lnTo>
                      <a:lnTo>
                        <a:pt x="108631" y="209581"/>
                      </a:lnTo>
                      <a:lnTo>
                        <a:pt x="104790" y="209581"/>
                      </a:lnTo>
                      <a:lnTo>
                        <a:pt x="100950" y="201351"/>
                      </a:lnTo>
                      <a:lnTo>
                        <a:pt x="85588" y="187086"/>
                      </a:lnTo>
                      <a:lnTo>
                        <a:pt x="75164" y="182697"/>
                      </a:lnTo>
                      <a:lnTo>
                        <a:pt x="67483" y="183246"/>
                      </a:lnTo>
                      <a:lnTo>
                        <a:pt x="63642" y="190378"/>
                      </a:lnTo>
                      <a:lnTo>
                        <a:pt x="58156" y="193670"/>
                      </a:lnTo>
                      <a:lnTo>
                        <a:pt x="52121" y="194219"/>
                      </a:lnTo>
                      <a:lnTo>
                        <a:pt x="48280" y="190378"/>
                      </a:lnTo>
                      <a:lnTo>
                        <a:pt x="43891" y="189281"/>
                      </a:lnTo>
                      <a:lnTo>
                        <a:pt x="38405" y="184892"/>
                      </a:lnTo>
                      <a:lnTo>
                        <a:pt x="35113" y="187635"/>
                      </a:lnTo>
                      <a:lnTo>
                        <a:pt x="31821" y="173919"/>
                      </a:lnTo>
                      <a:lnTo>
                        <a:pt x="33467" y="168981"/>
                      </a:lnTo>
                      <a:lnTo>
                        <a:pt x="42245" y="158557"/>
                      </a:lnTo>
                      <a:lnTo>
                        <a:pt x="42245" y="153619"/>
                      </a:lnTo>
                      <a:lnTo>
                        <a:pt x="37856" y="150876"/>
                      </a:lnTo>
                      <a:lnTo>
                        <a:pt x="31273" y="150328"/>
                      </a:lnTo>
                      <a:lnTo>
                        <a:pt x="30175" y="160203"/>
                      </a:lnTo>
                      <a:lnTo>
                        <a:pt x="28529" y="163495"/>
                      </a:lnTo>
                      <a:lnTo>
                        <a:pt x="19751" y="150328"/>
                      </a:lnTo>
                      <a:lnTo>
                        <a:pt x="14813" y="149779"/>
                      </a:lnTo>
                      <a:lnTo>
                        <a:pt x="0" y="93818"/>
                      </a:lnTo>
                      <a:lnTo>
                        <a:pt x="549" y="91623"/>
                      </a:lnTo>
                      <a:lnTo>
                        <a:pt x="6584" y="93269"/>
                      </a:lnTo>
                      <a:lnTo>
                        <a:pt x="12619" y="99853"/>
                      </a:lnTo>
                      <a:lnTo>
                        <a:pt x="20848" y="97658"/>
                      </a:lnTo>
                      <a:lnTo>
                        <a:pt x="26335" y="12070"/>
                      </a:lnTo>
                      <a:lnTo>
                        <a:pt x="34564" y="0"/>
                      </a:lnTo>
                      <a:lnTo>
                        <a:pt x="55413" y="3292"/>
                      </a:lnTo>
                      <a:lnTo>
                        <a:pt x="70226" y="11522"/>
                      </a:lnTo>
                      <a:lnTo>
                        <a:pt x="77907" y="12070"/>
                      </a:lnTo>
                      <a:lnTo>
                        <a:pt x="83393" y="10424"/>
                      </a:lnTo>
                      <a:lnTo>
                        <a:pt x="83942" y="3292"/>
                      </a:lnTo>
                      <a:lnTo>
                        <a:pt x="89428" y="2743"/>
                      </a:lnTo>
                      <a:lnTo>
                        <a:pt x="92171" y="7132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71" name="Graphic 7">
                  <a:extLst>
                    <a:ext uri="{FF2B5EF4-FFF2-40B4-BE49-F238E27FC236}">
                      <a16:creationId xmlns:a16="http://schemas.microsoft.com/office/drawing/2014/main" id="{B5BA4CC4-2C9C-419B-011C-D2828FB20400}"/>
                    </a:ext>
                  </a:extLst>
                </p:cNvPr>
                <p:cNvSpPr/>
                <p:nvPr/>
              </p:nvSpPr>
              <p:spPr>
                <a:xfrm>
                  <a:off x="8814381" y="4025999"/>
                  <a:ext cx="3857" cy="12430"/>
                </a:xfrm>
                <a:custGeom>
                  <a:avLst/>
                  <a:gdLst>
                    <a:gd name="connsiteX0" fmla="*/ 0 w 4937"/>
                    <a:gd name="connsiteY0" fmla="*/ 2743 h 15910"/>
                    <a:gd name="connsiteX1" fmla="*/ 549 w 4937"/>
                    <a:gd name="connsiteY1" fmla="*/ 0 h 15910"/>
                    <a:gd name="connsiteX2" fmla="*/ 4389 w 4937"/>
                    <a:gd name="connsiteY2" fmla="*/ 1646 h 15910"/>
                    <a:gd name="connsiteX3" fmla="*/ 4938 w 4937"/>
                    <a:gd name="connsiteY3" fmla="*/ 14813 h 15910"/>
                    <a:gd name="connsiteX4" fmla="*/ 1646 w 4937"/>
                    <a:gd name="connsiteY4" fmla="*/ 15910 h 15910"/>
                    <a:gd name="connsiteX5" fmla="*/ 0 w 4937"/>
                    <a:gd name="connsiteY5" fmla="*/ 2743 h 159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937" h="15910">
                      <a:moveTo>
                        <a:pt x="0" y="2743"/>
                      </a:moveTo>
                      <a:lnTo>
                        <a:pt x="549" y="0"/>
                      </a:lnTo>
                      <a:lnTo>
                        <a:pt x="4389" y="1646"/>
                      </a:lnTo>
                      <a:lnTo>
                        <a:pt x="4938" y="14813"/>
                      </a:lnTo>
                      <a:lnTo>
                        <a:pt x="1646" y="15910"/>
                      </a:lnTo>
                      <a:lnTo>
                        <a:pt x="0" y="2743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72" name="Graphic 7">
                  <a:extLst>
                    <a:ext uri="{FF2B5EF4-FFF2-40B4-BE49-F238E27FC236}">
                      <a16:creationId xmlns:a16="http://schemas.microsoft.com/office/drawing/2014/main" id="{6DE0429C-A25A-A9FD-39B8-6B800C327680}"/>
                    </a:ext>
                  </a:extLst>
                </p:cNvPr>
                <p:cNvSpPr/>
                <p:nvPr/>
              </p:nvSpPr>
              <p:spPr>
                <a:xfrm>
                  <a:off x="8812667" y="4072721"/>
                  <a:ext cx="8572" cy="9430"/>
                </a:xfrm>
                <a:custGeom>
                  <a:avLst/>
                  <a:gdLst>
                    <a:gd name="connsiteX0" fmla="*/ 1097 w 10972"/>
                    <a:gd name="connsiteY0" fmla="*/ 7681 h 12070"/>
                    <a:gd name="connsiteX1" fmla="*/ 0 w 10972"/>
                    <a:gd name="connsiteY1" fmla="*/ 6035 h 12070"/>
                    <a:gd name="connsiteX2" fmla="*/ 0 w 10972"/>
                    <a:gd name="connsiteY2" fmla="*/ 549 h 12070"/>
                    <a:gd name="connsiteX3" fmla="*/ 7132 w 10972"/>
                    <a:gd name="connsiteY3" fmla="*/ 0 h 12070"/>
                    <a:gd name="connsiteX4" fmla="*/ 9875 w 10972"/>
                    <a:gd name="connsiteY4" fmla="*/ 1646 h 12070"/>
                    <a:gd name="connsiteX5" fmla="*/ 10973 w 10972"/>
                    <a:gd name="connsiteY5" fmla="*/ 5486 h 12070"/>
                    <a:gd name="connsiteX6" fmla="*/ 9327 w 10972"/>
                    <a:gd name="connsiteY6" fmla="*/ 12070 h 12070"/>
                    <a:gd name="connsiteX7" fmla="*/ 4938 w 10972"/>
                    <a:gd name="connsiteY7" fmla="*/ 12070 h 12070"/>
                    <a:gd name="connsiteX8" fmla="*/ 1097 w 10972"/>
                    <a:gd name="connsiteY8" fmla="*/ 7681 h 120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0972" h="12070">
                      <a:moveTo>
                        <a:pt x="1097" y="7681"/>
                      </a:moveTo>
                      <a:lnTo>
                        <a:pt x="0" y="6035"/>
                      </a:lnTo>
                      <a:lnTo>
                        <a:pt x="0" y="549"/>
                      </a:lnTo>
                      <a:lnTo>
                        <a:pt x="7132" y="0"/>
                      </a:lnTo>
                      <a:lnTo>
                        <a:pt x="9875" y="1646"/>
                      </a:lnTo>
                      <a:lnTo>
                        <a:pt x="10973" y="5486"/>
                      </a:lnTo>
                      <a:lnTo>
                        <a:pt x="9327" y="12070"/>
                      </a:lnTo>
                      <a:lnTo>
                        <a:pt x="4938" y="12070"/>
                      </a:lnTo>
                      <a:lnTo>
                        <a:pt x="1097" y="7681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73" name="Graphic 7">
                  <a:extLst>
                    <a:ext uri="{FF2B5EF4-FFF2-40B4-BE49-F238E27FC236}">
                      <a16:creationId xmlns:a16="http://schemas.microsoft.com/office/drawing/2014/main" id="{7D4B857C-86BD-1996-AD18-BDDBBE5E534F}"/>
                    </a:ext>
                  </a:extLst>
                </p:cNvPr>
                <p:cNvSpPr/>
                <p:nvPr/>
              </p:nvSpPr>
              <p:spPr>
                <a:xfrm>
                  <a:off x="8816953" y="4100155"/>
                  <a:ext cx="3857" cy="14145"/>
                </a:xfrm>
                <a:custGeom>
                  <a:avLst/>
                  <a:gdLst>
                    <a:gd name="connsiteX0" fmla="*/ 549 w 4937"/>
                    <a:gd name="connsiteY0" fmla="*/ 6035 h 18105"/>
                    <a:gd name="connsiteX1" fmla="*/ 1646 w 4937"/>
                    <a:gd name="connsiteY1" fmla="*/ 0 h 18105"/>
                    <a:gd name="connsiteX2" fmla="*/ 4938 w 4937"/>
                    <a:gd name="connsiteY2" fmla="*/ 0 h 18105"/>
                    <a:gd name="connsiteX3" fmla="*/ 3841 w 4937"/>
                    <a:gd name="connsiteY3" fmla="*/ 15362 h 18105"/>
                    <a:gd name="connsiteX4" fmla="*/ 1646 w 4937"/>
                    <a:gd name="connsiteY4" fmla="*/ 18105 h 18105"/>
                    <a:gd name="connsiteX5" fmla="*/ 0 w 4937"/>
                    <a:gd name="connsiteY5" fmla="*/ 13716 h 18105"/>
                    <a:gd name="connsiteX6" fmla="*/ 549 w 4937"/>
                    <a:gd name="connsiteY6" fmla="*/ 6035 h 181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937" h="18105">
                      <a:moveTo>
                        <a:pt x="549" y="6035"/>
                      </a:moveTo>
                      <a:lnTo>
                        <a:pt x="1646" y="0"/>
                      </a:lnTo>
                      <a:lnTo>
                        <a:pt x="4938" y="0"/>
                      </a:lnTo>
                      <a:lnTo>
                        <a:pt x="3841" y="15362"/>
                      </a:lnTo>
                      <a:lnTo>
                        <a:pt x="1646" y="18105"/>
                      </a:lnTo>
                      <a:lnTo>
                        <a:pt x="0" y="13716"/>
                      </a:lnTo>
                      <a:lnTo>
                        <a:pt x="549" y="6035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74" name="Graphic 7">
                  <a:extLst>
                    <a:ext uri="{FF2B5EF4-FFF2-40B4-BE49-F238E27FC236}">
                      <a16:creationId xmlns:a16="http://schemas.microsoft.com/office/drawing/2014/main" id="{7F742BCB-400B-67C5-B0A7-BF3E480D8AD8}"/>
                    </a:ext>
                  </a:extLst>
                </p:cNvPr>
                <p:cNvSpPr/>
                <p:nvPr/>
              </p:nvSpPr>
              <p:spPr>
                <a:xfrm>
                  <a:off x="8830670" y="4104012"/>
                  <a:ext cx="6429" cy="5143"/>
                </a:xfrm>
                <a:custGeom>
                  <a:avLst/>
                  <a:gdLst>
                    <a:gd name="connsiteX0" fmla="*/ 0 w 8229"/>
                    <a:gd name="connsiteY0" fmla="*/ 1097 h 6583"/>
                    <a:gd name="connsiteX1" fmla="*/ 0 w 8229"/>
                    <a:gd name="connsiteY1" fmla="*/ 0 h 6583"/>
                    <a:gd name="connsiteX2" fmla="*/ 4389 w 8229"/>
                    <a:gd name="connsiteY2" fmla="*/ 549 h 6583"/>
                    <a:gd name="connsiteX3" fmla="*/ 7132 w 8229"/>
                    <a:gd name="connsiteY3" fmla="*/ 2743 h 6583"/>
                    <a:gd name="connsiteX4" fmla="*/ 8230 w 8229"/>
                    <a:gd name="connsiteY4" fmla="*/ 4389 h 6583"/>
                    <a:gd name="connsiteX5" fmla="*/ 8230 w 8229"/>
                    <a:gd name="connsiteY5" fmla="*/ 6584 h 6583"/>
                    <a:gd name="connsiteX6" fmla="*/ 0 w 8229"/>
                    <a:gd name="connsiteY6" fmla="*/ 4389 h 6583"/>
                    <a:gd name="connsiteX7" fmla="*/ 0 w 8229"/>
                    <a:gd name="connsiteY7" fmla="*/ 1097 h 65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229" h="6583">
                      <a:moveTo>
                        <a:pt x="0" y="1097"/>
                      </a:moveTo>
                      <a:lnTo>
                        <a:pt x="0" y="0"/>
                      </a:lnTo>
                      <a:lnTo>
                        <a:pt x="4389" y="549"/>
                      </a:lnTo>
                      <a:lnTo>
                        <a:pt x="7132" y="2743"/>
                      </a:lnTo>
                      <a:lnTo>
                        <a:pt x="8230" y="4389"/>
                      </a:lnTo>
                      <a:lnTo>
                        <a:pt x="8230" y="6584"/>
                      </a:lnTo>
                      <a:lnTo>
                        <a:pt x="0" y="4389"/>
                      </a:lnTo>
                      <a:lnTo>
                        <a:pt x="0" y="1097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75" name="Graphic 7">
                  <a:extLst>
                    <a:ext uri="{FF2B5EF4-FFF2-40B4-BE49-F238E27FC236}">
                      <a16:creationId xmlns:a16="http://schemas.microsoft.com/office/drawing/2014/main" id="{99A60664-CAA5-EBD5-480F-87294DCA44F6}"/>
                    </a:ext>
                  </a:extLst>
                </p:cNvPr>
                <p:cNvSpPr/>
                <p:nvPr/>
              </p:nvSpPr>
              <p:spPr>
                <a:xfrm>
                  <a:off x="8846958" y="4084294"/>
                  <a:ext cx="9858" cy="12001"/>
                </a:xfrm>
                <a:custGeom>
                  <a:avLst/>
                  <a:gdLst>
                    <a:gd name="connsiteX0" fmla="*/ 0 w 12618"/>
                    <a:gd name="connsiteY0" fmla="*/ 549 h 15361"/>
                    <a:gd name="connsiteX1" fmla="*/ 1646 w 12618"/>
                    <a:gd name="connsiteY1" fmla="*/ 0 h 15361"/>
                    <a:gd name="connsiteX2" fmla="*/ 2194 w 12618"/>
                    <a:gd name="connsiteY2" fmla="*/ 2195 h 15361"/>
                    <a:gd name="connsiteX3" fmla="*/ 6584 w 12618"/>
                    <a:gd name="connsiteY3" fmla="*/ 7681 h 15361"/>
                    <a:gd name="connsiteX4" fmla="*/ 9875 w 12618"/>
                    <a:gd name="connsiteY4" fmla="*/ 8778 h 15361"/>
                    <a:gd name="connsiteX5" fmla="*/ 12070 w 12618"/>
                    <a:gd name="connsiteY5" fmla="*/ 12619 h 15361"/>
                    <a:gd name="connsiteX6" fmla="*/ 12619 w 12618"/>
                    <a:gd name="connsiteY6" fmla="*/ 15362 h 15361"/>
                    <a:gd name="connsiteX7" fmla="*/ 11521 w 12618"/>
                    <a:gd name="connsiteY7" fmla="*/ 13716 h 15361"/>
                    <a:gd name="connsiteX8" fmla="*/ 8230 w 12618"/>
                    <a:gd name="connsiteY8" fmla="*/ 13167 h 15361"/>
                    <a:gd name="connsiteX9" fmla="*/ 0 w 12618"/>
                    <a:gd name="connsiteY9" fmla="*/ 2743 h 15361"/>
                    <a:gd name="connsiteX10" fmla="*/ 0 w 12618"/>
                    <a:gd name="connsiteY10" fmla="*/ 549 h 153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2618" h="15361">
                      <a:moveTo>
                        <a:pt x="0" y="549"/>
                      </a:moveTo>
                      <a:lnTo>
                        <a:pt x="1646" y="0"/>
                      </a:lnTo>
                      <a:lnTo>
                        <a:pt x="2194" y="2195"/>
                      </a:lnTo>
                      <a:lnTo>
                        <a:pt x="6584" y="7681"/>
                      </a:lnTo>
                      <a:lnTo>
                        <a:pt x="9875" y="8778"/>
                      </a:lnTo>
                      <a:lnTo>
                        <a:pt x="12070" y="12619"/>
                      </a:lnTo>
                      <a:lnTo>
                        <a:pt x="12619" y="15362"/>
                      </a:lnTo>
                      <a:lnTo>
                        <a:pt x="11521" y="13716"/>
                      </a:lnTo>
                      <a:lnTo>
                        <a:pt x="8230" y="13167"/>
                      </a:lnTo>
                      <a:lnTo>
                        <a:pt x="0" y="2743"/>
                      </a:lnTo>
                      <a:lnTo>
                        <a:pt x="0" y="549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76" name="Graphic 7">
                  <a:extLst>
                    <a:ext uri="{FF2B5EF4-FFF2-40B4-BE49-F238E27FC236}">
                      <a16:creationId xmlns:a16="http://schemas.microsoft.com/office/drawing/2014/main" id="{2550A173-F954-3605-F896-80FD2C96B45A}"/>
                    </a:ext>
                  </a:extLst>
                </p:cNvPr>
                <p:cNvSpPr/>
                <p:nvPr/>
              </p:nvSpPr>
              <p:spPr>
                <a:xfrm>
                  <a:off x="8866247" y="4098440"/>
                  <a:ext cx="2571" cy="7715"/>
                </a:xfrm>
                <a:custGeom>
                  <a:avLst/>
                  <a:gdLst>
                    <a:gd name="connsiteX0" fmla="*/ 0 w 3291"/>
                    <a:gd name="connsiteY0" fmla="*/ 1097 h 9875"/>
                    <a:gd name="connsiteX1" fmla="*/ 1097 w 3291"/>
                    <a:gd name="connsiteY1" fmla="*/ 0 h 9875"/>
                    <a:gd name="connsiteX2" fmla="*/ 3292 w 3291"/>
                    <a:gd name="connsiteY2" fmla="*/ 5486 h 9875"/>
                    <a:gd name="connsiteX3" fmla="*/ 3292 w 3291"/>
                    <a:gd name="connsiteY3" fmla="*/ 8778 h 9875"/>
                    <a:gd name="connsiteX4" fmla="*/ 2743 w 3291"/>
                    <a:gd name="connsiteY4" fmla="*/ 9875 h 9875"/>
                    <a:gd name="connsiteX5" fmla="*/ 0 w 3291"/>
                    <a:gd name="connsiteY5" fmla="*/ 1097 h 9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291" h="9875">
                      <a:moveTo>
                        <a:pt x="0" y="1097"/>
                      </a:moveTo>
                      <a:lnTo>
                        <a:pt x="1097" y="0"/>
                      </a:lnTo>
                      <a:lnTo>
                        <a:pt x="3292" y="5486"/>
                      </a:lnTo>
                      <a:lnTo>
                        <a:pt x="3292" y="8778"/>
                      </a:lnTo>
                      <a:lnTo>
                        <a:pt x="2743" y="9875"/>
                      </a:lnTo>
                      <a:lnTo>
                        <a:pt x="0" y="1097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77" name="Graphic 7">
                  <a:extLst>
                    <a:ext uri="{FF2B5EF4-FFF2-40B4-BE49-F238E27FC236}">
                      <a16:creationId xmlns:a16="http://schemas.microsoft.com/office/drawing/2014/main" id="{9439C0C7-DD75-5F98-5D1F-3AA023FAA8AA}"/>
                    </a:ext>
                  </a:extLst>
                </p:cNvPr>
                <p:cNvSpPr/>
                <p:nvPr/>
              </p:nvSpPr>
              <p:spPr>
                <a:xfrm>
                  <a:off x="8853387" y="4101440"/>
                  <a:ext cx="24003" cy="24003"/>
                </a:xfrm>
                <a:custGeom>
                  <a:avLst/>
                  <a:gdLst>
                    <a:gd name="connsiteX0" fmla="*/ 1646 w 30723"/>
                    <a:gd name="connsiteY0" fmla="*/ 0 h 30723"/>
                    <a:gd name="connsiteX1" fmla="*/ 3841 w 30723"/>
                    <a:gd name="connsiteY1" fmla="*/ 1097 h 30723"/>
                    <a:gd name="connsiteX2" fmla="*/ 4938 w 30723"/>
                    <a:gd name="connsiteY2" fmla="*/ 2743 h 30723"/>
                    <a:gd name="connsiteX3" fmla="*/ 6584 w 30723"/>
                    <a:gd name="connsiteY3" fmla="*/ 3841 h 30723"/>
                    <a:gd name="connsiteX4" fmla="*/ 9875 w 30723"/>
                    <a:gd name="connsiteY4" fmla="*/ 3841 h 30723"/>
                    <a:gd name="connsiteX5" fmla="*/ 29078 w 30723"/>
                    <a:gd name="connsiteY5" fmla="*/ 19751 h 30723"/>
                    <a:gd name="connsiteX6" fmla="*/ 30724 w 30723"/>
                    <a:gd name="connsiteY6" fmla="*/ 24140 h 30723"/>
                    <a:gd name="connsiteX7" fmla="*/ 30724 w 30723"/>
                    <a:gd name="connsiteY7" fmla="*/ 30724 h 30723"/>
                    <a:gd name="connsiteX8" fmla="*/ 24689 w 30723"/>
                    <a:gd name="connsiteY8" fmla="*/ 28529 h 30723"/>
                    <a:gd name="connsiteX9" fmla="*/ 18654 w 30723"/>
                    <a:gd name="connsiteY9" fmla="*/ 24140 h 30723"/>
                    <a:gd name="connsiteX10" fmla="*/ 14265 w 30723"/>
                    <a:gd name="connsiteY10" fmla="*/ 17008 h 30723"/>
                    <a:gd name="connsiteX11" fmla="*/ 11521 w 30723"/>
                    <a:gd name="connsiteY11" fmla="*/ 15362 h 30723"/>
                    <a:gd name="connsiteX12" fmla="*/ 6584 w 30723"/>
                    <a:gd name="connsiteY12" fmla="*/ 18105 h 30723"/>
                    <a:gd name="connsiteX13" fmla="*/ 2194 w 30723"/>
                    <a:gd name="connsiteY13" fmla="*/ 22494 h 30723"/>
                    <a:gd name="connsiteX14" fmla="*/ 0 w 30723"/>
                    <a:gd name="connsiteY14" fmla="*/ 21397 h 30723"/>
                    <a:gd name="connsiteX15" fmla="*/ 1646 w 30723"/>
                    <a:gd name="connsiteY15" fmla="*/ 0 h 307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30723" h="30723">
                      <a:moveTo>
                        <a:pt x="1646" y="0"/>
                      </a:moveTo>
                      <a:lnTo>
                        <a:pt x="3841" y="1097"/>
                      </a:lnTo>
                      <a:lnTo>
                        <a:pt x="4938" y="2743"/>
                      </a:lnTo>
                      <a:lnTo>
                        <a:pt x="6584" y="3841"/>
                      </a:lnTo>
                      <a:lnTo>
                        <a:pt x="9875" y="3841"/>
                      </a:lnTo>
                      <a:lnTo>
                        <a:pt x="29078" y="19751"/>
                      </a:lnTo>
                      <a:lnTo>
                        <a:pt x="30724" y="24140"/>
                      </a:lnTo>
                      <a:lnTo>
                        <a:pt x="30724" y="30724"/>
                      </a:lnTo>
                      <a:lnTo>
                        <a:pt x="24689" y="28529"/>
                      </a:lnTo>
                      <a:lnTo>
                        <a:pt x="18654" y="24140"/>
                      </a:lnTo>
                      <a:lnTo>
                        <a:pt x="14265" y="17008"/>
                      </a:lnTo>
                      <a:lnTo>
                        <a:pt x="11521" y="15362"/>
                      </a:lnTo>
                      <a:lnTo>
                        <a:pt x="6584" y="18105"/>
                      </a:lnTo>
                      <a:lnTo>
                        <a:pt x="2194" y="22494"/>
                      </a:lnTo>
                      <a:lnTo>
                        <a:pt x="0" y="21397"/>
                      </a:lnTo>
                      <a:lnTo>
                        <a:pt x="1646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78" name="Graphic 7">
                  <a:extLst>
                    <a:ext uri="{FF2B5EF4-FFF2-40B4-BE49-F238E27FC236}">
                      <a16:creationId xmlns:a16="http://schemas.microsoft.com/office/drawing/2014/main" id="{3F7585E0-8E5B-A136-9FDB-AE4A5BD7E9B4}"/>
                    </a:ext>
                  </a:extLst>
                </p:cNvPr>
                <p:cNvSpPr/>
                <p:nvPr/>
              </p:nvSpPr>
              <p:spPr>
                <a:xfrm>
                  <a:off x="8885535" y="4100583"/>
                  <a:ext cx="41578" cy="45864"/>
                </a:xfrm>
                <a:custGeom>
                  <a:avLst/>
                  <a:gdLst>
                    <a:gd name="connsiteX0" fmla="*/ 0 w 53218"/>
                    <a:gd name="connsiteY0" fmla="*/ 2743 h 58704"/>
                    <a:gd name="connsiteX1" fmla="*/ 2194 w 53218"/>
                    <a:gd name="connsiteY1" fmla="*/ 2195 h 58704"/>
                    <a:gd name="connsiteX2" fmla="*/ 17557 w 53218"/>
                    <a:gd name="connsiteY2" fmla="*/ 3292 h 58704"/>
                    <a:gd name="connsiteX3" fmla="*/ 25786 w 53218"/>
                    <a:gd name="connsiteY3" fmla="*/ 0 h 58704"/>
                    <a:gd name="connsiteX4" fmla="*/ 30175 w 53218"/>
                    <a:gd name="connsiteY4" fmla="*/ 1097 h 58704"/>
                    <a:gd name="connsiteX5" fmla="*/ 35661 w 53218"/>
                    <a:gd name="connsiteY5" fmla="*/ 4389 h 58704"/>
                    <a:gd name="connsiteX6" fmla="*/ 37856 w 53218"/>
                    <a:gd name="connsiteY6" fmla="*/ 9875 h 58704"/>
                    <a:gd name="connsiteX7" fmla="*/ 43891 w 53218"/>
                    <a:gd name="connsiteY7" fmla="*/ 14265 h 58704"/>
                    <a:gd name="connsiteX8" fmla="*/ 43342 w 53218"/>
                    <a:gd name="connsiteY8" fmla="*/ 31821 h 58704"/>
                    <a:gd name="connsiteX9" fmla="*/ 49377 w 53218"/>
                    <a:gd name="connsiteY9" fmla="*/ 52670 h 58704"/>
                    <a:gd name="connsiteX10" fmla="*/ 53218 w 53218"/>
                    <a:gd name="connsiteY10" fmla="*/ 58705 h 58704"/>
                    <a:gd name="connsiteX11" fmla="*/ 42794 w 53218"/>
                    <a:gd name="connsiteY11" fmla="*/ 58705 h 58704"/>
                    <a:gd name="connsiteX12" fmla="*/ 35661 w 53218"/>
                    <a:gd name="connsiteY12" fmla="*/ 56510 h 58704"/>
                    <a:gd name="connsiteX13" fmla="*/ 32370 w 53218"/>
                    <a:gd name="connsiteY13" fmla="*/ 49378 h 58704"/>
                    <a:gd name="connsiteX14" fmla="*/ 28529 w 53218"/>
                    <a:gd name="connsiteY14" fmla="*/ 47732 h 58704"/>
                    <a:gd name="connsiteX15" fmla="*/ 23591 w 53218"/>
                    <a:gd name="connsiteY15" fmla="*/ 43343 h 58704"/>
                    <a:gd name="connsiteX16" fmla="*/ 23591 w 53218"/>
                    <a:gd name="connsiteY16" fmla="*/ 40051 h 58704"/>
                    <a:gd name="connsiteX17" fmla="*/ 25237 w 53218"/>
                    <a:gd name="connsiteY17" fmla="*/ 35113 h 58704"/>
                    <a:gd name="connsiteX18" fmla="*/ 24140 w 53218"/>
                    <a:gd name="connsiteY18" fmla="*/ 32918 h 58704"/>
                    <a:gd name="connsiteX19" fmla="*/ 13167 w 53218"/>
                    <a:gd name="connsiteY19" fmla="*/ 21946 h 58704"/>
                    <a:gd name="connsiteX20" fmla="*/ 8778 w 53218"/>
                    <a:gd name="connsiteY20" fmla="*/ 19751 h 58704"/>
                    <a:gd name="connsiteX21" fmla="*/ 4389 w 53218"/>
                    <a:gd name="connsiteY21" fmla="*/ 14265 h 58704"/>
                    <a:gd name="connsiteX22" fmla="*/ 0 w 53218"/>
                    <a:gd name="connsiteY22" fmla="*/ 4389 h 58704"/>
                    <a:gd name="connsiteX23" fmla="*/ 0 w 53218"/>
                    <a:gd name="connsiteY23" fmla="*/ 2743 h 587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</a:cxnLst>
                  <a:rect l="l" t="t" r="r" b="b"/>
                  <a:pathLst>
                    <a:path w="53218" h="58704">
                      <a:moveTo>
                        <a:pt x="0" y="2743"/>
                      </a:moveTo>
                      <a:lnTo>
                        <a:pt x="2194" y="2195"/>
                      </a:lnTo>
                      <a:lnTo>
                        <a:pt x="17557" y="3292"/>
                      </a:lnTo>
                      <a:lnTo>
                        <a:pt x="25786" y="0"/>
                      </a:lnTo>
                      <a:lnTo>
                        <a:pt x="30175" y="1097"/>
                      </a:lnTo>
                      <a:lnTo>
                        <a:pt x="35661" y="4389"/>
                      </a:lnTo>
                      <a:lnTo>
                        <a:pt x="37856" y="9875"/>
                      </a:lnTo>
                      <a:lnTo>
                        <a:pt x="43891" y="14265"/>
                      </a:lnTo>
                      <a:lnTo>
                        <a:pt x="43342" y="31821"/>
                      </a:lnTo>
                      <a:lnTo>
                        <a:pt x="49377" y="52670"/>
                      </a:lnTo>
                      <a:lnTo>
                        <a:pt x="53218" y="58705"/>
                      </a:lnTo>
                      <a:lnTo>
                        <a:pt x="42794" y="58705"/>
                      </a:lnTo>
                      <a:lnTo>
                        <a:pt x="35661" y="56510"/>
                      </a:lnTo>
                      <a:lnTo>
                        <a:pt x="32370" y="49378"/>
                      </a:lnTo>
                      <a:lnTo>
                        <a:pt x="28529" y="47732"/>
                      </a:lnTo>
                      <a:lnTo>
                        <a:pt x="23591" y="43343"/>
                      </a:lnTo>
                      <a:lnTo>
                        <a:pt x="23591" y="40051"/>
                      </a:lnTo>
                      <a:lnTo>
                        <a:pt x="25237" y="35113"/>
                      </a:lnTo>
                      <a:lnTo>
                        <a:pt x="24140" y="32918"/>
                      </a:lnTo>
                      <a:lnTo>
                        <a:pt x="13167" y="21946"/>
                      </a:lnTo>
                      <a:lnTo>
                        <a:pt x="8778" y="19751"/>
                      </a:lnTo>
                      <a:lnTo>
                        <a:pt x="4389" y="14265"/>
                      </a:lnTo>
                      <a:lnTo>
                        <a:pt x="0" y="4389"/>
                      </a:lnTo>
                      <a:lnTo>
                        <a:pt x="0" y="2743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79" name="Graphic 7">
                  <a:extLst>
                    <a:ext uri="{FF2B5EF4-FFF2-40B4-BE49-F238E27FC236}">
                      <a16:creationId xmlns:a16="http://schemas.microsoft.com/office/drawing/2014/main" id="{5ACFC5F6-5F3F-F1C4-C005-B4BD8BCA4766}"/>
                    </a:ext>
                  </a:extLst>
                </p:cNvPr>
                <p:cNvSpPr/>
                <p:nvPr/>
              </p:nvSpPr>
              <p:spPr>
                <a:xfrm>
                  <a:off x="8815667" y="4121587"/>
                  <a:ext cx="34291" cy="44578"/>
                </a:xfrm>
                <a:custGeom>
                  <a:avLst/>
                  <a:gdLst>
                    <a:gd name="connsiteX0" fmla="*/ 0 w 43891"/>
                    <a:gd name="connsiteY0" fmla="*/ 549 h 57058"/>
                    <a:gd name="connsiteX1" fmla="*/ 1646 w 43891"/>
                    <a:gd name="connsiteY1" fmla="*/ 0 h 57058"/>
                    <a:gd name="connsiteX2" fmla="*/ 8230 w 43891"/>
                    <a:gd name="connsiteY2" fmla="*/ 1097 h 57058"/>
                    <a:gd name="connsiteX3" fmla="*/ 17008 w 43891"/>
                    <a:gd name="connsiteY3" fmla="*/ 7681 h 57058"/>
                    <a:gd name="connsiteX4" fmla="*/ 18105 w 43891"/>
                    <a:gd name="connsiteY4" fmla="*/ 11521 h 57058"/>
                    <a:gd name="connsiteX5" fmla="*/ 33467 w 43891"/>
                    <a:gd name="connsiteY5" fmla="*/ 13167 h 57058"/>
                    <a:gd name="connsiteX6" fmla="*/ 35113 w 43891"/>
                    <a:gd name="connsiteY6" fmla="*/ 15362 h 57058"/>
                    <a:gd name="connsiteX7" fmla="*/ 41148 w 43891"/>
                    <a:gd name="connsiteY7" fmla="*/ 13716 h 57058"/>
                    <a:gd name="connsiteX8" fmla="*/ 43342 w 43891"/>
                    <a:gd name="connsiteY8" fmla="*/ 14265 h 57058"/>
                    <a:gd name="connsiteX9" fmla="*/ 43891 w 43891"/>
                    <a:gd name="connsiteY9" fmla="*/ 22494 h 57058"/>
                    <a:gd name="connsiteX10" fmla="*/ 41697 w 43891"/>
                    <a:gd name="connsiteY10" fmla="*/ 30175 h 57058"/>
                    <a:gd name="connsiteX11" fmla="*/ 36210 w 43891"/>
                    <a:gd name="connsiteY11" fmla="*/ 33467 h 57058"/>
                    <a:gd name="connsiteX12" fmla="*/ 25237 w 43891"/>
                    <a:gd name="connsiteY12" fmla="*/ 44989 h 57058"/>
                    <a:gd name="connsiteX13" fmla="*/ 8230 w 43891"/>
                    <a:gd name="connsiteY13" fmla="*/ 50475 h 57058"/>
                    <a:gd name="connsiteX14" fmla="*/ 3292 w 43891"/>
                    <a:gd name="connsiteY14" fmla="*/ 57058 h 57058"/>
                    <a:gd name="connsiteX15" fmla="*/ 1097 w 43891"/>
                    <a:gd name="connsiteY15" fmla="*/ 48829 h 57058"/>
                    <a:gd name="connsiteX16" fmla="*/ 3840 w 43891"/>
                    <a:gd name="connsiteY16" fmla="*/ 8230 h 57058"/>
                    <a:gd name="connsiteX17" fmla="*/ 0 w 43891"/>
                    <a:gd name="connsiteY17" fmla="*/ 4389 h 57058"/>
                    <a:gd name="connsiteX18" fmla="*/ 0 w 43891"/>
                    <a:gd name="connsiteY18" fmla="*/ 549 h 570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43891" h="57058">
                      <a:moveTo>
                        <a:pt x="0" y="549"/>
                      </a:moveTo>
                      <a:lnTo>
                        <a:pt x="1646" y="0"/>
                      </a:lnTo>
                      <a:lnTo>
                        <a:pt x="8230" y="1097"/>
                      </a:lnTo>
                      <a:lnTo>
                        <a:pt x="17008" y="7681"/>
                      </a:lnTo>
                      <a:lnTo>
                        <a:pt x="18105" y="11521"/>
                      </a:lnTo>
                      <a:lnTo>
                        <a:pt x="33467" y="13167"/>
                      </a:lnTo>
                      <a:lnTo>
                        <a:pt x="35113" y="15362"/>
                      </a:lnTo>
                      <a:lnTo>
                        <a:pt x="41148" y="13716"/>
                      </a:lnTo>
                      <a:lnTo>
                        <a:pt x="43342" y="14265"/>
                      </a:lnTo>
                      <a:lnTo>
                        <a:pt x="43891" y="22494"/>
                      </a:lnTo>
                      <a:lnTo>
                        <a:pt x="41697" y="30175"/>
                      </a:lnTo>
                      <a:lnTo>
                        <a:pt x="36210" y="33467"/>
                      </a:lnTo>
                      <a:lnTo>
                        <a:pt x="25237" y="44989"/>
                      </a:lnTo>
                      <a:lnTo>
                        <a:pt x="8230" y="50475"/>
                      </a:lnTo>
                      <a:lnTo>
                        <a:pt x="3292" y="57058"/>
                      </a:lnTo>
                      <a:lnTo>
                        <a:pt x="1097" y="48829"/>
                      </a:lnTo>
                      <a:lnTo>
                        <a:pt x="3840" y="8230"/>
                      </a:lnTo>
                      <a:lnTo>
                        <a:pt x="0" y="4389"/>
                      </a:lnTo>
                      <a:lnTo>
                        <a:pt x="0" y="549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80" name="Graphic 7">
                  <a:extLst>
                    <a:ext uri="{FF2B5EF4-FFF2-40B4-BE49-F238E27FC236}">
                      <a16:creationId xmlns:a16="http://schemas.microsoft.com/office/drawing/2014/main" id="{34C94BE2-10B7-AB20-BD4C-BAE69DFAA0F4}"/>
                    </a:ext>
                  </a:extLst>
                </p:cNvPr>
                <p:cNvSpPr/>
                <p:nvPr/>
              </p:nvSpPr>
              <p:spPr>
                <a:xfrm>
                  <a:off x="8834099" y="4158021"/>
                  <a:ext cx="3857" cy="6429"/>
                </a:xfrm>
                <a:custGeom>
                  <a:avLst/>
                  <a:gdLst>
                    <a:gd name="connsiteX0" fmla="*/ 3292 w 4937"/>
                    <a:gd name="connsiteY0" fmla="*/ 0 h 8229"/>
                    <a:gd name="connsiteX1" fmla="*/ 4938 w 4937"/>
                    <a:gd name="connsiteY1" fmla="*/ 549 h 8229"/>
                    <a:gd name="connsiteX2" fmla="*/ 4389 w 4937"/>
                    <a:gd name="connsiteY2" fmla="*/ 6584 h 8229"/>
                    <a:gd name="connsiteX3" fmla="*/ 1646 w 4937"/>
                    <a:gd name="connsiteY3" fmla="*/ 8230 h 8229"/>
                    <a:gd name="connsiteX4" fmla="*/ 0 w 4937"/>
                    <a:gd name="connsiteY4" fmla="*/ 8230 h 8229"/>
                    <a:gd name="connsiteX5" fmla="*/ 0 w 4937"/>
                    <a:gd name="connsiteY5" fmla="*/ 3841 h 8229"/>
                    <a:gd name="connsiteX6" fmla="*/ 1097 w 4937"/>
                    <a:gd name="connsiteY6" fmla="*/ 1097 h 8229"/>
                    <a:gd name="connsiteX7" fmla="*/ 3292 w 4937"/>
                    <a:gd name="connsiteY7" fmla="*/ 0 h 82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937" h="8229">
                      <a:moveTo>
                        <a:pt x="3292" y="0"/>
                      </a:moveTo>
                      <a:lnTo>
                        <a:pt x="4938" y="549"/>
                      </a:lnTo>
                      <a:lnTo>
                        <a:pt x="4389" y="6584"/>
                      </a:lnTo>
                      <a:lnTo>
                        <a:pt x="1646" y="8230"/>
                      </a:lnTo>
                      <a:lnTo>
                        <a:pt x="0" y="8230"/>
                      </a:lnTo>
                      <a:lnTo>
                        <a:pt x="0" y="3841"/>
                      </a:lnTo>
                      <a:lnTo>
                        <a:pt x="1097" y="1097"/>
                      </a:lnTo>
                      <a:lnTo>
                        <a:pt x="3292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81" name="Graphic 7">
                  <a:extLst>
                    <a:ext uri="{FF2B5EF4-FFF2-40B4-BE49-F238E27FC236}">
                      <a16:creationId xmlns:a16="http://schemas.microsoft.com/office/drawing/2014/main" id="{53AFF89E-89E4-88CD-DF71-84FAC8C4B46E}"/>
                    </a:ext>
                  </a:extLst>
                </p:cNvPr>
                <p:cNvSpPr/>
                <p:nvPr/>
              </p:nvSpPr>
              <p:spPr>
                <a:xfrm>
                  <a:off x="8830241" y="4149019"/>
                  <a:ext cx="31290" cy="57009"/>
                </a:xfrm>
                <a:custGeom>
                  <a:avLst/>
                  <a:gdLst>
                    <a:gd name="connsiteX0" fmla="*/ 19751 w 40050"/>
                    <a:gd name="connsiteY0" fmla="*/ 4938 h 72969"/>
                    <a:gd name="connsiteX1" fmla="*/ 26883 w 40050"/>
                    <a:gd name="connsiteY1" fmla="*/ 0 h 72969"/>
                    <a:gd name="connsiteX2" fmla="*/ 29627 w 40050"/>
                    <a:gd name="connsiteY2" fmla="*/ 1646 h 72969"/>
                    <a:gd name="connsiteX3" fmla="*/ 40051 w 40050"/>
                    <a:gd name="connsiteY3" fmla="*/ 3292 h 72969"/>
                    <a:gd name="connsiteX4" fmla="*/ 39502 w 40050"/>
                    <a:gd name="connsiteY4" fmla="*/ 17557 h 72969"/>
                    <a:gd name="connsiteX5" fmla="*/ 36210 w 40050"/>
                    <a:gd name="connsiteY5" fmla="*/ 20300 h 72969"/>
                    <a:gd name="connsiteX6" fmla="*/ 35113 w 40050"/>
                    <a:gd name="connsiteY6" fmla="*/ 27981 h 72969"/>
                    <a:gd name="connsiteX7" fmla="*/ 28529 w 40050"/>
                    <a:gd name="connsiteY7" fmla="*/ 42245 h 72969"/>
                    <a:gd name="connsiteX8" fmla="*/ 28529 w 40050"/>
                    <a:gd name="connsiteY8" fmla="*/ 57059 h 72969"/>
                    <a:gd name="connsiteX9" fmla="*/ 30175 w 40050"/>
                    <a:gd name="connsiteY9" fmla="*/ 61448 h 72969"/>
                    <a:gd name="connsiteX10" fmla="*/ 29627 w 40050"/>
                    <a:gd name="connsiteY10" fmla="*/ 69129 h 72969"/>
                    <a:gd name="connsiteX11" fmla="*/ 23591 w 40050"/>
                    <a:gd name="connsiteY11" fmla="*/ 72969 h 72969"/>
                    <a:gd name="connsiteX12" fmla="*/ 13716 w 40050"/>
                    <a:gd name="connsiteY12" fmla="*/ 60899 h 72969"/>
                    <a:gd name="connsiteX13" fmla="*/ 9327 w 40050"/>
                    <a:gd name="connsiteY13" fmla="*/ 58705 h 72969"/>
                    <a:gd name="connsiteX14" fmla="*/ 0 w 40050"/>
                    <a:gd name="connsiteY14" fmla="*/ 47732 h 72969"/>
                    <a:gd name="connsiteX15" fmla="*/ 2195 w 40050"/>
                    <a:gd name="connsiteY15" fmla="*/ 38405 h 72969"/>
                    <a:gd name="connsiteX16" fmla="*/ 12619 w 40050"/>
                    <a:gd name="connsiteY16" fmla="*/ 35113 h 72969"/>
                    <a:gd name="connsiteX17" fmla="*/ 14813 w 40050"/>
                    <a:gd name="connsiteY17" fmla="*/ 29078 h 72969"/>
                    <a:gd name="connsiteX18" fmla="*/ 14813 w 40050"/>
                    <a:gd name="connsiteY18" fmla="*/ 17557 h 72969"/>
                    <a:gd name="connsiteX19" fmla="*/ 18654 w 40050"/>
                    <a:gd name="connsiteY19" fmla="*/ 6584 h 72969"/>
                    <a:gd name="connsiteX20" fmla="*/ 19751 w 40050"/>
                    <a:gd name="connsiteY20" fmla="*/ 4938 h 729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40050" h="72969">
                      <a:moveTo>
                        <a:pt x="19751" y="4938"/>
                      </a:moveTo>
                      <a:lnTo>
                        <a:pt x="26883" y="0"/>
                      </a:lnTo>
                      <a:lnTo>
                        <a:pt x="29627" y="1646"/>
                      </a:lnTo>
                      <a:lnTo>
                        <a:pt x="40051" y="3292"/>
                      </a:lnTo>
                      <a:lnTo>
                        <a:pt x="39502" y="17557"/>
                      </a:lnTo>
                      <a:lnTo>
                        <a:pt x="36210" y="20300"/>
                      </a:lnTo>
                      <a:lnTo>
                        <a:pt x="35113" y="27981"/>
                      </a:lnTo>
                      <a:lnTo>
                        <a:pt x="28529" y="42245"/>
                      </a:lnTo>
                      <a:lnTo>
                        <a:pt x="28529" y="57059"/>
                      </a:lnTo>
                      <a:lnTo>
                        <a:pt x="30175" y="61448"/>
                      </a:lnTo>
                      <a:lnTo>
                        <a:pt x="29627" y="69129"/>
                      </a:lnTo>
                      <a:lnTo>
                        <a:pt x="23591" y="72969"/>
                      </a:lnTo>
                      <a:lnTo>
                        <a:pt x="13716" y="60899"/>
                      </a:lnTo>
                      <a:lnTo>
                        <a:pt x="9327" y="58705"/>
                      </a:lnTo>
                      <a:lnTo>
                        <a:pt x="0" y="47732"/>
                      </a:lnTo>
                      <a:lnTo>
                        <a:pt x="2195" y="38405"/>
                      </a:lnTo>
                      <a:lnTo>
                        <a:pt x="12619" y="35113"/>
                      </a:lnTo>
                      <a:lnTo>
                        <a:pt x="14813" y="29078"/>
                      </a:lnTo>
                      <a:lnTo>
                        <a:pt x="14813" y="17557"/>
                      </a:lnTo>
                      <a:lnTo>
                        <a:pt x="18654" y="6584"/>
                      </a:lnTo>
                      <a:lnTo>
                        <a:pt x="19751" y="4938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82" name="Graphic 7">
                  <a:extLst>
                    <a:ext uri="{FF2B5EF4-FFF2-40B4-BE49-F238E27FC236}">
                      <a16:creationId xmlns:a16="http://schemas.microsoft.com/office/drawing/2014/main" id="{73124A22-7A0F-11D0-4967-E4B3FAA6F1E0}"/>
                    </a:ext>
                  </a:extLst>
                </p:cNvPr>
                <p:cNvSpPr/>
                <p:nvPr/>
              </p:nvSpPr>
              <p:spPr>
                <a:xfrm>
                  <a:off x="8888107" y="4126302"/>
                  <a:ext cx="5143" cy="6858"/>
                </a:xfrm>
                <a:custGeom>
                  <a:avLst/>
                  <a:gdLst>
                    <a:gd name="connsiteX0" fmla="*/ 0 w 6583"/>
                    <a:gd name="connsiteY0" fmla="*/ 2743 h 8778"/>
                    <a:gd name="connsiteX1" fmla="*/ 549 w 6583"/>
                    <a:gd name="connsiteY1" fmla="*/ 0 h 8778"/>
                    <a:gd name="connsiteX2" fmla="*/ 4938 w 6583"/>
                    <a:gd name="connsiteY2" fmla="*/ 2743 h 8778"/>
                    <a:gd name="connsiteX3" fmla="*/ 5486 w 6583"/>
                    <a:gd name="connsiteY3" fmla="*/ 5486 h 8778"/>
                    <a:gd name="connsiteX4" fmla="*/ 6584 w 6583"/>
                    <a:gd name="connsiteY4" fmla="*/ 7132 h 8778"/>
                    <a:gd name="connsiteX5" fmla="*/ 4389 w 6583"/>
                    <a:gd name="connsiteY5" fmla="*/ 8778 h 8778"/>
                    <a:gd name="connsiteX6" fmla="*/ 3292 w 6583"/>
                    <a:gd name="connsiteY6" fmla="*/ 8778 h 8778"/>
                    <a:gd name="connsiteX7" fmla="*/ 0 w 6583"/>
                    <a:gd name="connsiteY7" fmla="*/ 2743 h 87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583" h="8778">
                      <a:moveTo>
                        <a:pt x="0" y="2743"/>
                      </a:moveTo>
                      <a:lnTo>
                        <a:pt x="549" y="0"/>
                      </a:lnTo>
                      <a:lnTo>
                        <a:pt x="4938" y="2743"/>
                      </a:lnTo>
                      <a:lnTo>
                        <a:pt x="5486" y="5486"/>
                      </a:lnTo>
                      <a:lnTo>
                        <a:pt x="6584" y="7132"/>
                      </a:lnTo>
                      <a:lnTo>
                        <a:pt x="4389" y="8778"/>
                      </a:lnTo>
                      <a:lnTo>
                        <a:pt x="3292" y="8778"/>
                      </a:lnTo>
                      <a:lnTo>
                        <a:pt x="0" y="2743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83" name="Graphic 7">
                  <a:extLst>
                    <a:ext uri="{FF2B5EF4-FFF2-40B4-BE49-F238E27FC236}">
                      <a16:creationId xmlns:a16="http://schemas.microsoft.com/office/drawing/2014/main" id="{81765CD0-0BEF-B893-68AA-8D604552D199}"/>
                    </a:ext>
                  </a:extLst>
                </p:cNvPr>
                <p:cNvSpPr/>
                <p:nvPr/>
              </p:nvSpPr>
              <p:spPr>
                <a:xfrm>
                  <a:off x="8885535" y="4133160"/>
                  <a:ext cx="27432" cy="43292"/>
                </a:xfrm>
                <a:custGeom>
                  <a:avLst/>
                  <a:gdLst>
                    <a:gd name="connsiteX0" fmla="*/ 0 w 35112"/>
                    <a:gd name="connsiteY0" fmla="*/ 0 h 55412"/>
                    <a:gd name="connsiteX1" fmla="*/ 1646 w 35112"/>
                    <a:gd name="connsiteY1" fmla="*/ 3840 h 55412"/>
                    <a:gd name="connsiteX2" fmla="*/ 4389 w 35112"/>
                    <a:gd name="connsiteY2" fmla="*/ 6035 h 55412"/>
                    <a:gd name="connsiteX3" fmla="*/ 7681 w 35112"/>
                    <a:gd name="connsiteY3" fmla="*/ 4389 h 55412"/>
                    <a:gd name="connsiteX4" fmla="*/ 10973 w 35112"/>
                    <a:gd name="connsiteY4" fmla="*/ 6583 h 55412"/>
                    <a:gd name="connsiteX5" fmla="*/ 20848 w 35112"/>
                    <a:gd name="connsiteY5" fmla="*/ 5486 h 55412"/>
                    <a:gd name="connsiteX6" fmla="*/ 25237 w 35112"/>
                    <a:gd name="connsiteY6" fmla="*/ 12619 h 55412"/>
                    <a:gd name="connsiteX7" fmla="*/ 25786 w 35112"/>
                    <a:gd name="connsiteY7" fmla="*/ 29626 h 55412"/>
                    <a:gd name="connsiteX8" fmla="*/ 35113 w 35112"/>
                    <a:gd name="connsiteY8" fmla="*/ 47731 h 55412"/>
                    <a:gd name="connsiteX9" fmla="*/ 30724 w 35112"/>
                    <a:gd name="connsiteY9" fmla="*/ 49926 h 55412"/>
                    <a:gd name="connsiteX10" fmla="*/ 26335 w 35112"/>
                    <a:gd name="connsiteY10" fmla="*/ 48280 h 55412"/>
                    <a:gd name="connsiteX11" fmla="*/ 25237 w 35112"/>
                    <a:gd name="connsiteY11" fmla="*/ 55413 h 55412"/>
                    <a:gd name="connsiteX12" fmla="*/ 20848 w 35112"/>
                    <a:gd name="connsiteY12" fmla="*/ 53767 h 55412"/>
                    <a:gd name="connsiteX13" fmla="*/ 17008 w 35112"/>
                    <a:gd name="connsiteY13" fmla="*/ 47183 h 55412"/>
                    <a:gd name="connsiteX14" fmla="*/ 17008 w 35112"/>
                    <a:gd name="connsiteY14" fmla="*/ 29626 h 55412"/>
                    <a:gd name="connsiteX15" fmla="*/ 13167 w 35112"/>
                    <a:gd name="connsiteY15" fmla="*/ 21946 h 55412"/>
                    <a:gd name="connsiteX16" fmla="*/ 6035 w 35112"/>
                    <a:gd name="connsiteY16" fmla="*/ 23591 h 55412"/>
                    <a:gd name="connsiteX17" fmla="*/ 2743 w 35112"/>
                    <a:gd name="connsiteY17" fmla="*/ 7132 h 55412"/>
                    <a:gd name="connsiteX18" fmla="*/ 1097 w 35112"/>
                    <a:gd name="connsiteY18" fmla="*/ 4389 h 55412"/>
                    <a:gd name="connsiteX19" fmla="*/ 0 w 35112"/>
                    <a:gd name="connsiteY19" fmla="*/ 0 h 554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35112" h="55412">
                      <a:moveTo>
                        <a:pt x="0" y="0"/>
                      </a:moveTo>
                      <a:lnTo>
                        <a:pt x="1646" y="3840"/>
                      </a:lnTo>
                      <a:lnTo>
                        <a:pt x="4389" y="6035"/>
                      </a:lnTo>
                      <a:lnTo>
                        <a:pt x="7681" y="4389"/>
                      </a:lnTo>
                      <a:lnTo>
                        <a:pt x="10973" y="6583"/>
                      </a:lnTo>
                      <a:lnTo>
                        <a:pt x="20848" y="5486"/>
                      </a:lnTo>
                      <a:lnTo>
                        <a:pt x="25237" y="12619"/>
                      </a:lnTo>
                      <a:lnTo>
                        <a:pt x="25786" y="29626"/>
                      </a:lnTo>
                      <a:lnTo>
                        <a:pt x="35113" y="47731"/>
                      </a:lnTo>
                      <a:lnTo>
                        <a:pt x="30724" y="49926"/>
                      </a:lnTo>
                      <a:lnTo>
                        <a:pt x="26335" y="48280"/>
                      </a:lnTo>
                      <a:lnTo>
                        <a:pt x="25237" y="55413"/>
                      </a:lnTo>
                      <a:lnTo>
                        <a:pt x="20848" y="53767"/>
                      </a:lnTo>
                      <a:lnTo>
                        <a:pt x="17008" y="47183"/>
                      </a:lnTo>
                      <a:lnTo>
                        <a:pt x="17008" y="29626"/>
                      </a:lnTo>
                      <a:lnTo>
                        <a:pt x="13167" y="21946"/>
                      </a:lnTo>
                      <a:lnTo>
                        <a:pt x="6035" y="23591"/>
                      </a:lnTo>
                      <a:lnTo>
                        <a:pt x="2743" y="7132"/>
                      </a:lnTo>
                      <a:lnTo>
                        <a:pt x="1097" y="4389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84" name="Graphic 7">
                  <a:extLst>
                    <a:ext uri="{FF2B5EF4-FFF2-40B4-BE49-F238E27FC236}">
                      <a16:creationId xmlns:a16="http://schemas.microsoft.com/office/drawing/2014/main" id="{B31119DA-4767-EAC2-BA2E-0EBD6BE21EDA}"/>
                    </a:ext>
                  </a:extLst>
                </p:cNvPr>
                <p:cNvSpPr/>
                <p:nvPr/>
              </p:nvSpPr>
              <p:spPr>
                <a:xfrm>
                  <a:off x="8921541" y="4163593"/>
                  <a:ext cx="5144" cy="19288"/>
                </a:xfrm>
                <a:custGeom>
                  <a:avLst/>
                  <a:gdLst>
                    <a:gd name="connsiteX0" fmla="*/ 549 w 6584"/>
                    <a:gd name="connsiteY0" fmla="*/ 11521 h 24688"/>
                    <a:gd name="connsiteX1" fmla="*/ 0 w 6584"/>
                    <a:gd name="connsiteY1" fmla="*/ 6584 h 24688"/>
                    <a:gd name="connsiteX2" fmla="*/ 2743 w 6584"/>
                    <a:gd name="connsiteY2" fmla="*/ 0 h 24688"/>
                    <a:gd name="connsiteX3" fmla="*/ 4938 w 6584"/>
                    <a:gd name="connsiteY3" fmla="*/ 3292 h 24688"/>
                    <a:gd name="connsiteX4" fmla="*/ 6584 w 6584"/>
                    <a:gd name="connsiteY4" fmla="*/ 23591 h 24688"/>
                    <a:gd name="connsiteX5" fmla="*/ 5486 w 6584"/>
                    <a:gd name="connsiteY5" fmla="*/ 24689 h 24688"/>
                    <a:gd name="connsiteX6" fmla="*/ 4389 w 6584"/>
                    <a:gd name="connsiteY6" fmla="*/ 19751 h 24688"/>
                    <a:gd name="connsiteX7" fmla="*/ 1646 w 6584"/>
                    <a:gd name="connsiteY7" fmla="*/ 16459 h 24688"/>
                    <a:gd name="connsiteX8" fmla="*/ 549 w 6584"/>
                    <a:gd name="connsiteY8" fmla="*/ 11521 h 246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6584" h="24688">
                      <a:moveTo>
                        <a:pt x="549" y="11521"/>
                      </a:moveTo>
                      <a:lnTo>
                        <a:pt x="0" y="6584"/>
                      </a:lnTo>
                      <a:lnTo>
                        <a:pt x="2743" y="0"/>
                      </a:lnTo>
                      <a:lnTo>
                        <a:pt x="4938" y="3292"/>
                      </a:lnTo>
                      <a:lnTo>
                        <a:pt x="6584" y="23591"/>
                      </a:lnTo>
                      <a:lnTo>
                        <a:pt x="5486" y="24689"/>
                      </a:lnTo>
                      <a:lnTo>
                        <a:pt x="4389" y="19751"/>
                      </a:lnTo>
                      <a:lnTo>
                        <a:pt x="1646" y="16459"/>
                      </a:lnTo>
                      <a:lnTo>
                        <a:pt x="549" y="11521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85" name="Graphic 7">
                  <a:extLst>
                    <a:ext uri="{FF2B5EF4-FFF2-40B4-BE49-F238E27FC236}">
                      <a16:creationId xmlns:a16="http://schemas.microsoft.com/office/drawing/2014/main" id="{92BCE8D3-7F77-D7FD-5AE0-2C60BC78BD21}"/>
                    </a:ext>
                  </a:extLst>
                </p:cNvPr>
                <p:cNvSpPr/>
                <p:nvPr/>
              </p:nvSpPr>
              <p:spPr>
                <a:xfrm>
                  <a:off x="8935258" y="4177310"/>
                  <a:ext cx="3428" cy="6429"/>
                </a:xfrm>
                <a:custGeom>
                  <a:avLst/>
                  <a:gdLst>
                    <a:gd name="connsiteX0" fmla="*/ 549 w 4388"/>
                    <a:gd name="connsiteY0" fmla="*/ 0 h 8229"/>
                    <a:gd name="connsiteX1" fmla="*/ 3840 w 4388"/>
                    <a:gd name="connsiteY1" fmla="*/ 5486 h 8229"/>
                    <a:gd name="connsiteX2" fmla="*/ 4389 w 4388"/>
                    <a:gd name="connsiteY2" fmla="*/ 8230 h 8229"/>
                    <a:gd name="connsiteX3" fmla="*/ 2743 w 4388"/>
                    <a:gd name="connsiteY3" fmla="*/ 7132 h 8229"/>
                    <a:gd name="connsiteX4" fmla="*/ 0 w 4388"/>
                    <a:gd name="connsiteY4" fmla="*/ 4389 h 8229"/>
                    <a:gd name="connsiteX5" fmla="*/ 549 w 4388"/>
                    <a:gd name="connsiteY5" fmla="*/ 0 h 82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388" h="8229">
                      <a:moveTo>
                        <a:pt x="549" y="0"/>
                      </a:moveTo>
                      <a:lnTo>
                        <a:pt x="3840" y="5486"/>
                      </a:lnTo>
                      <a:lnTo>
                        <a:pt x="4389" y="8230"/>
                      </a:lnTo>
                      <a:lnTo>
                        <a:pt x="2743" y="7132"/>
                      </a:lnTo>
                      <a:lnTo>
                        <a:pt x="0" y="4389"/>
                      </a:lnTo>
                      <a:lnTo>
                        <a:pt x="549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86" name="Graphic 7">
                  <a:extLst>
                    <a:ext uri="{FF2B5EF4-FFF2-40B4-BE49-F238E27FC236}">
                      <a16:creationId xmlns:a16="http://schemas.microsoft.com/office/drawing/2014/main" id="{12990A30-39D4-0EFA-EFD1-CF3112A335E7}"/>
                    </a:ext>
                  </a:extLst>
                </p:cNvPr>
                <p:cNvSpPr/>
                <p:nvPr/>
              </p:nvSpPr>
              <p:spPr>
                <a:xfrm>
                  <a:off x="8857674" y="4140875"/>
                  <a:ext cx="19717" cy="52722"/>
                </a:xfrm>
                <a:custGeom>
                  <a:avLst/>
                  <a:gdLst>
                    <a:gd name="connsiteX0" fmla="*/ 23591 w 25237"/>
                    <a:gd name="connsiteY0" fmla="*/ 549 h 67482"/>
                    <a:gd name="connsiteX1" fmla="*/ 25237 w 25237"/>
                    <a:gd name="connsiteY1" fmla="*/ 0 h 67482"/>
                    <a:gd name="connsiteX2" fmla="*/ 24689 w 25237"/>
                    <a:gd name="connsiteY2" fmla="*/ 32370 h 67482"/>
                    <a:gd name="connsiteX3" fmla="*/ 16459 w 25237"/>
                    <a:gd name="connsiteY3" fmla="*/ 38953 h 67482"/>
                    <a:gd name="connsiteX4" fmla="*/ 4389 w 25237"/>
                    <a:gd name="connsiteY4" fmla="*/ 65288 h 67482"/>
                    <a:gd name="connsiteX5" fmla="*/ 1646 w 25237"/>
                    <a:gd name="connsiteY5" fmla="*/ 67483 h 67482"/>
                    <a:gd name="connsiteX6" fmla="*/ 0 w 25237"/>
                    <a:gd name="connsiteY6" fmla="*/ 52669 h 67482"/>
                    <a:gd name="connsiteX7" fmla="*/ 21397 w 25237"/>
                    <a:gd name="connsiteY7" fmla="*/ 2743 h 67482"/>
                    <a:gd name="connsiteX8" fmla="*/ 23591 w 25237"/>
                    <a:gd name="connsiteY8" fmla="*/ 549 h 674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5237" h="67482">
                      <a:moveTo>
                        <a:pt x="23591" y="549"/>
                      </a:moveTo>
                      <a:lnTo>
                        <a:pt x="25237" y="0"/>
                      </a:lnTo>
                      <a:lnTo>
                        <a:pt x="24689" y="32370"/>
                      </a:lnTo>
                      <a:lnTo>
                        <a:pt x="16459" y="38953"/>
                      </a:lnTo>
                      <a:lnTo>
                        <a:pt x="4389" y="65288"/>
                      </a:lnTo>
                      <a:lnTo>
                        <a:pt x="1646" y="67483"/>
                      </a:lnTo>
                      <a:lnTo>
                        <a:pt x="0" y="52669"/>
                      </a:lnTo>
                      <a:lnTo>
                        <a:pt x="21397" y="2743"/>
                      </a:lnTo>
                      <a:lnTo>
                        <a:pt x="23591" y="549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87" name="Graphic 7">
                  <a:extLst>
                    <a:ext uri="{FF2B5EF4-FFF2-40B4-BE49-F238E27FC236}">
                      <a16:creationId xmlns:a16="http://schemas.microsoft.com/office/drawing/2014/main" id="{BEE3EB75-2E89-3125-2577-F3298DB0717C}"/>
                    </a:ext>
                  </a:extLst>
                </p:cNvPr>
                <p:cNvSpPr/>
                <p:nvPr/>
              </p:nvSpPr>
              <p:spPr>
                <a:xfrm>
                  <a:off x="8871390" y="4172595"/>
                  <a:ext cx="21860" cy="16717"/>
                </a:xfrm>
                <a:custGeom>
                  <a:avLst/>
                  <a:gdLst>
                    <a:gd name="connsiteX0" fmla="*/ 0 w 27980"/>
                    <a:gd name="connsiteY0" fmla="*/ 12070 h 21397"/>
                    <a:gd name="connsiteX1" fmla="*/ 0 w 27980"/>
                    <a:gd name="connsiteY1" fmla="*/ 11522 h 21397"/>
                    <a:gd name="connsiteX2" fmla="*/ 2194 w 27980"/>
                    <a:gd name="connsiteY2" fmla="*/ 10973 h 21397"/>
                    <a:gd name="connsiteX3" fmla="*/ 6035 w 27980"/>
                    <a:gd name="connsiteY3" fmla="*/ 7681 h 21397"/>
                    <a:gd name="connsiteX4" fmla="*/ 9327 w 27980"/>
                    <a:gd name="connsiteY4" fmla="*/ 3292 h 21397"/>
                    <a:gd name="connsiteX5" fmla="*/ 14265 w 27980"/>
                    <a:gd name="connsiteY5" fmla="*/ 0 h 21397"/>
                    <a:gd name="connsiteX6" fmla="*/ 22494 w 27980"/>
                    <a:gd name="connsiteY6" fmla="*/ 3292 h 21397"/>
                    <a:gd name="connsiteX7" fmla="*/ 27981 w 27980"/>
                    <a:gd name="connsiteY7" fmla="*/ 2195 h 21397"/>
                    <a:gd name="connsiteX8" fmla="*/ 27981 w 27980"/>
                    <a:gd name="connsiteY8" fmla="*/ 9876 h 21397"/>
                    <a:gd name="connsiteX9" fmla="*/ 26335 w 27980"/>
                    <a:gd name="connsiteY9" fmla="*/ 12070 h 21397"/>
                    <a:gd name="connsiteX10" fmla="*/ 26883 w 27980"/>
                    <a:gd name="connsiteY10" fmla="*/ 16459 h 21397"/>
                    <a:gd name="connsiteX11" fmla="*/ 25237 w 27980"/>
                    <a:gd name="connsiteY11" fmla="*/ 18654 h 21397"/>
                    <a:gd name="connsiteX12" fmla="*/ 15910 w 27980"/>
                    <a:gd name="connsiteY12" fmla="*/ 21397 h 21397"/>
                    <a:gd name="connsiteX13" fmla="*/ 5486 w 27980"/>
                    <a:gd name="connsiteY13" fmla="*/ 20849 h 21397"/>
                    <a:gd name="connsiteX14" fmla="*/ 0 w 27980"/>
                    <a:gd name="connsiteY14" fmla="*/ 12070 h 213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27980" h="21397">
                      <a:moveTo>
                        <a:pt x="0" y="12070"/>
                      </a:moveTo>
                      <a:lnTo>
                        <a:pt x="0" y="11522"/>
                      </a:lnTo>
                      <a:lnTo>
                        <a:pt x="2194" y="10973"/>
                      </a:lnTo>
                      <a:lnTo>
                        <a:pt x="6035" y="7681"/>
                      </a:lnTo>
                      <a:lnTo>
                        <a:pt x="9327" y="3292"/>
                      </a:lnTo>
                      <a:lnTo>
                        <a:pt x="14265" y="0"/>
                      </a:lnTo>
                      <a:lnTo>
                        <a:pt x="22494" y="3292"/>
                      </a:lnTo>
                      <a:lnTo>
                        <a:pt x="27981" y="2195"/>
                      </a:lnTo>
                      <a:lnTo>
                        <a:pt x="27981" y="9876"/>
                      </a:lnTo>
                      <a:lnTo>
                        <a:pt x="26335" y="12070"/>
                      </a:lnTo>
                      <a:lnTo>
                        <a:pt x="26883" y="16459"/>
                      </a:lnTo>
                      <a:lnTo>
                        <a:pt x="25237" y="18654"/>
                      </a:lnTo>
                      <a:lnTo>
                        <a:pt x="15910" y="21397"/>
                      </a:lnTo>
                      <a:lnTo>
                        <a:pt x="5486" y="20849"/>
                      </a:lnTo>
                      <a:lnTo>
                        <a:pt x="0" y="1207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88" name="Graphic 7">
                  <a:extLst>
                    <a:ext uri="{FF2B5EF4-FFF2-40B4-BE49-F238E27FC236}">
                      <a16:creationId xmlns:a16="http://schemas.microsoft.com/office/drawing/2014/main" id="{40DD55D9-899C-9B48-2286-178577B5DA70}"/>
                    </a:ext>
                  </a:extLst>
                </p:cNvPr>
                <p:cNvSpPr/>
                <p:nvPr/>
              </p:nvSpPr>
              <p:spPr>
                <a:xfrm>
                  <a:off x="8816096" y="4185025"/>
                  <a:ext cx="136308" cy="122163"/>
                </a:xfrm>
                <a:custGeom>
                  <a:avLst/>
                  <a:gdLst>
                    <a:gd name="connsiteX0" fmla="*/ 130577 w 174467"/>
                    <a:gd name="connsiteY0" fmla="*/ 1097 h 156362"/>
                    <a:gd name="connsiteX1" fmla="*/ 130027 w 174467"/>
                    <a:gd name="connsiteY1" fmla="*/ 0 h 156362"/>
                    <a:gd name="connsiteX2" fmla="*/ 137160 w 174467"/>
                    <a:gd name="connsiteY2" fmla="*/ 549 h 156362"/>
                    <a:gd name="connsiteX3" fmla="*/ 141549 w 174467"/>
                    <a:gd name="connsiteY3" fmla="*/ 7132 h 156362"/>
                    <a:gd name="connsiteX4" fmla="*/ 146487 w 174467"/>
                    <a:gd name="connsiteY4" fmla="*/ 9875 h 156362"/>
                    <a:gd name="connsiteX5" fmla="*/ 153619 w 174467"/>
                    <a:gd name="connsiteY5" fmla="*/ 18105 h 156362"/>
                    <a:gd name="connsiteX6" fmla="*/ 156911 w 174467"/>
                    <a:gd name="connsiteY6" fmla="*/ 18105 h 156362"/>
                    <a:gd name="connsiteX7" fmla="*/ 164044 w 174467"/>
                    <a:gd name="connsiteY7" fmla="*/ 32370 h 156362"/>
                    <a:gd name="connsiteX8" fmla="*/ 164592 w 174467"/>
                    <a:gd name="connsiteY8" fmla="*/ 35662 h 156362"/>
                    <a:gd name="connsiteX9" fmla="*/ 158009 w 174467"/>
                    <a:gd name="connsiteY9" fmla="*/ 43891 h 156362"/>
                    <a:gd name="connsiteX10" fmla="*/ 165141 w 174467"/>
                    <a:gd name="connsiteY10" fmla="*/ 48280 h 156362"/>
                    <a:gd name="connsiteX11" fmla="*/ 165689 w 174467"/>
                    <a:gd name="connsiteY11" fmla="*/ 56510 h 156362"/>
                    <a:gd name="connsiteX12" fmla="*/ 168432 w 174467"/>
                    <a:gd name="connsiteY12" fmla="*/ 59253 h 156362"/>
                    <a:gd name="connsiteX13" fmla="*/ 168981 w 174467"/>
                    <a:gd name="connsiteY13" fmla="*/ 71872 h 156362"/>
                    <a:gd name="connsiteX14" fmla="*/ 174468 w 174467"/>
                    <a:gd name="connsiteY14" fmla="*/ 85039 h 156362"/>
                    <a:gd name="connsiteX15" fmla="*/ 173370 w 174467"/>
                    <a:gd name="connsiteY15" fmla="*/ 98207 h 156362"/>
                    <a:gd name="connsiteX16" fmla="*/ 170627 w 174467"/>
                    <a:gd name="connsiteY16" fmla="*/ 102596 h 156362"/>
                    <a:gd name="connsiteX17" fmla="*/ 166238 w 174467"/>
                    <a:gd name="connsiteY17" fmla="*/ 104790 h 156362"/>
                    <a:gd name="connsiteX18" fmla="*/ 162946 w 174467"/>
                    <a:gd name="connsiteY18" fmla="*/ 110277 h 156362"/>
                    <a:gd name="connsiteX19" fmla="*/ 162397 w 174467"/>
                    <a:gd name="connsiteY19" fmla="*/ 127285 h 156362"/>
                    <a:gd name="connsiteX20" fmla="*/ 158009 w 174467"/>
                    <a:gd name="connsiteY20" fmla="*/ 122895 h 156362"/>
                    <a:gd name="connsiteX21" fmla="*/ 155265 w 174467"/>
                    <a:gd name="connsiteY21" fmla="*/ 103693 h 156362"/>
                    <a:gd name="connsiteX22" fmla="*/ 148133 w 174467"/>
                    <a:gd name="connsiteY22" fmla="*/ 91623 h 156362"/>
                    <a:gd name="connsiteX23" fmla="*/ 145390 w 174467"/>
                    <a:gd name="connsiteY23" fmla="*/ 89977 h 156362"/>
                    <a:gd name="connsiteX24" fmla="*/ 132222 w 174467"/>
                    <a:gd name="connsiteY24" fmla="*/ 109179 h 156362"/>
                    <a:gd name="connsiteX25" fmla="*/ 130577 w 174467"/>
                    <a:gd name="connsiteY25" fmla="*/ 118506 h 156362"/>
                    <a:gd name="connsiteX26" fmla="*/ 134965 w 174467"/>
                    <a:gd name="connsiteY26" fmla="*/ 122895 h 156362"/>
                    <a:gd name="connsiteX27" fmla="*/ 141549 w 174467"/>
                    <a:gd name="connsiteY27" fmla="*/ 138257 h 156362"/>
                    <a:gd name="connsiteX28" fmla="*/ 141000 w 174467"/>
                    <a:gd name="connsiteY28" fmla="*/ 142098 h 156362"/>
                    <a:gd name="connsiteX29" fmla="*/ 132771 w 174467"/>
                    <a:gd name="connsiteY29" fmla="*/ 156362 h 156362"/>
                    <a:gd name="connsiteX30" fmla="*/ 127833 w 174467"/>
                    <a:gd name="connsiteY30" fmla="*/ 153619 h 156362"/>
                    <a:gd name="connsiteX31" fmla="*/ 125090 w 174467"/>
                    <a:gd name="connsiteY31" fmla="*/ 140452 h 156362"/>
                    <a:gd name="connsiteX32" fmla="*/ 119604 w 174467"/>
                    <a:gd name="connsiteY32" fmla="*/ 144841 h 156362"/>
                    <a:gd name="connsiteX33" fmla="*/ 112471 w 174467"/>
                    <a:gd name="connsiteY33" fmla="*/ 145938 h 156362"/>
                    <a:gd name="connsiteX34" fmla="*/ 91074 w 174467"/>
                    <a:gd name="connsiteY34" fmla="*/ 136612 h 156362"/>
                    <a:gd name="connsiteX35" fmla="*/ 81747 w 174467"/>
                    <a:gd name="connsiteY35" fmla="*/ 124541 h 156362"/>
                    <a:gd name="connsiteX36" fmla="*/ 77358 w 174467"/>
                    <a:gd name="connsiteY36" fmla="*/ 102596 h 156362"/>
                    <a:gd name="connsiteX37" fmla="*/ 85588 w 174467"/>
                    <a:gd name="connsiteY37" fmla="*/ 92171 h 156362"/>
                    <a:gd name="connsiteX38" fmla="*/ 85588 w 174467"/>
                    <a:gd name="connsiteY38" fmla="*/ 86685 h 156362"/>
                    <a:gd name="connsiteX39" fmla="*/ 72421 w 174467"/>
                    <a:gd name="connsiteY39" fmla="*/ 74066 h 156362"/>
                    <a:gd name="connsiteX40" fmla="*/ 65837 w 174467"/>
                    <a:gd name="connsiteY40" fmla="*/ 71872 h 156362"/>
                    <a:gd name="connsiteX41" fmla="*/ 60899 w 174467"/>
                    <a:gd name="connsiteY41" fmla="*/ 71872 h 156362"/>
                    <a:gd name="connsiteX42" fmla="*/ 55413 w 174467"/>
                    <a:gd name="connsiteY42" fmla="*/ 82296 h 156362"/>
                    <a:gd name="connsiteX43" fmla="*/ 54864 w 174467"/>
                    <a:gd name="connsiteY43" fmla="*/ 86137 h 156362"/>
                    <a:gd name="connsiteX44" fmla="*/ 50475 w 174467"/>
                    <a:gd name="connsiteY44" fmla="*/ 83393 h 156362"/>
                    <a:gd name="connsiteX45" fmla="*/ 46634 w 174467"/>
                    <a:gd name="connsiteY45" fmla="*/ 83393 h 156362"/>
                    <a:gd name="connsiteX46" fmla="*/ 46634 w 174467"/>
                    <a:gd name="connsiteY46" fmla="*/ 78455 h 156362"/>
                    <a:gd name="connsiteX47" fmla="*/ 37856 w 174467"/>
                    <a:gd name="connsiteY47" fmla="*/ 86685 h 156362"/>
                    <a:gd name="connsiteX48" fmla="*/ 36210 w 174467"/>
                    <a:gd name="connsiteY48" fmla="*/ 91074 h 156362"/>
                    <a:gd name="connsiteX49" fmla="*/ 32370 w 174467"/>
                    <a:gd name="connsiteY49" fmla="*/ 76810 h 156362"/>
                    <a:gd name="connsiteX50" fmla="*/ 26883 w 174467"/>
                    <a:gd name="connsiteY50" fmla="*/ 76810 h 156362"/>
                    <a:gd name="connsiteX51" fmla="*/ 18654 w 174467"/>
                    <a:gd name="connsiteY51" fmla="*/ 85588 h 156362"/>
                    <a:gd name="connsiteX52" fmla="*/ 10973 w 174467"/>
                    <a:gd name="connsiteY52" fmla="*/ 105887 h 156362"/>
                    <a:gd name="connsiteX53" fmla="*/ 6584 w 174467"/>
                    <a:gd name="connsiteY53" fmla="*/ 106985 h 156362"/>
                    <a:gd name="connsiteX54" fmla="*/ 2743 w 174467"/>
                    <a:gd name="connsiteY54" fmla="*/ 105887 h 156362"/>
                    <a:gd name="connsiteX55" fmla="*/ 0 w 174467"/>
                    <a:gd name="connsiteY55" fmla="*/ 98755 h 156362"/>
                    <a:gd name="connsiteX56" fmla="*/ 7681 w 174467"/>
                    <a:gd name="connsiteY56" fmla="*/ 71872 h 156362"/>
                    <a:gd name="connsiteX57" fmla="*/ 14265 w 174467"/>
                    <a:gd name="connsiteY57" fmla="*/ 64191 h 156362"/>
                    <a:gd name="connsiteX58" fmla="*/ 36210 w 174467"/>
                    <a:gd name="connsiteY58" fmla="*/ 58705 h 156362"/>
                    <a:gd name="connsiteX59" fmla="*/ 37856 w 174467"/>
                    <a:gd name="connsiteY59" fmla="*/ 52669 h 156362"/>
                    <a:gd name="connsiteX60" fmla="*/ 42794 w 174467"/>
                    <a:gd name="connsiteY60" fmla="*/ 47732 h 156362"/>
                    <a:gd name="connsiteX61" fmla="*/ 49926 w 174467"/>
                    <a:gd name="connsiteY61" fmla="*/ 43891 h 156362"/>
                    <a:gd name="connsiteX62" fmla="*/ 54315 w 174467"/>
                    <a:gd name="connsiteY62" fmla="*/ 38953 h 156362"/>
                    <a:gd name="connsiteX63" fmla="*/ 67483 w 174467"/>
                    <a:gd name="connsiteY63" fmla="*/ 44440 h 156362"/>
                    <a:gd name="connsiteX64" fmla="*/ 70775 w 174467"/>
                    <a:gd name="connsiteY64" fmla="*/ 52669 h 156362"/>
                    <a:gd name="connsiteX65" fmla="*/ 66934 w 174467"/>
                    <a:gd name="connsiteY65" fmla="*/ 65288 h 156362"/>
                    <a:gd name="connsiteX66" fmla="*/ 81747 w 174467"/>
                    <a:gd name="connsiteY66" fmla="*/ 58705 h 156362"/>
                    <a:gd name="connsiteX67" fmla="*/ 87234 w 174467"/>
                    <a:gd name="connsiteY67" fmla="*/ 47732 h 156362"/>
                    <a:gd name="connsiteX68" fmla="*/ 94366 w 174467"/>
                    <a:gd name="connsiteY68" fmla="*/ 43891 h 156362"/>
                    <a:gd name="connsiteX69" fmla="*/ 99304 w 174467"/>
                    <a:gd name="connsiteY69" fmla="*/ 45537 h 156362"/>
                    <a:gd name="connsiteX70" fmla="*/ 103144 w 174467"/>
                    <a:gd name="connsiteY70" fmla="*/ 41148 h 156362"/>
                    <a:gd name="connsiteX71" fmla="*/ 104242 w 174467"/>
                    <a:gd name="connsiteY71" fmla="*/ 34016 h 156362"/>
                    <a:gd name="connsiteX72" fmla="*/ 107533 w 174467"/>
                    <a:gd name="connsiteY72" fmla="*/ 29627 h 156362"/>
                    <a:gd name="connsiteX73" fmla="*/ 115763 w 174467"/>
                    <a:gd name="connsiteY73" fmla="*/ 32918 h 156362"/>
                    <a:gd name="connsiteX74" fmla="*/ 123993 w 174467"/>
                    <a:gd name="connsiteY74" fmla="*/ 27981 h 156362"/>
                    <a:gd name="connsiteX75" fmla="*/ 128930 w 174467"/>
                    <a:gd name="connsiteY75" fmla="*/ 30175 h 156362"/>
                    <a:gd name="connsiteX76" fmla="*/ 132222 w 174467"/>
                    <a:gd name="connsiteY76" fmla="*/ 27432 h 156362"/>
                    <a:gd name="connsiteX77" fmla="*/ 130577 w 174467"/>
                    <a:gd name="connsiteY77" fmla="*/ 1097 h 1563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</a:cxnLst>
                  <a:rect l="l" t="t" r="r" b="b"/>
                  <a:pathLst>
                    <a:path w="174467" h="156362">
                      <a:moveTo>
                        <a:pt x="130577" y="1097"/>
                      </a:moveTo>
                      <a:lnTo>
                        <a:pt x="130027" y="0"/>
                      </a:lnTo>
                      <a:lnTo>
                        <a:pt x="137160" y="549"/>
                      </a:lnTo>
                      <a:lnTo>
                        <a:pt x="141549" y="7132"/>
                      </a:lnTo>
                      <a:lnTo>
                        <a:pt x="146487" y="9875"/>
                      </a:lnTo>
                      <a:lnTo>
                        <a:pt x="153619" y="18105"/>
                      </a:lnTo>
                      <a:lnTo>
                        <a:pt x="156911" y="18105"/>
                      </a:lnTo>
                      <a:lnTo>
                        <a:pt x="164044" y="32370"/>
                      </a:lnTo>
                      <a:lnTo>
                        <a:pt x="164592" y="35662"/>
                      </a:lnTo>
                      <a:lnTo>
                        <a:pt x="158009" y="43891"/>
                      </a:lnTo>
                      <a:lnTo>
                        <a:pt x="165141" y="48280"/>
                      </a:lnTo>
                      <a:lnTo>
                        <a:pt x="165689" y="56510"/>
                      </a:lnTo>
                      <a:lnTo>
                        <a:pt x="168432" y="59253"/>
                      </a:lnTo>
                      <a:lnTo>
                        <a:pt x="168981" y="71872"/>
                      </a:lnTo>
                      <a:lnTo>
                        <a:pt x="174468" y="85039"/>
                      </a:lnTo>
                      <a:lnTo>
                        <a:pt x="173370" y="98207"/>
                      </a:lnTo>
                      <a:lnTo>
                        <a:pt x="170627" y="102596"/>
                      </a:lnTo>
                      <a:lnTo>
                        <a:pt x="166238" y="104790"/>
                      </a:lnTo>
                      <a:lnTo>
                        <a:pt x="162946" y="110277"/>
                      </a:lnTo>
                      <a:lnTo>
                        <a:pt x="162397" y="127285"/>
                      </a:lnTo>
                      <a:lnTo>
                        <a:pt x="158009" y="122895"/>
                      </a:lnTo>
                      <a:lnTo>
                        <a:pt x="155265" y="103693"/>
                      </a:lnTo>
                      <a:lnTo>
                        <a:pt x="148133" y="91623"/>
                      </a:lnTo>
                      <a:lnTo>
                        <a:pt x="145390" y="89977"/>
                      </a:lnTo>
                      <a:lnTo>
                        <a:pt x="132222" y="109179"/>
                      </a:lnTo>
                      <a:lnTo>
                        <a:pt x="130577" y="118506"/>
                      </a:lnTo>
                      <a:lnTo>
                        <a:pt x="134965" y="122895"/>
                      </a:lnTo>
                      <a:lnTo>
                        <a:pt x="141549" y="138257"/>
                      </a:lnTo>
                      <a:lnTo>
                        <a:pt x="141000" y="142098"/>
                      </a:lnTo>
                      <a:lnTo>
                        <a:pt x="132771" y="156362"/>
                      </a:lnTo>
                      <a:lnTo>
                        <a:pt x="127833" y="153619"/>
                      </a:lnTo>
                      <a:lnTo>
                        <a:pt x="125090" y="140452"/>
                      </a:lnTo>
                      <a:lnTo>
                        <a:pt x="119604" y="144841"/>
                      </a:lnTo>
                      <a:lnTo>
                        <a:pt x="112471" y="145938"/>
                      </a:lnTo>
                      <a:lnTo>
                        <a:pt x="91074" y="136612"/>
                      </a:lnTo>
                      <a:lnTo>
                        <a:pt x="81747" y="124541"/>
                      </a:lnTo>
                      <a:lnTo>
                        <a:pt x="77358" y="102596"/>
                      </a:lnTo>
                      <a:lnTo>
                        <a:pt x="85588" y="92171"/>
                      </a:lnTo>
                      <a:lnTo>
                        <a:pt x="85588" y="86685"/>
                      </a:lnTo>
                      <a:lnTo>
                        <a:pt x="72421" y="74066"/>
                      </a:lnTo>
                      <a:lnTo>
                        <a:pt x="65837" y="71872"/>
                      </a:lnTo>
                      <a:lnTo>
                        <a:pt x="60899" y="71872"/>
                      </a:lnTo>
                      <a:lnTo>
                        <a:pt x="55413" y="82296"/>
                      </a:lnTo>
                      <a:lnTo>
                        <a:pt x="54864" y="86137"/>
                      </a:lnTo>
                      <a:lnTo>
                        <a:pt x="50475" y="83393"/>
                      </a:lnTo>
                      <a:lnTo>
                        <a:pt x="46634" y="83393"/>
                      </a:lnTo>
                      <a:lnTo>
                        <a:pt x="46634" y="78455"/>
                      </a:lnTo>
                      <a:lnTo>
                        <a:pt x="37856" y="86685"/>
                      </a:lnTo>
                      <a:lnTo>
                        <a:pt x="36210" y="91074"/>
                      </a:lnTo>
                      <a:lnTo>
                        <a:pt x="32370" y="76810"/>
                      </a:lnTo>
                      <a:lnTo>
                        <a:pt x="26883" y="76810"/>
                      </a:lnTo>
                      <a:lnTo>
                        <a:pt x="18654" y="85588"/>
                      </a:lnTo>
                      <a:lnTo>
                        <a:pt x="10973" y="105887"/>
                      </a:lnTo>
                      <a:lnTo>
                        <a:pt x="6584" y="106985"/>
                      </a:lnTo>
                      <a:lnTo>
                        <a:pt x="2743" y="105887"/>
                      </a:lnTo>
                      <a:lnTo>
                        <a:pt x="0" y="98755"/>
                      </a:lnTo>
                      <a:lnTo>
                        <a:pt x="7681" y="71872"/>
                      </a:lnTo>
                      <a:lnTo>
                        <a:pt x="14265" y="64191"/>
                      </a:lnTo>
                      <a:lnTo>
                        <a:pt x="36210" y="58705"/>
                      </a:lnTo>
                      <a:lnTo>
                        <a:pt x="37856" y="52669"/>
                      </a:lnTo>
                      <a:lnTo>
                        <a:pt x="42794" y="47732"/>
                      </a:lnTo>
                      <a:lnTo>
                        <a:pt x="49926" y="43891"/>
                      </a:lnTo>
                      <a:lnTo>
                        <a:pt x="54315" y="38953"/>
                      </a:lnTo>
                      <a:lnTo>
                        <a:pt x="67483" y="44440"/>
                      </a:lnTo>
                      <a:lnTo>
                        <a:pt x="70775" y="52669"/>
                      </a:lnTo>
                      <a:lnTo>
                        <a:pt x="66934" y="65288"/>
                      </a:lnTo>
                      <a:lnTo>
                        <a:pt x="81747" y="58705"/>
                      </a:lnTo>
                      <a:lnTo>
                        <a:pt x="87234" y="47732"/>
                      </a:lnTo>
                      <a:lnTo>
                        <a:pt x="94366" y="43891"/>
                      </a:lnTo>
                      <a:lnTo>
                        <a:pt x="99304" y="45537"/>
                      </a:lnTo>
                      <a:lnTo>
                        <a:pt x="103144" y="41148"/>
                      </a:lnTo>
                      <a:lnTo>
                        <a:pt x="104242" y="34016"/>
                      </a:lnTo>
                      <a:lnTo>
                        <a:pt x="107533" y="29627"/>
                      </a:lnTo>
                      <a:lnTo>
                        <a:pt x="115763" y="32918"/>
                      </a:lnTo>
                      <a:lnTo>
                        <a:pt x="123993" y="27981"/>
                      </a:lnTo>
                      <a:lnTo>
                        <a:pt x="128930" y="30175"/>
                      </a:lnTo>
                      <a:lnTo>
                        <a:pt x="132222" y="27432"/>
                      </a:lnTo>
                      <a:lnTo>
                        <a:pt x="130577" y="1097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89" name="Graphic 7">
                  <a:extLst>
                    <a:ext uri="{FF2B5EF4-FFF2-40B4-BE49-F238E27FC236}">
                      <a16:creationId xmlns:a16="http://schemas.microsoft.com/office/drawing/2014/main" id="{7612DFE4-7533-E3A1-1D15-A50DD9D902D5}"/>
                    </a:ext>
                  </a:extLst>
                </p:cNvPr>
                <p:cNvSpPr/>
                <p:nvPr/>
              </p:nvSpPr>
              <p:spPr>
                <a:xfrm>
                  <a:off x="8812667" y="4274612"/>
                  <a:ext cx="14145" cy="8143"/>
                </a:xfrm>
                <a:custGeom>
                  <a:avLst/>
                  <a:gdLst>
                    <a:gd name="connsiteX0" fmla="*/ 0 w 18105"/>
                    <a:gd name="connsiteY0" fmla="*/ 2743 h 10423"/>
                    <a:gd name="connsiteX1" fmla="*/ 3841 w 18105"/>
                    <a:gd name="connsiteY1" fmla="*/ 0 h 10423"/>
                    <a:gd name="connsiteX2" fmla="*/ 8778 w 18105"/>
                    <a:gd name="connsiteY2" fmla="*/ 0 h 10423"/>
                    <a:gd name="connsiteX3" fmla="*/ 15910 w 18105"/>
                    <a:gd name="connsiteY3" fmla="*/ 2194 h 10423"/>
                    <a:gd name="connsiteX4" fmla="*/ 18105 w 18105"/>
                    <a:gd name="connsiteY4" fmla="*/ 4389 h 10423"/>
                    <a:gd name="connsiteX5" fmla="*/ 13167 w 18105"/>
                    <a:gd name="connsiteY5" fmla="*/ 9327 h 10423"/>
                    <a:gd name="connsiteX6" fmla="*/ 6584 w 18105"/>
                    <a:gd name="connsiteY6" fmla="*/ 10424 h 10423"/>
                    <a:gd name="connsiteX7" fmla="*/ 0 w 18105"/>
                    <a:gd name="connsiteY7" fmla="*/ 2743 h 104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8105" h="10423">
                      <a:moveTo>
                        <a:pt x="0" y="2743"/>
                      </a:moveTo>
                      <a:lnTo>
                        <a:pt x="3841" y="0"/>
                      </a:lnTo>
                      <a:lnTo>
                        <a:pt x="8778" y="0"/>
                      </a:lnTo>
                      <a:lnTo>
                        <a:pt x="15910" y="2194"/>
                      </a:lnTo>
                      <a:lnTo>
                        <a:pt x="18105" y="4389"/>
                      </a:lnTo>
                      <a:lnTo>
                        <a:pt x="13167" y="9327"/>
                      </a:lnTo>
                      <a:lnTo>
                        <a:pt x="6584" y="10424"/>
                      </a:lnTo>
                      <a:lnTo>
                        <a:pt x="0" y="2743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90" name="Graphic 7">
                  <a:extLst>
                    <a:ext uri="{FF2B5EF4-FFF2-40B4-BE49-F238E27FC236}">
                      <a16:creationId xmlns:a16="http://schemas.microsoft.com/office/drawing/2014/main" id="{FC283429-1D45-385B-5065-AAC846BB41A5}"/>
                    </a:ext>
                  </a:extLst>
                </p:cNvPr>
                <p:cNvSpPr/>
                <p:nvPr/>
              </p:nvSpPr>
              <p:spPr>
                <a:xfrm>
                  <a:off x="8786948" y="4294329"/>
                  <a:ext cx="13716" cy="6429"/>
                </a:xfrm>
                <a:custGeom>
                  <a:avLst/>
                  <a:gdLst>
                    <a:gd name="connsiteX0" fmla="*/ 0 w 17556"/>
                    <a:gd name="connsiteY0" fmla="*/ 6035 h 8229"/>
                    <a:gd name="connsiteX1" fmla="*/ 0 w 17556"/>
                    <a:gd name="connsiteY1" fmla="*/ 3841 h 8229"/>
                    <a:gd name="connsiteX2" fmla="*/ 1097 w 17556"/>
                    <a:gd name="connsiteY2" fmla="*/ 1097 h 8229"/>
                    <a:gd name="connsiteX3" fmla="*/ 5486 w 17556"/>
                    <a:gd name="connsiteY3" fmla="*/ 0 h 8229"/>
                    <a:gd name="connsiteX4" fmla="*/ 17557 w 17556"/>
                    <a:gd name="connsiteY4" fmla="*/ 3292 h 8229"/>
                    <a:gd name="connsiteX5" fmla="*/ 14813 w 17556"/>
                    <a:gd name="connsiteY5" fmla="*/ 8230 h 8229"/>
                    <a:gd name="connsiteX6" fmla="*/ 8778 w 17556"/>
                    <a:gd name="connsiteY6" fmla="*/ 4938 h 8229"/>
                    <a:gd name="connsiteX7" fmla="*/ 3841 w 17556"/>
                    <a:gd name="connsiteY7" fmla="*/ 6584 h 8229"/>
                    <a:gd name="connsiteX8" fmla="*/ 0 w 17556"/>
                    <a:gd name="connsiteY8" fmla="*/ 6035 h 82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7556" h="8229">
                      <a:moveTo>
                        <a:pt x="0" y="6035"/>
                      </a:moveTo>
                      <a:lnTo>
                        <a:pt x="0" y="3841"/>
                      </a:lnTo>
                      <a:lnTo>
                        <a:pt x="1097" y="1097"/>
                      </a:lnTo>
                      <a:lnTo>
                        <a:pt x="5486" y="0"/>
                      </a:lnTo>
                      <a:lnTo>
                        <a:pt x="17557" y="3292"/>
                      </a:lnTo>
                      <a:lnTo>
                        <a:pt x="14813" y="8230"/>
                      </a:lnTo>
                      <a:lnTo>
                        <a:pt x="8778" y="4938"/>
                      </a:lnTo>
                      <a:lnTo>
                        <a:pt x="3841" y="6584"/>
                      </a:lnTo>
                      <a:lnTo>
                        <a:pt x="0" y="6035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91" name="Graphic 7">
                  <a:extLst>
                    <a:ext uri="{FF2B5EF4-FFF2-40B4-BE49-F238E27FC236}">
                      <a16:creationId xmlns:a16="http://schemas.microsoft.com/office/drawing/2014/main" id="{7F311799-C69D-07CC-FC2C-FBF6084AA83E}"/>
                    </a:ext>
                  </a:extLst>
                </p:cNvPr>
                <p:cNvSpPr/>
                <p:nvPr/>
              </p:nvSpPr>
              <p:spPr>
                <a:xfrm>
                  <a:off x="8754371" y="4317047"/>
                  <a:ext cx="12002" cy="7715"/>
                </a:xfrm>
                <a:custGeom>
                  <a:avLst/>
                  <a:gdLst>
                    <a:gd name="connsiteX0" fmla="*/ 1097 w 15362"/>
                    <a:gd name="connsiteY0" fmla="*/ 9875 h 9875"/>
                    <a:gd name="connsiteX1" fmla="*/ 0 w 15362"/>
                    <a:gd name="connsiteY1" fmla="*/ 8230 h 9875"/>
                    <a:gd name="connsiteX2" fmla="*/ 2195 w 15362"/>
                    <a:gd name="connsiteY2" fmla="*/ 4389 h 9875"/>
                    <a:gd name="connsiteX3" fmla="*/ 9327 w 15362"/>
                    <a:gd name="connsiteY3" fmla="*/ 0 h 9875"/>
                    <a:gd name="connsiteX4" fmla="*/ 14265 w 15362"/>
                    <a:gd name="connsiteY4" fmla="*/ 1097 h 9875"/>
                    <a:gd name="connsiteX5" fmla="*/ 15362 w 15362"/>
                    <a:gd name="connsiteY5" fmla="*/ 4389 h 9875"/>
                    <a:gd name="connsiteX6" fmla="*/ 1097 w 15362"/>
                    <a:gd name="connsiteY6" fmla="*/ 9875 h 9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5362" h="9875">
                      <a:moveTo>
                        <a:pt x="1097" y="9875"/>
                      </a:moveTo>
                      <a:lnTo>
                        <a:pt x="0" y="8230"/>
                      </a:lnTo>
                      <a:lnTo>
                        <a:pt x="2195" y="4389"/>
                      </a:lnTo>
                      <a:lnTo>
                        <a:pt x="9327" y="0"/>
                      </a:lnTo>
                      <a:lnTo>
                        <a:pt x="14265" y="1097"/>
                      </a:lnTo>
                      <a:lnTo>
                        <a:pt x="15362" y="4389"/>
                      </a:lnTo>
                      <a:lnTo>
                        <a:pt x="1097" y="9875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92" name="Graphic 7">
                  <a:extLst>
                    <a:ext uri="{FF2B5EF4-FFF2-40B4-BE49-F238E27FC236}">
                      <a16:creationId xmlns:a16="http://schemas.microsoft.com/office/drawing/2014/main" id="{0F19544E-4BBC-7890-F72F-3EB9E62B9224}"/>
                    </a:ext>
                  </a:extLst>
                </p:cNvPr>
                <p:cNvSpPr/>
                <p:nvPr/>
              </p:nvSpPr>
              <p:spPr>
                <a:xfrm>
                  <a:off x="9776683" y="4614525"/>
                  <a:ext cx="2143" cy="11573"/>
                </a:xfrm>
                <a:custGeom>
                  <a:avLst/>
                  <a:gdLst>
                    <a:gd name="connsiteX0" fmla="*/ 0 w 2743"/>
                    <a:gd name="connsiteY0" fmla="*/ 1097 h 14813"/>
                    <a:gd name="connsiteX1" fmla="*/ 549 w 2743"/>
                    <a:gd name="connsiteY1" fmla="*/ 0 h 14813"/>
                    <a:gd name="connsiteX2" fmla="*/ 2743 w 2743"/>
                    <a:gd name="connsiteY2" fmla="*/ 14813 h 14813"/>
                    <a:gd name="connsiteX3" fmla="*/ 0 w 2743"/>
                    <a:gd name="connsiteY3" fmla="*/ 8230 h 14813"/>
                    <a:gd name="connsiteX4" fmla="*/ 0 w 2743"/>
                    <a:gd name="connsiteY4" fmla="*/ 1097 h 148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743" h="14813">
                      <a:moveTo>
                        <a:pt x="0" y="1097"/>
                      </a:moveTo>
                      <a:lnTo>
                        <a:pt x="549" y="0"/>
                      </a:lnTo>
                      <a:lnTo>
                        <a:pt x="2743" y="14813"/>
                      </a:lnTo>
                      <a:lnTo>
                        <a:pt x="0" y="8230"/>
                      </a:lnTo>
                      <a:lnTo>
                        <a:pt x="0" y="1097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93" name="Graphic 7">
                  <a:extLst>
                    <a:ext uri="{FF2B5EF4-FFF2-40B4-BE49-F238E27FC236}">
                      <a16:creationId xmlns:a16="http://schemas.microsoft.com/office/drawing/2014/main" id="{685D9E37-9B63-34A2-5E30-505AD76CA739}"/>
                    </a:ext>
                  </a:extLst>
                </p:cNvPr>
                <p:cNvSpPr/>
                <p:nvPr/>
              </p:nvSpPr>
              <p:spPr>
                <a:xfrm>
                  <a:off x="9780969" y="4628670"/>
                  <a:ext cx="36434" cy="41149"/>
                </a:xfrm>
                <a:custGeom>
                  <a:avLst/>
                  <a:gdLst>
                    <a:gd name="connsiteX0" fmla="*/ 0 w 46634"/>
                    <a:gd name="connsiteY0" fmla="*/ 0 h 52669"/>
                    <a:gd name="connsiteX1" fmla="*/ 9876 w 46634"/>
                    <a:gd name="connsiteY1" fmla="*/ 2195 h 52669"/>
                    <a:gd name="connsiteX2" fmla="*/ 44440 w 46634"/>
                    <a:gd name="connsiteY2" fmla="*/ 37856 h 52669"/>
                    <a:gd name="connsiteX3" fmla="*/ 46634 w 46634"/>
                    <a:gd name="connsiteY3" fmla="*/ 47183 h 52669"/>
                    <a:gd name="connsiteX4" fmla="*/ 44440 w 46634"/>
                    <a:gd name="connsiteY4" fmla="*/ 49378 h 52669"/>
                    <a:gd name="connsiteX5" fmla="*/ 40051 w 46634"/>
                    <a:gd name="connsiteY5" fmla="*/ 52121 h 52669"/>
                    <a:gd name="connsiteX6" fmla="*/ 34565 w 46634"/>
                    <a:gd name="connsiteY6" fmla="*/ 52669 h 52669"/>
                    <a:gd name="connsiteX7" fmla="*/ 28530 w 46634"/>
                    <a:gd name="connsiteY7" fmla="*/ 51572 h 52669"/>
                    <a:gd name="connsiteX8" fmla="*/ 21397 w 46634"/>
                    <a:gd name="connsiteY8" fmla="*/ 46086 h 52669"/>
                    <a:gd name="connsiteX9" fmla="*/ 18654 w 46634"/>
                    <a:gd name="connsiteY9" fmla="*/ 40599 h 52669"/>
                    <a:gd name="connsiteX10" fmla="*/ 18105 w 46634"/>
                    <a:gd name="connsiteY10" fmla="*/ 30724 h 52669"/>
                    <a:gd name="connsiteX11" fmla="*/ 5486 w 46634"/>
                    <a:gd name="connsiteY11" fmla="*/ 20848 h 52669"/>
                    <a:gd name="connsiteX12" fmla="*/ 1098 w 46634"/>
                    <a:gd name="connsiteY12" fmla="*/ 13167 h 52669"/>
                    <a:gd name="connsiteX13" fmla="*/ 0 w 46634"/>
                    <a:gd name="connsiteY13" fmla="*/ 0 h 526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46634" h="52669">
                      <a:moveTo>
                        <a:pt x="0" y="0"/>
                      </a:moveTo>
                      <a:lnTo>
                        <a:pt x="9876" y="2195"/>
                      </a:lnTo>
                      <a:lnTo>
                        <a:pt x="44440" y="37856"/>
                      </a:lnTo>
                      <a:lnTo>
                        <a:pt x="46634" y="47183"/>
                      </a:lnTo>
                      <a:lnTo>
                        <a:pt x="44440" y="49378"/>
                      </a:lnTo>
                      <a:lnTo>
                        <a:pt x="40051" y="52121"/>
                      </a:lnTo>
                      <a:lnTo>
                        <a:pt x="34565" y="52669"/>
                      </a:lnTo>
                      <a:lnTo>
                        <a:pt x="28530" y="51572"/>
                      </a:lnTo>
                      <a:lnTo>
                        <a:pt x="21397" y="46086"/>
                      </a:lnTo>
                      <a:lnTo>
                        <a:pt x="18654" y="40599"/>
                      </a:lnTo>
                      <a:lnTo>
                        <a:pt x="18105" y="30724"/>
                      </a:lnTo>
                      <a:lnTo>
                        <a:pt x="5486" y="20848"/>
                      </a:lnTo>
                      <a:lnTo>
                        <a:pt x="1098" y="13167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94" name="Graphic 7">
                  <a:extLst>
                    <a:ext uri="{FF2B5EF4-FFF2-40B4-BE49-F238E27FC236}">
                      <a16:creationId xmlns:a16="http://schemas.microsoft.com/office/drawing/2014/main" id="{26665FD9-5808-478C-3F92-9DC0409F1661}"/>
                    </a:ext>
                  </a:extLst>
                </p:cNvPr>
                <p:cNvSpPr/>
                <p:nvPr/>
              </p:nvSpPr>
              <p:spPr>
                <a:xfrm>
                  <a:off x="9832406" y="4661676"/>
                  <a:ext cx="29576" cy="22289"/>
                </a:xfrm>
                <a:custGeom>
                  <a:avLst/>
                  <a:gdLst>
                    <a:gd name="connsiteX0" fmla="*/ 0 w 37856"/>
                    <a:gd name="connsiteY0" fmla="*/ 1646 h 28529"/>
                    <a:gd name="connsiteX1" fmla="*/ 2743 w 37856"/>
                    <a:gd name="connsiteY1" fmla="*/ 0 h 28529"/>
                    <a:gd name="connsiteX2" fmla="*/ 10973 w 37856"/>
                    <a:gd name="connsiteY2" fmla="*/ 7681 h 28529"/>
                    <a:gd name="connsiteX3" fmla="*/ 18105 w 37856"/>
                    <a:gd name="connsiteY3" fmla="*/ 8778 h 28529"/>
                    <a:gd name="connsiteX4" fmla="*/ 19751 w 37856"/>
                    <a:gd name="connsiteY4" fmla="*/ 12619 h 28529"/>
                    <a:gd name="connsiteX5" fmla="*/ 23043 w 37856"/>
                    <a:gd name="connsiteY5" fmla="*/ 15910 h 28529"/>
                    <a:gd name="connsiteX6" fmla="*/ 29627 w 37856"/>
                    <a:gd name="connsiteY6" fmla="*/ 18654 h 28529"/>
                    <a:gd name="connsiteX7" fmla="*/ 32370 w 37856"/>
                    <a:gd name="connsiteY7" fmla="*/ 21946 h 28529"/>
                    <a:gd name="connsiteX8" fmla="*/ 36759 w 37856"/>
                    <a:gd name="connsiteY8" fmla="*/ 23043 h 28529"/>
                    <a:gd name="connsiteX9" fmla="*/ 37856 w 37856"/>
                    <a:gd name="connsiteY9" fmla="*/ 27981 h 28529"/>
                    <a:gd name="connsiteX10" fmla="*/ 32370 w 37856"/>
                    <a:gd name="connsiteY10" fmla="*/ 28529 h 28529"/>
                    <a:gd name="connsiteX11" fmla="*/ 17008 w 37856"/>
                    <a:gd name="connsiteY11" fmla="*/ 22494 h 28529"/>
                    <a:gd name="connsiteX12" fmla="*/ 0 w 37856"/>
                    <a:gd name="connsiteY12" fmla="*/ 1646 h 285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37856" h="28529">
                      <a:moveTo>
                        <a:pt x="0" y="1646"/>
                      </a:moveTo>
                      <a:lnTo>
                        <a:pt x="2743" y="0"/>
                      </a:lnTo>
                      <a:lnTo>
                        <a:pt x="10973" y="7681"/>
                      </a:lnTo>
                      <a:lnTo>
                        <a:pt x="18105" y="8778"/>
                      </a:lnTo>
                      <a:lnTo>
                        <a:pt x="19751" y="12619"/>
                      </a:lnTo>
                      <a:lnTo>
                        <a:pt x="23043" y="15910"/>
                      </a:lnTo>
                      <a:lnTo>
                        <a:pt x="29627" y="18654"/>
                      </a:lnTo>
                      <a:lnTo>
                        <a:pt x="32370" y="21946"/>
                      </a:lnTo>
                      <a:lnTo>
                        <a:pt x="36759" y="23043"/>
                      </a:lnTo>
                      <a:lnTo>
                        <a:pt x="37856" y="27981"/>
                      </a:lnTo>
                      <a:lnTo>
                        <a:pt x="32370" y="28529"/>
                      </a:lnTo>
                      <a:lnTo>
                        <a:pt x="17008" y="22494"/>
                      </a:lnTo>
                      <a:lnTo>
                        <a:pt x="0" y="1646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95" name="Graphic 7">
                  <a:extLst>
                    <a:ext uri="{FF2B5EF4-FFF2-40B4-BE49-F238E27FC236}">
                      <a16:creationId xmlns:a16="http://schemas.microsoft.com/office/drawing/2014/main" id="{D0478A38-6E65-0633-25EA-B85D6D5A9EC7}"/>
                    </a:ext>
                  </a:extLst>
                </p:cNvPr>
                <p:cNvSpPr/>
                <p:nvPr/>
              </p:nvSpPr>
              <p:spPr>
                <a:xfrm>
                  <a:off x="9833264" y="4689538"/>
                  <a:ext cx="7286" cy="11573"/>
                </a:xfrm>
                <a:custGeom>
                  <a:avLst/>
                  <a:gdLst>
                    <a:gd name="connsiteX0" fmla="*/ 1646 w 9326"/>
                    <a:gd name="connsiteY0" fmla="*/ 0 h 14813"/>
                    <a:gd name="connsiteX1" fmla="*/ 4937 w 9326"/>
                    <a:gd name="connsiteY1" fmla="*/ 1646 h 14813"/>
                    <a:gd name="connsiteX2" fmla="*/ 7680 w 9326"/>
                    <a:gd name="connsiteY2" fmla="*/ 4938 h 14813"/>
                    <a:gd name="connsiteX3" fmla="*/ 9327 w 9326"/>
                    <a:gd name="connsiteY3" fmla="*/ 8230 h 14813"/>
                    <a:gd name="connsiteX4" fmla="*/ 7680 w 9326"/>
                    <a:gd name="connsiteY4" fmla="*/ 14813 h 14813"/>
                    <a:gd name="connsiteX5" fmla="*/ 1646 w 9326"/>
                    <a:gd name="connsiteY5" fmla="*/ 6584 h 14813"/>
                    <a:gd name="connsiteX6" fmla="*/ 0 w 9326"/>
                    <a:gd name="connsiteY6" fmla="*/ 1646 h 14813"/>
                    <a:gd name="connsiteX7" fmla="*/ 1646 w 9326"/>
                    <a:gd name="connsiteY7" fmla="*/ 0 h 148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9326" h="14813">
                      <a:moveTo>
                        <a:pt x="1646" y="0"/>
                      </a:moveTo>
                      <a:lnTo>
                        <a:pt x="4937" y="1646"/>
                      </a:lnTo>
                      <a:lnTo>
                        <a:pt x="7680" y="4938"/>
                      </a:lnTo>
                      <a:lnTo>
                        <a:pt x="9327" y="8230"/>
                      </a:lnTo>
                      <a:lnTo>
                        <a:pt x="7680" y="14813"/>
                      </a:lnTo>
                      <a:lnTo>
                        <a:pt x="1646" y="6584"/>
                      </a:lnTo>
                      <a:lnTo>
                        <a:pt x="0" y="1646"/>
                      </a:lnTo>
                      <a:lnTo>
                        <a:pt x="1646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96" name="Graphic 7">
                  <a:extLst>
                    <a:ext uri="{FF2B5EF4-FFF2-40B4-BE49-F238E27FC236}">
                      <a16:creationId xmlns:a16="http://schemas.microsoft.com/office/drawing/2014/main" id="{E9E91B75-90D0-78A7-8A4D-90BB40EFC8E5}"/>
                    </a:ext>
                  </a:extLst>
                </p:cNvPr>
                <p:cNvSpPr/>
                <p:nvPr/>
              </p:nvSpPr>
              <p:spPr>
                <a:xfrm>
                  <a:off x="9846980" y="4698110"/>
                  <a:ext cx="5143" cy="8572"/>
                </a:xfrm>
                <a:custGeom>
                  <a:avLst/>
                  <a:gdLst>
                    <a:gd name="connsiteX0" fmla="*/ 4389 w 6583"/>
                    <a:gd name="connsiteY0" fmla="*/ 2194 h 10972"/>
                    <a:gd name="connsiteX1" fmla="*/ 6583 w 6583"/>
                    <a:gd name="connsiteY1" fmla="*/ 4938 h 10972"/>
                    <a:gd name="connsiteX2" fmla="*/ 6583 w 6583"/>
                    <a:gd name="connsiteY2" fmla="*/ 9875 h 10972"/>
                    <a:gd name="connsiteX3" fmla="*/ 3292 w 6583"/>
                    <a:gd name="connsiteY3" fmla="*/ 10973 h 10972"/>
                    <a:gd name="connsiteX4" fmla="*/ 549 w 6583"/>
                    <a:gd name="connsiteY4" fmla="*/ 6035 h 10972"/>
                    <a:gd name="connsiteX5" fmla="*/ 0 w 6583"/>
                    <a:gd name="connsiteY5" fmla="*/ 0 h 10972"/>
                    <a:gd name="connsiteX6" fmla="*/ 2743 w 6583"/>
                    <a:gd name="connsiteY6" fmla="*/ 0 h 10972"/>
                    <a:gd name="connsiteX7" fmla="*/ 4389 w 6583"/>
                    <a:gd name="connsiteY7" fmla="*/ 2194 h 109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583" h="10972">
                      <a:moveTo>
                        <a:pt x="4389" y="2194"/>
                      </a:moveTo>
                      <a:lnTo>
                        <a:pt x="6583" y="4938"/>
                      </a:lnTo>
                      <a:lnTo>
                        <a:pt x="6583" y="9875"/>
                      </a:lnTo>
                      <a:lnTo>
                        <a:pt x="3292" y="10973"/>
                      </a:lnTo>
                      <a:lnTo>
                        <a:pt x="549" y="6035"/>
                      </a:lnTo>
                      <a:lnTo>
                        <a:pt x="0" y="0"/>
                      </a:lnTo>
                      <a:lnTo>
                        <a:pt x="2743" y="0"/>
                      </a:lnTo>
                      <a:lnTo>
                        <a:pt x="4389" y="2194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97" name="Graphic 7">
                  <a:extLst>
                    <a:ext uri="{FF2B5EF4-FFF2-40B4-BE49-F238E27FC236}">
                      <a16:creationId xmlns:a16="http://schemas.microsoft.com/office/drawing/2014/main" id="{2C2FFA6F-B152-D1FB-F5CF-4226CF5C4080}"/>
                    </a:ext>
                  </a:extLst>
                </p:cNvPr>
                <p:cNvSpPr/>
                <p:nvPr/>
              </p:nvSpPr>
              <p:spPr>
                <a:xfrm>
                  <a:off x="9855124" y="4703254"/>
                  <a:ext cx="17145" cy="15430"/>
                </a:xfrm>
                <a:custGeom>
                  <a:avLst/>
                  <a:gdLst>
                    <a:gd name="connsiteX0" fmla="*/ 549 w 21945"/>
                    <a:gd name="connsiteY0" fmla="*/ 8230 h 19750"/>
                    <a:gd name="connsiteX1" fmla="*/ 0 w 21945"/>
                    <a:gd name="connsiteY1" fmla="*/ 6035 h 19750"/>
                    <a:gd name="connsiteX2" fmla="*/ 549 w 21945"/>
                    <a:gd name="connsiteY2" fmla="*/ 1646 h 19750"/>
                    <a:gd name="connsiteX3" fmla="*/ 4938 w 21945"/>
                    <a:gd name="connsiteY3" fmla="*/ 0 h 19750"/>
                    <a:gd name="connsiteX4" fmla="*/ 8778 w 21945"/>
                    <a:gd name="connsiteY4" fmla="*/ 0 h 19750"/>
                    <a:gd name="connsiteX5" fmla="*/ 12618 w 21945"/>
                    <a:gd name="connsiteY5" fmla="*/ 7132 h 19750"/>
                    <a:gd name="connsiteX6" fmla="*/ 19202 w 21945"/>
                    <a:gd name="connsiteY6" fmla="*/ 10424 h 19750"/>
                    <a:gd name="connsiteX7" fmla="*/ 21946 w 21945"/>
                    <a:gd name="connsiteY7" fmla="*/ 19751 h 19750"/>
                    <a:gd name="connsiteX8" fmla="*/ 17556 w 21945"/>
                    <a:gd name="connsiteY8" fmla="*/ 19751 h 19750"/>
                    <a:gd name="connsiteX9" fmla="*/ 8230 w 21945"/>
                    <a:gd name="connsiteY9" fmla="*/ 9875 h 19750"/>
                    <a:gd name="connsiteX10" fmla="*/ 3292 w 21945"/>
                    <a:gd name="connsiteY10" fmla="*/ 10424 h 19750"/>
                    <a:gd name="connsiteX11" fmla="*/ 549 w 21945"/>
                    <a:gd name="connsiteY11" fmla="*/ 8230 h 197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21945" h="19750">
                      <a:moveTo>
                        <a:pt x="549" y="8230"/>
                      </a:moveTo>
                      <a:lnTo>
                        <a:pt x="0" y="6035"/>
                      </a:lnTo>
                      <a:lnTo>
                        <a:pt x="549" y="1646"/>
                      </a:lnTo>
                      <a:lnTo>
                        <a:pt x="4938" y="0"/>
                      </a:lnTo>
                      <a:lnTo>
                        <a:pt x="8778" y="0"/>
                      </a:lnTo>
                      <a:lnTo>
                        <a:pt x="12618" y="7132"/>
                      </a:lnTo>
                      <a:lnTo>
                        <a:pt x="19202" y="10424"/>
                      </a:lnTo>
                      <a:lnTo>
                        <a:pt x="21946" y="19751"/>
                      </a:lnTo>
                      <a:lnTo>
                        <a:pt x="17556" y="19751"/>
                      </a:lnTo>
                      <a:lnTo>
                        <a:pt x="8230" y="9875"/>
                      </a:lnTo>
                      <a:lnTo>
                        <a:pt x="3292" y="10424"/>
                      </a:lnTo>
                      <a:lnTo>
                        <a:pt x="549" y="823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98" name="Graphic 7">
                  <a:extLst>
                    <a:ext uri="{FF2B5EF4-FFF2-40B4-BE49-F238E27FC236}">
                      <a16:creationId xmlns:a16="http://schemas.microsoft.com/office/drawing/2014/main" id="{1F025783-5B02-71F9-0B9C-8F687CFE82AE}"/>
                    </a:ext>
                  </a:extLst>
                </p:cNvPr>
                <p:cNvSpPr/>
                <p:nvPr/>
              </p:nvSpPr>
              <p:spPr>
                <a:xfrm>
                  <a:off x="9854696" y="4716970"/>
                  <a:ext cx="3857" cy="5143"/>
                </a:xfrm>
                <a:custGeom>
                  <a:avLst/>
                  <a:gdLst>
                    <a:gd name="connsiteX0" fmla="*/ 1097 w 4937"/>
                    <a:gd name="connsiteY0" fmla="*/ 4938 h 6583"/>
                    <a:gd name="connsiteX1" fmla="*/ 0 w 4937"/>
                    <a:gd name="connsiteY1" fmla="*/ 1646 h 6583"/>
                    <a:gd name="connsiteX2" fmla="*/ 1097 w 4937"/>
                    <a:gd name="connsiteY2" fmla="*/ 549 h 6583"/>
                    <a:gd name="connsiteX3" fmla="*/ 3840 w 4937"/>
                    <a:gd name="connsiteY3" fmla="*/ 0 h 6583"/>
                    <a:gd name="connsiteX4" fmla="*/ 4937 w 4937"/>
                    <a:gd name="connsiteY4" fmla="*/ 4938 h 6583"/>
                    <a:gd name="connsiteX5" fmla="*/ 4389 w 4937"/>
                    <a:gd name="connsiteY5" fmla="*/ 6584 h 6583"/>
                    <a:gd name="connsiteX6" fmla="*/ 1097 w 4937"/>
                    <a:gd name="connsiteY6" fmla="*/ 4938 h 65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937" h="6583">
                      <a:moveTo>
                        <a:pt x="1097" y="4938"/>
                      </a:moveTo>
                      <a:lnTo>
                        <a:pt x="0" y="1646"/>
                      </a:lnTo>
                      <a:lnTo>
                        <a:pt x="1097" y="549"/>
                      </a:lnTo>
                      <a:lnTo>
                        <a:pt x="3840" y="0"/>
                      </a:lnTo>
                      <a:lnTo>
                        <a:pt x="4937" y="4938"/>
                      </a:lnTo>
                      <a:lnTo>
                        <a:pt x="4389" y="6584"/>
                      </a:lnTo>
                      <a:lnTo>
                        <a:pt x="1097" y="4938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99" name="Graphic 7">
                  <a:extLst>
                    <a:ext uri="{FF2B5EF4-FFF2-40B4-BE49-F238E27FC236}">
                      <a16:creationId xmlns:a16="http://schemas.microsoft.com/office/drawing/2014/main" id="{629DFCCD-A447-7757-4F19-FB27D65010EC}"/>
                    </a:ext>
                  </a:extLst>
                </p:cNvPr>
                <p:cNvSpPr/>
                <p:nvPr/>
              </p:nvSpPr>
              <p:spPr>
                <a:xfrm>
                  <a:off x="9873984" y="4719542"/>
                  <a:ext cx="5571" cy="4714"/>
                </a:xfrm>
                <a:custGeom>
                  <a:avLst/>
                  <a:gdLst>
                    <a:gd name="connsiteX0" fmla="*/ 1646 w 7131"/>
                    <a:gd name="connsiteY0" fmla="*/ 3292 h 6034"/>
                    <a:gd name="connsiteX1" fmla="*/ 0 w 7131"/>
                    <a:gd name="connsiteY1" fmla="*/ 2743 h 6034"/>
                    <a:gd name="connsiteX2" fmla="*/ 1097 w 7131"/>
                    <a:gd name="connsiteY2" fmla="*/ 549 h 6034"/>
                    <a:gd name="connsiteX3" fmla="*/ 3292 w 7131"/>
                    <a:gd name="connsiteY3" fmla="*/ 0 h 6034"/>
                    <a:gd name="connsiteX4" fmla="*/ 5486 w 7131"/>
                    <a:gd name="connsiteY4" fmla="*/ 0 h 6034"/>
                    <a:gd name="connsiteX5" fmla="*/ 7132 w 7131"/>
                    <a:gd name="connsiteY5" fmla="*/ 2194 h 6034"/>
                    <a:gd name="connsiteX6" fmla="*/ 6583 w 7131"/>
                    <a:gd name="connsiteY6" fmla="*/ 4938 h 6034"/>
                    <a:gd name="connsiteX7" fmla="*/ 3840 w 7131"/>
                    <a:gd name="connsiteY7" fmla="*/ 6035 h 6034"/>
                    <a:gd name="connsiteX8" fmla="*/ 1646 w 7131"/>
                    <a:gd name="connsiteY8" fmla="*/ 3292 h 60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7131" h="6034">
                      <a:moveTo>
                        <a:pt x="1646" y="3292"/>
                      </a:moveTo>
                      <a:lnTo>
                        <a:pt x="0" y="2743"/>
                      </a:lnTo>
                      <a:lnTo>
                        <a:pt x="1097" y="549"/>
                      </a:lnTo>
                      <a:lnTo>
                        <a:pt x="3292" y="0"/>
                      </a:lnTo>
                      <a:lnTo>
                        <a:pt x="5486" y="0"/>
                      </a:lnTo>
                      <a:lnTo>
                        <a:pt x="7132" y="2194"/>
                      </a:lnTo>
                      <a:lnTo>
                        <a:pt x="6583" y="4938"/>
                      </a:lnTo>
                      <a:lnTo>
                        <a:pt x="3840" y="6035"/>
                      </a:lnTo>
                      <a:lnTo>
                        <a:pt x="1646" y="3292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00" name="Graphic 7">
                  <a:extLst>
                    <a:ext uri="{FF2B5EF4-FFF2-40B4-BE49-F238E27FC236}">
                      <a16:creationId xmlns:a16="http://schemas.microsoft.com/office/drawing/2014/main" id="{5BBDAC4D-DCC7-4621-8302-88D3EE0CC5D7}"/>
                    </a:ext>
                  </a:extLst>
                </p:cNvPr>
                <p:cNvSpPr/>
                <p:nvPr/>
              </p:nvSpPr>
              <p:spPr>
                <a:xfrm>
                  <a:off x="9823405" y="2739644"/>
                  <a:ext cx="7715" cy="10716"/>
                </a:xfrm>
                <a:custGeom>
                  <a:avLst/>
                  <a:gdLst>
                    <a:gd name="connsiteX0" fmla="*/ 9876 w 9875"/>
                    <a:gd name="connsiteY0" fmla="*/ 2743 h 13716"/>
                    <a:gd name="connsiteX1" fmla="*/ 9876 w 9875"/>
                    <a:gd name="connsiteY1" fmla="*/ 0 h 13716"/>
                    <a:gd name="connsiteX2" fmla="*/ 0 w 9875"/>
                    <a:gd name="connsiteY2" fmla="*/ 10973 h 13716"/>
                    <a:gd name="connsiteX3" fmla="*/ 549 w 9875"/>
                    <a:gd name="connsiteY3" fmla="*/ 13716 h 13716"/>
                    <a:gd name="connsiteX4" fmla="*/ 5486 w 9875"/>
                    <a:gd name="connsiteY4" fmla="*/ 13167 h 13716"/>
                    <a:gd name="connsiteX5" fmla="*/ 9876 w 9875"/>
                    <a:gd name="connsiteY5" fmla="*/ 2743 h 137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9875" h="13716">
                      <a:moveTo>
                        <a:pt x="9876" y="2743"/>
                      </a:moveTo>
                      <a:lnTo>
                        <a:pt x="9876" y="0"/>
                      </a:lnTo>
                      <a:lnTo>
                        <a:pt x="0" y="10973"/>
                      </a:lnTo>
                      <a:lnTo>
                        <a:pt x="549" y="13716"/>
                      </a:lnTo>
                      <a:lnTo>
                        <a:pt x="5486" y="13167"/>
                      </a:lnTo>
                      <a:lnTo>
                        <a:pt x="9876" y="2743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01" name="Graphic 7">
                  <a:extLst>
                    <a:ext uri="{FF2B5EF4-FFF2-40B4-BE49-F238E27FC236}">
                      <a16:creationId xmlns:a16="http://schemas.microsoft.com/office/drawing/2014/main" id="{753379E6-337B-7F0F-75D1-493C13C27866}"/>
                    </a:ext>
                  </a:extLst>
                </p:cNvPr>
                <p:cNvSpPr/>
                <p:nvPr/>
              </p:nvSpPr>
              <p:spPr>
                <a:xfrm>
                  <a:off x="9794686" y="2747360"/>
                  <a:ext cx="26575" cy="31719"/>
                </a:xfrm>
                <a:custGeom>
                  <a:avLst/>
                  <a:gdLst>
                    <a:gd name="connsiteX0" fmla="*/ 29626 w 34015"/>
                    <a:gd name="connsiteY0" fmla="*/ 0 h 40599"/>
                    <a:gd name="connsiteX1" fmla="*/ 14265 w 34015"/>
                    <a:gd name="connsiteY1" fmla="*/ 20848 h 40599"/>
                    <a:gd name="connsiteX2" fmla="*/ 9327 w 34015"/>
                    <a:gd name="connsiteY2" fmla="*/ 21946 h 40599"/>
                    <a:gd name="connsiteX3" fmla="*/ 5486 w 34015"/>
                    <a:gd name="connsiteY3" fmla="*/ 25786 h 40599"/>
                    <a:gd name="connsiteX4" fmla="*/ 2194 w 34015"/>
                    <a:gd name="connsiteY4" fmla="*/ 25786 h 40599"/>
                    <a:gd name="connsiteX5" fmla="*/ 0 w 34015"/>
                    <a:gd name="connsiteY5" fmla="*/ 29078 h 40599"/>
                    <a:gd name="connsiteX6" fmla="*/ 0 w 34015"/>
                    <a:gd name="connsiteY6" fmla="*/ 38953 h 40599"/>
                    <a:gd name="connsiteX7" fmla="*/ 2743 w 34015"/>
                    <a:gd name="connsiteY7" fmla="*/ 40599 h 40599"/>
                    <a:gd name="connsiteX8" fmla="*/ 14265 w 34015"/>
                    <a:gd name="connsiteY8" fmla="*/ 31821 h 40599"/>
                    <a:gd name="connsiteX9" fmla="*/ 21946 w 34015"/>
                    <a:gd name="connsiteY9" fmla="*/ 29627 h 40599"/>
                    <a:gd name="connsiteX10" fmla="*/ 34015 w 34015"/>
                    <a:gd name="connsiteY10" fmla="*/ 11521 h 40599"/>
                    <a:gd name="connsiteX11" fmla="*/ 34015 w 34015"/>
                    <a:gd name="connsiteY11" fmla="*/ 5486 h 40599"/>
                    <a:gd name="connsiteX12" fmla="*/ 32369 w 34015"/>
                    <a:gd name="connsiteY12" fmla="*/ 0 h 40599"/>
                    <a:gd name="connsiteX13" fmla="*/ 29626 w 34015"/>
                    <a:gd name="connsiteY13" fmla="*/ 0 h 405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34015" h="40599">
                      <a:moveTo>
                        <a:pt x="29626" y="0"/>
                      </a:moveTo>
                      <a:lnTo>
                        <a:pt x="14265" y="20848"/>
                      </a:lnTo>
                      <a:lnTo>
                        <a:pt x="9327" y="21946"/>
                      </a:lnTo>
                      <a:lnTo>
                        <a:pt x="5486" y="25786"/>
                      </a:lnTo>
                      <a:lnTo>
                        <a:pt x="2194" y="25786"/>
                      </a:lnTo>
                      <a:lnTo>
                        <a:pt x="0" y="29078"/>
                      </a:lnTo>
                      <a:lnTo>
                        <a:pt x="0" y="38953"/>
                      </a:lnTo>
                      <a:lnTo>
                        <a:pt x="2743" y="40599"/>
                      </a:lnTo>
                      <a:lnTo>
                        <a:pt x="14265" y="31821"/>
                      </a:lnTo>
                      <a:lnTo>
                        <a:pt x="21946" y="29627"/>
                      </a:lnTo>
                      <a:lnTo>
                        <a:pt x="34015" y="11521"/>
                      </a:lnTo>
                      <a:lnTo>
                        <a:pt x="34015" y="5486"/>
                      </a:lnTo>
                      <a:lnTo>
                        <a:pt x="32369" y="0"/>
                      </a:lnTo>
                      <a:lnTo>
                        <a:pt x="29626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02" name="Graphic 7">
                  <a:extLst>
                    <a:ext uri="{FF2B5EF4-FFF2-40B4-BE49-F238E27FC236}">
                      <a16:creationId xmlns:a16="http://schemas.microsoft.com/office/drawing/2014/main" id="{83595391-9691-F1E1-B11B-A739002A48E7}"/>
                    </a:ext>
                  </a:extLst>
                </p:cNvPr>
                <p:cNvSpPr/>
                <p:nvPr/>
              </p:nvSpPr>
              <p:spPr>
                <a:xfrm>
                  <a:off x="9774540" y="2796225"/>
                  <a:ext cx="6429" cy="15002"/>
                </a:xfrm>
                <a:custGeom>
                  <a:avLst/>
                  <a:gdLst>
                    <a:gd name="connsiteX0" fmla="*/ 8230 w 8229"/>
                    <a:gd name="connsiteY0" fmla="*/ 0 h 19202"/>
                    <a:gd name="connsiteX1" fmla="*/ 0 w 8229"/>
                    <a:gd name="connsiteY1" fmla="*/ 19202 h 19202"/>
                    <a:gd name="connsiteX2" fmla="*/ 4938 w 8229"/>
                    <a:gd name="connsiteY2" fmla="*/ 16459 h 19202"/>
                    <a:gd name="connsiteX3" fmla="*/ 8230 w 8229"/>
                    <a:gd name="connsiteY3" fmla="*/ 0 h 192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229" h="19202">
                      <a:moveTo>
                        <a:pt x="8230" y="0"/>
                      </a:moveTo>
                      <a:lnTo>
                        <a:pt x="0" y="19202"/>
                      </a:lnTo>
                      <a:lnTo>
                        <a:pt x="4938" y="16459"/>
                      </a:lnTo>
                      <a:lnTo>
                        <a:pt x="8230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03" name="Graphic 7">
                  <a:extLst>
                    <a:ext uri="{FF2B5EF4-FFF2-40B4-BE49-F238E27FC236}">
                      <a16:creationId xmlns:a16="http://schemas.microsoft.com/office/drawing/2014/main" id="{7FF08BE7-D670-3BAB-1DC8-C576AB8CBAC5}"/>
                    </a:ext>
                  </a:extLst>
                </p:cNvPr>
                <p:cNvSpPr/>
                <p:nvPr/>
              </p:nvSpPr>
              <p:spPr>
                <a:xfrm>
                  <a:off x="9760394" y="2829659"/>
                  <a:ext cx="4286" cy="6858"/>
                </a:xfrm>
                <a:custGeom>
                  <a:avLst/>
                  <a:gdLst>
                    <a:gd name="connsiteX0" fmla="*/ 3292 w 5486"/>
                    <a:gd name="connsiteY0" fmla="*/ 0 h 8778"/>
                    <a:gd name="connsiteX1" fmla="*/ 0 w 5486"/>
                    <a:gd name="connsiteY1" fmla="*/ 8778 h 8778"/>
                    <a:gd name="connsiteX2" fmla="*/ 4389 w 5486"/>
                    <a:gd name="connsiteY2" fmla="*/ 5486 h 8778"/>
                    <a:gd name="connsiteX3" fmla="*/ 5486 w 5486"/>
                    <a:gd name="connsiteY3" fmla="*/ 1646 h 8778"/>
                    <a:gd name="connsiteX4" fmla="*/ 3292 w 5486"/>
                    <a:gd name="connsiteY4" fmla="*/ 0 h 87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486" h="8778">
                      <a:moveTo>
                        <a:pt x="3292" y="0"/>
                      </a:moveTo>
                      <a:lnTo>
                        <a:pt x="0" y="8778"/>
                      </a:lnTo>
                      <a:lnTo>
                        <a:pt x="4389" y="5486"/>
                      </a:lnTo>
                      <a:lnTo>
                        <a:pt x="5486" y="1646"/>
                      </a:lnTo>
                      <a:lnTo>
                        <a:pt x="3292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04" name="Graphic 7">
                  <a:extLst>
                    <a:ext uri="{FF2B5EF4-FFF2-40B4-BE49-F238E27FC236}">
                      <a16:creationId xmlns:a16="http://schemas.microsoft.com/office/drawing/2014/main" id="{0D18BC09-7A30-26A8-1005-519426F21102}"/>
                    </a:ext>
                  </a:extLst>
                </p:cNvPr>
                <p:cNvSpPr/>
                <p:nvPr/>
              </p:nvSpPr>
              <p:spPr>
                <a:xfrm>
                  <a:off x="9692668" y="2906385"/>
                  <a:ext cx="13716" cy="15002"/>
                </a:xfrm>
                <a:custGeom>
                  <a:avLst/>
                  <a:gdLst>
                    <a:gd name="connsiteX0" fmla="*/ 17556 w 17556"/>
                    <a:gd name="connsiteY0" fmla="*/ 0 h 19202"/>
                    <a:gd name="connsiteX1" fmla="*/ 17556 w 17556"/>
                    <a:gd name="connsiteY1" fmla="*/ 5486 h 19202"/>
                    <a:gd name="connsiteX2" fmla="*/ 3840 w 17556"/>
                    <a:gd name="connsiteY2" fmla="*/ 19202 h 19202"/>
                    <a:gd name="connsiteX3" fmla="*/ 0 w 17556"/>
                    <a:gd name="connsiteY3" fmla="*/ 18105 h 19202"/>
                    <a:gd name="connsiteX4" fmla="*/ 4389 w 17556"/>
                    <a:gd name="connsiteY4" fmla="*/ 11521 h 19202"/>
                    <a:gd name="connsiteX5" fmla="*/ 10424 w 17556"/>
                    <a:gd name="connsiteY5" fmla="*/ 7681 h 19202"/>
                    <a:gd name="connsiteX6" fmla="*/ 14265 w 17556"/>
                    <a:gd name="connsiteY6" fmla="*/ 0 h 19202"/>
                    <a:gd name="connsiteX7" fmla="*/ 17556 w 17556"/>
                    <a:gd name="connsiteY7" fmla="*/ 0 h 192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7556" h="19202">
                      <a:moveTo>
                        <a:pt x="17556" y="0"/>
                      </a:moveTo>
                      <a:lnTo>
                        <a:pt x="17556" y="5486"/>
                      </a:lnTo>
                      <a:lnTo>
                        <a:pt x="3840" y="19202"/>
                      </a:lnTo>
                      <a:lnTo>
                        <a:pt x="0" y="18105"/>
                      </a:lnTo>
                      <a:lnTo>
                        <a:pt x="4389" y="11521"/>
                      </a:lnTo>
                      <a:lnTo>
                        <a:pt x="10424" y="7681"/>
                      </a:lnTo>
                      <a:lnTo>
                        <a:pt x="14265" y="0"/>
                      </a:lnTo>
                      <a:lnTo>
                        <a:pt x="17556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05" name="Graphic 7">
                  <a:extLst>
                    <a:ext uri="{FF2B5EF4-FFF2-40B4-BE49-F238E27FC236}">
                      <a16:creationId xmlns:a16="http://schemas.microsoft.com/office/drawing/2014/main" id="{0204DB1F-73F4-00FA-2DE4-9ED09FB64B02}"/>
                    </a:ext>
                  </a:extLst>
                </p:cNvPr>
                <p:cNvSpPr/>
                <p:nvPr/>
              </p:nvSpPr>
              <p:spPr>
                <a:xfrm>
                  <a:off x="9628801" y="2944964"/>
                  <a:ext cx="27004" cy="27432"/>
                </a:xfrm>
                <a:custGeom>
                  <a:avLst/>
                  <a:gdLst>
                    <a:gd name="connsiteX0" fmla="*/ 34565 w 34564"/>
                    <a:gd name="connsiteY0" fmla="*/ 3841 h 35112"/>
                    <a:gd name="connsiteX1" fmla="*/ 33467 w 34564"/>
                    <a:gd name="connsiteY1" fmla="*/ 7132 h 35112"/>
                    <a:gd name="connsiteX2" fmla="*/ 5486 w 34564"/>
                    <a:gd name="connsiteY2" fmla="*/ 33467 h 35112"/>
                    <a:gd name="connsiteX3" fmla="*/ 0 w 34564"/>
                    <a:gd name="connsiteY3" fmla="*/ 35113 h 35112"/>
                    <a:gd name="connsiteX4" fmla="*/ 1646 w 34564"/>
                    <a:gd name="connsiteY4" fmla="*/ 26883 h 35112"/>
                    <a:gd name="connsiteX5" fmla="*/ 30724 w 34564"/>
                    <a:gd name="connsiteY5" fmla="*/ 549 h 35112"/>
                    <a:gd name="connsiteX6" fmla="*/ 34016 w 34564"/>
                    <a:gd name="connsiteY6" fmla="*/ 0 h 35112"/>
                    <a:gd name="connsiteX7" fmla="*/ 34565 w 34564"/>
                    <a:gd name="connsiteY7" fmla="*/ 3841 h 351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4564" h="35112">
                      <a:moveTo>
                        <a:pt x="34565" y="3841"/>
                      </a:moveTo>
                      <a:lnTo>
                        <a:pt x="33467" y="7132"/>
                      </a:lnTo>
                      <a:lnTo>
                        <a:pt x="5486" y="33467"/>
                      </a:lnTo>
                      <a:lnTo>
                        <a:pt x="0" y="35113"/>
                      </a:lnTo>
                      <a:lnTo>
                        <a:pt x="1646" y="26883"/>
                      </a:lnTo>
                      <a:lnTo>
                        <a:pt x="30724" y="549"/>
                      </a:lnTo>
                      <a:lnTo>
                        <a:pt x="34016" y="0"/>
                      </a:lnTo>
                      <a:lnTo>
                        <a:pt x="34565" y="3841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06" name="Graphic 7">
                  <a:extLst>
                    <a:ext uri="{FF2B5EF4-FFF2-40B4-BE49-F238E27FC236}">
                      <a16:creationId xmlns:a16="http://schemas.microsoft.com/office/drawing/2014/main" id="{ADFAF1DB-E6C2-176F-29D9-F94CD79737A5}"/>
                    </a:ext>
                  </a:extLst>
                </p:cNvPr>
                <p:cNvSpPr/>
                <p:nvPr/>
              </p:nvSpPr>
              <p:spPr>
                <a:xfrm>
                  <a:off x="9553360" y="2975397"/>
                  <a:ext cx="55723" cy="44149"/>
                </a:xfrm>
                <a:custGeom>
                  <a:avLst/>
                  <a:gdLst>
                    <a:gd name="connsiteX0" fmla="*/ 70775 w 71323"/>
                    <a:gd name="connsiteY0" fmla="*/ 6584 h 56509"/>
                    <a:gd name="connsiteX1" fmla="*/ 71323 w 71323"/>
                    <a:gd name="connsiteY1" fmla="*/ 3841 h 56509"/>
                    <a:gd name="connsiteX2" fmla="*/ 70775 w 71323"/>
                    <a:gd name="connsiteY2" fmla="*/ 7681 h 56509"/>
                    <a:gd name="connsiteX3" fmla="*/ 36210 w 71323"/>
                    <a:gd name="connsiteY3" fmla="*/ 30175 h 56509"/>
                    <a:gd name="connsiteX4" fmla="*/ 31272 w 71323"/>
                    <a:gd name="connsiteY4" fmla="*/ 30175 h 56509"/>
                    <a:gd name="connsiteX5" fmla="*/ 26883 w 71323"/>
                    <a:gd name="connsiteY5" fmla="*/ 33467 h 56509"/>
                    <a:gd name="connsiteX6" fmla="*/ 22494 w 71323"/>
                    <a:gd name="connsiteY6" fmla="*/ 40599 h 56509"/>
                    <a:gd name="connsiteX7" fmla="*/ 5486 w 71323"/>
                    <a:gd name="connsiteY7" fmla="*/ 56510 h 56509"/>
                    <a:gd name="connsiteX8" fmla="*/ 0 w 71323"/>
                    <a:gd name="connsiteY8" fmla="*/ 56510 h 56509"/>
                    <a:gd name="connsiteX9" fmla="*/ 7681 w 71323"/>
                    <a:gd name="connsiteY9" fmla="*/ 39502 h 56509"/>
                    <a:gd name="connsiteX10" fmla="*/ 11521 w 71323"/>
                    <a:gd name="connsiteY10" fmla="*/ 38405 h 56509"/>
                    <a:gd name="connsiteX11" fmla="*/ 24689 w 71323"/>
                    <a:gd name="connsiteY11" fmla="*/ 21397 h 56509"/>
                    <a:gd name="connsiteX12" fmla="*/ 29627 w 71323"/>
                    <a:gd name="connsiteY12" fmla="*/ 19202 h 56509"/>
                    <a:gd name="connsiteX13" fmla="*/ 32918 w 71323"/>
                    <a:gd name="connsiteY13" fmla="*/ 12070 h 56509"/>
                    <a:gd name="connsiteX14" fmla="*/ 38405 w 71323"/>
                    <a:gd name="connsiteY14" fmla="*/ 9327 h 56509"/>
                    <a:gd name="connsiteX15" fmla="*/ 40599 w 71323"/>
                    <a:gd name="connsiteY15" fmla="*/ 11522 h 56509"/>
                    <a:gd name="connsiteX16" fmla="*/ 42245 w 71323"/>
                    <a:gd name="connsiteY16" fmla="*/ 15362 h 56509"/>
                    <a:gd name="connsiteX17" fmla="*/ 47183 w 71323"/>
                    <a:gd name="connsiteY17" fmla="*/ 13716 h 56509"/>
                    <a:gd name="connsiteX18" fmla="*/ 60899 w 71323"/>
                    <a:gd name="connsiteY18" fmla="*/ 549 h 56509"/>
                    <a:gd name="connsiteX19" fmla="*/ 66934 w 71323"/>
                    <a:gd name="connsiteY19" fmla="*/ 0 h 56509"/>
                    <a:gd name="connsiteX20" fmla="*/ 70226 w 71323"/>
                    <a:gd name="connsiteY20" fmla="*/ 1646 h 56509"/>
                    <a:gd name="connsiteX21" fmla="*/ 70775 w 71323"/>
                    <a:gd name="connsiteY21" fmla="*/ 6584 h 565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71323" h="56509">
                      <a:moveTo>
                        <a:pt x="70775" y="6584"/>
                      </a:moveTo>
                      <a:lnTo>
                        <a:pt x="71323" y="3841"/>
                      </a:lnTo>
                      <a:lnTo>
                        <a:pt x="70775" y="7681"/>
                      </a:lnTo>
                      <a:lnTo>
                        <a:pt x="36210" y="30175"/>
                      </a:lnTo>
                      <a:lnTo>
                        <a:pt x="31272" y="30175"/>
                      </a:lnTo>
                      <a:lnTo>
                        <a:pt x="26883" y="33467"/>
                      </a:lnTo>
                      <a:lnTo>
                        <a:pt x="22494" y="40599"/>
                      </a:lnTo>
                      <a:lnTo>
                        <a:pt x="5486" y="56510"/>
                      </a:lnTo>
                      <a:lnTo>
                        <a:pt x="0" y="56510"/>
                      </a:lnTo>
                      <a:lnTo>
                        <a:pt x="7681" y="39502"/>
                      </a:lnTo>
                      <a:lnTo>
                        <a:pt x="11521" y="38405"/>
                      </a:lnTo>
                      <a:lnTo>
                        <a:pt x="24689" y="21397"/>
                      </a:lnTo>
                      <a:lnTo>
                        <a:pt x="29627" y="19202"/>
                      </a:lnTo>
                      <a:lnTo>
                        <a:pt x="32918" y="12070"/>
                      </a:lnTo>
                      <a:lnTo>
                        <a:pt x="38405" y="9327"/>
                      </a:lnTo>
                      <a:lnTo>
                        <a:pt x="40599" y="11522"/>
                      </a:lnTo>
                      <a:lnTo>
                        <a:pt x="42245" y="15362"/>
                      </a:lnTo>
                      <a:lnTo>
                        <a:pt x="47183" y="13716"/>
                      </a:lnTo>
                      <a:lnTo>
                        <a:pt x="60899" y="549"/>
                      </a:lnTo>
                      <a:lnTo>
                        <a:pt x="66934" y="0"/>
                      </a:lnTo>
                      <a:lnTo>
                        <a:pt x="70226" y="1646"/>
                      </a:lnTo>
                      <a:lnTo>
                        <a:pt x="70775" y="6584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07" name="Graphic 7">
                  <a:extLst>
                    <a:ext uri="{FF2B5EF4-FFF2-40B4-BE49-F238E27FC236}">
                      <a16:creationId xmlns:a16="http://schemas.microsoft.com/office/drawing/2014/main" id="{E693E8FC-E5AD-3F90-4630-B18953F208F9}"/>
                    </a:ext>
                  </a:extLst>
                </p:cNvPr>
                <p:cNvSpPr/>
                <p:nvPr/>
              </p:nvSpPr>
              <p:spPr>
                <a:xfrm>
                  <a:off x="9541358" y="3043980"/>
                  <a:ext cx="10287" cy="6429"/>
                </a:xfrm>
                <a:custGeom>
                  <a:avLst/>
                  <a:gdLst>
                    <a:gd name="connsiteX0" fmla="*/ 10424 w 13167"/>
                    <a:gd name="connsiteY0" fmla="*/ 0 h 8229"/>
                    <a:gd name="connsiteX1" fmla="*/ 13167 w 13167"/>
                    <a:gd name="connsiteY1" fmla="*/ 1646 h 8229"/>
                    <a:gd name="connsiteX2" fmla="*/ 9876 w 13167"/>
                    <a:gd name="connsiteY2" fmla="*/ 4938 h 8229"/>
                    <a:gd name="connsiteX3" fmla="*/ 3841 w 13167"/>
                    <a:gd name="connsiteY3" fmla="*/ 8230 h 8229"/>
                    <a:gd name="connsiteX4" fmla="*/ 0 w 13167"/>
                    <a:gd name="connsiteY4" fmla="*/ 6035 h 8229"/>
                    <a:gd name="connsiteX5" fmla="*/ 3841 w 13167"/>
                    <a:gd name="connsiteY5" fmla="*/ 2743 h 8229"/>
                    <a:gd name="connsiteX6" fmla="*/ 10424 w 13167"/>
                    <a:gd name="connsiteY6" fmla="*/ 0 h 82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3167" h="8229">
                      <a:moveTo>
                        <a:pt x="10424" y="0"/>
                      </a:moveTo>
                      <a:lnTo>
                        <a:pt x="13167" y="1646"/>
                      </a:lnTo>
                      <a:lnTo>
                        <a:pt x="9876" y="4938"/>
                      </a:lnTo>
                      <a:lnTo>
                        <a:pt x="3841" y="8230"/>
                      </a:lnTo>
                      <a:lnTo>
                        <a:pt x="0" y="6035"/>
                      </a:lnTo>
                      <a:lnTo>
                        <a:pt x="3841" y="2743"/>
                      </a:lnTo>
                      <a:lnTo>
                        <a:pt x="10424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08" name="Graphic 7">
                  <a:extLst>
                    <a:ext uri="{FF2B5EF4-FFF2-40B4-BE49-F238E27FC236}">
                      <a16:creationId xmlns:a16="http://schemas.microsoft.com/office/drawing/2014/main" id="{05A7B13A-7A57-C6F7-5DA6-AA3A461985A1}"/>
                    </a:ext>
                  </a:extLst>
                </p:cNvPr>
                <p:cNvSpPr/>
                <p:nvPr/>
              </p:nvSpPr>
              <p:spPr>
                <a:xfrm>
                  <a:off x="9508352" y="3017833"/>
                  <a:ext cx="25718" cy="33433"/>
                </a:xfrm>
                <a:custGeom>
                  <a:avLst/>
                  <a:gdLst>
                    <a:gd name="connsiteX0" fmla="*/ 25237 w 32918"/>
                    <a:gd name="connsiteY0" fmla="*/ 2194 h 42793"/>
                    <a:gd name="connsiteX1" fmla="*/ 25786 w 32918"/>
                    <a:gd name="connsiteY1" fmla="*/ 0 h 42793"/>
                    <a:gd name="connsiteX2" fmla="*/ 31272 w 32918"/>
                    <a:gd name="connsiteY2" fmla="*/ 4938 h 42793"/>
                    <a:gd name="connsiteX3" fmla="*/ 32918 w 32918"/>
                    <a:gd name="connsiteY3" fmla="*/ 9875 h 42793"/>
                    <a:gd name="connsiteX4" fmla="*/ 2743 w 32918"/>
                    <a:gd name="connsiteY4" fmla="*/ 42794 h 42793"/>
                    <a:gd name="connsiteX5" fmla="*/ 0 w 32918"/>
                    <a:gd name="connsiteY5" fmla="*/ 36210 h 42793"/>
                    <a:gd name="connsiteX6" fmla="*/ 19751 w 32918"/>
                    <a:gd name="connsiteY6" fmla="*/ 10973 h 42793"/>
                    <a:gd name="connsiteX7" fmla="*/ 22494 w 32918"/>
                    <a:gd name="connsiteY7" fmla="*/ 2743 h 42793"/>
                    <a:gd name="connsiteX8" fmla="*/ 25237 w 32918"/>
                    <a:gd name="connsiteY8" fmla="*/ 2194 h 427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2918" h="42793">
                      <a:moveTo>
                        <a:pt x="25237" y="2194"/>
                      </a:moveTo>
                      <a:lnTo>
                        <a:pt x="25786" y="0"/>
                      </a:lnTo>
                      <a:lnTo>
                        <a:pt x="31272" y="4938"/>
                      </a:lnTo>
                      <a:lnTo>
                        <a:pt x="32918" y="9875"/>
                      </a:lnTo>
                      <a:lnTo>
                        <a:pt x="2743" y="42794"/>
                      </a:lnTo>
                      <a:lnTo>
                        <a:pt x="0" y="36210"/>
                      </a:lnTo>
                      <a:lnTo>
                        <a:pt x="19751" y="10973"/>
                      </a:lnTo>
                      <a:lnTo>
                        <a:pt x="22494" y="2743"/>
                      </a:lnTo>
                      <a:lnTo>
                        <a:pt x="25237" y="2194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09" name="Graphic 7">
                  <a:extLst>
                    <a:ext uri="{FF2B5EF4-FFF2-40B4-BE49-F238E27FC236}">
                      <a16:creationId xmlns:a16="http://schemas.microsoft.com/office/drawing/2014/main" id="{FAF9DA86-2A8F-12D1-CC46-62DA2507B1CD}"/>
                    </a:ext>
                  </a:extLst>
                </p:cNvPr>
                <p:cNvSpPr/>
                <p:nvPr/>
              </p:nvSpPr>
              <p:spPr>
                <a:xfrm>
                  <a:off x="7270840" y="3067555"/>
                  <a:ext cx="323196" cy="153454"/>
                </a:xfrm>
                <a:custGeom>
                  <a:avLst/>
                  <a:gdLst>
                    <a:gd name="connsiteX0" fmla="*/ 172273 w 413674"/>
                    <a:gd name="connsiteY0" fmla="*/ 182697 h 196413"/>
                    <a:gd name="connsiteX1" fmla="*/ 171176 w 413674"/>
                    <a:gd name="connsiteY1" fmla="*/ 175016 h 196413"/>
                    <a:gd name="connsiteX2" fmla="*/ 177760 w 413674"/>
                    <a:gd name="connsiteY2" fmla="*/ 161849 h 196413"/>
                    <a:gd name="connsiteX3" fmla="*/ 199156 w 413674"/>
                    <a:gd name="connsiteY3" fmla="*/ 152522 h 196413"/>
                    <a:gd name="connsiteX4" fmla="*/ 202448 w 413674"/>
                    <a:gd name="connsiteY4" fmla="*/ 148682 h 196413"/>
                    <a:gd name="connsiteX5" fmla="*/ 207386 w 413674"/>
                    <a:gd name="connsiteY5" fmla="*/ 148682 h 196413"/>
                    <a:gd name="connsiteX6" fmla="*/ 211775 w 413674"/>
                    <a:gd name="connsiteY6" fmla="*/ 138806 h 196413"/>
                    <a:gd name="connsiteX7" fmla="*/ 218908 w 413674"/>
                    <a:gd name="connsiteY7" fmla="*/ 141001 h 196413"/>
                    <a:gd name="connsiteX8" fmla="*/ 228783 w 413674"/>
                    <a:gd name="connsiteY8" fmla="*/ 137160 h 196413"/>
                    <a:gd name="connsiteX9" fmla="*/ 235915 w 413674"/>
                    <a:gd name="connsiteY9" fmla="*/ 138257 h 196413"/>
                    <a:gd name="connsiteX10" fmla="*/ 240304 w 413674"/>
                    <a:gd name="connsiteY10" fmla="*/ 146487 h 196413"/>
                    <a:gd name="connsiteX11" fmla="*/ 265542 w 413674"/>
                    <a:gd name="connsiteY11" fmla="*/ 145938 h 196413"/>
                    <a:gd name="connsiteX12" fmla="*/ 274869 w 413674"/>
                    <a:gd name="connsiteY12" fmla="*/ 139355 h 196413"/>
                    <a:gd name="connsiteX13" fmla="*/ 278709 w 413674"/>
                    <a:gd name="connsiteY13" fmla="*/ 127285 h 196413"/>
                    <a:gd name="connsiteX14" fmla="*/ 285293 w 413674"/>
                    <a:gd name="connsiteY14" fmla="*/ 119055 h 196413"/>
                    <a:gd name="connsiteX15" fmla="*/ 336316 w 413674"/>
                    <a:gd name="connsiteY15" fmla="*/ 108631 h 196413"/>
                    <a:gd name="connsiteX16" fmla="*/ 342352 w 413674"/>
                    <a:gd name="connsiteY16" fmla="*/ 99304 h 196413"/>
                    <a:gd name="connsiteX17" fmla="*/ 352227 w 413674"/>
                    <a:gd name="connsiteY17" fmla="*/ 89428 h 196413"/>
                    <a:gd name="connsiteX18" fmla="*/ 409285 w 413674"/>
                    <a:gd name="connsiteY18" fmla="*/ 63094 h 196413"/>
                    <a:gd name="connsiteX19" fmla="*/ 413675 w 413674"/>
                    <a:gd name="connsiteY19" fmla="*/ 54315 h 196413"/>
                    <a:gd name="connsiteX20" fmla="*/ 413675 w 413674"/>
                    <a:gd name="connsiteY20" fmla="*/ 46634 h 196413"/>
                    <a:gd name="connsiteX21" fmla="*/ 409285 w 413674"/>
                    <a:gd name="connsiteY21" fmla="*/ 47183 h 196413"/>
                    <a:gd name="connsiteX22" fmla="*/ 395021 w 413674"/>
                    <a:gd name="connsiteY22" fmla="*/ 37856 h 196413"/>
                    <a:gd name="connsiteX23" fmla="*/ 384048 w 413674"/>
                    <a:gd name="connsiteY23" fmla="*/ 36210 h 196413"/>
                    <a:gd name="connsiteX24" fmla="*/ 374173 w 413674"/>
                    <a:gd name="connsiteY24" fmla="*/ 23591 h 196413"/>
                    <a:gd name="connsiteX25" fmla="*/ 352227 w 413674"/>
                    <a:gd name="connsiteY25" fmla="*/ 20848 h 196413"/>
                    <a:gd name="connsiteX26" fmla="*/ 347838 w 413674"/>
                    <a:gd name="connsiteY26" fmla="*/ 18105 h 196413"/>
                    <a:gd name="connsiteX27" fmla="*/ 303947 w 413674"/>
                    <a:gd name="connsiteY27" fmla="*/ 16459 h 196413"/>
                    <a:gd name="connsiteX28" fmla="*/ 293522 w 413674"/>
                    <a:gd name="connsiteY28" fmla="*/ 11522 h 196413"/>
                    <a:gd name="connsiteX29" fmla="*/ 288036 w 413674"/>
                    <a:gd name="connsiteY29" fmla="*/ 10973 h 196413"/>
                    <a:gd name="connsiteX30" fmla="*/ 278161 w 413674"/>
                    <a:gd name="connsiteY30" fmla="*/ 15911 h 196413"/>
                    <a:gd name="connsiteX31" fmla="*/ 222748 w 413674"/>
                    <a:gd name="connsiteY31" fmla="*/ 14813 h 196413"/>
                    <a:gd name="connsiteX32" fmla="*/ 218359 w 413674"/>
                    <a:gd name="connsiteY32" fmla="*/ 11522 h 196413"/>
                    <a:gd name="connsiteX33" fmla="*/ 212872 w 413674"/>
                    <a:gd name="connsiteY33" fmla="*/ 10424 h 196413"/>
                    <a:gd name="connsiteX34" fmla="*/ 201899 w 413674"/>
                    <a:gd name="connsiteY34" fmla="*/ 11522 h 196413"/>
                    <a:gd name="connsiteX35" fmla="*/ 183246 w 413674"/>
                    <a:gd name="connsiteY35" fmla="*/ 0 h 196413"/>
                    <a:gd name="connsiteX36" fmla="*/ 178308 w 413674"/>
                    <a:gd name="connsiteY36" fmla="*/ 2743 h 196413"/>
                    <a:gd name="connsiteX37" fmla="*/ 172822 w 413674"/>
                    <a:gd name="connsiteY37" fmla="*/ 3292 h 196413"/>
                    <a:gd name="connsiteX38" fmla="*/ 167884 w 413674"/>
                    <a:gd name="connsiteY38" fmla="*/ 4938 h 196413"/>
                    <a:gd name="connsiteX39" fmla="*/ 159106 w 413674"/>
                    <a:gd name="connsiteY39" fmla="*/ 12070 h 196413"/>
                    <a:gd name="connsiteX40" fmla="*/ 158557 w 413674"/>
                    <a:gd name="connsiteY40" fmla="*/ 17557 h 196413"/>
                    <a:gd name="connsiteX41" fmla="*/ 155814 w 413674"/>
                    <a:gd name="connsiteY41" fmla="*/ 21946 h 196413"/>
                    <a:gd name="connsiteX42" fmla="*/ 153619 w 413674"/>
                    <a:gd name="connsiteY42" fmla="*/ 32918 h 196413"/>
                    <a:gd name="connsiteX43" fmla="*/ 151425 w 413674"/>
                    <a:gd name="connsiteY43" fmla="*/ 37856 h 196413"/>
                    <a:gd name="connsiteX44" fmla="*/ 93817 w 413674"/>
                    <a:gd name="connsiteY44" fmla="*/ 20848 h 196413"/>
                    <a:gd name="connsiteX45" fmla="*/ 88331 w 413674"/>
                    <a:gd name="connsiteY45" fmla="*/ 21946 h 196413"/>
                    <a:gd name="connsiteX46" fmla="*/ 82845 w 413674"/>
                    <a:gd name="connsiteY46" fmla="*/ 19751 h 196413"/>
                    <a:gd name="connsiteX47" fmla="*/ 66934 w 413674"/>
                    <a:gd name="connsiteY47" fmla="*/ 23591 h 196413"/>
                    <a:gd name="connsiteX48" fmla="*/ 65288 w 413674"/>
                    <a:gd name="connsiteY48" fmla="*/ 29078 h 196413"/>
                    <a:gd name="connsiteX49" fmla="*/ 65837 w 413674"/>
                    <a:gd name="connsiteY49" fmla="*/ 34564 h 196413"/>
                    <a:gd name="connsiteX50" fmla="*/ 60350 w 413674"/>
                    <a:gd name="connsiteY50" fmla="*/ 44440 h 196413"/>
                    <a:gd name="connsiteX51" fmla="*/ 71872 w 413674"/>
                    <a:gd name="connsiteY51" fmla="*/ 47732 h 196413"/>
                    <a:gd name="connsiteX52" fmla="*/ 73518 w 413674"/>
                    <a:gd name="connsiteY52" fmla="*/ 53218 h 196413"/>
                    <a:gd name="connsiteX53" fmla="*/ 63094 w 413674"/>
                    <a:gd name="connsiteY53" fmla="*/ 58156 h 196413"/>
                    <a:gd name="connsiteX54" fmla="*/ 37856 w 413674"/>
                    <a:gd name="connsiteY54" fmla="*/ 80650 h 196413"/>
                    <a:gd name="connsiteX55" fmla="*/ 37307 w 413674"/>
                    <a:gd name="connsiteY55" fmla="*/ 86137 h 196413"/>
                    <a:gd name="connsiteX56" fmla="*/ 42794 w 413674"/>
                    <a:gd name="connsiteY56" fmla="*/ 88331 h 196413"/>
                    <a:gd name="connsiteX57" fmla="*/ 47183 w 413674"/>
                    <a:gd name="connsiteY57" fmla="*/ 91623 h 196413"/>
                    <a:gd name="connsiteX58" fmla="*/ 52121 w 413674"/>
                    <a:gd name="connsiteY58" fmla="*/ 88880 h 196413"/>
                    <a:gd name="connsiteX59" fmla="*/ 58156 w 413674"/>
                    <a:gd name="connsiteY59" fmla="*/ 98207 h 196413"/>
                    <a:gd name="connsiteX60" fmla="*/ 73518 w 413674"/>
                    <a:gd name="connsiteY60" fmla="*/ 104790 h 196413"/>
                    <a:gd name="connsiteX61" fmla="*/ 79004 w 413674"/>
                    <a:gd name="connsiteY61" fmla="*/ 104790 h 196413"/>
                    <a:gd name="connsiteX62" fmla="*/ 80650 w 413674"/>
                    <a:gd name="connsiteY62" fmla="*/ 99853 h 196413"/>
                    <a:gd name="connsiteX63" fmla="*/ 85588 w 413674"/>
                    <a:gd name="connsiteY63" fmla="*/ 96561 h 196413"/>
                    <a:gd name="connsiteX64" fmla="*/ 88880 w 413674"/>
                    <a:gd name="connsiteY64" fmla="*/ 86137 h 196413"/>
                    <a:gd name="connsiteX65" fmla="*/ 93817 w 413674"/>
                    <a:gd name="connsiteY65" fmla="*/ 88880 h 196413"/>
                    <a:gd name="connsiteX66" fmla="*/ 97109 w 413674"/>
                    <a:gd name="connsiteY66" fmla="*/ 93269 h 196413"/>
                    <a:gd name="connsiteX67" fmla="*/ 97109 w 413674"/>
                    <a:gd name="connsiteY67" fmla="*/ 98755 h 196413"/>
                    <a:gd name="connsiteX68" fmla="*/ 110825 w 413674"/>
                    <a:gd name="connsiteY68" fmla="*/ 108631 h 196413"/>
                    <a:gd name="connsiteX69" fmla="*/ 116312 w 413674"/>
                    <a:gd name="connsiteY69" fmla="*/ 108082 h 196413"/>
                    <a:gd name="connsiteX70" fmla="*/ 124541 w 413674"/>
                    <a:gd name="connsiteY70" fmla="*/ 115763 h 196413"/>
                    <a:gd name="connsiteX71" fmla="*/ 134965 w 413674"/>
                    <a:gd name="connsiteY71" fmla="*/ 118506 h 196413"/>
                    <a:gd name="connsiteX72" fmla="*/ 140452 w 413674"/>
                    <a:gd name="connsiteY72" fmla="*/ 116860 h 196413"/>
                    <a:gd name="connsiteX73" fmla="*/ 145390 w 413674"/>
                    <a:gd name="connsiteY73" fmla="*/ 119603 h 196413"/>
                    <a:gd name="connsiteX74" fmla="*/ 142098 w 413674"/>
                    <a:gd name="connsiteY74" fmla="*/ 123993 h 196413"/>
                    <a:gd name="connsiteX75" fmla="*/ 131125 w 413674"/>
                    <a:gd name="connsiteY75" fmla="*/ 127285 h 196413"/>
                    <a:gd name="connsiteX76" fmla="*/ 128930 w 413674"/>
                    <a:gd name="connsiteY76" fmla="*/ 132222 h 196413"/>
                    <a:gd name="connsiteX77" fmla="*/ 123993 w 413674"/>
                    <a:gd name="connsiteY77" fmla="*/ 134966 h 196413"/>
                    <a:gd name="connsiteX78" fmla="*/ 118506 w 413674"/>
                    <a:gd name="connsiteY78" fmla="*/ 133319 h 196413"/>
                    <a:gd name="connsiteX79" fmla="*/ 115214 w 413674"/>
                    <a:gd name="connsiteY79" fmla="*/ 137709 h 196413"/>
                    <a:gd name="connsiteX80" fmla="*/ 109728 w 413674"/>
                    <a:gd name="connsiteY80" fmla="*/ 137709 h 196413"/>
                    <a:gd name="connsiteX81" fmla="*/ 104790 w 413674"/>
                    <a:gd name="connsiteY81" fmla="*/ 140452 h 196413"/>
                    <a:gd name="connsiteX82" fmla="*/ 102596 w 413674"/>
                    <a:gd name="connsiteY82" fmla="*/ 145390 h 196413"/>
                    <a:gd name="connsiteX83" fmla="*/ 98207 w 413674"/>
                    <a:gd name="connsiteY83" fmla="*/ 149230 h 196413"/>
                    <a:gd name="connsiteX84" fmla="*/ 87234 w 413674"/>
                    <a:gd name="connsiteY84" fmla="*/ 150876 h 196413"/>
                    <a:gd name="connsiteX85" fmla="*/ 76810 w 413674"/>
                    <a:gd name="connsiteY85" fmla="*/ 146487 h 196413"/>
                    <a:gd name="connsiteX86" fmla="*/ 63094 w 413674"/>
                    <a:gd name="connsiteY86" fmla="*/ 146487 h 196413"/>
                    <a:gd name="connsiteX87" fmla="*/ 60350 w 413674"/>
                    <a:gd name="connsiteY87" fmla="*/ 152522 h 196413"/>
                    <a:gd name="connsiteX88" fmla="*/ 54864 w 413674"/>
                    <a:gd name="connsiteY88" fmla="*/ 154717 h 196413"/>
                    <a:gd name="connsiteX89" fmla="*/ 52121 w 413674"/>
                    <a:gd name="connsiteY89" fmla="*/ 159654 h 196413"/>
                    <a:gd name="connsiteX90" fmla="*/ 46634 w 413674"/>
                    <a:gd name="connsiteY90" fmla="*/ 161300 h 196413"/>
                    <a:gd name="connsiteX91" fmla="*/ 37307 w 413674"/>
                    <a:gd name="connsiteY91" fmla="*/ 155265 h 196413"/>
                    <a:gd name="connsiteX92" fmla="*/ 15362 w 413674"/>
                    <a:gd name="connsiteY92" fmla="*/ 154717 h 196413"/>
                    <a:gd name="connsiteX93" fmla="*/ 0 w 413674"/>
                    <a:gd name="connsiteY93" fmla="*/ 161849 h 196413"/>
                    <a:gd name="connsiteX94" fmla="*/ 0 w 413674"/>
                    <a:gd name="connsiteY94" fmla="*/ 178308 h 196413"/>
                    <a:gd name="connsiteX95" fmla="*/ 3292 w 413674"/>
                    <a:gd name="connsiteY95" fmla="*/ 182697 h 196413"/>
                    <a:gd name="connsiteX96" fmla="*/ 8778 w 413674"/>
                    <a:gd name="connsiteY96" fmla="*/ 182697 h 196413"/>
                    <a:gd name="connsiteX97" fmla="*/ 14265 w 413674"/>
                    <a:gd name="connsiteY97" fmla="*/ 181051 h 196413"/>
                    <a:gd name="connsiteX98" fmla="*/ 24689 w 413674"/>
                    <a:gd name="connsiteY98" fmla="*/ 183794 h 196413"/>
                    <a:gd name="connsiteX99" fmla="*/ 46634 w 413674"/>
                    <a:gd name="connsiteY99" fmla="*/ 181051 h 196413"/>
                    <a:gd name="connsiteX100" fmla="*/ 52121 w 413674"/>
                    <a:gd name="connsiteY100" fmla="*/ 182149 h 196413"/>
                    <a:gd name="connsiteX101" fmla="*/ 55413 w 413674"/>
                    <a:gd name="connsiteY101" fmla="*/ 186538 h 196413"/>
                    <a:gd name="connsiteX102" fmla="*/ 60899 w 413674"/>
                    <a:gd name="connsiteY102" fmla="*/ 187635 h 196413"/>
                    <a:gd name="connsiteX103" fmla="*/ 82296 w 413674"/>
                    <a:gd name="connsiteY103" fmla="*/ 181051 h 196413"/>
                    <a:gd name="connsiteX104" fmla="*/ 87234 w 413674"/>
                    <a:gd name="connsiteY104" fmla="*/ 183794 h 196413"/>
                    <a:gd name="connsiteX105" fmla="*/ 92720 w 413674"/>
                    <a:gd name="connsiteY105" fmla="*/ 184892 h 196413"/>
                    <a:gd name="connsiteX106" fmla="*/ 95464 w 413674"/>
                    <a:gd name="connsiteY106" fmla="*/ 195865 h 196413"/>
                    <a:gd name="connsiteX107" fmla="*/ 106436 w 413674"/>
                    <a:gd name="connsiteY107" fmla="*/ 194767 h 196413"/>
                    <a:gd name="connsiteX108" fmla="*/ 111923 w 413674"/>
                    <a:gd name="connsiteY108" fmla="*/ 196413 h 196413"/>
                    <a:gd name="connsiteX109" fmla="*/ 121798 w 413674"/>
                    <a:gd name="connsiteY109" fmla="*/ 191476 h 196413"/>
                    <a:gd name="connsiteX110" fmla="*/ 132771 w 413674"/>
                    <a:gd name="connsiteY110" fmla="*/ 190378 h 196413"/>
                    <a:gd name="connsiteX111" fmla="*/ 143744 w 413674"/>
                    <a:gd name="connsiteY111" fmla="*/ 192024 h 196413"/>
                    <a:gd name="connsiteX112" fmla="*/ 150328 w 413674"/>
                    <a:gd name="connsiteY112" fmla="*/ 190378 h 196413"/>
                    <a:gd name="connsiteX113" fmla="*/ 156911 w 413674"/>
                    <a:gd name="connsiteY113" fmla="*/ 190927 h 196413"/>
                    <a:gd name="connsiteX114" fmla="*/ 158557 w 413674"/>
                    <a:gd name="connsiteY114" fmla="*/ 180503 h 196413"/>
                    <a:gd name="connsiteX115" fmla="*/ 172273 w 413674"/>
                    <a:gd name="connsiteY115" fmla="*/ 182697 h 1964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</a:cxnLst>
                  <a:rect l="l" t="t" r="r" b="b"/>
                  <a:pathLst>
                    <a:path w="413674" h="196413">
                      <a:moveTo>
                        <a:pt x="172273" y="182697"/>
                      </a:moveTo>
                      <a:lnTo>
                        <a:pt x="171176" y="175016"/>
                      </a:lnTo>
                      <a:lnTo>
                        <a:pt x="177760" y="161849"/>
                      </a:lnTo>
                      <a:lnTo>
                        <a:pt x="199156" y="152522"/>
                      </a:lnTo>
                      <a:lnTo>
                        <a:pt x="202448" y="148682"/>
                      </a:lnTo>
                      <a:lnTo>
                        <a:pt x="207386" y="148682"/>
                      </a:lnTo>
                      <a:lnTo>
                        <a:pt x="211775" y="138806"/>
                      </a:lnTo>
                      <a:lnTo>
                        <a:pt x="218908" y="141001"/>
                      </a:lnTo>
                      <a:lnTo>
                        <a:pt x="228783" y="137160"/>
                      </a:lnTo>
                      <a:lnTo>
                        <a:pt x="235915" y="138257"/>
                      </a:lnTo>
                      <a:lnTo>
                        <a:pt x="240304" y="146487"/>
                      </a:lnTo>
                      <a:lnTo>
                        <a:pt x="265542" y="145938"/>
                      </a:lnTo>
                      <a:lnTo>
                        <a:pt x="274869" y="139355"/>
                      </a:lnTo>
                      <a:lnTo>
                        <a:pt x="278709" y="127285"/>
                      </a:lnTo>
                      <a:lnTo>
                        <a:pt x="285293" y="119055"/>
                      </a:lnTo>
                      <a:lnTo>
                        <a:pt x="336316" y="108631"/>
                      </a:lnTo>
                      <a:lnTo>
                        <a:pt x="342352" y="99304"/>
                      </a:lnTo>
                      <a:lnTo>
                        <a:pt x="352227" y="89428"/>
                      </a:lnTo>
                      <a:lnTo>
                        <a:pt x="409285" y="63094"/>
                      </a:lnTo>
                      <a:lnTo>
                        <a:pt x="413675" y="54315"/>
                      </a:lnTo>
                      <a:lnTo>
                        <a:pt x="413675" y="46634"/>
                      </a:lnTo>
                      <a:lnTo>
                        <a:pt x="409285" y="47183"/>
                      </a:lnTo>
                      <a:lnTo>
                        <a:pt x="395021" y="37856"/>
                      </a:lnTo>
                      <a:lnTo>
                        <a:pt x="384048" y="36210"/>
                      </a:lnTo>
                      <a:lnTo>
                        <a:pt x="374173" y="23591"/>
                      </a:lnTo>
                      <a:lnTo>
                        <a:pt x="352227" y="20848"/>
                      </a:lnTo>
                      <a:lnTo>
                        <a:pt x="347838" y="18105"/>
                      </a:lnTo>
                      <a:lnTo>
                        <a:pt x="303947" y="16459"/>
                      </a:lnTo>
                      <a:lnTo>
                        <a:pt x="293522" y="11522"/>
                      </a:lnTo>
                      <a:lnTo>
                        <a:pt x="288036" y="10973"/>
                      </a:lnTo>
                      <a:lnTo>
                        <a:pt x="278161" y="15911"/>
                      </a:lnTo>
                      <a:lnTo>
                        <a:pt x="222748" y="14813"/>
                      </a:lnTo>
                      <a:lnTo>
                        <a:pt x="218359" y="11522"/>
                      </a:lnTo>
                      <a:lnTo>
                        <a:pt x="212872" y="10424"/>
                      </a:lnTo>
                      <a:lnTo>
                        <a:pt x="201899" y="11522"/>
                      </a:lnTo>
                      <a:lnTo>
                        <a:pt x="183246" y="0"/>
                      </a:lnTo>
                      <a:lnTo>
                        <a:pt x="178308" y="2743"/>
                      </a:lnTo>
                      <a:lnTo>
                        <a:pt x="172822" y="3292"/>
                      </a:lnTo>
                      <a:lnTo>
                        <a:pt x="167884" y="4938"/>
                      </a:lnTo>
                      <a:lnTo>
                        <a:pt x="159106" y="12070"/>
                      </a:lnTo>
                      <a:lnTo>
                        <a:pt x="158557" y="17557"/>
                      </a:lnTo>
                      <a:lnTo>
                        <a:pt x="155814" y="21946"/>
                      </a:lnTo>
                      <a:lnTo>
                        <a:pt x="153619" y="32918"/>
                      </a:lnTo>
                      <a:lnTo>
                        <a:pt x="151425" y="37856"/>
                      </a:lnTo>
                      <a:lnTo>
                        <a:pt x="93817" y="20848"/>
                      </a:lnTo>
                      <a:lnTo>
                        <a:pt x="88331" y="21946"/>
                      </a:lnTo>
                      <a:lnTo>
                        <a:pt x="82845" y="19751"/>
                      </a:lnTo>
                      <a:lnTo>
                        <a:pt x="66934" y="23591"/>
                      </a:lnTo>
                      <a:lnTo>
                        <a:pt x="65288" y="29078"/>
                      </a:lnTo>
                      <a:lnTo>
                        <a:pt x="65837" y="34564"/>
                      </a:lnTo>
                      <a:lnTo>
                        <a:pt x="60350" y="44440"/>
                      </a:lnTo>
                      <a:lnTo>
                        <a:pt x="71872" y="47732"/>
                      </a:lnTo>
                      <a:lnTo>
                        <a:pt x="73518" y="53218"/>
                      </a:lnTo>
                      <a:lnTo>
                        <a:pt x="63094" y="58156"/>
                      </a:lnTo>
                      <a:lnTo>
                        <a:pt x="37856" y="80650"/>
                      </a:lnTo>
                      <a:lnTo>
                        <a:pt x="37307" y="86137"/>
                      </a:lnTo>
                      <a:lnTo>
                        <a:pt x="42794" y="88331"/>
                      </a:lnTo>
                      <a:lnTo>
                        <a:pt x="47183" y="91623"/>
                      </a:lnTo>
                      <a:lnTo>
                        <a:pt x="52121" y="88880"/>
                      </a:lnTo>
                      <a:lnTo>
                        <a:pt x="58156" y="98207"/>
                      </a:lnTo>
                      <a:lnTo>
                        <a:pt x="73518" y="104790"/>
                      </a:lnTo>
                      <a:lnTo>
                        <a:pt x="79004" y="104790"/>
                      </a:lnTo>
                      <a:lnTo>
                        <a:pt x="80650" y="99853"/>
                      </a:lnTo>
                      <a:lnTo>
                        <a:pt x="85588" y="96561"/>
                      </a:lnTo>
                      <a:lnTo>
                        <a:pt x="88880" y="86137"/>
                      </a:lnTo>
                      <a:lnTo>
                        <a:pt x="93817" y="88880"/>
                      </a:lnTo>
                      <a:lnTo>
                        <a:pt x="97109" y="93269"/>
                      </a:lnTo>
                      <a:lnTo>
                        <a:pt x="97109" y="98755"/>
                      </a:lnTo>
                      <a:lnTo>
                        <a:pt x="110825" y="108631"/>
                      </a:lnTo>
                      <a:lnTo>
                        <a:pt x="116312" y="108082"/>
                      </a:lnTo>
                      <a:lnTo>
                        <a:pt x="124541" y="115763"/>
                      </a:lnTo>
                      <a:lnTo>
                        <a:pt x="134965" y="118506"/>
                      </a:lnTo>
                      <a:lnTo>
                        <a:pt x="140452" y="116860"/>
                      </a:lnTo>
                      <a:lnTo>
                        <a:pt x="145390" y="119603"/>
                      </a:lnTo>
                      <a:lnTo>
                        <a:pt x="142098" y="123993"/>
                      </a:lnTo>
                      <a:lnTo>
                        <a:pt x="131125" y="127285"/>
                      </a:lnTo>
                      <a:lnTo>
                        <a:pt x="128930" y="132222"/>
                      </a:lnTo>
                      <a:lnTo>
                        <a:pt x="123993" y="134966"/>
                      </a:lnTo>
                      <a:lnTo>
                        <a:pt x="118506" y="133319"/>
                      </a:lnTo>
                      <a:lnTo>
                        <a:pt x="115214" y="137709"/>
                      </a:lnTo>
                      <a:lnTo>
                        <a:pt x="109728" y="137709"/>
                      </a:lnTo>
                      <a:lnTo>
                        <a:pt x="104790" y="140452"/>
                      </a:lnTo>
                      <a:lnTo>
                        <a:pt x="102596" y="145390"/>
                      </a:lnTo>
                      <a:lnTo>
                        <a:pt x="98207" y="149230"/>
                      </a:lnTo>
                      <a:lnTo>
                        <a:pt x="87234" y="150876"/>
                      </a:lnTo>
                      <a:lnTo>
                        <a:pt x="76810" y="146487"/>
                      </a:lnTo>
                      <a:lnTo>
                        <a:pt x="63094" y="146487"/>
                      </a:lnTo>
                      <a:lnTo>
                        <a:pt x="60350" y="152522"/>
                      </a:lnTo>
                      <a:lnTo>
                        <a:pt x="54864" y="154717"/>
                      </a:lnTo>
                      <a:lnTo>
                        <a:pt x="52121" y="159654"/>
                      </a:lnTo>
                      <a:lnTo>
                        <a:pt x="46634" y="161300"/>
                      </a:lnTo>
                      <a:lnTo>
                        <a:pt x="37307" y="155265"/>
                      </a:lnTo>
                      <a:lnTo>
                        <a:pt x="15362" y="154717"/>
                      </a:lnTo>
                      <a:lnTo>
                        <a:pt x="0" y="161849"/>
                      </a:lnTo>
                      <a:lnTo>
                        <a:pt x="0" y="178308"/>
                      </a:lnTo>
                      <a:lnTo>
                        <a:pt x="3292" y="182697"/>
                      </a:lnTo>
                      <a:lnTo>
                        <a:pt x="8778" y="182697"/>
                      </a:lnTo>
                      <a:lnTo>
                        <a:pt x="14265" y="181051"/>
                      </a:lnTo>
                      <a:lnTo>
                        <a:pt x="24689" y="183794"/>
                      </a:lnTo>
                      <a:lnTo>
                        <a:pt x="46634" y="181051"/>
                      </a:lnTo>
                      <a:lnTo>
                        <a:pt x="52121" y="182149"/>
                      </a:lnTo>
                      <a:lnTo>
                        <a:pt x="55413" y="186538"/>
                      </a:lnTo>
                      <a:lnTo>
                        <a:pt x="60899" y="187635"/>
                      </a:lnTo>
                      <a:lnTo>
                        <a:pt x="82296" y="181051"/>
                      </a:lnTo>
                      <a:lnTo>
                        <a:pt x="87234" y="183794"/>
                      </a:lnTo>
                      <a:lnTo>
                        <a:pt x="92720" y="184892"/>
                      </a:lnTo>
                      <a:lnTo>
                        <a:pt x="95464" y="195865"/>
                      </a:lnTo>
                      <a:lnTo>
                        <a:pt x="106436" y="194767"/>
                      </a:lnTo>
                      <a:lnTo>
                        <a:pt x="111923" y="196413"/>
                      </a:lnTo>
                      <a:lnTo>
                        <a:pt x="121798" y="191476"/>
                      </a:lnTo>
                      <a:lnTo>
                        <a:pt x="132771" y="190378"/>
                      </a:lnTo>
                      <a:lnTo>
                        <a:pt x="143744" y="192024"/>
                      </a:lnTo>
                      <a:lnTo>
                        <a:pt x="150328" y="190378"/>
                      </a:lnTo>
                      <a:lnTo>
                        <a:pt x="156911" y="190927"/>
                      </a:lnTo>
                      <a:lnTo>
                        <a:pt x="158557" y="180503"/>
                      </a:lnTo>
                      <a:lnTo>
                        <a:pt x="172273" y="182697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10" name="Graphic 7">
                  <a:extLst>
                    <a:ext uri="{FF2B5EF4-FFF2-40B4-BE49-F238E27FC236}">
                      <a16:creationId xmlns:a16="http://schemas.microsoft.com/office/drawing/2014/main" id="{BEFDE6B6-F3E6-31FC-7CFD-6FAB2F67BBB9}"/>
                    </a:ext>
                  </a:extLst>
                </p:cNvPr>
                <p:cNvSpPr/>
                <p:nvPr/>
              </p:nvSpPr>
              <p:spPr>
                <a:xfrm>
                  <a:off x="7945523" y="3610216"/>
                  <a:ext cx="261471" cy="561949"/>
                </a:xfrm>
                <a:custGeom>
                  <a:avLst/>
                  <a:gdLst>
                    <a:gd name="connsiteX0" fmla="*/ 76810 w 334670"/>
                    <a:gd name="connsiteY0" fmla="*/ 482254 h 719266"/>
                    <a:gd name="connsiteX1" fmla="*/ 86136 w 334670"/>
                    <a:gd name="connsiteY1" fmla="*/ 450433 h 719266"/>
                    <a:gd name="connsiteX2" fmla="*/ 82845 w 334670"/>
                    <a:gd name="connsiteY2" fmla="*/ 415869 h 719266"/>
                    <a:gd name="connsiteX3" fmla="*/ 79553 w 334670"/>
                    <a:gd name="connsiteY3" fmla="*/ 410383 h 719266"/>
                    <a:gd name="connsiteX4" fmla="*/ 79553 w 334670"/>
                    <a:gd name="connsiteY4" fmla="*/ 405445 h 719266"/>
                    <a:gd name="connsiteX5" fmla="*/ 62545 w 334670"/>
                    <a:gd name="connsiteY5" fmla="*/ 374172 h 719266"/>
                    <a:gd name="connsiteX6" fmla="*/ 60899 w 334670"/>
                    <a:gd name="connsiteY6" fmla="*/ 382402 h 719266"/>
                    <a:gd name="connsiteX7" fmla="*/ 53218 w 334670"/>
                    <a:gd name="connsiteY7" fmla="*/ 378562 h 719266"/>
                    <a:gd name="connsiteX8" fmla="*/ 48829 w 334670"/>
                    <a:gd name="connsiteY8" fmla="*/ 369235 h 719266"/>
                    <a:gd name="connsiteX9" fmla="*/ 50475 w 334670"/>
                    <a:gd name="connsiteY9" fmla="*/ 363748 h 719266"/>
                    <a:gd name="connsiteX10" fmla="*/ 58704 w 334670"/>
                    <a:gd name="connsiteY10" fmla="*/ 367040 h 719266"/>
                    <a:gd name="connsiteX11" fmla="*/ 57058 w 334670"/>
                    <a:gd name="connsiteY11" fmla="*/ 363199 h 719266"/>
                    <a:gd name="connsiteX12" fmla="*/ 51572 w 334670"/>
                    <a:gd name="connsiteY12" fmla="*/ 359359 h 719266"/>
                    <a:gd name="connsiteX13" fmla="*/ 54315 w 334670"/>
                    <a:gd name="connsiteY13" fmla="*/ 355519 h 719266"/>
                    <a:gd name="connsiteX14" fmla="*/ 53218 w 334670"/>
                    <a:gd name="connsiteY14" fmla="*/ 351130 h 719266"/>
                    <a:gd name="connsiteX15" fmla="*/ 25786 w 334670"/>
                    <a:gd name="connsiteY15" fmla="*/ 336865 h 719266"/>
                    <a:gd name="connsiteX16" fmla="*/ 25786 w 334670"/>
                    <a:gd name="connsiteY16" fmla="*/ 329733 h 719266"/>
                    <a:gd name="connsiteX17" fmla="*/ 19751 w 334670"/>
                    <a:gd name="connsiteY17" fmla="*/ 328635 h 719266"/>
                    <a:gd name="connsiteX18" fmla="*/ 15362 w 334670"/>
                    <a:gd name="connsiteY18" fmla="*/ 322600 h 719266"/>
                    <a:gd name="connsiteX19" fmla="*/ 14265 w 334670"/>
                    <a:gd name="connsiteY19" fmla="*/ 324795 h 719266"/>
                    <a:gd name="connsiteX20" fmla="*/ 9875 w 334670"/>
                    <a:gd name="connsiteY20" fmla="*/ 320406 h 719266"/>
                    <a:gd name="connsiteX21" fmla="*/ 0 w 334670"/>
                    <a:gd name="connsiteY21" fmla="*/ 303946 h 719266"/>
                    <a:gd name="connsiteX22" fmla="*/ 1646 w 334670"/>
                    <a:gd name="connsiteY22" fmla="*/ 285841 h 719266"/>
                    <a:gd name="connsiteX23" fmla="*/ 4938 w 334670"/>
                    <a:gd name="connsiteY23" fmla="*/ 283098 h 719266"/>
                    <a:gd name="connsiteX24" fmla="*/ 13167 w 334670"/>
                    <a:gd name="connsiteY24" fmla="*/ 285293 h 719266"/>
                    <a:gd name="connsiteX25" fmla="*/ 12070 w 334670"/>
                    <a:gd name="connsiteY25" fmla="*/ 264993 h 719266"/>
                    <a:gd name="connsiteX26" fmla="*/ 12619 w 334670"/>
                    <a:gd name="connsiteY26" fmla="*/ 263347 h 719266"/>
                    <a:gd name="connsiteX27" fmla="*/ 15362 w 334670"/>
                    <a:gd name="connsiteY27" fmla="*/ 261153 h 719266"/>
                    <a:gd name="connsiteX28" fmla="*/ 18654 w 334670"/>
                    <a:gd name="connsiteY28" fmla="*/ 257861 h 719266"/>
                    <a:gd name="connsiteX29" fmla="*/ 24689 w 334670"/>
                    <a:gd name="connsiteY29" fmla="*/ 259507 h 719266"/>
                    <a:gd name="connsiteX30" fmla="*/ 27981 w 334670"/>
                    <a:gd name="connsiteY30" fmla="*/ 258409 h 719266"/>
                    <a:gd name="connsiteX31" fmla="*/ 31821 w 334670"/>
                    <a:gd name="connsiteY31" fmla="*/ 254020 h 719266"/>
                    <a:gd name="connsiteX32" fmla="*/ 31821 w 334670"/>
                    <a:gd name="connsiteY32" fmla="*/ 250180 h 719266"/>
                    <a:gd name="connsiteX33" fmla="*/ 30724 w 334670"/>
                    <a:gd name="connsiteY33" fmla="*/ 249631 h 719266"/>
                    <a:gd name="connsiteX34" fmla="*/ 27981 w 334670"/>
                    <a:gd name="connsiteY34" fmla="*/ 243047 h 719266"/>
                    <a:gd name="connsiteX35" fmla="*/ 29078 w 334670"/>
                    <a:gd name="connsiteY35" fmla="*/ 223296 h 719266"/>
                    <a:gd name="connsiteX36" fmla="*/ 36759 w 334670"/>
                    <a:gd name="connsiteY36" fmla="*/ 223845 h 719266"/>
                    <a:gd name="connsiteX37" fmla="*/ 38953 w 334670"/>
                    <a:gd name="connsiteY37" fmla="*/ 220553 h 719266"/>
                    <a:gd name="connsiteX38" fmla="*/ 40599 w 334670"/>
                    <a:gd name="connsiteY38" fmla="*/ 189281 h 719266"/>
                    <a:gd name="connsiteX39" fmla="*/ 45537 w 334670"/>
                    <a:gd name="connsiteY39" fmla="*/ 183794 h 719266"/>
                    <a:gd name="connsiteX40" fmla="*/ 55413 w 334670"/>
                    <a:gd name="connsiteY40" fmla="*/ 182148 h 719266"/>
                    <a:gd name="connsiteX41" fmla="*/ 69677 w 334670"/>
                    <a:gd name="connsiteY41" fmla="*/ 183794 h 719266"/>
                    <a:gd name="connsiteX42" fmla="*/ 72420 w 334670"/>
                    <a:gd name="connsiteY42" fmla="*/ 180502 h 719266"/>
                    <a:gd name="connsiteX43" fmla="*/ 91623 w 334670"/>
                    <a:gd name="connsiteY43" fmla="*/ 134417 h 719266"/>
                    <a:gd name="connsiteX44" fmla="*/ 90526 w 334670"/>
                    <a:gd name="connsiteY44" fmla="*/ 128382 h 719266"/>
                    <a:gd name="connsiteX45" fmla="*/ 94366 w 334670"/>
                    <a:gd name="connsiteY45" fmla="*/ 121798 h 719266"/>
                    <a:gd name="connsiteX46" fmla="*/ 105339 w 334670"/>
                    <a:gd name="connsiteY46" fmla="*/ 114666 h 719266"/>
                    <a:gd name="connsiteX47" fmla="*/ 109728 w 334670"/>
                    <a:gd name="connsiteY47" fmla="*/ 105887 h 719266"/>
                    <a:gd name="connsiteX48" fmla="*/ 108082 w 334670"/>
                    <a:gd name="connsiteY48" fmla="*/ 86685 h 719266"/>
                    <a:gd name="connsiteX49" fmla="*/ 113568 w 334670"/>
                    <a:gd name="connsiteY49" fmla="*/ 75712 h 719266"/>
                    <a:gd name="connsiteX50" fmla="*/ 122895 w 334670"/>
                    <a:gd name="connsiteY50" fmla="*/ 68031 h 719266"/>
                    <a:gd name="connsiteX51" fmla="*/ 133319 w 334670"/>
                    <a:gd name="connsiteY51" fmla="*/ 63094 h 719266"/>
                    <a:gd name="connsiteX52" fmla="*/ 145390 w 334670"/>
                    <a:gd name="connsiteY52" fmla="*/ 47731 h 719266"/>
                    <a:gd name="connsiteX53" fmla="*/ 158557 w 334670"/>
                    <a:gd name="connsiteY53" fmla="*/ 46086 h 719266"/>
                    <a:gd name="connsiteX54" fmla="*/ 165689 w 334670"/>
                    <a:gd name="connsiteY54" fmla="*/ 42794 h 719266"/>
                    <a:gd name="connsiteX55" fmla="*/ 177211 w 334670"/>
                    <a:gd name="connsiteY55" fmla="*/ 46086 h 719266"/>
                    <a:gd name="connsiteX56" fmla="*/ 179954 w 334670"/>
                    <a:gd name="connsiteY56" fmla="*/ 42794 h 719266"/>
                    <a:gd name="connsiteX57" fmla="*/ 177759 w 334670"/>
                    <a:gd name="connsiteY57" fmla="*/ 31821 h 719266"/>
                    <a:gd name="connsiteX58" fmla="*/ 181051 w 334670"/>
                    <a:gd name="connsiteY58" fmla="*/ 23043 h 719266"/>
                    <a:gd name="connsiteX59" fmla="*/ 188183 w 334670"/>
                    <a:gd name="connsiteY59" fmla="*/ 19202 h 719266"/>
                    <a:gd name="connsiteX60" fmla="*/ 192573 w 334670"/>
                    <a:gd name="connsiteY60" fmla="*/ 14265 h 719266"/>
                    <a:gd name="connsiteX61" fmla="*/ 192573 w 334670"/>
                    <a:gd name="connsiteY61" fmla="*/ 6035 h 719266"/>
                    <a:gd name="connsiteX62" fmla="*/ 198607 w 334670"/>
                    <a:gd name="connsiteY62" fmla="*/ 3840 h 719266"/>
                    <a:gd name="connsiteX63" fmla="*/ 201351 w 334670"/>
                    <a:gd name="connsiteY63" fmla="*/ 0 h 719266"/>
                    <a:gd name="connsiteX64" fmla="*/ 203545 w 334670"/>
                    <a:gd name="connsiteY64" fmla="*/ 549 h 719266"/>
                    <a:gd name="connsiteX65" fmla="*/ 211775 w 334670"/>
                    <a:gd name="connsiteY65" fmla="*/ 4389 h 719266"/>
                    <a:gd name="connsiteX66" fmla="*/ 220553 w 334670"/>
                    <a:gd name="connsiteY66" fmla="*/ 13167 h 719266"/>
                    <a:gd name="connsiteX67" fmla="*/ 222748 w 334670"/>
                    <a:gd name="connsiteY67" fmla="*/ 25786 h 719266"/>
                    <a:gd name="connsiteX68" fmla="*/ 226588 w 334670"/>
                    <a:gd name="connsiteY68" fmla="*/ 31272 h 719266"/>
                    <a:gd name="connsiteX69" fmla="*/ 237012 w 334670"/>
                    <a:gd name="connsiteY69" fmla="*/ 31821 h 719266"/>
                    <a:gd name="connsiteX70" fmla="*/ 240853 w 334670"/>
                    <a:gd name="connsiteY70" fmla="*/ 93817 h 719266"/>
                    <a:gd name="connsiteX71" fmla="*/ 228234 w 334670"/>
                    <a:gd name="connsiteY71" fmla="*/ 120152 h 719266"/>
                    <a:gd name="connsiteX72" fmla="*/ 223296 w 334670"/>
                    <a:gd name="connsiteY72" fmla="*/ 121249 h 719266"/>
                    <a:gd name="connsiteX73" fmla="*/ 220553 w 334670"/>
                    <a:gd name="connsiteY73" fmla="*/ 128382 h 719266"/>
                    <a:gd name="connsiteX74" fmla="*/ 213421 w 334670"/>
                    <a:gd name="connsiteY74" fmla="*/ 135514 h 719266"/>
                    <a:gd name="connsiteX75" fmla="*/ 206289 w 334670"/>
                    <a:gd name="connsiteY75" fmla="*/ 158557 h 719266"/>
                    <a:gd name="connsiteX76" fmla="*/ 209032 w 334670"/>
                    <a:gd name="connsiteY76" fmla="*/ 168981 h 719266"/>
                    <a:gd name="connsiteX77" fmla="*/ 207934 w 334670"/>
                    <a:gd name="connsiteY77" fmla="*/ 174467 h 719266"/>
                    <a:gd name="connsiteX78" fmla="*/ 201351 w 334670"/>
                    <a:gd name="connsiteY78" fmla="*/ 187086 h 719266"/>
                    <a:gd name="connsiteX79" fmla="*/ 204643 w 334670"/>
                    <a:gd name="connsiteY79" fmla="*/ 190378 h 719266"/>
                    <a:gd name="connsiteX80" fmla="*/ 221102 w 334670"/>
                    <a:gd name="connsiteY80" fmla="*/ 176662 h 719266"/>
                    <a:gd name="connsiteX81" fmla="*/ 247437 w 334670"/>
                    <a:gd name="connsiteY81" fmla="*/ 175565 h 719266"/>
                    <a:gd name="connsiteX82" fmla="*/ 247437 w 334670"/>
                    <a:gd name="connsiteY82" fmla="*/ 182697 h 719266"/>
                    <a:gd name="connsiteX83" fmla="*/ 251277 w 334670"/>
                    <a:gd name="connsiteY83" fmla="*/ 192573 h 719266"/>
                    <a:gd name="connsiteX84" fmla="*/ 252374 w 334670"/>
                    <a:gd name="connsiteY84" fmla="*/ 206289 h 719266"/>
                    <a:gd name="connsiteX85" fmla="*/ 272125 w 334670"/>
                    <a:gd name="connsiteY85" fmla="*/ 219456 h 719266"/>
                    <a:gd name="connsiteX86" fmla="*/ 264993 w 334670"/>
                    <a:gd name="connsiteY86" fmla="*/ 250728 h 719266"/>
                    <a:gd name="connsiteX87" fmla="*/ 288036 w 334670"/>
                    <a:gd name="connsiteY87" fmla="*/ 256763 h 719266"/>
                    <a:gd name="connsiteX88" fmla="*/ 289133 w 334670"/>
                    <a:gd name="connsiteY88" fmla="*/ 264444 h 719266"/>
                    <a:gd name="connsiteX89" fmla="*/ 301752 w 334670"/>
                    <a:gd name="connsiteY89" fmla="*/ 276514 h 719266"/>
                    <a:gd name="connsiteX90" fmla="*/ 315468 w 334670"/>
                    <a:gd name="connsiteY90" fmla="*/ 274869 h 719266"/>
                    <a:gd name="connsiteX91" fmla="*/ 325892 w 334670"/>
                    <a:gd name="connsiteY91" fmla="*/ 266639 h 719266"/>
                    <a:gd name="connsiteX92" fmla="*/ 334122 w 334670"/>
                    <a:gd name="connsiteY92" fmla="*/ 267736 h 719266"/>
                    <a:gd name="connsiteX93" fmla="*/ 334670 w 334670"/>
                    <a:gd name="connsiteY93" fmla="*/ 272125 h 719266"/>
                    <a:gd name="connsiteX94" fmla="*/ 334122 w 334670"/>
                    <a:gd name="connsiteY94" fmla="*/ 275417 h 719266"/>
                    <a:gd name="connsiteX95" fmla="*/ 330281 w 334670"/>
                    <a:gd name="connsiteY95" fmla="*/ 279806 h 719266"/>
                    <a:gd name="connsiteX96" fmla="*/ 312725 w 334670"/>
                    <a:gd name="connsiteY96" fmla="*/ 292974 h 719266"/>
                    <a:gd name="connsiteX97" fmla="*/ 313822 w 334670"/>
                    <a:gd name="connsiteY97" fmla="*/ 301752 h 719266"/>
                    <a:gd name="connsiteX98" fmla="*/ 304495 w 334670"/>
                    <a:gd name="connsiteY98" fmla="*/ 303398 h 719266"/>
                    <a:gd name="connsiteX99" fmla="*/ 301752 w 334670"/>
                    <a:gd name="connsiteY99" fmla="*/ 306690 h 719266"/>
                    <a:gd name="connsiteX100" fmla="*/ 300106 w 334670"/>
                    <a:gd name="connsiteY100" fmla="*/ 310530 h 719266"/>
                    <a:gd name="connsiteX101" fmla="*/ 296266 w 334670"/>
                    <a:gd name="connsiteY101" fmla="*/ 312176 h 719266"/>
                    <a:gd name="connsiteX102" fmla="*/ 288036 w 334670"/>
                    <a:gd name="connsiteY102" fmla="*/ 326989 h 719266"/>
                    <a:gd name="connsiteX103" fmla="*/ 278160 w 334670"/>
                    <a:gd name="connsiteY103" fmla="*/ 328635 h 719266"/>
                    <a:gd name="connsiteX104" fmla="*/ 247437 w 334670"/>
                    <a:gd name="connsiteY104" fmla="*/ 351678 h 719266"/>
                    <a:gd name="connsiteX105" fmla="*/ 218359 w 334670"/>
                    <a:gd name="connsiteY105" fmla="*/ 356067 h 719266"/>
                    <a:gd name="connsiteX106" fmla="*/ 206837 w 334670"/>
                    <a:gd name="connsiteY106" fmla="*/ 391180 h 719266"/>
                    <a:gd name="connsiteX107" fmla="*/ 207934 w 334670"/>
                    <a:gd name="connsiteY107" fmla="*/ 398313 h 719266"/>
                    <a:gd name="connsiteX108" fmla="*/ 201899 w 334670"/>
                    <a:gd name="connsiteY108" fmla="*/ 402702 h 719266"/>
                    <a:gd name="connsiteX109" fmla="*/ 213970 w 334670"/>
                    <a:gd name="connsiteY109" fmla="*/ 434523 h 719266"/>
                    <a:gd name="connsiteX110" fmla="*/ 229880 w 334670"/>
                    <a:gd name="connsiteY110" fmla="*/ 446593 h 719266"/>
                    <a:gd name="connsiteX111" fmla="*/ 234818 w 334670"/>
                    <a:gd name="connsiteY111" fmla="*/ 453177 h 719266"/>
                    <a:gd name="connsiteX112" fmla="*/ 237012 w 334670"/>
                    <a:gd name="connsiteY112" fmla="*/ 483352 h 719266"/>
                    <a:gd name="connsiteX113" fmla="*/ 244145 w 334670"/>
                    <a:gd name="connsiteY113" fmla="*/ 483900 h 719266"/>
                    <a:gd name="connsiteX114" fmla="*/ 246339 w 334670"/>
                    <a:gd name="connsiteY114" fmla="*/ 490484 h 719266"/>
                    <a:gd name="connsiteX115" fmla="*/ 242499 w 334670"/>
                    <a:gd name="connsiteY115" fmla="*/ 494325 h 719266"/>
                    <a:gd name="connsiteX116" fmla="*/ 237012 w 334670"/>
                    <a:gd name="connsiteY116" fmla="*/ 509686 h 719266"/>
                    <a:gd name="connsiteX117" fmla="*/ 236464 w 334670"/>
                    <a:gd name="connsiteY117" fmla="*/ 517916 h 719266"/>
                    <a:gd name="connsiteX118" fmla="*/ 228234 w 334670"/>
                    <a:gd name="connsiteY118" fmla="*/ 526146 h 719266"/>
                    <a:gd name="connsiteX119" fmla="*/ 225491 w 334670"/>
                    <a:gd name="connsiteY119" fmla="*/ 531632 h 719266"/>
                    <a:gd name="connsiteX120" fmla="*/ 224394 w 334670"/>
                    <a:gd name="connsiteY120" fmla="*/ 540959 h 719266"/>
                    <a:gd name="connsiteX121" fmla="*/ 228783 w 334670"/>
                    <a:gd name="connsiteY121" fmla="*/ 552480 h 719266"/>
                    <a:gd name="connsiteX122" fmla="*/ 254569 w 334670"/>
                    <a:gd name="connsiteY122" fmla="*/ 574975 h 719266"/>
                    <a:gd name="connsiteX123" fmla="*/ 262798 w 334670"/>
                    <a:gd name="connsiteY123" fmla="*/ 619963 h 719266"/>
                    <a:gd name="connsiteX124" fmla="*/ 263896 w 334670"/>
                    <a:gd name="connsiteY124" fmla="*/ 620512 h 719266"/>
                    <a:gd name="connsiteX125" fmla="*/ 278160 w 334670"/>
                    <a:gd name="connsiteY125" fmla="*/ 654527 h 719266"/>
                    <a:gd name="connsiteX126" fmla="*/ 277063 w 334670"/>
                    <a:gd name="connsiteY126" fmla="*/ 659465 h 719266"/>
                    <a:gd name="connsiteX127" fmla="*/ 263896 w 334670"/>
                    <a:gd name="connsiteY127" fmla="*/ 679216 h 719266"/>
                    <a:gd name="connsiteX128" fmla="*/ 256763 w 334670"/>
                    <a:gd name="connsiteY128" fmla="*/ 685251 h 719266"/>
                    <a:gd name="connsiteX129" fmla="*/ 242499 w 334670"/>
                    <a:gd name="connsiteY129" fmla="*/ 719267 h 719266"/>
                    <a:gd name="connsiteX130" fmla="*/ 235366 w 334670"/>
                    <a:gd name="connsiteY130" fmla="*/ 714329 h 719266"/>
                    <a:gd name="connsiteX131" fmla="*/ 247985 w 334670"/>
                    <a:gd name="connsiteY131" fmla="*/ 660562 h 719266"/>
                    <a:gd name="connsiteX132" fmla="*/ 235366 w 334670"/>
                    <a:gd name="connsiteY132" fmla="*/ 652882 h 719266"/>
                    <a:gd name="connsiteX133" fmla="*/ 236464 w 334670"/>
                    <a:gd name="connsiteY133" fmla="*/ 647395 h 719266"/>
                    <a:gd name="connsiteX134" fmla="*/ 241950 w 334670"/>
                    <a:gd name="connsiteY134" fmla="*/ 649041 h 719266"/>
                    <a:gd name="connsiteX135" fmla="*/ 240853 w 334670"/>
                    <a:gd name="connsiteY135" fmla="*/ 641909 h 719266"/>
                    <a:gd name="connsiteX136" fmla="*/ 241950 w 334670"/>
                    <a:gd name="connsiteY136" fmla="*/ 632582 h 719266"/>
                    <a:gd name="connsiteX137" fmla="*/ 228783 w 334670"/>
                    <a:gd name="connsiteY137" fmla="*/ 583204 h 719266"/>
                    <a:gd name="connsiteX138" fmla="*/ 225491 w 334670"/>
                    <a:gd name="connsiteY138" fmla="*/ 585399 h 719266"/>
                    <a:gd name="connsiteX139" fmla="*/ 223845 w 334670"/>
                    <a:gd name="connsiteY139" fmla="*/ 588691 h 719266"/>
                    <a:gd name="connsiteX140" fmla="*/ 204643 w 334670"/>
                    <a:gd name="connsiteY140" fmla="*/ 476219 h 719266"/>
                    <a:gd name="connsiteX141" fmla="*/ 199705 w 334670"/>
                    <a:gd name="connsiteY141" fmla="*/ 475122 h 719266"/>
                    <a:gd name="connsiteX142" fmla="*/ 179405 w 334670"/>
                    <a:gd name="connsiteY142" fmla="*/ 459211 h 719266"/>
                    <a:gd name="connsiteX143" fmla="*/ 175016 w 334670"/>
                    <a:gd name="connsiteY143" fmla="*/ 460858 h 719266"/>
                    <a:gd name="connsiteX144" fmla="*/ 167884 w 334670"/>
                    <a:gd name="connsiteY144" fmla="*/ 440558 h 719266"/>
                    <a:gd name="connsiteX145" fmla="*/ 164592 w 334670"/>
                    <a:gd name="connsiteY145" fmla="*/ 469087 h 719266"/>
                    <a:gd name="connsiteX146" fmla="*/ 116311 w 334670"/>
                    <a:gd name="connsiteY146" fmla="*/ 505297 h 719266"/>
                    <a:gd name="connsiteX147" fmla="*/ 113020 w 334670"/>
                    <a:gd name="connsiteY147" fmla="*/ 502554 h 719266"/>
                    <a:gd name="connsiteX148" fmla="*/ 108082 w 334670"/>
                    <a:gd name="connsiteY148" fmla="*/ 503103 h 719266"/>
                    <a:gd name="connsiteX149" fmla="*/ 105339 w 334670"/>
                    <a:gd name="connsiteY149" fmla="*/ 499262 h 719266"/>
                    <a:gd name="connsiteX150" fmla="*/ 100401 w 334670"/>
                    <a:gd name="connsiteY150" fmla="*/ 505846 h 719266"/>
                    <a:gd name="connsiteX151" fmla="*/ 86685 w 334670"/>
                    <a:gd name="connsiteY151" fmla="*/ 499811 h 719266"/>
                    <a:gd name="connsiteX152" fmla="*/ 83393 w 334670"/>
                    <a:gd name="connsiteY152" fmla="*/ 497068 h 719266"/>
                    <a:gd name="connsiteX153" fmla="*/ 86136 w 334670"/>
                    <a:gd name="connsiteY153" fmla="*/ 491033 h 719266"/>
                    <a:gd name="connsiteX154" fmla="*/ 79553 w 334670"/>
                    <a:gd name="connsiteY154" fmla="*/ 495970 h 719266"/>
                    <a:gd name="connsiteX155" fmla="*/ 75163 w 334670"/>
                    <a:gd name="connsiteY155" fmla="*/ 494325 h 719266"/>
                    <a:gd name="connsiteX156" fmla="*/ 76810 w 334670"/>
                    <a:gd name="connsiteY156" fmla="*/ 482254 h 7192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</a:cxnLst>
                  <a:rect l="l" t="t" r="r" b="b"/>
                  <a:pathLst>
                    <a:path w="334670" h="719266">
                      <a:moveTo>
                        <a:pt x="76810" y="482254"/>
                      </a:moveTo>
                      <a:lnTo>
                        <a:pt x="86136" y="450433"/>
                      </a:lnTo>
                      <a:lnTo>
                        <a:pt x="82845" y="415869"/>
                      </a:lnTo>
                      <a:lnTo>
                        <a:pt x="79553" y="410383"/>
                      </a:lnTo>
                      <a:lnTo>
                        <a:pt x="79553" y="405445"/>
                      </a:lnTo>
                      <a:lnTo>
                        <a:pt x="62545" y="374172"/>
                      </a:lnTo>
                      <a:lnTo>
                        <a:pt x="60899" y="382402"/>
                      </a:lnTo>
                      <a:lnTo>
                        <a:pt x="53218" y="378562"/>
                      </a:lnTo>
                      <a:lnTo>
                        <a:pt x="48829" y="369235"/>
                      </a:lnTo>
                      <a:lnTo>
                        <a:pt x="50475" y="363748"/>
                      </a:lnTo>
                      <a:lnTo>
                        <a:pt x="58704" y="367040"/>
                      </a:lnTo>
                      <a:lnTo>
                        <a:pt x="57058" y="363199"/>
                      </a:lnTo>
                      <a:lnTo>
                        <a:pt x="51572" y="359359"/>
                      </a:lnTo>
                      <a:lnTo>
                        <a:pt x="54315" y="355519"/>
                      </a:lnTo>
                      <a:lnTo>
                        <a:pt x="53218" y="351130"/>
                      </a:lnTo>
                      <a:lnTo>
                        <a:pt x="25786" y="336865"/>
                      </a:lnTo>
                      <a:lnTo>
                        <a:pt x="25786" y="329733"/>
                      </a:lnTo>
                      <a:lnTo>
                        <a:pt x="19751" y="328635"/>
                      </a:lnTo>
                      <a:lnTo>
                        <a:pt x="15362" y="322600"/>
                      </a:lnTo>
                      <a:lnTo>
                        <a:pt x="14265" y="324795"/>
                      </a:lnTo>
                      <a:lnTo>
                        <a:pt x="9875" y="320406"/>
                      </a:lnTo>
                      <a:lnTo>
                        <a:pt x="0" y="303946"/>
                      </a:lnTo>
                      <a:lnTo>
                        <a:pt x="1646" y="285841"/>
                      </a:lnTo>
                      <a:lnTo>
                        <a:pt x="4938" y="283098"/>
                      </a:lnTo>
                      <a:lnTo>
                        <a:pt x="13167" y="285293"/>
                      </a:lnTo>
                      <a:lnTo>
                        <a:pt x="12070" y="264993"/>
                      </a:lnTo>
                      <a:lnTo>
                        <a:pt x="12619" y="263347"/>
                      </a:lnTo>
                      <a:lnTo>
                        <a:pt x="15362" y="261153"/>
                      </a:lnTo>
                      <a:lnTo>
                        <a:pt x="18654" y="257861"/>
                      </a:lnTo>
                      <a:lnTo>
                        <a:pt x="24689" y="259507"/>
                      </a:lnTo>
                      <a:lnTo>
                        <a:pt x="27981" y="258409"/>
                      </a:lnTo>
                      <a:lnTo>
                        <a:pt x="31821" y="254020"/>
                      </a:lnTo>
                      <a:lnTo>
                        <a:pt x="31821" y="250180"/>
                      </a:lnTo>
                      <a:lnTo>
                        <a:pt x="30724" y="249631"/>
                      </a:lnTo>
                      <a:lnTo>
                        <a:pt x="27981" y="243047"/>
                      </a:lnTo>
                      <a:lnTo>
                        <a:pt x="29078" y="223296"/>
                      </a:lnTo>
                      <a:lnTo>
                        <a:pt x="36759" y="223845"/>
                      </a:lnTo>
                      <a:lnTo>
                        <a:pt x="38953" y="220553"/>
                      </a:lnTo>
                      <a:lnTo>
                        <a:pt x="40599" y="189281"/>
                      </a:lnTo>
                      <a:lnTo>
                        <a:pt x="45537" y="183794"/>
                      </a:lnTo>
                      <a:lnTo>
                        <a:pt x="55413" y="182148"/>
                      </a:lnTo>
                      <a:lnTo>
                        <a:pt x="69677" y="183794"/>
                      </a:lnTo>
                      <a:lnTo>
                        <a:pt x="72420" y="180502"/>
                      </a:lnTo>
                      <a:lnTo>
                        <a:pt x="91623" y="134417"/>
                      </a:lnTo>
                      <a:lnTo>
                        <a:pt x="90526" y="128382"/>
                      </a:lnTo>
                      <a:lnTo>
                        <a:pt x="94366" y="121798"/>
                      </a:lnTo>
                      <a:lnTo>
                        <a:pt x="105339" y="114666"/>
                      </a:lnTo>
                      <a:lnTo>
                        <a:pt x="109728" y="105887"/>
                      </a:lnTo>
                      <a:lnTo>
                        <a:pt x="108082" y="86685"/>
                      </a:lnTo>
                      <a:lnTo>
                        <a:pt x="113568" y="75712"/>
                      </a:lnTo>
                      <a:lnTo>
                        <a:pt x="122895" y="68031"/>
                      </a:lnTo>
                      <a:lnTo>
                        <a:pt x="133319" y="63094"/>
                      </a:lnTo>
                      <a:lnTo>
                        <a:pt x="145390" y="47731"/>
                      </a:lnTo>
                      <a:lnTo>
                        <a:pt x="158557" y="46086"/>
                      </a:lnTo>
                      <a:lnTo>
                        <a:pt x="165689" y="42794"/>
                      </a:lnTo>
                      <a:lnTo>
                        <a:pt x="177211" y="46086"/>
                      </a:lnTo>
                      <a:lnTo>
                        <a:pt x="179954" y="42794"/>
                      </a:lnTo>
                      <a:lnTo>
                        <a:pt x="177759" y="31821"/>
                      </a:lnTo>
                      <a:lnTo>
                        <a:pt x="181051" y="23043"/>
                      </a:lnTo>
                      <a:lnTo>
                        <a:pt x="188183" y="19202"/>
                      </a:lnTo>
                      <a:lnTo>
                        <a:pt x="192573" y="14265"/>
                      </a:lnTo>
                      <a:lnTo>
                        <a:pt x="192573" y="6035"/>
                      </a:lnTo>
                      <a:lnTo>
                        <a:pt x="198607" y="3840"/>
                      </a:lnTo>
                      <a:lnTo>
                        <a:pt x="201351" y="0"/>
                      </a:lnTo>
                      <a:lnTo>
                        <a:pt x="203545" y="549"/>
                      </a:lnTo>
                      <a:lnTo>
                        <a:pt x="211775" y="4389"/>
                      </a:lnTo>
                      <a:lnTo>
                        <a:pt x="220553" y="13167"/>
                      </a:lnTo>
                      <a:lnTo>
                        <a:pt x="222748" y="25786"/>
                      </a:lnTo>
                      <a:lnTo>
                        <a:pt x="226588" y="31272"/>
                      </a:lnTo>
                      <a:lnTo>
                        <a:pt x="237012" y="31821"/>
                      </a:lnTo>
                      <a:lnTo>
                        <a:pt x="240853" y="93817"/>
                      </a:lnTo>
                      <a:lnTo>
                        <a:pt x="228234" y="120152"/>
                      </a:lnTo>
                      <a:lnTo>
                        <a:pt x="223296" y="121249"/>
                      </a:lnTo>
                      <a:lnTo>
                        <a:pt x="220553" y="128382"/>
                      </a:lnTo>
                      <a:lnTo>
                        <a:pt x="213421" y="135514"/>
                      </a:lnTo>
                      <a:lnTo>
                        <a:pt x="206289" y="158557"/>
                      </a:lnTo>
                      <a:lnTo>
                        <a:pt x="209032" y="168981"/>
                      </a:lnTo>
                      <a:lnTo>
                        <a:pt x="207934" y="174467"/>
                      </a:lnTo>
                      <a:lnTo>
                        <a:pt x="201351" y="187086"/>
                      </a:lnTo>
                      <a:lnTo>
                        <a:pt x="204643" y="190378"/>
                      </a:lnTo>
                      <a:lnTo>
                        <a:pt x="221102" y="176662"/>
                      </a:lnTo>
                      <a:lnTo>
                        <a:pt x="247437" y="175565"/>
                      </a:lnTo>
                      <a:lnTo>
                        <a:pt x="247437" y="182697"/>
                      </a:lnTo>
                      <a:lnTo>
                        <a:pt x="251277" y="192573"/>
                      </a:lnTo>
                      <a:lnTo>
                        <a:pt x="252374" y="206289"/>
                      </a:lnTo>
                      <a:lnTo>
                        <a:pt x="272125" y="219456"/>
                      </a:lnTo>
                      <a:lnTo>
                        <a:pt x="264993" y="250728"/>
                      </a:lnTo>
                      <a:lnTo>
                        <a:pt x="288036" y="256763"/>
                      </a:lnTo>
                      <a:lnTo>
                        <a:pt x="289133" y="264444"/>
                      </a:lnTo>
                      <a:lnTo>
                        <a:pt x="301752" y="276514"/>
                      </a:lnTo>
                      <a:lnTo>
                        <a:pt x="315468" y="274869"/>
                      </a:lnTo>
                      <a:lnTo>
                        <a:pt x="325892" y="266639"/>
                      </a:lnTo>
                      <a:lnTo>
                        <a:pt x="334122" y="267736"/>
                      </a:lnTo>
                      <a:lnTo>
                        <a:pt x="334670" y="272125"/>
                      </a:lnTo>
                      <a:lnTo>
                        <a:pt x="334122" y="275417"/>
                      </a:lnTo>
                      <a:lnTo>
                        <a:pt x="330281" y="279806"/>
                      </a:lnTo>
                      <a:lnTo>
                        <a:pt x="312725" y="292974"/>
                      </a:lnTo>
                      <a:lnTo>
                        <a:pt x="313822" y="301752"/>
                      </a:lnTo>
                      <a:lnTo>
                        <a:pt x="304495" y="303398"/>
                      </a:lnTo>
                      <a:lnTo>
                        <a:pt x="301752" y="306690"/>
                      </a:lnTo>
                      <a:lnTo>
                        <a:pt x="300106" y="310530"/>
                      </a:lnTo>
                      <a:lnTo>
                        <a:pt x="296266" y="312176"/>
                      </a:lnTo>
                      <a:lnTo>
                        <a:pt x="288036" y="326989"/>
                      </a:lnTo>
                      <a:lnTo>
                        <a:pt x="278160" y="328635"/>
                      </a:lnTo>
                      <a:lnTo>
                        <a:pt x="247437" y="351678"/>
                      </a:lnTo>
                      <a:lnTo>
                        <a:pt x="218359" y="356067"/>
                      </a:lnTo>
                      <a:lnTo>
                        <a:pt x="206837" y="391180"/>
                      </a:lnTo>
                      <a:lnTo>
                        <a:pt x="207934" y="398313"/>
                      </a:lnTo>
                      <a:lnTo>
                        <a:pt x="201899" y="402702"/>
                      </a:lnTo>
                      <a:lnTo>
                        <a:pt x="213970" y="434523"/>
                      </a:lnTo>
                      <a:lnTo>
                        <a:pt x="229880" y="446593"/>
                      </a:lnTo>
                      <a:lnTo>
                        <a:pt x="234818" y="453177"/>
                      </a:lnTo>
                      <a:lnTo>
                        <a:pt x="237012" y="483352"/>
                      </a:lnTo>
                      <a:lnTo>
                        <a:pt x="244145" y="483900"/>
                      </a:lnTo>
                      <a:lnTo>
                        <a:pt x="246339" y="490484"/>
                      </a:lnTo>
                      <a:lnTo>
                        <a:pt x="242499" y="494325"/>
                      </a:lnTo>
                      <a:lnTo>
                        <a:pt x="237012" y="509686"/>
                      </a:lnTo>
                      <a:lnTo>
                        <a:pt x="236464" y="517916"/>
                      </a:lnTo>
                      <a:lnTo>
                        <a:pt x="228234" y="526146"/>
                      </a:lnTo>
                      <a:lnTo>
                        <a:pt x="225491" y="531632"/>
                      </a:lnTo>
                      <a:lnTo>
                        <a:pt x="224394" y="540959"/>
                      </a:lnTo>
                      <a:lnTo>
                        <a:pt x="228783" y="552480"/>
                      </a:lnTo>
                      <a:lnTo>
                        <a:pt x="254569" y="574975"/>
                      </a:lnTo>
                      <a:lnTo>
                        <a:pt x="262798" y="619963"/>
                      </a:lnTo>
                      <a:lnTo>
                        <a:pt x="263896" y="620512"/>
                      </a:lnTo>
                      <a:lnTo>
                        <a:pt x="278160" y="654527"/>
                      </a:lnTo>
                      <a:lnTo>
                        <a:pt x="277063" y="659465"/>
                      </a:lnTo>
                      <a:lnTo>
                        <a:pt x="263896" y="679216"/>
                      </a:lnTo>
                      <a:lnTo>
                        <a:pt x="256763" y="685251"/>
                      </a:lnTo>
                      <a:lnTo>
                        <a:pt x="242499" y="719267"/>
                      </a:lnTo>
                      <a:lnTo>
                        <a:pt x="235366" y="714329"/>
                      </a:lnTo>
                      <a:lnTo>
                        <a:pt x="247985" y="660562"/>
                      </a:lnTo>
                      <a:lnTo>
                        <a:pt x="235366" y="652882"/>
                      </a:lnTo>
                      <a:lnTo>
                        <a:pt x="236464" y="647395"/>
                      </a:lnTo>
                      <a:lnTo>
                        <a:pt x="241950" y="649041"/>
                      </a:lnTo>
                      <a:lnTo>
                        <a:pt x="240853" y="641909"/>
                      </a:lnTo>
                      <a:lnTo>
                        <a:pt x="241950" y="632582"/>
                      </a:lnTo>
                      <a:lnTo>
                        <a:pt x="228783" y="583204"/>
                      </a:lnTo>
                      <a:lnTo>
                        <a:pt x="225491" y="585399"/>
                      </a:lnTo>
                      <a:lnTo>
                        <a:pt x="223845" y="588691"/>
                      </a:lnTo>
                      <a:lnTo>
                        <a:pt x="204643" y="476219"/>
                      </a:lnTo>
                      <a:lnTo>
                        <a:pt x="199705" y="475122"/>
                      </a:lnTo>
                      <a:lnTo>
                        <a:pt x="179405" y="459211"/>
                      </a:lnTo>
                      <a:lnTo>
                        <a:pt x="175016" y="460858"/>
                      </a:lnTo>
                      <a:lnTo>
                        <a:pt x="167884" y="440558"/>
                      </a:lnTo>
                      <a:lnTo>
                        <a:pt x="164592" y="469087"/>
                      </a:lnTo>
                      <a:lnTo>
                        <a:pt x="116311" y="505297"/>
                      </a:lnTo>
                      <a:lnTo>
                        <a:pt x="113020" y="502554"/>
                      </a:lnTo>
                      <a:lnTo>
                        <a:pt x="108082" y="503103"/>
                      </a:lnTo>
                      <a:lnTo>
                        <a:pt x="105339" y="499262"/>
                      </a:lnTo>
                      <a:lnTo>
                        <a:pt x="100401" y="505846"/>
                      </a:lnTo>
                      <a:lnTo>
                        <a:pt x="86685" y="499811"/>
                      </a:lnTo>
                      <a:lnTo>
                        <a:pt x="83393" y="497068"/>
                      </a:lnTo>
                      <a:lnTo>
                        <a:pt x="86136" y="491033"/>
                      </a:lnTo>
                      <a:lnTo>
                        <a:pt x="79553" y="495970"/>
                      </a:lnTo>
                      <a:lnTo>
                        <a:pt x="75163" y="494325"/>
                      </a:lnTo>
                      <a:lnTo>
                        <a:pt x="76810" y="482254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11" name="Graphic 7">
                  <a:extLst>
                    <a:ext uri="{FF2B5EF4-FFF2-40B4-BE49-F238E27FC236}">
                      <a16:creationId xmlns:a16="http://schemas.microsoft.com/office/drawing/2014/main" id="{539D573A-0F39-9E08-6C8E-6D8B72B20334}"/>
                    </a:ext>
                  </a:extLst>
                </p:cNvPr>
                <p:cNvSpPr/>
                <p:nvPr/>
              </p:nvSpPr>
              <p:spPr>
                <a:xfrm>
                  <a:off x="8240429" y="4037144"/>
                  <a:ext cx="155168" cy="126449"/>
                </a:xfrm>
                <a:custGeom>
                  <a:avLst/>
                  <a:gdLst>
                    <a:gd name="connsiteX0" fmla="*/ 81199 w 198607"/>
                    <a:gd name="connsiteY0" fmla="*/ 161849 h 161848"/>
                    <a:gd name="connsiteX1" fmla="*/ 77907 w 198607"/>
                    <a:gd name="connsiteY1" fmla="*/ 161300 h 161848"/>
                    <a:gd name="connsiteX2" fmla="*/ 75712 w 198607"/>
                    <a:gd name="connsiteY2" fmla="*/ 159106 h 161848"/>
                    <a:gd name="connsiteX3" fmla="*/ 71872 w 198607"/>
                    <a:gd name="connsiteY3" fmla="*/ 156911 h 161848"/>
                    <a:gd name="connsiteX4" fmla="*/ 60350 w 198607"/>
                    <a:gd name="connsiteY4" fmla="*/ 155814 h 161848"/>
                    <a:gd name="connsiteX5" fmla="*/ 54864 w 198607"/>
                    <a:gd name="connsiteY5" fmla="*/ 158557 h 161848"/>
                    <a:gd name="connsiteX6" fmla="*/ 48280 w 198607"/>
                    <a:gd name="connsiteY6" fmla="*/ 158008 h 161848"/>
                    <a:gd name="connsiteX7" fmla="*/ 48280 w 198607"/>
                    <a:gd name="connsiteY7" fmla="*/ 150876 h 161848"/>
                    <a:gd name="connsiteX8" fmla="*/ 51572 w 198607"/>
                    <a:gd name="connsiteY8" fmla="*/ 146487 h 161848"/>
                    <a:gd name="connsiteX9" fmla="*/ 50475 w 198607"/>
                    <a:gd name="connsiteY9" fmla="*/ 139903 h 161848"/>
                    <a:gd name="connsiteX10" fmla="*/ 46086 w 198607"/>
                    <a:gd name="connsiteY10" fmla="*/ 137160 h 161848"/>
                    <a:gd name="connsiteX11" fmla="*/ 42794 w 198607"/>
                    <a:gd name="connsiteY11" fmla="*/ 138806 h 161848"/>
                    <a:gd name="connsiteX12" fmla="*/ 39502 w 198607"/>
                    <a:gd name="connsiteY12" fmla="*/ 144841 h 161848"/>
                    <a:gd name="connsiteX13" fmla="*/ 33467 w 198607"/>
                    <a:gd name="connsiteY13" fmla="*/ 145938 h 161848"/>
                    <a:gd name="connsiteX14" fmla="*/ 27432 w 198607"/>
                    <a:gd name="connsiteY14" fmla="*/ 128382 h 161848"/>
                    <a:gd name="connsiteX15" fmla="*/ 27432 w 198607"/>
                    <a:gd name="connsiteY15" fmla="*/ 126736 h 161848"/>
                    <a:gd name="connsiteX16" fmla="*/ 30175 w 198607"/>
                    <a:gd name="connsiteY16" fmla="*/ 128930 h 161848"/>
                    <a:gd name="connsiteX17" fmla="*/ 29626 w 198607"/>
                    <a:gd name="connsiteY17" fmla="*/ 125639 h 161848"/>
                    <a:gd name="connsiteX18" fmla="*/ 23591 w 198607"/>
                    <a:gd name="connsiteY18" fmla="*/ 118506 h 161848"/>
                    <a:gd name="connsiteX19" fmla="*/ 23591 w 198607"/>
                    <a:gd name="connsiteY19" fmla="*/ 117409 h 161848"/>
                    <a:gd name="connsiteX20" fmla="*/ 25237 w 198607"/>
                    <a:gd name="connsiteY20" fmla="*/ 113020 h 161848"/>
                    <a:gd name="connsiteX21" fmla="*/ 24689 w 198607"/>
                    <a:gd name="connsiteY21" fmla="*/ 107533 h 161848"/>
                    <a:gd name="connsiteX22" fmla="*/ 15910 w 198607"/>
                    <a:gd name="connsiteY22" fmla="*/ 88331 h 161848"/>
                    <a:gd name="connsiteX23" fmla="*/ 6584 w 198607"/>
                    <a:gd name="connsiteY23" fmla="*/ 80101 h 161848"/>
                    <a:gd name="connsiteX24" fmla="*/ 0 w 198607"/>
                    <a:gd name="connsiteY24" fmla="*/ 57607 h 161848"/>
                    <a:gd name="connsiteX25" fmla="*/ 1646 w 198607"/>
                    <a:gd name="connsiteY25" fmla="*/ 45537 h 161848"/>
                    <a:gd name="connsiteX26" fmla="*/ 6035 w 198607"/>
                    <a:gd name="connsiteY26" fmla="*/ 42245 h 161848"/>
                    <a:gd name="connsiteX27" fmla="*/ 9875 w 198607"/>
                    <a:gd name="connsiteY27" fmla="*/ 35113 h 161848"/>
                    <a:gd name="connsiteX28" fmla="*/ 14813 w 198607"/>
                    <a:gd name="connsiteY28" fmla="*/ 32370 h 161848"/>
                    <a:gd name="connsiteX29" fmla="*/ 29078 w 198607"/>
                    <a:gd name="connsiteY29" fmla="*/ 14265 h 161848"/>
                    <a:gd name="connsiteX30" fmla="*/ 34564 w 198607"/>
                    <a:gd name="connsiteY30" fmla="*/ 12070 h 161848"/>
                    <a:gd name="connsiteX31" fmla="*/ 95463 w 198607"/>
                    <a:gd name="connsiteY31" fmla="*/ 13167 h 161848"/>
                    <a:gd name="connsiteX32" fmla="*/ 102047 w 198607"/>
                    <a:gd name="connsiteY32" fmla="*/ 19751 h 161848"/>
                    <a:gd name="connsiteX33" fmla="*/ 109179 w 198607"/>
                    <a:gd name="connsiteY33" fmla="*/ 16459 h 161848"/>
                    <a:gd name="connsiteX34" fmla="*/ 114666 w 198607"/>
                    <a:gd name="connsiteY34" fmla="*/ 21946 h 161848"/>
                    <a:gd name="connsiteX35" fmla="*/ 134417 w 198607"/>
                    <a:gd name="connsiteY35" fmla="*/ 27432 h 161848"/>
                    <a:gd name="connsiteX36" fmla="*/ 141001 w 198607"/>
                    <a:gd name="connsiteY36" fmla="*/ 25786 h 161848"/>
                    <a:gd name="connsiteX37" fmla="*/ 141549 w 198607"/>
                    <a:gd name="connsiteY37" fmla="*/ 15911 h 161848"/>
                    <a:gd name="connsiteX38" fmla="*/ 159654 w 198607"/>
                    <a:gd name="connsiteY38" fmla="*/ 6584 h 161848"/>
                    <a:gd name="connsiteX39" fmla="*/ 165689 w 198607"/>
                    <a:gd name="connsiteY39" fmla="*/ 7132 h 161848"/>
                    <a:gd name="connsiteX40" fmla="*/ 171176 w 198607"/>
                    <a:gd name="connsiteY40" fmla="*/ 12619 h 161848"/>
                    <a:gd name="connsiteX41" fmla="*/ 176662 w 198607"/>
                    <a:gd name="connsiteY41" fmla="*/ 12619 h 161848"/>
                    <a:gd name="connsiteX42" fmla="*/ 183246 w 198607"/>
                    <a:gd name="connsiteY42" fmla="*/ 9875 h 161848"/>
                    <a:gd name="connsiteX43" fmla="*/ 190927 w 198607"/>
                    <a:gd name="connsiteY43" fmla="*/ 3292 h 161848"/>
                    <a:gd name="connsiteX44" fmla="*/ 193121 w 198607"/>
                    <a:gd name="connsiteY44" fmla="*/ 0 h 161848"/>
                    <a:gd name="connsiteX45" fmla="*/ 193670 w 198607"/>
                    <a:gd name="connsiteY45" fmla="*/ 35662 h 161848"/>
                    <a:gd name="connsiteX46" fmla="*/ 198608 w 198607"/>
                    <a:gd name="connsiteY46" fmla="*/ 45537 h 161848"/>
                    <a:gd name="connsiteX47" fmla="*/ 195865 w 198607"/>
                    <a:gd name="connsiteY47" fmla="*/ 87782 h 161848"/>
                    <a:gd name="connsiteX48" fmla="*/ 191475 w 198607"/>
                    <a:gd name="connsiteY48" fmla="*/ 93817 h 161848"/>
                    <a:gd name="connsiteX49" fmla="*/ 185440 w 198607"/>
                    <a:gd name="connsiteY49" fmla="*/ 92171 h 161848"/>
                    <a:gd name="connsiteX50" fmla="*/ 173919 w 198607"/>
                    <a:gd name="connsiteY50" fmla="*/ 100950 h 161848"/>
                    <a:gd name="connsiteX51" fmla="*/ 168433 w 198607"/>
                    <a:gd name="connsiteY51" fmla="*/ 100950 h 161848"/>
                    <a:gd name="connsiteX52" fmla="*/ 155814 w 198607"/>
                    <a:gd name="connsiteY52" fmla="*/ 106436 h 161848"/>
                    <a:gd name="connsiteX53" fmla="*/ 155265 w 198607"/>
                    <a:gd name="connsiteY53" fmla="*/ 113020 h 161848"/>
                    <a:gd name="connsiteX54" fmla="*/ 135514 w 198607"/>
                    <a:gd name="connsiteY54" fmla="*/ 116312 h 161848"/>
                    <a:gd name="connsiteX55" fmla="*/ 133868 w 198607"/>
                    <a:gd name="connsiteY55" fmla="*/ 126187 h 161848"/>
                    <a:gd name="connsiteX56" fmla="*/ 135514 w 198607"/>
                    <a:gd name="connsiteY56" fmla="*/ 137709 h 161848"/>
                    <a:gd name="connsiteX57" fmla="*/ 126187 w 198607"/>
                    <a:gd name="connsiteY57" fmla="*/ 140452 h 161848"/>
                    <a:gd name="connsiteX58" fmla="*/ 117958 w 198607"/>
                    <a:gd name="connsiteY58" fmla="*/ 146487 h 161848"/>
                    <a:gd name="connsiteX59" fmla="*/ 110825 w 198607"/>
                    <a:gd name="connsiteY59" fmla="*/ 148681 h 161848"/>
                    <a:gd name="connsiteX60" fmla="*/ 105887 w 198607"/>
                    <a:gd name="connsiteY60" fmla="*/ 147035 h 161848"/>
                    <a:gd name="connsiteX61" fmla="*/ 102047 w 198607"/>
                    <a:gd name="connsiteY61" fmla="*/ 147035 h 161848"/>
                    <a:gd name="connsiteX62" fmla="*/ 100401 w 198607"/>
                    <a:gd name="connsiteY62" fmla="*/ 153071 h 161848"/>
                    <a:gd name="connsiteX63" fmla="*/ 97109 w 198607"/>
                    <a:gd name="connsiteY63" fmla="*/ 156911 h 161848"/>
                    <a:gd name="connsiteX64" fmla="*/ 81199 w 198607"/>
                    <a:gd name="connsiteY64" fmla="*/ 161849 h 1618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</a:cxnLst>
                  <a:rect l="l" t="t" r="r" b="b"/>
                  <a:pathLst>
                    <a:path w="198607" h="161848">
                      <a:moveTo>
                        <a:pt x="81199" y="161849"/>
                      </a:moveTo>
                      <a:lnTo>
                        <a:pt x="77907" y="161300"/>
                      </a:lnTo>
                      <a:lnTo>
                        <a:pt x="75712" y="159106"/>
                      </a:lnTo>
                      <a:lnTo>
                        <a:pt x="71872" y="156911"/>
                      </a:lnTo>
                      <a:lnTo>
                        <a:pt x="60350" y="155814"/>
                      </a:lnTo>
                      <a:lnTo>
                        <a:pt x="54864" y="158557"/>
                      </a:lnTo>
                      <a:lnTo>
                        <a:pt x="48280" y="158008"/>
                      </a:lnTo>
                      <a:lnTo>
                        <a:pt x="48280" y="150876"/>
                      </a:lnTo>
                      <a:lnTo>
                        <a:pt x="51572" y="146487"/>
                      </a:lnTo>
                      <a:lnTo>
                        <a:pt x="50475" y="139903"/>
                      </a:lnTo>
                      <a:lnTo>
                        <a:pt x="46086" y="137160"/>
                      </a:lnTo>
                      <a:lnTo>
                        <a:pt x="42794" y="138806"/>
                      </a:lnTo>
                      <a:lnTo>
                        <a:pt x="39502" y="144841"/>
                      </a:lnTo>
                      <a:lnTo>
                        <a:pt x="33467" y="145938"/>
                      </a:lnTo>
                      <a:lnTo>
                        <a:pt x="27432" y="128382"/>
                      </a:lnTo>
                      <a:lnTo>
                        <a:pt x="27432" y="126736"/>
                      </a:lnTo>
                      <a:lnTo>
                        <a:pt x="30175" y="128930"/>
                      </a:lnTo>
                      <a:lnTo>
                        <a:pt x="29626" y="125639"/>
                      </a:lnTo>
                      <a:lnTo>
                        <a:pt x="23591" y="118506"/>
                      </a:lnTo>
                      <a:lnTo>
                        <a:pt x="23591" y="117409"/>
                      </a:lnTo>
                      <a:lnTo>
                        <a:pt x="25237" y="113020"/>
                      </a:lnTo>
                      <a:lnTo>
                        <a:pt x="24689" y="107533"/>
                      </a:lnTo>
                      <a:lnTo>
                        <a:pt x="15910" y="88331"/>
                      </a:lnTo>
                      <a:lnTo>
                        <a:pt x="6584" y="80101"/>
                      </a:lnTo>
                      <a:lnTo>
                        <a:pt x="0" y="57607"/>
                      </a:lnTo>
                      <a:lnTo>
                        <a:pt x="1646" y="45537"/>
                      </a:lnTo>
                      <a:lnTo>
                        <a:pt x="6035" y="42245"/>
                      </a:lnTo>
                      <a:lnTo>
                        <a:pt x="9875" y="35113"/>
                      </a:lnTo>
                      <a:lnTo>
                        <a:pt x="14813" y="32370"/>
                      </a:lnTo>
                      <a:lnTo>
                        <a:pt x="29078" y="14265"/>
                      </a:lnTo>
                      <a:lnTo>
                        <a:pt x="34564" y="12070"/>
                      </a:lnTo>
                      <a:lnTo>
                        <a:pt x="95463" y="13167"/>
                      </a:lnTo>
                      <a:lnTo>
                        <a:pt x="102047" y="19751"/>
                      </a:lnTo>
                      <a:lnTo>
                        <a:pt x="109179" y="16459"/>
                      </a:lnTo>
                      <a:lnTo>
                        <a:pt x="114666" y="21946"/>
                      </a:lnTo>
                      <a:lnTo>
                        <a:pt x="134417" y="27432"/>
                      </a:lnTo>
                      <a:lnTo>
                        <a:pt x="141001" y="25786"/>
                      </a:lnTo>
                      <a:lnTo>
                        <a:pt x="141549" y="15911"/>
                      </a:lnTo>
                      <a:lnTo>
                        <a:pt x="159654" y="6584"/>
                      </a:lnTo>
                      <a:lnTo>
                        <a:pt x="165689" y="7132"/>
                      </a:lnTo>
                      <a:lnTo>
                        <a:pt x="171176" y="12619"/>
                      </a:lnTo>
                      <a:lnTo>
                        <a:pt x="176662" y="12619"/>
                      </a:lnTo>
                      <a:lnTo>
                        <a:pt x="183246" y="9875"/>
                      </a:lnTo>
                      <a:lnTo>
                        <a:pt x="190927" y="3292"/>
                      </a:lnTo>
                      <a:lnTo>
                        <a:pt x="193121" y="0"/>
                      </a:lnTo>
                      <a:lnTo>
                        <a:pt x="193670" y="35662"/>
                      </a:lnTo>
                      <a:lnTo>
                        <a:pt x="198608" y="45537"/>
                      </a:lnTo>
                      <a:lnTo>
                        <a:pt x="195865" y="87782"/>
                      </a:lnTo>
                      <a:lnTo>
                        <a:pt x="191475" y="93817"/>
                      </a:lnTo>
                      <a:lnTo>
                        <a:pt x="185440" y="92171"/>
                      </a:lnTo>
                      <a:lnTo>
                        <a:pt x="173919" y="100950"/>
                      </a:lnTo>
                      <a:lnTo>
                        <a:pt x="168433" y="100950"/>
                      </a:lnTo>
                      <a:lnTo>
                        <a:pt x="155814" y="106436"/>
                      </a:lnTo>
                      <a:lnTo>
                        <a:pt x="155265" y="113020"/>
                      </a:lnTo>
                      <a:lnTo>
                        <a:pt x="135514" y="116312"/>
                      </a:lnTo>
                      <a:lnTo>
                        <a:pt x="133868" y="126187"/>
                      </a:lnTo>
                      <a:lnTo>
                        <a:pt x="135514" y="137709"/>
                      </a:lnTo>
                      <a:lnTo>
                        <a:pt x="126187" y="140452"/>
                      </a:lnTo>
                      <a:lnTo>
                        <a:pt x="117958" y="146487"/>
                      </a:lnTo>
                      <a:lnTo>
                        <a:pt x="110825" y="148681"/>
                      </a:lnTo>
                      <a:lnTo>
                        <a:pt x="105887" y="147035"/>
                      </a:lnTo>
                      <a:lnTo>
                        <a:pt x="102047" y="147035"/>
                      </a:lnTo>
                      <a:lnTo>
                        <a:pt x="100401" y="153071"/>
                      </a:lnTo>
                      <a:lnTo>
                        <a:pt x="97109" y="156911"/>
                      </a:lnTo>
                      <a:lnTo>
                        <a:pt x="81199" y="161849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12" name="Graphic 7">
                  <a:extLst>
                    <a:ext uri="{FF2B5EF4-FFF2-40B4-BE49-F238E27FC236}">
                      <a16:creationId xmlns:a16="http://schemas.microsoft.com/office/drawing/2014/main" id="{59847BD6-98CF-F653-CA10-8D570FFAEB80}"/>
                    </a:ext>
                  </a:extLst>
                </p:cNvPr>
                <p:cNvSpPr/>
                <p:nvPr/>
              </p:nvSpPr>
              <p:spPr>
                <a:xfrm>
                  <a:off x="8583343" y="4322191"/>
                  <a:ext cx="41578" cy="30433"/>
                </a:xfrm>
                <a:custGeom>
                  <a:avLst/>
                  <a:gdLst>
                    <a:gd name="connsiteX0" fmla="*/ 46086 w 53218"/>
                    <a:gd name="connsiteY0" fmla="*/ 5486 h 38953"/>
                    <a:gd name="connsiteX1" fmla="*/ 49926 w 53218"/>
                    <a:gd name="connsiteY1" fmla="*/ 8778 h 38953"/>
                    <a:gd name="connsiteX2" fmla="*/ 52121 w 53218"/>
                    <a:gd name="connsiteY2" fmla="*/ 13716 h 38953"/>
                    <a:gd name="connsiteX3" fmla="*/ 53218 w 53218"/>
                    <a:gd name="connsiteY3" fmla="*/ 21946 h 38953"/>
                    <a:gd name="connsiteX4" fmla="*/ 51572 w 53218"/>
                    <a:gd name="connsiteY4" fmla="*/ 25237 h 38953"/>
                    <a:gd name="connsiteX5" fmla="*/ 47732 w 53218"/>
                    <a:gd name="connsiteY5" fmla="*/ 25237 h 38953"/>
                    <a:gd name="connsiteX6" fmla="*/ 44440 w 53218"/>
                    <a:gd name="connsiteY6" fmla="*/ 23043 h 38953"/>
                    <a:gd name="connsiteX7" fmla="*/ 40051 w 53218"/>
                    <a:gd name="connsiteY7" fmla="*/ 13167 h 38953"/>
                    <a:gd name="connsiteX8" fmla="*/ 37856 w 53218"/>
                    <a:gd name="connsiteY8" fmla="*/ 10973 h 38953"/>
                    <a:gd name="connsiteX9" fmla="*/ 35113 w 53218"/>
                    <a:gd name="connsiteY9" fmla="*/ 10973 h 38953"/>
                    <a:gd name="connsiteX10" fmla="*/ 31821 w 53218"/>
                    <a:gd name="connsiteY10" fmla="*/ 12619 h 38953"/>
                    <a:gd name="connsiteX11" fmla="*/ 29078 w 53218"/>
                    <a:gd name="connsiteY11" fmla="*/ 15362 h 38953"/>
                    <a:gd name="connsiteX12" fmla="*/ 28529 w 53218"/>
                    <a:gd name="connsiteY12" fmla="*/ 32370 h 38953"/>
                    <a:gd name="connsiteX13" fmla="*/ 26335 w 53218"/>
                    <a:gd name="connsiteY13" fmla="*/ 37307 h 38953"/>
                    <a:gd name="connsiteX14" fmla="*/ 23591 w 53218"/>
                    <a:gd name="connsiteY14" fmla="*/ 38953 h 38953"/>
                    <a:gd name="connsiteX15" fmla="*/ 20300 w 53218"/>
                    <a:gd name="connsiteY15" fmla="*/ 38405 h 38953"/>
                    <a:gd name="connsiteX16" fmla="*/ 2743 w 53218"/>
                    <a:gd name="connsiteY16" fmla="*/ 19202 h 38953"/>
                    <a:gd name="connsiteX17" fmla="*/ 0 w 53218"/>
                    <a:gd name="connsiteY17" fmla="*/ 18105 h 38953"/>
                    <a:gd name="connsiteX18" fmla="*/ 1097 w 53218"/>
                    <a:gd name="connsiteY18" fmla="*/ 17008 h 38953"/>
                    <a:gd name="connsiteX19" fmla="*/ 17557 w 53218"/>
                    <a:gd name="connsiteY19" fmla="*/ 13716 h 38953"/>
                    <a:gd name="connsiteX20" fmla="*/ 35662 w 53218"/>
                    <a:gd name="connsiteY20" fmla="*/ 0 h 38953"/>
                    <a:gd name="connsiteX21" fmla="*/ 37307 w 53218"/>
                    <a:gd name="connsiteY21" fmla="*/ 4938 h 38953"/>
                    <a:gd name="connsiteX22" fmla="*/ 46086 w 53218"/>
                    <a:gd name="connsiteY22" fmla="*/ 5486 h 389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53218" h="38953">
                      <a:moveTo>
                        <a:pt x="46086" y="5486"/>
                      </a:moveTo>
                      <a:lnTo>
                        <a:pt x="49926" y="8778"/>
                      </a:lnTo>
                      <a:lnTo>
                        <a:pt x="52121" y="13716"/>
                      </a:lnTo>
                      <a:lnTo>
                        <a:pt x="53218" y="21946"/>
                      </a:lnTo>
                      <a:lnTo>
                        <a:pt x="51572" y="25237"/>
                      </a:lnTo>
                      <a:lnTo>
                        <a:pt x="47732" y="25237"/>
                      </a:lnTo>
                      <a:lnTo>
                        <a:pt x="44440" y="23043"/>
                      </a:lnTo>
                      <a:lnTo>
                        <a:pt x="40051" y="13167"/>
                      </a:lnTo>
                      <a:lnTo>
                        <a:pt x="37856" y="10973"/>
                      </a:lnTo>
                      <a:lnTo>
                        <a:pt x="35113" y="10973"/>
                      </a:lnTo>
                      <a:lnTo>
                        <a:pt x="31821" y="12619"/>
                      </a:lnTo>
                      <a:lnTo>
                        <a:pt x="29078" y="15362"/>
                      </a:lnTo>
                      <a:lnTo>
                        <a:pt x="28529" y="32370"/>
                      </a:lnTo>
                      <a:lnTo>
                        <a:pt x="26335" y="37307"/>
                      </a:lnTo>
                      <a:lnTo>
                        <a:pt x="23591" y="38953"/>
                      </a:lnTo>
                      <a:lnTo>
                        <a:pt x="20300" y="38405"/>
                      </a:lnTo>
                      <a:lnTo>
                        <a:pt x="2743" y="19202"/>
                      </a:lnTo>
                      <a:lnTo>
                        <a:pt x="0" y="18105"/>
                      </a:lnTo>
                      <a:lnTo>
                        <a:pt x="1097" y="17008"/>
                      </a:lnTo>
                      <a:lnTo>
                        <a:pt x="17557" y="13716"/>
                      </a:lnTo>
                      <a:lnTo>
                        <a:pt x="35662" y="0"/>
                      </a:lnTo>
                      <a:lnTo>
                        <a:pt x="37307" y="4938"/>
                      </a:lnTo>
                      <a:lnTo>
                        <a:pt x="46086" y="5486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13" name="Graphic 7">
                  <a:extLst>
                    <a:ext uri="{FF2B5EF4-FFF2-40B4-BE49-F238E27FC236}">
                      <a16:creationId xmlns:a16="http://schemas.microsoft.com/office/drawing/2014/main" id="{7E47169B-EFFB-8D3B-24DB-0E457E303436}"/>
                    </a:ext>
                  </a:extLst>
                </p:cNvPr>
                <p:cNvSpPr/>
                <p:nvPr/>
              </p:nvSpPr>
              <p:spPr>
                <a:xfrm>
                  <a:off x="7842649" y="3610216"/>
                  <a:ext cx="99445" cy="52294"/>
                </a:xfrm>
                <a:custGeom>
                  <a:avLst/>
                  <a:gdLst>
                    <a:gd name="connsiteX0" fmla="*/ 111922 w 127284"/>
                    <a:gd name="connsiteY0" fmla="*/ 21946 h 66933"/>
                    <a:gd name="connsiteX1" fmla="*/ 111374 w 127284"/>
                    <a:gd name="connsiteY1" fmla="*/ 20299 h 66933"/>
                    <a:gd name="connsiteX2" fmla="*/ 102595 w 127284"/>
                    <a:gd name="connsiteY2" fmla="*/ 15362 h 66933"/>
                    <a:gd name="connsiteX3" fmla="*/ 100401 w 127284"/>
                    <a:gd name="connsiteY3" fmla="*/ 12619 h 66933"/>
                    <a:gd name="connsiteX4" fmla="*/ 98755 w 127284"/>
                    <a:gd name="connsiteY4" fmla="*/ 11521 h 66933"/>
                    <a:gd name="connsiteX5" fmla="*/ 88879 w 127284"/>
                    <a:gd name="connsiteY5" fmla="*/ 14265 h 66933"/>
                    <a:gd name="connsiteX6" fmla="*/ 65288 w 127284"/>
                    <a:gd name="connsiteY6" fmla="*/ 9875 h 66933"/>
                    <a:gd name="connsiteX7" fmla="*/ 60350 w 127284"/>
                    <a:gd name="connsiteY7" fmla="*/ 6583 h 66933"/>
                    <a:gd name="connsiteX8" fmla="*/ 60350 w 127284"/>
                    <a:gd name="connsiteY8" fmla="*/ 4938 h 66933"/>
                    <a:gd name="connsiteX9" fmla="*/ 57607 w 127284"/>
                    <a:gd name="connsiteY9" fmla="*/ 1097 h 66933"/>
                    <a:gd name="connsiteX10" fmla="*/ 53767 w 127284"/>
                    <a:gd name="connsiteY10" fmla="*/ 0 h 66933"/>
                    <a:gd name="connsiteX11" fmla="*/ 43891 w 127284"/>
                    <a:gd name="connsiteY11" fmla="*/ 1097 h 66933"/>
                    <a:gd name="connsiteX12" fmla="*/ 36210 w 127284"/>
                    <a:gd name="connsiteY12" fmla="*/ 4389 h 66933"/>
                    <a:gd name="connsiteX13" fmla="*/ 28529 w 127284"/>
                    <a:gd name="connsiteY13" fmla="*/ 11521 h 66933"/>
                    <a:gd name="connsiteX14" fmla="*/ 21397 w 127284"/>
                    <a:gd name="connsiteY14" fmla="*/ 23043 h 66933"/>
                    <a:gd name="connsiteX15" fmla="*/ 7132 w 127284"/>
                    <a:gd name="connsiteY15" fmla="*/ 36759 h 66933"/>
                    <a:gd name="connsiteX16" fmla="*/ 5486 w 127284"/>
                    <a:gd name="connsiteY16" fmla="*/ 42794 h 66933"/>
                    <a:gd name="connsiteX17" fmla="*/ 0 w 127284"/>
                    <a:gd name="connsiteY17" fmla="*/ 48829 h 66933"/>
                    <a:gd name="connsiteX18" fmla="*/ 0 w 127284"/>
                    <a:gd name="connsiteY18" fmla="*/ 52121 h 66933"/>
                    <a:gd name="connsiteX19" fmla="*/ 3292 w 127284"/>
                    <a:gd name="connsiteY19" fmla="*/ 53218 h 66933"/>
                    <a:gd name="connsiteX20" fmla="*/ 3840 w 127284"/>
                    <a:gd name="connsiteY20" fmla="*/ 54864 h 66933"/>
                    <a:gd name="connsiteX21" fmla="*/ 3840 w 127284"/>
                    <a:gd name="connsiteY21" fmla="*/ 59802 h 66933"/>
                    <a:gd name="connsiteX22" fmla="*/ 4938 w 127284"/>
                    <a:gd name="connsiteY22" fmla="*/ 60899 h 66933"/>
                    <a:gd name="connsiteX23" fmla="*/ 7132 w 127284"/>
                    <a:gd name="connsiteY23" fmla="*/ 60350 h 66933"/>
                    <a:gd name="connsiteX24" fmla="*/ 9875 w 127284"/>
                    <a:gd name="connsiteY24" fmla="*/ 62545 h 66933"/>
                    <a:gd name="connsiteX25" fmla="*/ 45537 w 127284"/>
                    <a:gd name="connsiteY25" fmla="*/ 66934 h 66933"/>
                    <a:gd name="connsiteX26" fmla="*/ 61996 w 127284"/>
                    <a:gd name="connsiteY26" fmla="*/ 61447 h 66933"/>
                    <a:gd name="connsiteX27" fmla="*/ 78455 w 127284"/>
                    <a:gd name="connsiteY27" fmla="*/ 64191 h 66933"/>
                    <a:gd name="connsiteX28" fmla="*/ 121249 w 127284"/>
                    <a:gd name="connsiteY28" fmla="*/ 57607 h 66933"/>
                    <a:gd name="connsiteX29" fmla="*/ 126736 w 127284"/>
                    <a:gd name="connsiteY29" fmla="*/ 54864 h 66933"/>
                    <a:gd name="connsiteX30" fmla="*/ 127284 w 127284"/>
                    <a:gd name="connsiteY30" fmla="*/ 52669 h 66933"/>
                    <a:gd name="connsiteX31" fmla="*/ 126187 w 127284"/>
                    <a:gd name="connsiteY31" fmla="*/ 49926 h 66933"/>
                    <a:gd name="connsiteX32" fmla="*/ 127284 w 127284"/>
                    <a:gd name="connsiteY32" fmla="*/ 40051 h 66933"/>
                    <a:gd name="connsiteX33" fmla="*/ 122895 w 127284"/>
                    <a:gd name="connsiteY33" fmla="*/ 36210 h 66933"/>
                    <a:gd name="connsiteX34" fmla="*/ 110825 w 127284"/>
                    <a:gd name="connsiteY34" fmla="*/ 31272 h 66933"/>
                    <a:gd name="connsiteX35" fmla="*/ 110277 w 127284"/>
                    <a:gd name="connsiteY35" fmla="*/ 29078 h 66933"/>
                    <a:gd name="connsiteX36" fmla="*/ 110277 w 127284"/>
                    <a:gd name="connsiteY36" fmla="*/ 27432 h 66933"/>
                    <a:gd name="connsiteX37" fmla="*/ 111922 w 127284"/>
                    <a:gd name="connsiteY37" fmla="*/ 23591 h 66933"/>
                    <a:gd name="connsiteX38" fmla="*/ 111922 w 127284"/>
                    <a:gd name="connsiteY38" fmla="*/ 21946 h 669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</a:cxnLst>
                  <a:rect l="l" t="t" r="r" b="b"/>
                  <a:pathLst>
                    <a:path w="127284" h="66933">
                      <a:moveTo>
                        <a:pt x="111922" y="21946"/>
                      </a:moveTo>
                      <a:lnTo>
                        <a:pt x="111374" y="20299"/>
                      </a:lnTo>
                      <a:lnTo>
                        <a:pt x="102595" y="15362"/>
                      </a:lnTo>
                      <a:lnTo>
                        <a:pt x="100401" y="12619"/>
                      </a:lnTo>
                      <a:lnTo>
                        <a:pt x="98755" y="11521"/>
                      </a:lnTo>
                      <a:lnTo>
                        <a:pt x="88879" y="14265"/>
                      </a:lnTo>
                      <a:lnTo>
                        <a:pt x="65288" y="9875"/>
                      </a:lnTo>
                      <a:lnTo>
                        <a:pt x="60350" y="6583"/>
                      </a:lnTo>
                      <a:lnTo>
                        <a:pt x="60350" y="4938"/>
                      </a:lnTo>
                      <a:lnTo>
                        <a:pt x="57607" y="1097"/>
                      </a:lnTo>
                      <a:lnTo>
                        <a:pt x="53767" y="0"/>
                      </a:lnTo>
                      <a:lnTo>
                        <a:pt x="43891" y="1097"/>
                      </a:lnTo>
                      <a:lnTo>
                        <a:pt x="36210" y="4389"/>
                      </a:lnTo>
                      <a:lnTo>
                        <a:pt x="28529" y="11521"/>
                      </a:lnTo>
                      <a:lnTo>
                        <a:pt x="21397" y="23043"/>
                      </a:lnTo>
                      <a:lnTo>
                        <a:pt x="7132" y="36759"/>
                      </a:lnTo>
                      <a:lnTo>
                        <a:pt x="5486" y="42794"/>
                      </a:lnTo>
                      <a:lnTo>
                        <a:pt x="0" y="48829"/>
                      </a:lnTo>
                      <a:lnTo>
                        <a:pt x="0" y="52121"/>
                      </a:lnTo>
                      <a:lnTo>
                        <a:pt x="3292" y="53218"/>
                      </a:lnTo>
                      <a:lnTo>
                        <a:pt x="3840" y="54864"/>
                      </a:lnTo>
                      <a:lnTo>
                        <a:pt x="3840" y="59802"/>
                      </a:lnTo>
                      <a:lnTo>
                        <a:pt x="4938" y="60899"/>
                      </a:lnTo>
                      <a:lnTo>
                        <a:pt x="7132" y="60350"/>
                      </a:lnTo>
                      <a:lnTo>
                        <a:pt x="9875" y="62545"/>
                      </a:lnTo>
                      <a:lnTo>
                        <a:pt x="45537" y="66934"/>
                      </a:lnTo>
                      <a:lnTo>
                        <a:pt x="61996" y="61447"/>
                      </a:lnTo>
                      <a:lnTo>
                        <a:pt x="78455" y="64191"/>
                      </a:lnTo>
                      <a:lnTo>
                        <a:pt x="121249" y="57607"/>
                      </a:lnTo>
                      <a:lnTo>
                        <a:pt x="126736" y="54864"/>
                      </a:lnTo>
                      <a:lnTo>
                        <a:pt x="127284" y="52669"/>
                      </a:lnTo>
                      <a:lnTo>
                        <a:pt x="126187" y="49926"/>
                      </a:lnTo>
                      <a:lnTo>
                        <a:pt x="127284" y="40051"/>
                      </a:lnTo>
                      <a:lnTo>
                        <a:pt x="122895" y="36210"/>
                      </a:lnTo>
                      <a:lnTo>
                        <a:pt x="110825" y="31272"/>
                      </a:lnTo>
                      <a:lnTo>
                        <a:pt x="110277" y="29078"/>
                      </a:lnTo>
                      <a:lnTo>
                        <a:pt x="110277" y="27432"/>
                      </a:lnTo>
                      <a:lnTo>
                        <a:pt x="111922" y="23591"/>
                      </a:lnTo>
                      <a:lnTo>
                        <a:pt x="111922" y="21946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14" name="Graphic 7">
                  <a:extLst>
                    <a:ext uri="{FF2B5EF4-FFF2-40B4-BE49-F238E27FC236}">
                      <a16:creationId xmlns:a16="http://schemas.microsoft.com/office/drawing/2014/main" id="{ADB526E3-D748-4B2A-89D9-48F15EDD366A}"/>
                    </a:ext>
                  </a:extLst>
                </p:cNvPr>
                <p:cNvSpPr/>
                <p:nvPr/>
              </p:nvSpPr>
              <p:spPr>
                <a:xfrm>
                  <a:off x="8282436" y="4425066"/>
                  <a:ext cx="8572" cy="6858"/>
                </a:xfrm>
                <a:custGeom>
                  <a:avLst/>
                  <a:gdLst>
                    <a:gd name="connsiteX0" fmla="*/ 10973 w 10972"/>
                    <a:gd name="connsiteY0" fmla="*/ 4389 h 8778"/>
                    <a:gd name="connsiteX1" fmla="*/ 10424 w 10972"/>
                    <a:gd name="connsiteY1" fmla="*/ 549 h 8778"/>
                    <a:gd name="connsiteX2" fmla="*/ 7132 w 10972"/>
                    <a:gd name="connsiteY2" fmla="*/ 0 h 8778"/>
                    <a:gd name="connsiteX3" fmla="*/ 2195 w 10972"/>
                    <a:gd name="connsiteY3" fmla="*/ 2195 h 8778"/>
                    <a:gd name="connsiteX4" fmla="*/ 0 w 10972"/>
                    <a:gd name="connsiteY4" fmla="*/ 7132 h 8778"/>
                    <a:gd name="connsiteX5" fmla="*/ 0 w 10972"/>
                    <a:gd name="connsiteY5" fmla="*/ 8230 h 8778"/>
                    <a:gd name="connsiteX6" fmla="*/ 4389 w 10972"/>
                    <a:gd name="connsiteY6" fmla="*/ 8778 h 8778"/>
                    <a:gd name="connsiteX7" fmla="*/ 8778 w 10972"/>
                    <a:gd name="connsiteY7" fmla="*/ 7681 h 8778"/>
                    <a:gd name="connsiteX8" fmla="*/ 10973 w 10972"/>
                    <a:gd name="connsiteY8" fmla="*/ 4389 h 87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0972" h="8778">
                      <a:moveTo>
                        <a:pt x="10973" y="4389"/>
                      </a:moveTo>
                      <a:lnTo>
                        <a:pt x="10424" y="549"/>
                      </a:lnTo>
                      <a:lnTo>
                        <a:pt x="7132" y="0"/>
                      </a:lnTo>
                      <a:lnTo>
                        <a:pt x="2195" y="2195"/>
                      </a:lnTo>
                      <a:lnTo>
                        <a:pt x="0" y="7132"/>
                      </a:lnTo>
                      <a:lnTo>
                        <a:pt x="0" y="8230"/>
                      </a:lnTo>
                      <a:lnTo>
                        <a:pt x="4389" y="8778"/>
                      </a:lnTo>
                      <a:lnTo>
                        <a:pt x="8778" y="7681"/>
                      </a:lnTo>
                      <a:lnTo>
                        <a:pt x="10973" y="4389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15" name="Graphic 7">
                  <a:extLst>
                    <a:ext uri="{FF2B5EF4-FFF2-40B4-BE49-F238E27FC236}">
                      <a16:creationId xmlns:a16="http://schemas.microsoft.com/office/drawing/2014/main" id="{A9637231-6389-B517-9EF2-2C8E0F0D8A80}"/>
                    </a:ext>
                  </a:extLst>
                </p:cNvPr>
                <p:cNvSpPr/>
                <p:nvPr/>
              </p:nvSpPr>
              <p:spPr>
                <a:xfrm>
                  <a:off x="9542215" y="4528369"/>
                  <a:ext cx="15002" cy="8144"/>
                </a:xfrm>
                <a:custGeom>
                  <a:avLst/>
                  <a:gdLst>
                    <a:gd name="connsiteX0" fmla="*/ 0 w 19202"/>
                    <a:gd name="connsiteY0" fmla="*/ 549 h 10424"/>
                    <a:gd name="connsiteX1" fmla="*/ 1097 w 19202"/>
                    <a:gd name="connsiteY1" fmla="*/ 0 h 10424"/>
                    <a:gd name="connsiteX2" fmla="*/ 3840 w 19202"/>
                    <a:gd name="connsiteY2" fmla="*/ 0 h 10424"/>
                    <a:gd name="connsiteX3" fmla="*/ 6035 w 19202"/>
                    <a:gd name="connsiteY3" fmla="*/ 1646 h 10424"/>
                    <a:gd name="connsiteX4" fmla="*/ 19202 w 19202"/>
                    <a:gd name="connsiteY4" fmla="*/ 1097 h 10424"/>
                    <a:gd name="connsiteX5" fmla="*/ 15911 w 19202"/>
                    <a:gd name="connsiteY5" fmla="*/ 8230 h 10424"/>
                    <a:gd name="connsiteX6" fmla="*/ 12070 w 19202"/>
                    <a:gd name="connsiteY6" fmla="*/ 6584 h 10424"/>
                    <a:gd name="connsiteX7" fmla="*/ 9327 w 19202"/>
                    <a:gd name="connsiteY7" fmla="*/ 6035 h 10424"/>
                    <a:gd name="connsiteX8" fmla="*/ 7132 w 19202"/>
                    <a:gd name="connsiteY8" fmla="*/ 8230 h 10424"/>
                    <a:gd name="connsiteX9" fmla="*/ 2743 w 19202"/>
                    <a:gd name="connsiteY9" fmla="*/ 10424 h 10424"/>
                    <a:gd name="connsiteX10" fmla="*/ 0 w 19202"/>
                    <a:gd name="connsiteY10" fmla="*/ 6035 h 10424"/>
                    <a:gd name="connsiteX11" fmla="*/ 1097 w 19202"/>
                    <a:gd name="connsiteY11" fmla="*/ 2743 h 10424"/>
                    <a:gd name="connsiteX12" fmla="*/ 549 w 19202"/>
                    <a:gd name="connsiteY12" fmla="*/ 2743 h 10424"/>
                    <a:gd name="connsiteX13" fmla="*/ 0 w 19202"/>
                    <a:gd name="connsiteY13" fmla="*/ 549 h 104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9202" h="10424">
                      <a:moveTo>
                        <a:pt x="0" y="549"/>
                      </a:moveTo>
                      <a:lnTo>
                        <a:pt x="1097" y="0"/>
                      </a:lnTo>
                      <a:lnTo>
                        <a:pt x="3840" y="0"/>
                      </a:lnTo>
                      <a:lnTo>
                        <a:pt x="6035" y="1646"/>
                      </a:lnTo>
                      <a:lnTo>
                        <a:pt x="19202" y="1097"/>
                      </a:lnTo>
                      <a:lnTo>
                        <a:pt x="15911" y="8230"/>
                      </a:lnTo>
                      <a:lnTo>
                        <a:pt x="12070" y="6584"/>
                      </a:lnTo>
                      <a:lnTo>
                        <a:pt x="9327" y="6035"/>
                      </a:lnTo>
                      <a:lnTo>
                        <a:pt x="7132" y="8230"/>
                      </a:lnTo>
                      <a:lnTo>
                        <a:pt x="2743" y="10424"/>
                      </a:lnTo>
                      <a:lnTo>
                        <a:pt x="0" y="6035"/>
                      </a:lnTo>
                      <a:lnTo>
                        <a:pt x="1097" y="2743"/>
                      </a:lnTo>
                      <a:lnTo>
                        <a:pt x="549" y="2743"/>
                      </a:lnTo>
                      <a:lnTo>
                        <a:pt x="0" y="549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16" name="Graphic 7">
                  <a:extLst>
                    <a:ext uri="{FF2B5EF4-FFF2-40B4-BE49-F238E27FC236}">
                      <a16:creationId xmlns:a16="http://schemas.microsoft.com/office/drawing/2014/main" id="{C0C44C10-5AB9-7536-B298-FD88A1018D94}"/>
                    </a:ext>
                  </a:extLst>
                </p:cNvPr>
                <p:cNvSpPr/>
                <p:nvPr/>
              </p:nvSpPr>
              <p:spPr>
                <a:xfrm>
                  <a:off x="9628801" y="4508651"/>
                  <a:ext cx="6001" cy="7715"/>
                </a:xfrm>
                <a:custGeom>
                  <a:avLst/>
                  <a:gdLst>
                    <a:gd name="connsiteX0" fmla="*/ 549 w 7681"/>
                    <a:gd name="connsiteY0" fmla="*/ 1097 h 9875"/>
                    <a:gd name="connsiteX1" fmla="*/ 2743 w 7681"/>
                    <a:gd name="connsiteY1" fmla="*/ 0 h 9875"/>
                    <a:gd name="connsiteX2" fmla="*/ 7681 w 7681"/>
                    <a:gd name="connsiteY2" fmla="*/ 7681 h 9875"/>
                    <a:gd name="connsiteX3" fmla="*/ 5486 w 7681"/>
                    <a:gd name="connsiteY3" fmla="*/ 9875 h 9875"/>
                    <a:gd name="connsiteX4" fmla="*/ 1098 w 7681"/>
                    <a:gd name="connsiteY4" fmla="*/ 7132 h 9875"/>
                    <a:gd name="connsiteX5" fmla="*/ 0 w 7681"/>
                    <a:gd name="connsiteY5" fmla="*/ 2743 h 9875"/>
                    <a:gd name="connsiteX6" fmla="*/ 549 w 7681"/>
                    <a:gd name="connsiteY6" fmla="*/ 1097 h 9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681" h="9875">
                      <a:moveTo>
                        <a:pt x="549" y="1097"/>
                      </a:moveTo>
                      <a:lnTo>
                        <a:pt x="2743" y="0"/>
                      </a:lnTo>
                      <a:lnTo>
                        <a:pt x="7681" y="7681"/>
                      </a:lnTo>
                      <a:lnTo>
                        <a:pt x="5486" y="9875"/>
                      </a:lnTo>
                      <a:lnTo>
                        <a:pt x="1098" y="7132"/>
                      </a:lnTo>
                      <a:lnTo>
                        <a:pt x="0" y="2743"/>
                      </a:lnTo>
                      <a:lnTo>
                        <a:pt x="549" y="1097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17" name="Graphic 7">
                  <a:extLst>
                    <a:ext uri="{FF2B5EF4-FFF2-40B4-BE49-F238E27FC236}">
                      <a16:creationId xmlns:a16="http://schemas.microsoft.com/office/drawing/2014/main" id="{2EE77ECB-56CB-DDBF-BAD3-E3CCEE3C9D1A}"/>
                    </a:ext>
                  </a:extLst>
                </p:cNvPr>
                <p:cNvSpPr/>
                <p:nvPr/>
              </p:nvSpPr>
              <p:spPr>
                <a:xfrm>
                  <a:off x="9642946" y="4540799"/>
                  <a:ext cx="12001" cy="8144"/>
                </a:xfrm>
                <a:custGeom>
                  <a:avLst/>
                  <a:gdLst>
                    <a:gd name="connsiteX0" fmla="*/ 0 w 15361"/>
                    <a:gd name="connsiteY0" fmla="*/ 2743 h 10424"/>
                    <a:gd name="connsiteX1" fmla="*/ 549 w 15361"/>
                    <a:gd name="connsiteY1" fmla="*/ 549 h 10424"/>
                    <a:gd name="connsiteX2" fmla="*/ 13167 w 15361"/>
                    <a:gd name="connsiteY2" fmla="*/ 0 h 10424"/>
                    <a:gd name="connsiteX3" fmla="*/ 15362 w 15361"/>
                    <a:gd name="connsiteY3" fmla="*/ 5486 h 10424"/>
                    <a:gd name="connsiteX4" fmla="*/ 15362 w 15361"/>
                    <a:gd name="connsiteY4" fmla="*/ 8778 h 10424"/>
                    <a:gd name="connsiteX5" fmla="*/ 7132 w 15361"/>
                    <a:gd name="connsiteY5" fmla="*/ 10424 h 10424"/>
                    <a:gd name="connsiteX6" fmla="*/ 0 w 15361"/>
                    <a:gd name="connsiteY6" fmla="*/ 3841 h 10424"/>
                    <a:gd name="connsiteX7" fmla="*/ 0 w 15361"/>
                    <a:gd name="connsiteY7" fmla="*/ 2743 h 104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5361" h="10424">
                      <a:moveTo>
                        <a:pt x="0" y="2743"/>
                      </a:moveTo>
                      <a:lnTo>
                        <a:pt x="549" y="549"/>
                      </a:lnTo>
                      <a:lnTo>
                        <a:pt x="13167" y="0"/>
                      </a:lnTo>
                      <a:lnTo>
                        <a:pt x="15362" y="5486"/>
                      </a:lnTo>
                      <a:lnTo>
                        <a:pt x="15362" y="8778"/>
                      </a:lnTo>
                      <a:lnTo>
                        <a:pt x="7132" y="10424"/>
                      </a:lnTo>
                      <a:lnTo>
                        <a:pt x="0" y="3841"/>
                      </a:lnTo>
                      <a:lnTo>
                        <a:pt x="0" y="2743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18" name="Graphic 7">
                  <a:extLst>
                    <a:ext uri="{FF2B5EF4-FFF2-40B4-BE49-F238E27FC236}">
                      <a16:creationId xmlns:a16="http://schemas.microsoft.com/office/drawing/2014/main" id="{EE3D792A-E04C-CC7F-DC76-6CB4F78576E3}"/>
                    </a:ext>
                  </a:extLst>
                </p:cNvPr>
                <p:cNvSpPr/>
                <p:nvPr/>
              </p:nvSpPr>
              <p:spPr>
                <a:xfrm>
                  <a:off x="9666950" y="4545942"/>
                  <a:ext cx="69011" cy="63867"/>
                </a:xfrm>
                <a:custGeom>
                  <a:avLst/>
                  <a:gdLst>
                    <a:gd name="connsiteX0" fmla="*/ 0 w 88330"/>
                    <a:gd name="connsiteY0" fmla="*/ 2194 h 81747"/>
                    <a:gd name="connsiteX1" fmla="*/ 549 w 88330"/>
                    <a:gd name="connsiteY1" fmla="*/ 0 h 81747"/>
                    <a:gd name="connsiteX2" fmla="*/ 36759 w 88330"/>
                    <a:gd name="connsiteY2" fmla="*/ 23591 h 81747"/>
                    <a:gd name="connsiteX3" fmla="*/ 44440 w 88330"/>
                    <a:gd name="connsiteY3" fmla="*/ 24140 h 81747"/>
                    <a:gd name="connsiteX4" fmla="*/ 64740 w 88330"/>
                    <a:gd name="connsiteY4" fmla="*/ 40051 h 81747"/>
                    <a:gd name="connsiteX5" fmla="*/ 68580 w 88330"/>
                    <a:gd name="connsiteY5" fmla="*/ 45537 h 81747"/>
                    <a:gd name="connsiteX6" fmla="*/ 72969 w 88330"/>
                    <a:gd name="connsiteY6" fmla="*/ 49378 h 81747"/>
                    <a:gd name="connsiteX7" fmla="*/ 80101 w 88330"/>
                    <a:gd name="connsiteY7" fmla="*/ 50475 h 81747"/>
                    <a:gd name="connsiteX8" fmla="*/ 82845 w 88330"/>
                    <a:gd name="connsiteY8" fmla="*/ 53218 h 81747"/>
                    <a:gd name="connsiteX9" fmla="*/ 88331 w 88330"/>
                    <a:gd name="connsiteY9" fmla="*/ 64739 h 81747"/>
                    <a:gd name="connsiteX10" fmla="*/ 88331 w 88330"/>
                    <a:gd name="connsiteY10" fmla="*/ 68031 h 81747"/>
                    <a:gd name="connsiteX11" fmla="*/ 82296 w 88330"/>
                    <a:gd name="connsiteY11" fmla="*/ 81199 h 81747"/>
                    <a:gd name="connsiteX12" fmla="*/ 75713 w 88330"/>
                    <a:gd name="connsiteY12" fmla="*/ 81747 h 81747"/>
                    <a:gd name="connsiteX13" fmla="*/ 58704 w 88330"/>
                    <a:gd name="connsiteY13" fmla="*/ 36759 h 81747"/>
                    <a:gd name="connsiteX14" fmla="*/ 54864 w 88330"/>
                    <a:gd name="connsiteY14" fmla="*/ 33467 h 81747"/>
                    <a:gd name="connsiteX15" fmla="*/ 44440 w 88330"/>
                    <a:gd name="connsiteY15" fmla="*/ 31821 h 81747"/>
                    <a:gd name="connsiteX16" fmla="*/ 31272 w 88330"/>
                    <a:gd name="connsiteY16" fmla="*/ 20848 h 81747"/>
                    <a:gd name="connsiteX17" fmla="*/ 26883 w 88330"/>
                    <a:gd name="connsiteY17" fmla="*/ 20848 h 81747"/>
                    <a:gd name="connsiteX18" fmla="*/ 5486 w 88330"/>
                    <a:gd name="connsiteY18" fmla="*/ 6584 h 81747"/>
                    <a:gd name="connsiteX19" fmla="*/ 0 w 88330"/>
                    <a:gd name="connsiteY19" fmla="*/ 6035 h 81747"/>
                    <a:gd name="connsiteX20" fmla="*/ 0 w 88330"/>
                    <a:gd name="connsiteY20" fmla="*/ 2194 h 817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88330" h="81747">
                      <a:moveTo>
                        <a:pt x="0" y="2194"/>
                      </a:moveTo>
                      <a:lnTo>
                        <a:pt x="549" y="0"/>
                      </a:lnTo>
                      <a:lnTo>
                        <a:pt x="36759" y="23591"/>
                      </a:lnTo>
                      <a:lnTo>
                        <a:pt x="44440" y="24140"/>
                      </a:lnTo>
                      <a:lnTo>
                        <a:pt x="64740" y="40051"/>
                      </a:lnTo>
                      <a:lnTo>
                        <a:pt x="68580" y="45537"/>
                      </a:lnTo>
                      <a:lnTo>
                        <a:pt x="72969" y="49378"/>
                      </a:lnTo>
                      <a:lnTo>
                        <a:pt x="80101" y="50475"/>
                      </a:lnTo>
                      <a:lnTo>
                        <a:pt x="82845" y="53218"/>
                      </a:lnTo>
                      <a:lnTo>
                        <a:pt x="88331" y="64739"/>
                      </a:lnTo>
                      <a:lnTo>
                        <a:pt x="88331" y="68031"/>
                      </a:lnTo>
                      <a:lnTo>
                        <a:pt x="82296" y="81199"/>
                      </a:lnTo>
                      <a:lnTo>
                        <a:pt x="75713" y="81747"/>
                      </a:lnTo>
                      <a:lnTo>
                        <a:pt x="58704" y="36759"/>
                      </a:lnTo>
                      <a:lnTo>
                        <a:pt x="54864" y="33467"/>
                      </a:lnTo>
                      <a:lnTo>
                        <a:pt x="44440" y="31821"/>
                      </a:lnTo>
                      <a:lnTo>
                        <a:pt x="31272" y="20848"/>
                      </a:lnTo>
                      <a:lnTo>
                        <a:pt x="26883" y="20848"/>
                      </a:lnTo>
                      <a:lnTo>
                        <a:pt x="5486" y="6584"/>
                      </a:lnTo>
                      <a:lnTo>
                        <a:pt x="0" y="6035"/>
                      </a:lnTo>
                      <a:lnTo>
                        <a:pt x="0" y="2194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19" name="Graphic 7">
                  <a:extLst>
                    <a:ext uri="{FF2B5EF4-FFF2-40B4-BE49-F238E27FC236}">
                      <a16:creationId xmlns:a16="http://schemas.microsoft.com/office/drawing/2014/main" id="{C756C47D-006B-ADEF-CDD3-530CD5589EA8}"/>
                    </a:ext>
                  </a:extLst>
                </p:cNvPr>
                <p:cNvSpPr/>
                <p:nvPr/>
              </p:nvSpPr>
              <p:spPr>
                <a:xfrm>
                  <a:off x="9555932" y="4623955"/>
                  <a:ext cx="5572" cy="6429"/>
                </a:xfrm>
                <a:custGeom>
                  <a:avLst/>
                  <a:gdLst>
                    <a:gd name="connsiteX0" fmla="*/ 549 w 7132"/>
                    <a:gd name="connsiteY0" fmla="*/ 0 h 8229"/>
                    <a:gd name="connsiteX1" fmla="*/ 3292 w 7132"/>
                    <a:gd name="connsiteY1" fmla="*/ 0 h 8229"/>
                    <a:gd name="connsiteX2" fmla="*/ 4938 w 7132"/>
                    <a:gd name="connsiteY2" fmla="*/ 1646 h 8229"/>
                    <a:gd name="connsiteX3" fmla="*/ 7133 w 7132"/>
                    <a:gd name="connsiteY3" fmla="*/ 4938 h 8229"/>
                    <a:gd name="connsiteX4" fmla="*/ 4938 w 7132"/>
                    <a:gd name="connsiteY4" fmla="*/ 8230 h 8229"/>
                    <a:gd name="connsiteX5" fmla="*/ 2195 w 7132"/>
                    <a:gd name="connsiteY5" fmla="*/ 7132 h 8229"/>
                    <a:gd name="connsiteX6" fmla="*/ 0 w 7132"/>
                    <a:gd name="connsiteY6" fmla="*/ 2743 h 8229"/>
                    <a:gd name="connsiteX7" fmla="*/ 549 w 7132"/>
                    <a:gd name="connsiteY7" fmla="*/ 0 h 82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7132" h="8229">
                      <a:moveTo>
                        <a:pt x="549" y="0"/>
                      </a:moveTo>
                      <a:lnTo>
                        <a:pt x="3292" y="0"/>
                      </a:lnTo>
                      <a:lnTo>
                        <a:pt x="4938" y="1646"/>
                      </a:lnTo>
                      <a:lnTo>
                        <a:pt x="7133" y="4938"/>
                      </a:lnTo>
                      <a:lnTo>
                        <a:pt x="4938" y="8230"/>
                      </a:lnTo>
                      <a:lnTo>
                        <a:pt x="2195" y="7132"/>
                      </a:lnTo>
                      <a:lnTo>
                        <a:pt x="0" y="2743"/>
                      </a:lnTo>
                      <a:lnTo>
                        <a:pt x="549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20" name="Graphic 7">
                  <a:extLst>
                    <a:ext uri="{FF2B5EF4-FFF2-40B4-BE49-F238E27FC236}">
                      <a16:creationId xmlns:a16="http://schemas.microsoft.com/office/drawing/2014/main" id="{16944440-15B3-D49C-EBF4-44E57E7CFA31}"/>
                    </a:ext>
                  </a:extLst>
                </p:cNvPr>
                <p:cNvSpPr/>
                <p:nvPr/>
              </p:nvSpPr>
              <p:spPr>
                <a:xfrm>
                  <a:off x="9578222" y="4631670"/>
                  <a:ext cx="8143" cy="8143"/>
                </a:xfrm>
                <a:custGeom>
                  <a:avLst/>
                  <a:gdLst>
                    <a:gd name="connsiteX0" fmla="*/ 0 w 10423"/>
                    <a:gd name="connsiteY0" fmla="*/ 549 h 10423"/>
                    <a:gd name="connsiteX1" fmla="*/ 549 w 10423"/>
                    <a:gd name="connsiteY1" fmla="*/ 0 h 10423"/>
                    <a:gd name="connsiteX2" fmla="*/ 3840 w 10423"/>
                    <a:gd name="connsiteY2" fmla="*/ 0 h 10423"/>
                    <a:gd name="connsiteX3" fmla="*/ 9875 w 10423"/>
                    <a:gd name="connsiteY3" fmla="*/ 3292 h 10423"/>
                    <a:gd name="connsiteX4" fmla="*/ 10424 w 10423"/>
                    <a:gd name="connsiteY4" fmla="*/ 10424 h 10423"/>
                    <a:gd name="connsiteX5" fmla="*/ 6583 w 10423"/>
                    <a:gd name="connsiteY5" fmla="*/ 10424 h 10423"/>
                    <a:gd name="connsiteX6" fmla="*/ 0 w 10423"/>
                    <a:gd name="connsiteY6" fmla="*/ 549 h 104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423" h="10423">
                      <a:moveTo>
                        <a:pt x="0" y="549"/>
                      </a:moveTo>
                      <a:lnTo>
                        <a:pt x="549" y="0"/>
                      </a:lnTo>
                      <a:lnTo>
                        <a:pt x="3840" y="0"/>
                      </a:lnTo>
                      <a:lnTo>
                        <a:pt x="9875" y="3292"/>
                      </a:lnTo>
                      <a:lnTo>
                        <a:pt x="10424" y="10424"/>
                      </a:lnTo>
                      <a:lnTo>
                        <a:pt x="6583" y="10424"/>
                      </a:lnTo>
                      <a:lnTo>
                        <a:pt x="0" y="549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21" name="Graphic 7">
                  <a:extLst>
                    <a:ext uri="{FF2B5EF4-FFF2-40B4-BE49-F238E27FC236}">
                      <a16:creationId xmlns:a16="http://schemas.microsoft.com/office/drawing/2014/main" id="{6EF7C3A5-F0EC-6289-B4A0-A238A8A12429}"/>
                    </a:ext>
                  </a:extLst>
                </p:cNvPr>
                <p:cNvSpPr/>
                <p:nvPr/>
              </p:nvSpPr>
              <p:spPr>
                <a:xfrm>
                  <a:off x="9593653" y="4593093"/>
                  <a:ext cx="119162" cy="62152"/>
                </a:xfrm>
                <a:custGeom>
                  <a:avLst/>
                  <a:gdLst>
                    <a:gd name="connsiteX0" fmla="*/ 0 w 152521"/>
                    <a:gd name="connsiteY0" fmla="*/ 49378 h 79552"/>
                    <a:gd name="connsiteX1" fmla="*/ 3292 w 152521"/>
                    <a:gd name="connsiteY1" fmla="*/ 46634 h 79552"/>
                    <a:gd name="connsiteX2" fmla="*/ 7681 w 152521"/>
                    <a:gd name="connsiteY2" fmla="*/ 48280 h 79552"/>
                    <a:gd name="connsiteX3" fmla="*/ 54864 w 152521"/>
                    <a:gd name="connsiteY3" fmla="*/ 49378 h 79552"/>
                    <a:gd name="connsiteX4" fmla="*/ 59802 w 152521"/>
                    <a:gd name="connsiteY4" fmla="*/ 46634 h 79552"/>
                    <a:gd name="connsiteX5" fmla="*/ 59802 w 152521"/>
                    <a:gd name="connsiteY5" fmla="*/ 41697 h 79552"/>
                    <a:gd name="connsiteX6" fmla="*/ 63642 w 152521"/>
                    <a:gd name="connsiteY6" fmla="*/ 34016 h 79552"/>
                    <a:gd name="connsiteX7" fmla="*/ 67482 w 152521"/>
                    <a:gd name="connsiteY7" fmla="*/ 31821 h 79552"/>
                    <a:gd name="connsiteX8" fmla="*/ 69129 w 152521"/>
                    <a:gd name="connsiteY8" fmla="*/ 32918 h 79552"/>
                    <a:gd name="connsiteX9" fmla="*/ 65837 w 152521"/>
                    <a:gd name="connsiteY9" fmla="*/ 39502 h 79552"/>
                    <a:gd name="connsiteX10" fmla="*/ 65288 w 152521"/>
                    <a:gd name="connsiteY10" fmla="*/ 46086 h 79552"/>
                    <a:gd name="connsiteX11" fmla="*/ 69129 w 152521"/>
                    <a:gd name="connsiteY11" fmla="*/ 48280 h 79552"/>
                    <a:gd name="connsiteX12" fmla="*/ 81198 w 152521"/>
                    <a:gd name="connsiteY12" fmla="*/ 46634 h 79552"/>
                    <a:gd name="connsiteX13" fmla="*/ 86136 w 152521"/>
                    <a:gd name="connsiteY13" fmla="*/ 49378 h 79552"/>
                    <a:gd name="connsiteX14" fmla="*/ 92171 w 152521"/>
                    <a:gd name="connsiteY14" fmla="*/ 48829 h 79552"/>
                    <a:gd name="connsiteX15" fmla="*/ 97109 w 152521"/>
                    <a:gd name="connsiteY15" fmla="*/ 46634 h 79552"/>
                    <a:gd name="connsiteX16" fmla="*/ 108630 w 152521"/>
                    <a:gd name="connsiteY16" fmla="*/ 31821 h 79552"/>
                    <a:gd name="connsiteX17" fmla="*/ 115763 w 152521"/>
                    <a:gd name="connsiteY17" fmla="*/ 27981 h 79552"/>
                    <a:gd name="connsiteX18" fmla="*/ 119603 w 152521"/>
                    <a:gd name="connsiteY18" fmla="*/ 28529 h 79552"/>
                    <a:gd name="connsiteX19" fmla="*/ 125639 w 152521"/>
                    <a:gd name="connsiteY19" fmla="*/ 24689 h 79552"/>
                    <a:gd name="connsiteX20" fmla="*/ 126736 w 152521"/>
                    <a:gd name="connsiteY20" fmla="*/ 17557 h 79552"/>
                    <a:gd name="connsiteX21" fmla="*/ 122346 w 152521"/>
                    <a:gd name="connsiteY21" fmla="*/ 5486 h 79552"/>
                    <a:gd name="connsiteX22" fmla="*/ 122346 w 152521"/>
                    <a:gd name="connsiteY22" fmla="*/ 2194 h 79552"/>
                    <a:gd name="connsiteX23" fmla="*/ 128382 w 152521"/>
                    <a:gd name="connsiteY23" fmla="*/ 549 h 79552"/>
                    <a:gd name="connsiteX24" fmla="*/ 132771 w 152521"/>
                    <a:gd name="connsiteY24" fmla="*/ 3292 h 79552"/>
                    <a:gd name="connsiteX25" fmla="*/ 137160 w 152521"/>
                    <a:gd name="connsiteY25" fmla="*/ 2743 h 79552"/>
                    <a:gd name="connsiteX26" fmla="*/ 138806 w 152521"/>
                    <a:gd name="connsiteY26" fmla="*/ 1097 h 79552"/>
                    <a:gd name="connsiteX27" fmla="*/ 143195 w 152521"/>
                    <a:gd name="connsiteY27" fmla="*/ 0 h 79552"/>
                    <a:gd name="connsiteX28" fmla="*/ 148681 w 152521"/>
                    <a:gd name="connsiteY28" fmla="*/ 2194 h 79552"/>
                    <a:gd name="connsiteX29" fmla="*/ 151973 w 152521"/>
                    <a:gd name="connsiteY29" fmla="*/ 8778 h 79552"/>
                    <a:gd name="connsiteX30" fmla="*/ 152522 w 152521"/>
                    <a:gd name="connsiteY30" fmla="*/ 17557 h 79552"/>
                    <a:gd name="connsiteX31" fmla="*/ 151425 w 152521"/>
                    <a:gd name="connsiteY31" fmla="*/ 24140 h 79552"/>
                    <a:gd name="connsiteX32" fmla="*/ 147035 w 152521"/>
                    <a:gd name="connsiteY32" fmla="*/ 28529 h 79552"/>
                    <a:gd name="connsiteX33" fmla="*/ 143195 w 152521"/>
                    <a:gd name="connsiteY33" fmla="*/ 30175 h 79552"/>
                    <a:gd name="connsiteX34" fmla="*/ 141000 w 152521"/>
                    <a:gd name="connsiteY34" fmla="*/ 34564 h 79552"/>
                    <a:gd name="connsiteX35" fmla="*/ 143195 w 152521"/>
                    <a:gd name="connsiteY35" fmla="*/ 42245 h 79552"/>
                    <a:gd name="connsiteX36" fmla="*/ 138806 w 152521"/>
                    <a:gd name="connsiteY36" fmla="*/ 50475 h 79552"/>
                    <a:gd name="connsiteX37" fmla="*/ 133319 w 152521"/>
                    <a:gd name="connsiteY37" fmla="*/ 51572 h 79552"/>
                    <a:gd name="connsiteX38" fmla="*/ 125090 w 152521"/>
                    <a:gd name="connsiteY38" fmla="*/ 50475 h 79552"/>
                    <a:gd name="connsiteX39" fmla="*/ 122346 w 152521"/>
                    <a:gd name="connsiteY39" fmla="*/ 53767 h 79552"/>
                    <a:gd name="connsiteX40" fmla="*/ 121798 w 152521"/>
                    <a:gd name="connsiteY40" fmla="*/ 58705 h 79552"/>
                    <a:gd name="connsiteX41" fmla="*/ 114117 w 152521"/>
                    <a:gd name="connsiteY41" fmla="*/ 66385 h 79552"/>
                    <a:gd name="connsiteX42" fmla="*/ 90526 w 152521"/>
                    <a:gd name="connsiteY42" fmla="*/ 76261 h 79552"/>
                    <a:gd name="connsiteX43" fmla="*/ 52669 w 152521"/>
                    <a:gd name="connsiteY43" fmla="*/ 79553 h 79552"/>
                    <a:gd name="connsiteX44" fmla="*/ 44988 w 152521"/>
                    <a:gd name="connsiteY44" fmla="*/ 72421 h 79552"/>
                    <a:gd name="connsiteX45" fmla="*/ 32370 w 152521"/>
                    <a:gd name="connsiteY45" fmla="*/ 74615 h 79552"/>
                    <a:gd name="connsiteX46" fmla="*/ 17556 w 152521"/>
                    <a:gd name="connsiteY46" fmla="*/ 64739 h 79552"/>
                    <a:gd name="connsiteX47" fmla="*/ 8230 w 152521"/>
                    <a:gd name="connsiteY47" fmla="*/ 62545 h 79552"/>
                    <a:gd name="connsiteX48" fmla="*/ 2195 w 152521"/>
                    <a:gd name="connsiteY48" fmla="*/ 57058 h 79552"/>
                    <a:gd name="connsiteX49" fmla="*/ 0 w 152521"/>
                    <a:gd name="connsiteY49" fmla="*/ 49378 h 795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</a:cxnLst>
                  <a:rect l="l" t="t" r="r" b="b"/>
                  <a:pathLst>
                    <a:path w="152521" h="79552">
                      <a:moveTo>
                        <a:pt x="0" y="49378"/>
                      </a:moveTo>
                      <a:lnTo>
                        <a:pt x="3292" y="46634"/>
                      </a:lnTo>
                      <a:lnTo>
                        <a:pt x="7681" y="48280"/>
                      </a:lnTo>
                      <a:lnTo>
                        <a:pt x="54864" y="49378"/>
                      </a:lnTo>
                      <a:lnTo>
                        <a:pt x="59802" y="46634"/>
                      </a:lnTo>
                      <a:lnTo>
                        <a:pt x="59802" y="41697"/>
                      </a:lnTo>
                      <a:lnTo>
                        <a:pt x="63642" y="34016"/>
                      </a:lnTo>
                      <a:lnTo>
                        <a:pt x="67482" y="31821"/>
                      </a:lnTo>
                      <a:lnTo>
                        <a:pt x="69129" y="32918"/>
                      </a:lnTo>
                      <a:lnTo>
                        <a:pt x="65837" y="39502"/>
                      </a:lnTo>
                      <a:lnTo>
                        <a:pt x="65288" y="46086"/>
                      </a:lnTo>
                      <a:lnTo>
                        <a:pt x="69129" y="48280"/>
                      </a:lnTo>
                      <a:lnTo>
                        <a:pt x="81198" y="46634"/>
                      </a:lnTo>
                      <a:lnTo>
                        <a:pt x="86136" y="49378"/>
                      </a:lnTo>
                      <a:lnTo>
                        <a:pt x="92171" y="48829"/>
                      </a:lnTo>
                      <a:lnTo>
                        <a:pt x="97109" y="46634"/>
                      </a:lnTo>
                      <a:lnTo>
                        <a:pt x="108630" y="31821"/>
                      </a:lnTo>
                      <a:lnTo>
                        <a:pt x="115763" y="27981"/>
                      </a:lnTo>
                      <a:lnTo>
                        <a:pt x="119603" y="28529"/>
                      </a:lnTo>
                      <a:lnTo>
                        <a:pt x="125639" y="24689"/>
                      </a:lnTo>
                      <a:lnTo>
                        <a:pt x="126736" y="17557"/>
                      </a:lnTo>
                      <a:lnTo>
                        <a:pt x="122346" y="5486"/>
                      </a:lnTo>
                      <a:lnTo>
                        <a:pt x="122346" y="2194"/>
                      </a:lnTo>
                      <a:lnTo>
                        <a:pt x="128382" y="549"/>
                      </a:lnTo>
                      <a:lnTo>
                        <a:pt x="132771" y="3292"/>
                      </a:lnTo>
                      <a:lnTo>
                        <a:pt x="137160" y="2743"/>
                      </a:lnTo>
                      <a:lnTo>
                        <a:pt x="138806" y="1097"/>
                      </a:lnTo>
                      <a:lnTo>
                        <a:pt x="143195" y="0"/>
                      </a:lnTo>
                      <a:lnTo>
                        <a:pt x="148681" y="2194"/>
                      </a:lnTo>
                      <a:lnTo>
                        <a:pt x="151973" y="8778"/>
                      </a:lnTo>
                      <a:lnTo>
                        <a:pt x="152522" y="17557"/>
                      </a:lnTo>
                      <a:lnTo>
                        <a:pt x="151425" y="24140"/>
                      </a:lnTo>
                      <a:lnTo>
                        <a:pt x="147035" y="28529"/>
                      </a:lnTo>
                      <a:lnTo>
                        <a:pt x="143195" y="30175"/>
                      </a:lnTo>
                      <a:lnTo>
                        <a:pt x="141000" y="34564"/>
                      </a:lnTo>
                      <a:lnTo>
                        <a:pt x="143195" y="42245"/>
                      </a:lnTo>
                      <a:lnTo>
                        <a:pt x="138806" y="50475"/>
                      </a:lnTo>
                      <a:lnTo>
                        <a:pt x="133319" y="51572"/>
                      </a:lnTo>
                      <a:lnTo>
                        <a:pt x="125090" y="50475"/>
                      </a:lnTo>
                      <a:lnTo>
                        <a:pt x="122346" y="53767"/>
                      </a:lnTo>
                      <a:lnTo>
                        <a:pt x="121798" y="58705"/>
                      </a:lnTo>
                      <a:lnTo>
                        <a:pt x="114117" y="66385"/>
                      </a:lnTo>
                      <a:lnTo>
                        <a:pt x="90526" y="76261"/>
                      </a:lnTo>
                      <a:lnTo>
                        <a:pt x="52669" y="79553"/>
                      </a:lnTo>
                      <a:lnTo>
                        <a:pt x="44988" y="72421"/>
                      </a:lnTo>
                      <a:lnTo>
                        <a:pt x="32370" y="74615"/>
                      </a:lnTo>
                      <a:lnTo>
                        <a:pt x="17556" y="64739"/>
                      </a:lnTo>
                      <a:lnTo>
                        <a:pt x="8230" y="62545"/>
                      </a:lnTo>
                      <a:lnTo>
                        <a:pt x="2195" y="57058"/>
                      </a:lnTo>
                      <a:lnTo>
                        <a:pt x="0" y="49378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22" name="Graphic 7">
                  <a:extLst>
                    <a:ext uri="{FF2B5EF4-FFF2-40B4-BE49-F238E27FC236}">
                      <a16:creationId xmlns:a16="http://schemas.microsoft.com/office/drawing/2014/main" id="{BF69311F-651F-524B-D553-9849E7725101}"/>
                    </a:ext>
                  </a:extLst>
                </p:cNvPr>
                <p:cNvSpPr/>
                <p:nvPr/>
              </p:nvSpPr>
              <p:spPr>
                <a:xfrm>
                  <a:off x="9718815" y="4732402"/>
                  <a:ext cx="10287" cy="9858"/>
                </a:xfrm>
                <a:custGeom>
                  <a:avLst/>
                  <a:gdLst>
                    <a:gd name="connsiteX0" fmla="*/ 0 w 13167"/>
                    <a:gd name="connsiteY0" fmla="*/ 0 h 12618"/>
                    <a:gd name="connsiteX1" fmla="*/ 13167 w 13167"/>
                    <a:gd name="connsiteY1" fmla="*/ 8230 h 12618"/>
                    <a:gd name="connsiteX2" fmla="*/ 13167 w 13167"/>
                    <a:gd name="connsiteY2" fmla="*/ 12619 h 12618"/>
                    <a:gd name="connsiteX3" fmla="*/ 8230 w 13167"/>
                    <a:gd name="connsiteY3" fmla="*/ 12619 h 12618"/>
                    <a:gd name="connsiteX4" fmla="*/ 3292 w 13167"/>
                    <a:gd name="connsiteY4" fmla="*/ 7681 h 12618"/>
                    <a:gd name="connsiteX5" fmla="*/ 0 w 13167"/>
                    <a:gd name="connsiteY5" fmla="*/ 0 h 126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3167" h="12618">
                      <a:moveTo>
                        <a:pt x="0" y="0"/>
                      </a:moveTo>
                      <a:lnTo>
                        <a:pt x="13167" y="8230"/>
                      </a:lnTo>
                      <a:lnTo>
                        <a:pt x="13167" y="12619"/>
                      </a:lnTo>
                      <a:lnTo>
                        <a:pt x="8230" y="12619"/>
                      </a:lnTo>
                      <a:lnTo>
                        <a:pt x="3292" y="7681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23" name="Graphic 7">
                  <a:extLst>
                    <a:ext uri="{FF2B5EF4-FFF2-40B4-BE49-F238E27FC236}">
                      <a16:creationId xmlns:a16="http://schemas.microsoft.com/office/drawing/2014/main" id="{EDD9C441-08A3-F2D9-629D-97CC66E46047}"/>
                    </a:ext>
                  </a:extLst>
                </p:cNvPr>
                <p:cNvSpPr/>
                <p:nvPr/>
              </p:nvSpPr>
              <p:spPr>
                <a:xfrm>
                  <a:off x="9657949" y="4743976"/>
                  <a:ext cx="12859" cy="10716"/>
                </a:xfrm>
                <a:custGeom>
                  <a:avLst/>
                  <a:gdLst>
                    <a:gd name="connsiteX0" fmla="*/ 0 w 16459"/>
                    <a:gd name="connsiteY0" fmla="*/ 0 h 13716"/>
                    <a:gd name="connsiteX1" fmla="*/ 9327 w 16459"/>
                    <a:gd name="connsiteY1" fmla="*/ 2194 h 13716"/>
                    <a:gd name="connsiteX2" fmla="*/ 14813 w 16459"/>
                    <a:gd name="connsiteY2" fmla="*/ 6035 h 13716"/>
                    <a:gd name="connsiteX3" fmla="*/ 16459 w 16459"/>
                    <a:gd name="connsiteY3" fmla="*/ 13716 h 13716"/>
                    <a:gd name="connsiteX4" fmla="*/ 2195 w 16459"/>
                    <a:gd name="connsiteY4" fmla="*/ 10973 h 13716"/>
                    <a:gd name="connsiteX5" fmla="*/ 0 w 16459"/>
                    <a:gd name="connsiteY5" fmla="*/ 2743 h 13716"/>
                    <a:gd name="connsiteX6" fmla="*/ 0 w 16459"/>
                    <a:gd name="connsiteY6" fmla="*/ 0 h 137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459" h="13716">
                      <a:moveTo>
                        <a:pt x="0" y="0"/>
                      </a:moveTo>
                      <a:lnTo>
                        <a:pt x="9327" y="2194"/>
                      </a:lnTo>
                      <a:lnTo>
                        <a:pt x="14813" y="6035"/>
                      </a:lnTo>
                      <a:lnTo>
                        <a:pt x="16459" y="13716"/>
                      </a:lnTo>
                      <a:lnTo>
                        <a:pt x="2195" y="10973"/>
                      </a:lnTo>
                      <a:lnTo>
                        <a:pt x="0" y="2743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24" name="Graphic 7">
                  <a:extLst>
                    <a:ext uri="{FF2B5EF4-FFF2-40B4-BE49-F238E27FC236}">
                      <a16:creationId xmlns:a16="http://schemas.microsoft.com/office/drawing/2014/main" id="{33F86AFC-28B7-C964-AC69-2E0BE6099E00}"/>
                    </a:ext>
                  </a:extLst>
                </p:cNvPr>
                <p:cNvSpPr/>
                <p:nvPr/>
              </p:nvSpPr>
              <p:spPr>
                <a:xfrm>
                  <a:off x="9667379" y="4757692"/>
                  <a:ext cx="12430" cy="9430"/>
                </a:xfrm>
                <a:custGeom>
                  <a:avLst/>
                  <a:gdLst>
                    <a:gd name="connsiteX0" fmla="*/ 0 w 15910"/>
                    <a:gd name="connsiteY0" fmla="*/ 0 h 12070"/>
                    <a:gd name="connsiteX1" fmla="*/ 6035 w 15910"/>
                    <a:gd name="connsiteY1" fmla="*/ 5486 h 12070"/>
                    <a:gd name="connsiteX2" fmla="*/ 8230 w 15910"/>
                    <a:gd name="connsiteY2" fmla="*/ 5486 h 12070"/>
                    <a:gd name="connsiteX3" fmla="*/ 12070 w 15910"/>
                    <a:gd name="connsiteY3" fmla="*/ 4938 h 12070"/>
                    <a:gd name="connsiteX4" fmla="*/ 15362 w 15910"/>
                    <a:gd name="connsiteY4" fmla="*/ 6035 h 12070"/>
                    <a:gd name="connsiteX5" fmla="*/ 15911 w 15910"/>
                    <a:gd name="connsiteY5" fmla="*/ 11522 h 12070"/>
                    <a:gd name="connsiteX6" fmla="*/ 10424 w 15910"/>
                    <a:gd name="connsiteY6" fmla="*/ 12070 h 12070"/>
                    <a:gd name="connsiteX7" fmla="*/ 3292 w 15910"/>
                    <a:gd name="connsiteY7" fmla="*/ 4938 h 12070"/>
                    <a:gd name="connsiteX8" fmla="*/ 0 w 15910"/>
                    <a:gd name="connsiteY8" fmla="*/ 0 h 120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5910" h="12070">
                      <a:moveTo>
                        <a:pt x="0" y="0"/>
                      </a:moveTo>
                      <a:lnTo>
                        <a:pt x="6035" y="5486"/>
                      </a:lnTo>
                      <a:lnTo>
                        <a:pt x="8230" y="5486"/>
                      </a:lnTo>
                      <a:lnTo>
                        <a:pt x="12070" y="4938"/>
                      </a:lnTo>
                      <a:lnTo>
                        <a:pt x="15362" y="6035"/>
                      </a:lnTo>
                      <a:lnTo>
                        <a:pt x="15911" y="11522"/>
                      </a:lnTo>
                      <a:lnTo>
                        <a:pt x="10424" y="12070"/>
                      </a:lnTo>
                      <a:lnTo>
                        <a:pt x="3292" y="4938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25" name="Graphic 7">
                  <a:extLst>
                    <a:ext uri="{FF2B5EF4-FFF2-40B4-BE49-F238E27FC236}">
                      <a16:creationId xmlns:a16="http://schemas.microsoft.com/office/drawing/2014/main" id="{FA212A2D-E48C-5FD7-FC69-92C2AC2B6272}"/>
                    </a:ext>
                  </a:extLst>
                </p:cNvPr>
                <p:cNvSpPr/>
                <p:nvPr/>
              </p:nvSpPr>
              <p:spPr>
                <a:xfrm>
                  <a:off x="9377617" y="4545514"/>
                  <a:ext cx="291048" cy="238325"/>
                </a:xfrm>
                <a:custGeom>
                  <a:avLst/>
                  <a:gdLst>
                    <a:gd name="connsiteX0" fmla="*/ 1646 w 372526"/>
                    <a:gd name="connsiteY0" fmla="*/ 0 h 305044"/>
                    <a:gd name="connsiteX1" fmla="*/ 1646 w 372526"/>
                    <a:gd name="connsiteY1" fmla="*/ 155265 h 305044"/>
                    <a:gd name="connsiteX2" fmla="*/ 0 w 372526"/>
                    <a:gd name="connsiteY2" fmla="*/ 158009 h 305044"/>
                    <a:gd name="connsiteX3" fmla="*/ 4938 w 372526"/>
                    <a:gd name="connsiteY3" fmla="*/ 169530 h 305044"/>
                    <a:gd name="connsiteX4" fmla="*/ 9327 w 372526"/>
                    <a:gd name="connsiteY4" fmla="*/ 246888 h 305044"/>
                    <a:gd name="connsiteX5" fmla="*/ 18105 w 372526"/>
                    <a:gd name="connsiteY5" fmla="*/ 245791 h 305044"/>
                    <a:gd name="connsiteX6" fmla="*/ 21397 w 372526"/>
                    <a:gd name="connsiteY6" fmla="*/ 247985 h 305044"/>
                    <a:gd name="connsiteX7" fmla="*/ 32918 w 372526"/>
                    <a:gd name="connsiteY7" fmla="*/ 250180 h 305044"/>
                    <a:gd name="connsiteX8" fmla="*/ 49926 w 372526"/>
                    <a:gd name="connsiteY8" fmla="*/ 247985 h 305044"/>
                    <a:gd name="connsiteX9" fmla="*/ 64191 w 372526"/>
                    <a:gd name="connsiteY9" fmla="*/ 251826 h 305044"/>
                    <a:gd name="connsiteX10" fmla="*/ 85588 w 372526"/>
                    <a:gd name="connsiteY10" fmla="*/ 241402 h 305044"/>
                    <a:gd name="connsiteX11" fmla="*/ 88879 w 372526"/>
                    <a:gd name="connsiteY11" fmla="*/ 237561 h 305044"/>
                    <a:gd name="connsiteX12" fmla="*/ 85039 w 372526"/>
                    <a:gd name="connsiteY12" fmla="*/ 226040 h 305044"/>
                    <a:gd name="connsiteX13" fmla="*/ 76810 w 372526"/>
                    <a:gd name="connsiteY13" fmla="*/ 217262 h 305044"/>
                    <a:gd name="connsiteX14" fmla="*/ 94366 w 372526"/>
                    <a:gd name="connsiteY14" fmla="*/ 210678 h 305044"/>
                    <a:gd name="connsiteX15" fmla="*/ 92720 w 372526"/>
                    <a:gd name="connsiteY15" fmla="*/ 207386 h 305044"/>
                    <a:gd name="connsiteX16" fmla="*/ 96561 w 372526"/>
                    <a:gd name="connsiteY16" fmla="*/ 203546 h 305044"/>
                    <a:gd name="connsiteX17" fmla="*/ 104790 w 372526"/>
                    <a:gd name="connsiteY17" fmla="*/ 204643 h 305044"/>
                    <a:gd name="connsiteX18" fmla="*/ 109728 w 372526"/>
                    <a:gd name="connsiteY18" fmla="*/ 202448 h 305044"/>
                    <a:gd name="connsiteX19" fmla="*/ 105888 w 372526"/>
                    <a:gd name="connsiteY19" fmla="*/ 186538 h 305044"/>
                    <a:gd name="connsiteX20" fmla="*/ 110825 w 372526"/>
                    <a:gd name="connsiteY20" fmla="*/ 189830 h 305044"/>
                    <a:gd name="connsiteX21" fmla="*/ 119055 w 372526"/>
                    <a:gd name="connsiteY21" fmla="*/ 192024 h 305044"/>
                    <a:gd name="connsiteX22" fmla="*/ 123444 w 372526"/>
                    <a:gd name="connsiteY22" fmla="*/ 189830 h 305044"/>
                    <a:gd name="connsiteX23" fmla="*/ 130027 w 372526"/>
                    <a:gd name="connsiteY23" fmla="*/ 184343 h 305044"/>
                    <a:gd name="connsiteX24" fmla="*/ 134965 w 372526"/>
                    <a:gd name="connsiteY24" fmla="*/ 189281 h 305044"/>
                    <a:gd name="connsiteX25" fmla="*/ 139355 w 372526"/>
                    <a:gd name="connsiteY25" fmla="*/ 186538 h 305044"/>
                    <a:gd name="connsiteX26" fmla="*/ 144293 w 372526"/>
                    <a:gd name="connsiteY26" fmla="*/ 188184 h 305044"/>
                    <a:gd name="connsiteX27" fmla="*/ 144841 w 372526"/>
                    <a:gd name="connsiteY27" fmla="*/ 190927 h 305044"/>
                    <a:gd name="connsiteX28" fmla="*/ 159654 w 372526"/>
                    <a:gd name="connsiteY28" fmla="*/ 197510 h 305044"/>
                    <a:gd name="connsiteX29" fmla="*/ 162946 w 372526"/>
                    <a:gd name="connsiteY29" fmla="*/ 198059 h 305044"/>
                    <a:gd name="connsiteX30" fmla="*/ 169530 w 372526"/>
                    <a:gd name="connsiteY30" fmla="*/ 202448 h 305044"/>
                    <a:gd name="connsiteX31" fmla="*/ 190378 w 372526"/>
                    <a:gd name="connsiteY31" fmla="*/ 207386 h 305044"/>
                    <a:gd name="connsiteX32" fmla="*/ 198059 w 372526"/>
                    <a:gd name="connsiteY32" fmla="*/ 212324 h 305044"/>
                    <a:gd name="connsiteX33" fmla="*/ 199705 w 372526"/>
                    <a:gd name="connsiteY33" fmla="*/ 221102 h 305044"/>
                    <a:gd name="connsiteX34" fmla="*/ 213421 w 372526"/>
                    <a:gd name="connsiteY34" fmla="*/ 242499 h 305044"/>
                    <a:gd name="connsiteX35" fmla="*/ 227137 w 372526"/>
                    <a:gd name="connsiteY35" fmla="*/ 244145 h 305044"/>
                    <a:gd name="connsiteX36" fmla="*/ 224942 w 372526"/>
                    <a:gd name="connsiteY36" fmla="*/ 249631 h 305044"/>
                    <a:gd name="connsiteX37" fmla="*/ 226039 w 372526"/>
                    <a:gd name="connsiteY37" fmla="*/ 251826 h 305044"/>
                    <a:gd name="connsiteX38" fmla="*/ 229880 w 372526"/>
                    <a:gd name="connsiteY38" fmla="*/ 256215 h 305044"/>
                    <a:gd name="connsiteX39" fmla="*/ 240305 w 372526"/>
                    <a:gd name="connsiteY39" fmla="*/ 262799 h 305044"/>
                    <a:gd name="connsiteX40" fmla="*/ 255666 w 372526"/>
                    <a:gd name="connsiteY40" fmla="*/ 280904 h 305044"/>
                    <a:gd name="connsiteX41" fmla="*/ 258958 w 372526"/>
                    <a:gd name="connsiteY41" fmla="*/ 280904 h 305044"/>
                    <a:gd name="connsiteX42" fmla="*/ 266090 w 372526"/>
                    <a:gd name="connsiteY42" fmla="*/ 284744 h 305044"/>
                    <a:gd name="connsiteX43" fmla="*/ 338511 w 372526"/>
                    <a:gd name="connsiteY43" fmla="*/ 295169 h 305044"/>
                    <a:gd name="connsiteX44" fmla="*/ 339060 w 372526"/>
                    <a:gd name="connsiteY44" fmla="*/ 297912 h 305044"/>
                    <a:gd name="connsiteX45" fmla="*/ 341254 w 372526"/>
                    <a:gd name="connsiteY45" fmla="*/ 302301 h 305044"/>
                    <a:gd name="connsiteX46" fmla="*/ 351130 w 372526"/>
                    <a:gd name="connsiteY46" fmla="*/ 305044 h 305044"/>
                    <a:gd name="connsiteX47" fmla="*/ 360456 w 372526"/>
                    <a:gd name="connsiteY47" fmla="*/ 302301 h 305044"/>
                    <a:gd name="connsiteX48" fmla="*/ 363749 w 372526"/>
                    <a:gd name="connsiteY48" fmla="*/ 297912 h 305044"/>
                    <a:gd name="connsiteX49" fmla="*/ 357713 w 372526"/>
                    <a:gd name="connsiteY49" fmla="*/ 293522 h 305044"/>
                    <a:gd name="connsiteX50" fmla="*/ 352776 w 372526"/>
                    <a:gd name="connsiteY50" fmla="*/ 292974 h 305044"/>
                    <a:gd name="connsiteX51" fmla="*/ 365394 w 372526"/>
                    <a:gd name="connsiteY51" fmla="*/ 292974 h 305044"/>
                    <a:gd name="connsiteX52" fmla="*/ 372527 w 372526"/>
                    <a:gd name="connsiteY52" fmla="*/ 290779 h 305044"/>
                    <a:gd name="connsiteX53" fmla="*/ 371429 w 372526"/>
                    <a:gd name="connsiteY53" fmla="*/ 287488 h 305044"/>
                    <a:gd name="connsiteX54" fmla="*/ 346740 w 372526"/>
                    <a:gd name="connsiteY54" fmla="*/ 282550 h 305044"/>
                    <a:gd name="connsiteX55" fmla="*/ 333024 w 372526"/>
                    <a:gd name="connsiteY55" fmla="*/ 275417 h 305044"/>
                    <a:gd name="connsiteX56" fmla="*/ 335219 w 372526"/>
                    <a:gd name="connsiteY56" fmla="*/ 269931 h 305044"/>
                    <a:gd name="connsiteX57" fmla="*/ 340157 w 372526"/>
                    <a:gd name="connsiteY57" fmla="*/ 267188 h 305044"/>
                    <a:gd name="connsiteX58" fmla="*/ 333024 w 372526"/>
                    <a:gd name="connsiteY58" fmla="*/ 263896 h 305044"/>
                    <a:gd name="connsiteX59" fmla="*/ 316017 w 372526"/>
                    <a:gd name="connsiteY59" fmla="*/ 262250 h 305044"/>
                    <a:gd name="connsiteX60" fmla="*/ 310530 w 372526"/>
                    <a:gd name="connsiteY60" fmla="*/ 257861 h 305044"/>
                    <a:gd name="connsiteX61" fmla="*/ 312176 w 372526"/>
                    <a:gd name="connsiteY61" fmla="*/ 245242 h 305044"/>
                    <a:gd name="connsiteX62" fmla="*/ 308885 w 372526"/>
                    <a:gd name="connsiteY62" fmla="*/ 241950 h 305044"/>
                    <a:gd name="connsiteX63" fmla="*/ 292425 w 372526"/>
                    <a:gd name="connsiteY63" fmla="*/ 244145 h 305044"/>
                    <a:gd name="connsiteX64" fmla="*/ 286939 w 372526"/>
                    <a:gd name="connsiteY64" fmla="*/ 240853 h 305044"/>
                    <a:gd name="connsiteX65" fmla="*/ 281453 w 372526"/>
                    <a:gd name="connsiteY65" fmla="*/ 229880 h 305044"/>
                    <a:gd name="connsiteX66" fmla="*/ 276515 w 372526"/>
                    <a:gd name="connsiteY66" fmla="*/ 226040 h 305044"/>
                    <a:gd name="connsiteX67" fmla="*/ 272125 w 372526"/>
                    <a:gd name="connsiteY67" fmla="*/ 220553 h 305044"/>
                    <a:gd name="connsiteX68" fmla="*/ 271028 w 372526"/>
                    <a:gd name="connsiteY68" fmla="*/ 207935 h 305044"/>
                    <a:gd name="connsiteX69" fmla="*/ 269382 w 372526"/>
                    <a:gd name="connsiteY69" fmla="*/ 206289 h 305044"/>
                    <a:gd name="connsiteX70" fmla="*/ 264993 w 372526"/>
                    <a:gd name="connsiteY70" fmla="*/ 205192 h 305044"/>
                    <a:gd name="connsiteX71" fmla="*/ 244145 w 372526"/>
                    <a:gd name="connsiteY71" fmla="*/ 185989 h 305044"/>
                    <a:gd name="connsiteX72" fmla="*/ 238658 w 372526"/>
                    <a:gd name="connsiteY72" fmla="*/ 183794 h 305044"/>
                    <a:gd name="connsiteX73" fmla="*/ 228783 w 372526"/>
                    <a:gd name="connsiteY73" fmla="*/ 162398 h 305044"/>
                    <a:gd name="connsiteX74" fmla="*/ 232075 w 372526"/>
                    <a:gd name="connsiteY74" fmla="*/ 158557 h 305044"/>
                    <a:gd name="connsiteX75" fmla="*/ 248534 w 372526"/>
                    <a:gd name="connsiteY75" fmla="*/ 157460 h 305044"/>
                    <a:gd name="connsiteX76" fmla="*/ 254021 w 372526"/>
                    <a:gd name="connsiteY76" fmla="*/ 155265 h 305044"/>
                    <a:gd name="connsiteX77" fmla="*/ 259507 w 372526"/>
                    <a:gd name="connsiteY77" fmla="*/ 155265 h 305044"/>
                    <a:gd name="connsiteX78" fmla="*/ 260604 w 372526"/>
                    <a:gd name="connsiteY78" fmla="*/ 145390 h 305044"/>
                    <a:gd name="connsiteX79" fmla="*/ 251277 w 372526"/>
                    <a:gd name="connsiteY79" fmla="*/ 131674 h 305044"/>
                    <a:gd name="connsiteX80" fmla="*/ 244145 w 372526"/>
                    <a:gd name="connsiteY80" fmla="*/ 127285 h 305044"/>
                    <a:gd name="connsiteX81" fmla="*/ 238110 w 372526"/>
                    <a:gd name="connsiteY81" fmla="*/ 127833 h 305044"/>
                    <a:gd name="connsiteX82" fmla="*/ 215616 w 372526"/>
                    <a:gd name="connsiteY82" fmla="*/ 121798 h 305044"/>
                    <a:gd name="connsiteX83" fmla="*/ 202997 w 372526"/>
                    <a:gd name="connsiteY83" fmla="*/ 113569 h 305044"/>
                    <a:gd name="connsiteX84" fmla="*/ 185441 w 372526"/>
                    <a:gd name="connsiteY84" fmla="*/ 109728 h 305044"/>
                    <a:gd name="connsiteX85" fmla="*/ 182697 w 372526"/>
                    <a:gd name="connsiteY85" fmla="*/ 106436 h 305044"/>
                    <a:gd name="connsiteX86" fmla="*/ 182697 w 372526"/>
                    <a:gd name="connsiteY86" fmla="*/ 93818 h 305044"/>
                    <a:gd name="connsiteX87" fmla="*/ 179405 w 372526"/>
                    <a:gd name="connsiteY87" fmla="*/ 85039 h 305044"/>
                    <a:gd name="connsiteX88" fmla="*/ 171725 w 372526"/>
                    <a:gd name="connsiteY88" fmla="*/ 76810 h 305044"/>
                    <a:gd name="connsiteX89" fmla="*/ 137709 w 372526"/>
                    <a:gd name="connsiteY89" fmla="*/ 55961 h 305044"/>
                    <a:gd name="connsiteX90" fmla="*/ 128382 w 372526"/>
                    <a:gd name="connsiteY90" fmla="*/ 44440 h 305044"/>
                    <a:gd name="connsiteX91" fmla="*/ 121798 w 372526"/>
                    <a:gd name="connsiteY91" fmla="*/ 44440 h 305044"/>
                    <a:gd name="connsiteX92" fmla="*/ 1646 w 372526"/>
                    <a:gd name="connsiteY92" fmla="*/ 0 h 3050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</a:cxnLst>
                  <a:rect l="l" t="t" r="r" b="b"/>
                  <a:pathLst>
                    <a:path w="372526" h="305044">
                      <a:moveTo>
                        <a:pt x="1646" y="0"/>
                      </a:moveTo>
                      <a:lnTo>
                        <a:pt x="1646" y="155265"/>
                      </a:lnTo>
                      <a:lnTo>
                        <a:pt x="0" y="158009"/>
                      </a:lnTo>
                      <a:lnTo>
                        <a:pt x="4938" y="169530"/>
                      </a:lnTo>
                      <a:lnTo>
                        <a:pt x="9327" y="246888"/>
                      </a:lnTo>
                      <a:lnTo>
                        <a:pt x="18105" y="245791"/>
                      </a:lnTo>
                      <a:lnTo>
                        <a:pt x="21397" y="247985"/>
                      </a:lnTo>
                      <a:lnTo>
                        <a:pt x="32918" y="250180"/>
                      </a:lnTo>
                      <a:lnTo>
                        <a:pt x="49926" y="247985"/>
                      </a:lnTo>
                      <a:lnTo>
                        <a:pt x="64191" y="251826"/>
                      </a:lnTo>
                      <a:lnTo>
                        <a:pt x="85588" y="241402"/>
                      </a:lnTo>
                      <a:lnTo>
                        <a:pt x="88879" y="237561"/>
                      </a:lnTo>
                      <a:lnTo>
                        <a:pt x="85039" y="226040"/>
                      </a:lnTo>
                      <a:lnTo>
                        <a:pt x="76810" y="217262"/>
                      </a:lnTo>
                      <a:lnTo>
                        <a:pt x="94366" y="210678"/>
                      </a:lnTo>
                      <a:lnTo>
                        <a:pt x="92720" y="207386"/>
                      </a:lnTo>
                      <a:lnTo>
                        <a:pt x="96561" y="203546"/>
                      </a:lnTo>
                      <a:lnTo>
                        <a:pt x="104790" y="204643"/>
                      </a:lnTo>
                      <a:lnTo>
                        <a:pt x="109728" y="202448"/>
                      </a:lnTo>
                      <a:lnTo>
                        <a:pt x="105888" y="186538"/>
                      </a:lnTo>
                      <a:lnTo>
                        <a:pt x="110825" y="189830"/>
                      </a:lnTo>
                      <a:lnTo>
                        <a:pt x="119055" y="192024"/>
                      </a:lnTo>
                      <a:lnTo>
                        <a:pt x="123444" y="189830"/>
                      </a:lnTo>
                      <a:lnTo>
                        <a:pt x="130027" y="184343"/>
                      </a:lnTo>
                      <a:lnTo>
                        <a:pt x="134965" y="189281"/>
                      </a:lnTo>
                      <a:lnTo>
                        <a:pt x="139355" y="186538"/>
                      </a:lnTo>
                      <a:lnTo>
                        <a:pt x="144293" y="188184"/>
                      </a:lnTo>
                      <a:lnTo>
                        <a:pt x="144841" y="190927"/>
                      </a:lnTo>
                      <a:lnTo>
                        <a:pt x="159654" y="197510"/>
                      </a:lnTo>
                      <a:lnTo>
                        <a:pt x="162946" y="198059"/>
                      </a:lnTo>
                      <a:lnTo>
                        <a:pt x="169530" y="202448"/>
                      </a:lnTo>
                      <a:lnTo>
                        <a:pt x="190378" y="207386"/>
                      </a:lnTo>
                      <a:lnTo>
                        <a:pt x="198059" y="212324"/>
                      </a:lnTo>
                      <a:lnTo>
                        <a:pt x="199705" y="221102"/>
                      </a:lnTo>
                      <a:lnTo>
                        <a:pt x="213421" y="242499"/>
                      </a:lnTo>
                      <a:lnTo>
                        <a:pt x="227137" y="244145"/>
                      </a:lnTo>
                      <a:lnTo>
                        <a:pt x="224942" y="249631"/>
                      </a:lnTo>
                      <a:lnTo>
                        <a:pt x="226039" y="251826"/>
                      </a:lnTo>
                      <a:lnTo>
                        <a:pt x="229880" y="256215"/>
                      </a:lnTo>
                      <a:lnTo>
                        <a:pt x="240305" y="262799"/>
                      </a:lnTo>
                      <a:lnTo>
                        <a:pt x="255666" y="280904"/>
                      </a:lnTo>
                      <a:lnTo>
                        <a:pt x="258958" y="280904"/>
                      </a:lnTo>
                      <a:lnTo>
                        <a:pt x="266090" y="284744"/>
                      </a:lnTo>
                      <a:lnTo>
                        <a:pt x="338511" y="295169"/>
                      </a:lnTo>
                      <a:lnTo>
                        <a:pt x="339060" y="297912"/>
                      </a:lnTo>
                      <a:lnTo>
                        <a:pt x="341254" y="302301"/>
                      </a:lnTo>
                      <a:lnTo>
                        <a:pt x="351130" y="305044"/>
                      </a:lnTo>
                      <a:lnTo>
                        <a:pt x="360456" y="302301"/>
                      </a:lnTo>
                      <a:lnTo>
                        <a:pt x="363749" y="297912"/>
                      </a:lnTo>
                      <a:lnTo>
                        <a:pt x="357713" y="293522"/>
                      </a:lnTo>
                      <a:lnTo>
                        <a:pt x="352776" y="292974"/>
                      </a:lnTo>
                      <a:lnTo>
                        <a:pt x="365394" y="292974"/>
                      </a:lnTo>
                      <a:lnTo>
                        <a:pt x="372527" y="290779"/>
                      </a:lnTo>
                      <a:lnTo>
                        <a:pt x="371429" y="287488"/>
                      </a:lnTo>
                      <a:lnTo>
                        <a:pt x="346740" y="282550"/>
                      </a:lnTo>
                      <a:lnTo>
                        <a:pt x="333024" y="275417"/>
                      </a:lnTo>
                      <a:lnTo>
                        <a:pt x="335219" y="269931"/>
                      </a:lnTo>
                      <a:lnTo>
                        <a:pt x="340157" y="267188"/>
                      </a:lnTo>
                      <a:lnTo>
                        <a:pt x="333024" y="263896"/>
                      </a:lnTo>
                      <a:lnTo>
                        <a:pt x="316017" y="262250"/>
                      </a:lnTo>
                      <a:lnTo>
                        <a:pt x="310530" y="257861"/>
                      </a:lnTo>
                      <a:lnTo>
                        <a:pt x="312176" y="245242"/>
                      </a:lnTo>
                      <a:lnTo>
                        <a:pt x="308885" y="241950"/>
                      </a:lnTo>
                      <a:lnTo>
                        <a:pt x="292425" y="244145"/>
                      </a:lnTo>
                      <a:lnTo>
                        <a:pt x="286939" y="240853"/>
                      </a:lnTo>
                      <a:lnTo>
                        <a:pt x="281453" y="229880"/>
                      </a:lnTo>
                      <a:lnTo>
                        <a:pt x="276515" y="226040"/>
                      </a:lnTo>
                      <a:lnTo>
                        <a:pt x="272125" y="220553"/>
                      </a:lnTo>
                      <a:lnTo>
                        <a:pt x="271028" y="207935"/>
                      </a:lnTo>
                      <a:lnTo>
                        <a:pt x="269382" y="206289"/>
                      </a:lnTo>
                      <a:lnTo>
                        <a:pt x="264993" y="205192"/>
                      </a:lnTo>
                      <a:lnTo>
                        <a:pt x="244145" y="185989"/>
                      </a:lnTo>
                      <a:lnTo>
                        <a:pt x="238658" y="183794"/>
                      </a:lnTo>
                      <a:lnTo>
                        <a:pt x="228783" y="162398"/>
                      </a:lnTo>
                      <a:lnTo>
                        <a:pt x="232075" y="158557"/>
                      </a:lnTo>
                      <a:lnTo>
                        <a:pt x="248534" y="157460"/>
                      </a:lnTo>
                      <a:lnTo>
                        <a:pt x="254021" y="155265"/>
                      </a:lnTo>
                      <a:lnTo>
                        <a:pt x="259507" y="155265"/>
                      </a:lnTo>
                      <a:lnTo>
                        <a:pt x="260604" y="145390"/>
                      </a:lnTo>
                      <a:lnTo>
                        <a:pt x="251277" y="131674"/>
                      </a:lnTo>
                      <a:lnTo>
                        <a:pt x="244145" y="127285"/>
                      </a:lnTo>
                      <a:lnTo>
                        <a:pt x="238110" y="127833"/>
                      </a:lnTo>
                      <a:lnTo>
                        <a:pt x="215616" y="121798"/>
                      </a:lnTo>
                      <a:lnTo>
                        <a:pt x="202997" y="113569"/>
                      </a:lnTo>
                      <a:lnTo>
                        <a:pt x="185441" y="109728"/>
                      </a:lnTo>
                      <a:lnTo>
                        <a:pt x="182697" y="106436"/>
                      </a:lnTo>
                      <a:lnTo>
                        <a:pt x="182697" y="93818"/>
                      </a:lnTo>
                      <a:lnTo>
                        <a:pt x="179405" y="85039"/>
                      </a:lnTo>
                      <a:lnTo>
                        <a:pt x="171725" y="76810"/>
                      </a:lnTo>
                      <a:lnTo>
                        <a:pt x="137709" y="55961"/>
                      </a:lnTo>
                      <a:lnTo>
                        <a:pt x="128382" y="44440"/>
                      </a:lnTo>
                      <a:lnTo>
                        <a:pt x="121798" y="44440"/>
                      </a:lnTo>
                      <a:lnTo>
                        <a:pt x="1646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26" name="Graphic 7">
                  <a:extLst>
                    <a:ext uri="{FF2B5EF4-FFF2-40B4-BE49-F238E27FC236}">
                      <a16:creationId xmlns:a16="http://schemas.microsoft.com/office/drawing/2014/main" id="{226F1C51-B805-9DC9-FD8D-891B26211B44}"/>
                    </a:ext>
                  </a:extLst>
                </p:cNvPr>
                <p:cNvSpPr/>
                <p:nvPr/>
              </p:nvSpPr>
              <p:spPr>
                <a:xfrm>
                  <a:off x="7305988" y="3198291"/>
                  <a:ext cx="6858" cy="4286"/>
                </a:xfrm>
                <a:custGeom>
                  <a:avLst/>
                  <a:gdLst>
                    <a:gd name="connsiteX0" fmla="*/ 8778 w 8778"/>
                    <a:gd name="connsiteY0" fmla="*/ 4389 h 5486"/>
                    <a:gd name="connsiteX1" fmla="*/ 6035 w 8778"/>
                    <a:gd name="connsiteY1" fmla="*/ 0 h 5486"/>
                    <a:gd name="connsiteX2" fmla="*/ 0 w 8778"/>
                    <a:gd name="connsiteY2" fmla="*/ 549 h 5486"/>
                    <a:gd name="connsiteX3" fmla="*/ 1646 w 8778"/>
                    <a:gd name="connsiteY3" fmla="*/ 5486 h 5486"/>
                    <a:gd name="connsiteX4" fmla="*/ 7681 w 8778"/>
                    <a:gd name="connsiteY4" fmla="*/ 5486 h 5486"/>
                    <a:gd name="connsiteX5" fmla="*/ 8778 w 8778"/>
                    <a:gd name="connsiteY5" fmla="*/ 4389 h 54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8778" h="5486">
                      <a:moveTo>
                        <a:pt x="8778" y="4389"/>
                      </a:moveTo>
                      <a:lnTo>
                        <a:pt x="6035" y="0"/>
                      </a:lnTo>
                      <a:lnTo>
                        <a:pt x="0" y="549"/>
                      </a:lnTo>
                      <a:lnTo>
                        <a:pt x="1646" y="5486"/>
                      </a:lnTo>
                      <a:lnTo>
                        <a:pt x="7681" y="5486"/>
                      </a:lnTo>
                      <a:lnTo>
                        <a:pt x="8778" y="4389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27" name="Graphic 7">
                  <a:extLst>
                    <a:ext uri="{FF2B5EF4-FFF2-40B4-BE49-F238E27FC236}">
                      <a16:creationId xmlns:a16="http://schemas.microsoft.com/office/drawing/2014/main" id="{0CB81953-17A9-91C4-6D2A-A1E14AF03A79}"/>
                    </a:ext>
                  </a:extLst>
                </p:cNvPr>
                <p:cNvSpPr/>
                <p:nvPr/>
              </p:nvSpPr>
              <p:spPr>
                <a:xfrm>
                  <a:off x="9342468" y="2977540"/>
                  <a:ext cx="177028" cy="164170"/>
                </a:xfrm>
                <a:custGeom>
                  <a:avLst/>
                  <a:gdLst>
                    <a:gd name="connsiteX0" fmla="*/ 195316 w 226587"/>
                    <a:gd name="connsiteY0" fmla="*/ 74066 h 210129"/>
                    <a:gd name="connsiteX1" fmla="*/ 205740 w 226587"/>
                    <a:gd name="connsiteY1" fmla="*/ 63642 h 210129"/>
                    <a:gd name="connsiteX2" fmla="*/ 209032 w 226587"/>
                    <a:gd name="connsiteY2" fmla="*/ 66386 h 210129"/>
                    <a:gd name="connsiteX3" fmla="*/ 198607 w 226587"/>
                    <a:gd name="connsiteY3" fmla="*/ 88331 h 210129"/>
                    <a:gd name="connsiteX4" fmla="*/ 201351 w 226587"/>
                    <a:gd name="connsiteY4" fmla="*/ 97109 h 210129"/>
                    <a:gd name="connsiteX5" fmla="*/ 207934 w 226587"/>
                    <a:gd name="connsiteY5" fmla="*/ 100950 h 210129"/>
                    <a:gd name="connsiteX6" fmla="*/ 207934 w 226587"/>
                    <a:gd name="connsiteY6" fmla="*/ 111374 h 210129"/>
                    <a:gd name="connsiteX7" fmla="*/ 216164 w 226587"/>
                    <a:gd name="connsiteY7" fmla="*/ 111923 h 210129"/>
                    <a:gd name="connsiteX8" fmla="*/ 226588 w 226587"/>
                    <a:gd name="connsiteY8" fmla="*/ 108082 h 210129"/>
                    <a:gd name="connsiteX9" fmla="*/ 222748 w 226587"/>
                    <a:gd name="connsiteY9" fmla="*/ 115763 h 210129"/>
                    <a:gd name="connsiteX10" fmla="*/ 200802 w 226587"/>
                    <a:gd name="connsiteY10" fmla="*/ 128930 h 210129"/>
                    <a:gd name="connsiteX11" fmla="*/ 193670 w 226587"/>
                    <a:gd name="connsiteY11" fmla="*/ 130028 h 210129"/>
                    <a:gd name="connsiteX12" fmla="*/ 190378 w 226587"/>
                    <a:gd name="connsiteY12" fmla="*/ 127833 h 210129"/>
                    <a:gd name="connsiteX13" fmla="*/ 185988 w 226587"/>
                    <a:gd name="connsiteY13" fmla="*/ 133868 h 210129"/>
                    <a:gd name="connsiteX14" fmla="*/ 173919 w 226587"/>
                    <a:gd name="connsiteY14" fmla="*/ 131674 h 210129"/>
                    <a:gd name="connsiteX15" fmla="*/ 163494 w 226587"/>
                    <a:gd name="connsiteY15" fmla="*/ 133319 h 210129"/>
                    <a:gd name="connsiteX16" fmla="*/ 153070 w 226587"/>
                    <a:gd name="connsiteY16" fmla="*/ 138806 h 210129"/>
                    <a:gd name="connsiteX17" fmla="*/ 136062 w 226587"/>
                    <a:gd name="connsiteY17" fmla="*/ 165141 h 210129"/>
                    <a:gd name="connsiteX18" fmla="*/ 133868 w 226587"/>
                    <a:gd name="connsiteY18" fmla="*/ 177211 h 210129"/>
                    <a:gd name="connsiteX19" fmla="*/ 129479 w 226587"/>
                    <a:gd name="connsiteY19" fmla="*/ 183246 h 210129"/>
                    <a:gd name="connsiteX20" fmla="*/ 77907 w 226587"/>
                    <a:gd name="connsiteY20" fmla="*/ 152522 h 210129"/>
                    <a:gd name="connsiteX21" fmla="*/ 66385 w 226587"/>
                    <a:gd name="connsiteY21" fmla="*/ 151425 h 210129"/>
                    <a:gd name="connsiteX22" fmla="*/ 57607 w 226587"/>
                    <a:gd name="connsiteY22" fmla="*/ 155814 h 210129"/>
                    <a:gd name="connsiteX23" fmla="*/ 51572 w 226587"/>
                    <a:gd name="connsiteY23" fmla="*/ 161300 h 210129"/>
                    <a:gd name="connsiteX24" fmla="*/ 43891 w 226587"/>
                    <a:gd name="connsiteY24" fmla="*/ 160203 h 210129"/>
                    <a:gd name="connsiteX25" fmla="*/ 36210 w 226587"/>
                    <a:gd name="connsiteY25" fmla="*/ 154168 h 210129"/>
                    <a:gd name="connsiteX26" fmla="*/ 25237 w 226587"/>
                    <a:gd name="connsiteY26" fmla="*/ 154717 h 210129"/>
                    <a:gd name="connsiteX27" fmla="*/ 19202 w 226587"/>
                    <a:gd name="connsiteY27" fmla="*/ 164044 h 210129"/>
                    <a:gd name="connsiteX28" fmla="*/ 23043 w 226587"/>
                    <a:gd name="connsiteY28" fmla="*/ 171724 h 210129"/>
                    <a:gd name="connsiteX29" fmla="*/ 38953 w 226587"/>
                    <a:gd name="connsiteY29" fmla="*/ 178857 h 210129"/>
                    <a:gd name="connsiteX30" fmla="*/ 51023 w 226587"/>
                    <a:gd name="connsiteY30" fmla="*/ 189281 h 210129"/>
                    <a:gd name="connsiteX31" fmla="*/ 48280 w 226587"/>
                    <a:gd name="connsiteY31" fmla="*/ 194219 h 210129"/>
                    <a:gd name="connsiteX32" fmla="*/ 34015 w 226587"/>
                    <a:gd name="connsiteY32" fmla="*/ 193670 h 210129"/>
                    <a:gd name="connsiteX33" fmla="*/ 27981 w 226587"/>
                    <a:gd name="connsiteY33" fmla="*/ 198059 h 210129"/>
                    <a:gd name="connsiteX34" fmla="*/ 24140 w 226587"/>
                    <a:gd name="connsiteY34" fmla="*/ 203546 h 210129"/>
                    <a:gd name="connsiteX35" fmla="*/ 14813 w 226587"/>
                    <a:gd name="connsiteY35" fmla="*/ 210129 h 210129"/>
                    <a:gd name="connsiteX36" fmla="*/ 9327 w 226587"/>
                    <a:gd name="connsiteY36" fmla="*/ 208483 h 210129"/>
                    <a:gd name="connsiteX37" fmla="*/ 7680 w 226587"/>
                    <a:gd name="connsiteY37" fmla="*/ 201351 h 210129"/>
                    <a:gd name="connsiteX38" fmla="*/ 12618 w 226587"/>
                    <a:gd name="connsiteY38" fmla="*/ 180503 h 210129"/>
                    <a:gd name="connsiteX39" fmla="*/ 0 w 226587"/>
                    <a:gd name="connsiteY39" fmla="*/ 168981 h 210129"/>
                    <a:gd name="connsiteX40" fmla="*/ 1646 w 226587"/>
                    <a:gd name="connsiteY40" fmla="*/ 153071 h 210129"/>
                    <a:gd name="connsiteX41" fmla="*/ 7680 w 226587"/>
                    <a:gd name="connsiteY41" fmla="*/ 145938 h 210129"/>
                    <a:gd name="connsiteX42" fmla="*/ 16459 w 226587"/>
                    <a:gd name="connsiteY42" fmla="*/ 141549 h 210129"/>
                    <a:gd name="connsiteX43" fmla="*/ 23591 w 226587"/>
                    <a:gd name="connsiteY43" fmla="*/ 133868 h 210129"/>
                    <a:gd name="connsiteX44" fmla="*/ 25786 w 226587"/>
                    <a:gd name="connsiteY44" fmla="*/ 125639 h 210129"/>
                    <a:gd name="connsiteX45" fmla="*/ 21946 w 226587"/>
                    <a:gd name="connsiteY45" fmla="*/ 120701 h 210129"/>
                    <a:gd name="connsiteX46" fmla="*/ 23591 w 226587"/>
                    <a:gd name="connsiteY46" fmla="*/ 114117 h 210129"/>
                    <a:gd name="connsiteX47" fmla="*/ 40599 w 226587"/>
                    <a:gd name="connsiteY47" fmla="*/ 119603 h 210129"/>
                    <a:gd name="connsiteX48" fmla="*/ 55413 w 226587"/>
                    <a:gd name="connsiteY48" fmla="*/ 119055 h 210129"/>
                    <a:gd name="connsiteX49" fmla="*/ 60350 w 226587"/>
                    <a:gd name="connsiteY49" fmla="*/ 109179 h 210129"/>
                    <a:gd name="connsiteX50" fmla="*/ 59253 w 226587"/>
                    <a:gd name="connsiteY50" fmla="*/ 92171 h 210129"/>
                    <a:gd name="connsiteX51" fmla="*/ 64191 w 226587"/>
                    <a:gd name="connsiteY51" fmla="*/ 86685 h 210129"/>
                    <a:gd name="connsiteX52" fmla="*/ 74615 w 226587"/>
                    <a:gd name="connsiteY52" fmla="*/ 39502 h 210129"/>
                    <a:gd name="connsiteX53" fmla="*/ 67482 w 226587"/>
                    <a:gd name="connsiteY53" fmla="*/ 16459 h 210129"/>
                    <a:gd name="connsiteX54" fmla="*/ 68031 w 226587"/>
                    <a:gd name="connsiteY54" fmla="*/ 9327 h 210129"/>
                    <a:gd name="connsiteX55" fmla="*/ 75712 w 226587"/>
                    <a:gd name="connsiteY55" fmla="*/ 1646 h 210129"/>
                    <a:gd name="connsiteX56" fmla="*/ 79004 w 226587"/>
                    <a:gd name="connsiteY56" fmla="*/ 0 h 210129"/>
                    <a:gd name="connsiteX57" fmla="*/ 83942 w 226587"/>
                    <a:gd name="connsiteY57" fmla="*/ 4938 h 210129"/>
                    <a:gd name="connsiteX58" fmla="*/ 86136 w 226587"/>
                    <a:gd name="connsiteY58" fmla="*/ 9327 h 210129"/>
                    <a:gd name="connsiteX59" fmla="*/ 122346 w 226587"/>
                    <a:gd name="connsiteY59" fmla="*/ 51023 h 210129"/>
                    <a:gd name="connsiteX60" fmla="*/ 151973 w 226587"/>
                    <a:gd name="connsiteY60" fmla="*/ 70226 h 210129"/>
                    <a:gd name="connsiteX61" fmla="*/ 166786 w 226587"/>
                    <a:gd name="connsiteY61" fmla="*/ 74066 h 210129"/>
                    <a:gd name="connsiteX62" fmla="*/ 171175 w 226587"/>
                    <a:gd name="connsiteY62" fmla="*/ 78455 h 210129"/>
                    <a:gd name="connsiteX63" fmla="*/ 178857 w 226587"/>
                    <a:gd name="connsiteY63" fmla="*/ 82296 h 210129"/>
                    <a:gd name="connsiteX64" fmla="*/ 187086 w 226587"/>
                    <a:gd name="connsiteY64" fmla="*/ 80102 h 210129"/>
                    <a:gd name="connsiteX65" fmla="*/ 195316 w 226587"/>
                    <a:gd name="connsiteY65" fmla="*/ 74066 h 2101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</a:cxnLst>
                  <a:rect l="l" t="t" r="r" b="b"/>
                  <a:pathLst>
                    <a:path w="226587" h="210129">
                      <a:moveTo>
                        <a:pt x="195316" y="74066"/>
                      </a:moveTo>
                      <a:lnTo>
                        <a:pt x="205740" y="63642"/>
                      </a:lnTo>
                      <a:lnTo>
                        <a:pt x="209032" y="66386"/>
                      </a:lnTo>
                      <a:lnTo>
                        <a:pt x="198607" y="88331"/>
                      </a:lnTo>
                      <a:lnTo>
                        <a:pt x="201351" y="97109"/>
                      </a:lnTo>
                      <a:lnTo>
                        <a:pt x="207934" y="100950"/>
                      </a:lnTo>
                      <a:lnTo>
                        <a:pt x="207934" y="111374"/>
                      </a:lnTo>
                      <a:lnTo>
                        <a:pt x="216164" y="111923"/>
                      </a:lnTo>
                      <a:lnTo>
                        <a:pt x="226588" y="108082"/>
                      </a:lnTo>
                      <a:lnTo>
                        <a:pt x="222748" y="115763"/>
                      </a:lnTo>
                      <a:lnTo>
                        <a:pt x="200802" y="128930"/>
                      </a:lnTo>
                      <a:lnTo>
                        <a:pt x="193670" y="130028"/>
                      </a:lnTo>
                      <a:lnTo>
                        <a:pt x="190378" y="127833"/>
                      </a:lnTo>
                      <a:lnTo>
                        <a:pt x="185988" y="133868"/>
                      </a:lnTo>
                      <a:lnTo>
                        <a:pt x="173919" y="131674"/>
                      </a:lnTo>
                      <a:lnTo>
                        <a:pt x="163494" y="133319"/>
                      </a:lnTo>
                      <a:lnTo>
                        <a:pt x="153070" y="138806"/>
                      </a:lnTo>
                      <a:lnTo>
                        <a:pt x="136062" y="165141"/>
                      </a:lnTo>
                      <a:lnTo>
                        <a:pt x="133868" y="177211"/>
                      </a:lnTo>
                      <a:lnTo>
                        <a:pt x="129479" y="183246"/>
                      </a:lnTo>
                      <a:lnTo>
                        <a:pt x="77907" y="152522"/>
                      </a:lnTo>
                      <a:lnTo>
                        <a:pt x="66385" y="151425"/>
                      </a:lnTo>
                      <a:lnTo>
                        <a:pt x="57607" y="155814"/>
                      </a:lnTo>
                      <a:lnTo>
                        <a:pt x="51572" y="161300"/>
                      </a:lnTo>
                      <a:lnTo>
                        <a:pt x="43891" y="160203"/>
                      </a:lnTo>
                      <a:lnTo>
                        <a:pt x="36210" y="154168"/>
                      </a:lnTo>
                      <a:lnTo>
                        <a:pt x="25237" y="154717"/>
                      </a:lnTo>
                      <a:lnTo>
                        <a:pt x="19202" y="164044"/>
                      </a:lnTo>
                      <a:lnTo>
                        <a:pt x="23043" y="171724"/>
                      </a:lnTo>
                      <a:lnTo>
                        <a:pt x="38953" y="178857"/>
                      </a:lnTo>
                      <a:lnTo>
                        <a:pt x="51023" y="189281"/>
                      </a:lnTo>
                      <a:lnTo>
                        <a:pt x="48280" y="194219"/>
                      </a:lnTo>
                      <a:lnTo>
                        <a:pt x="34015" y="193670"/>
                      </a:lnTo>
                      <a:lnTo>
                        <a:pt x="27981" y="198059"/>
                      </a:lnTo>
                      <a:lnTo>
                        <a:pt x="24140" y="203546"/>
                      </a:lnTo>
                      <a:lnTo>
                        <a:pt x="14813" y="210129"/>
                      </a:lnTo>
                      <a:lnTo>
                        <a:pt x="9327" y="208483"/>
                      </a:lnTo>
                      <a:lnTo>
                        <a:pt x="7680" y="201351"/>
                      </a:lnTo>
                      <a:lnTo>
                        <a:pt x="12618" y="180503"/>
                      </a:lnTo>
                      <a:lnTo>
                        <a:pt x="0" y="168981"/>
                      </a:lnTo>
                      <a:lnTo>
                        <a:pt x="1646" y="153071"/>
                      </a:lnTo>
                      <a:lnTo>
                        <a:pt x="7680" y="145938"/>
                      </a:lnTo>
                      <a:lnTo>
                        <a:pt x="16459" y="141549"/>
                      </a:lnTo>
                      <a:lnTo>
                        <a:pt x="23591" y="133868"/>
                      </a:lnTo>
                      <a:lnTo>
                        <a:pt x="25786" y="125639"/>
                      </a:lnTo>
                      <a:lnTo>
                        <a:pt x="21946" y="120701"/>
                      </a:lnTo>
                      <a:lnTo>
                        <a:pt x="23591" y="114117"/>
                      </a:lnTo>
                      <a:lnTo>
                        <a:pt x="40599" y="119603"/>
                      </a:lnTo>
                      <a:lnTo>
                        <a:pt x="55413" y="119055"/>
                      </a:lnTo>
                      <a:lnTo>
                        <a:pt x="60350" y="109179"/>
                      </a:lnTo>
                      <a:lnTo>
                        <a:pt x="59253" y="92171"/>
                      </a:lnTo>
                      <a:lnTo>
                        <a:pt x="64191" y="86685"/>
                      </a:lnTo>
                      <a:lnTo>
                        <a:pt x="74615" y="39502"/>
                      </a:lnTo>
                      <a:lnTo>
                        <a:pt x="67482" y="16459"/>
                      </a:lnTo>
                      <a:lnTo>
                        <a:pt x="68031" y="9327"/>
                      </a:lnTo>
                      <a:lnTo>
                        <a:pt x="75712" y="1646"/>
                      </a:lnTo>
                      <a:lnTo>
                        <a:pt x="79004" y="0"/>
                      </a:lnTo>
                      <a:lnTo>
                        <a:pt x="83942" y="4938"/>
                      </a:lnTo>
                      <a:lnTo>
                        <a:pt x="86136" y="9327"/>
                      </a:lnTo>
                      <a:lnTo>
                        <a:pt x="122346" y="51023"/>
                      </a:lnTo>
                      <a:lnTo>
                        <a:pt x="151973" y="70226"/>
                      </a:lnTo>
                      <a:lnTo>
                        <a:pt x="166786" y="74066"/>
                      </a:lnTo>
                      <a:lnTo>
                        <a:pt x="171175" y="78455"/>
                      </a:lnTo>
                      <a:lnTo>
                        <a:pt x="178857" y="82296"/>
                      </a:lnTo>
                      <a:lnTo>
                        <a:pt x="187086" y="80102"/>
                      </a:lnTo>
                      <a:lnTo>
                        <a:pt x="195316" y="74066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28" name="Graphic 7">
                  <a:extLst>
                    <a:ext uri="{FF2B5EF4-FFF2-40B4-BE49-F238E27FC236}">
                      <a16:creationId xmlns:a16="http://schemas.microsoft.com/office/drawing/2014/main" id="{F17B26E9-1E93-AD6D-38BD-32EEA47FCD79}"/>
                    </a:ext>
                  </a:extLst>
                </p:cNvPr>
                <p:cNvSpPr/>
                <p:nvPr/>
              </p:nvSpPr>
              <p:spPr>
                <a:xfrm>
                  <a:off x="9378903" y="2987400"/>
                  <a:ext cx="6858" cy="6001"/>
                </a:xfrm>
                <a:custGeom>
                  <a:avLst/>
                  <a:gdLst>
                    <a:gd name="connsiteX0" fmla="*/ 4389 w 8778"/>
                    <a:gd name="connsiteY0" fmla="*/ 0 h 7681"/>
                    <a:gd name="connsiteX1" fmla="*/ 0 w 8778"/>
                    <a:gd name="connsiteY1" fmla="*/ 3292 h 7681"/>
                    <a:gd name="connsiteX2" fmla="*/ 4389 w 8778"/>
                    <a:gd name="connsiteY2" fmla="*/ 7133 h 7681"/>
                    <a:gd name="connsiteX3" fmla="*/ 8230 w 8778"/>
                    <a:gd name="connsiteY3" fmla="*/ 7681 h 7681"/>
                    <a:gd name="connsiteX4" fmla="*/ 8778 w 8778"/>
                    <a:gd name="connsiteY4" fmla="*/ 0 h 7681"/>
                    <a:gd name="connsiteX5" fmla="*/ 4389 w 8778"/>
                    <a:gd name="connsiteY5" fmla="*/ 0 h 76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8778" h="7681">
                      <a:moveTo>
                        <a:pt x="4389" y="0"/>
                      </a:moveTo>
                      <a:lnTo>
                        <a:pt x="0" y="3292"/>
                      </a:lnTo>
                      <a:lnTo>
                        <a:pt x="4389" y="7133"/>
                      </a:lnTo>
                      <a:lnTo>
                        <a:pt x="8230" y="7681"/>
                      </a:lnTo>
                      <a:lnTo>
                        <a:pt x="8778" y="0"/>
                      </a:lnTo>
                      <a:lnTo>
                        <a:pt x="4389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29" name="Graphic 7">
                  <a:extLst>
                    <a:ext uri="{FF2B5EF4-FFF2-40B4-BE49-F238E27FC236}">
                      <a16:creationId xmlns:a16="http://schemas.microsoft.com/office/drawing/2014/main" id="{0BB338EE-A095-94FC-4B13-8450B80DE211}"/>
                    </a:ext>
                  </a:extLst>
                </p:cNvPr>
                <p:cNvSpPr/>
                <p:nvPr/>
              </p:nvSpPr>
              <p:spPr>
                <a:xfrm>
                  <a:off x="9081425" y="3139139"/>
                  <a:ext cx="327483" cy="294906"/>
                </a:xfrm>
                <a:custGeom>
                  <a:avLst/>
                  <a:gdLst>
                    <a:gd name="connsiteX0" fmla="*/ 383500 w 419161"/>
                    <a:gd name="connsiteY0" fmla="*/ 4389 h 377464"/>
                    <a:gd name="connsiteX1" fmla="*/ 393923 w 419161"/>
                    <a:gd name="connsiteY1" fmla="*/ 3841 h 377464"/>
                    <a:gd name="connsiteX2" fmla="*/ 395569 w 419161"/>
                    <a:gd name="connsiteY2" fmla="*/ 8778 h 377464"/>
                    <a:gd name="connsiteX3" fmla="*/ 395569 w 419161"/>
                    <a:gd name="connsiteY3" fmla="*/ 36759 h 377464"/>
                    <a:gd name="connsiteX4" fmla="*/ 398861 w 419161"/>
                    <a:gd name="connsiteY4" fmla="*/ 47183 h 377464"/>
                    <a:gd name="connsiteX5" fmla="*/ 405994 w 419161"/>
                    <a:gd name="connsiteY5" fmla="*/ 55961 h 377464"/>
                    <a:gd name="connsiteX6" fmla="*/ 419161 w 419161"/>
                    <a:gd name="connsiteY6" fmla="*/ 97658 h 377464"/>
                    <a:gd name="connsiteX7" fmla="*/ 418612 w 419161"/>
                    <a:gd name="connsiteY7" fmla="*/ 104242 h 377464"/>
                    <a:gd name="connsiteX8" fmla="*/ 416418 w 419161"/>
                    <a:gd name="connsiteY8" fmla="*/ 109179 h 377464"/>
                    <a:gd name="connsiteX9" fmla="*/ 415320 w 419161"/>
                    <a:gd name="connsiteY9" fmla="*/ 116860 h 377464"/>
                    <a:gd name="connsiteX10" fmla="*/ 410932 w 419161"/>
                    <a:gd name="connsiteY10" fmla="*/ 122347 h 377464"/>
                    <a:gd name="connsiteX11" fmla="*/ 405994 w 419161"/>
                    <a:gd name="connsiteY11" fmla="*/ 122895 h 377464"/>
                    <a:gd name="connsiteX12" fmla="*/ 399959 w 419161"/>
                    <a:gd name="connsiteY12" fmla="*/ 142646 h 377464"/>
                    <a:gd name="connsiteX13" fmla="*/ 399410 w 419161"/>
                    <a:gd name="connsiteY13" fmla="*/ 153071 h 377464"/>
                    <a:gd name="connsiteX14" fmla="*/ 391180 w 419161"/>
                    <a:gd name="connsiteY14" fmla="*/ 152522 h 377464"/>
                    <a:gd name="connsiteX15" fmla="*/ 381305 w 419161"/>
                    <a:gd name="connsiteY15" fmla="*/ 159106 h 377464"/>
                    <a:gd name="connsiteX16" fmla="*/ 378013 w 419161"/>
                    <a:gd name="connsiteY16" fmla="*/ 171176 h 377464"/>
                    <a:gd name="connsiteX17" fmla="*/ 382402 w 419161"/>
                    <a:gd name="connsiteY17" fmla="*/ 217261 h 377464"/>
                    <a:gd name="connsiteX18" fmla="*/ 375270 w 419161"/>
                    <a:gd name="connsiteY18" fmla="*/ 223297 h 377464"/>
                    <a:gd name="connsiteX19" fmla="*/ 368686 w 419161"/>
                    <a:gd name="connsiteY19" fmla="*/ 237013 h 377464"/>
                    <a:gd name="connsiteX20" fmla="*/ 366491 w 419161"/>
                    <a:gd name="connsiteY20" fmla="*/ 264445 h 377464"/>
                    <a:gd name="connsiteX21" fmla="*/ 371978 w 419161"/>
                    <a:gd name="connsiteY21" fmla="*/ 271577 h 377464"/>
                    <a:gd name="connsiteX22" fmla="*/ 373075 w 419161"/>
                    <a:gd name="connsiteY22" fmla="*/ 276515 h 377464"/>
                    <a:gd name="connsiteX23" fmla="*/ 367040 w 419161"/>
                    <a:gd name="connsiteY23" fmla="*/ 279806 h 377464"/>
                    <a:gd name="connsiteX24" fmla="*/ 356616 w 419161"/>
                    <a:gd name="connsiteY24" fmla="*/ 300655 h 377464"/>
                    <a:gd name="connsiteX25" fmla="*/ 337962 w 419161"/>
                    <a:gd name="connsiteY25" fmla="*/ 313822 h 377464"/>
                    <a:gd name="connsiteX26" fmla="*/ 336316 w 419161"/>
                    <a:gd name="connsiteY26" fmla="*/ 307238 h 377464"/>
                    <a:gd name="connsiteX27" fmla="*/ 339059 w 419161"/>
                    <a:gd name="connsiteY27" fmla="*/ 290779 h 377464"/>
                    <a:gd name="connsiteX28" fmla="*/ 343997 w 419161"/>
                    <a:gd name="connsiteY28" fmla="*/ 285293 h 377464"/>
                    <a:gd name="connsiteX29" fmla="*/ 345643 w 419161"/>
                    <a:gd name="connsiteY29" fmla="*/ 279258 h 377464"/>
                    <a:gd name="connsiteX30" fmla="*/ 336316 w 419161"/>
                    <a:gd name="connsiteY30" fmla="*/ 279258 h 377464"/>
                    <a:gd name="connsiteX31" fmla="*/ 331379 w 419161"/>
                    <a:gd name="connsiteY31" fmla="*/ 293522 h 377464"/>
                    <a:gd name="connsiteX32" fmla="*/ 330281 w 419161"/>
                    <a:gd name="connsiteY32" fmla="*/ 300655 h 377464"/>
                    <a:gd name="connsiteX33" fmla="*/ 325343 w 419161"/>
                    <a:gd name="connsiteY33" fmla="*/ 296814 h 377464"/>
                    <a:gd name="connsiteX34" fmla="*/ 316017 w 419161"/>
                    <a:gd name="connsiteY34" fmla="*/ 295717 h 377464"/>
                    <a:gd name="connsiteX35" fmla="*/ 312176 w 419161"/>
                    <a:gd name="connsiteY35" fmla="*/ 302301 h 377464"/>
                    <a:gd name="connsiteX36" fmla="*/ 308884 w 419161"/>
                    <a:gd name="connsiteY36" fmla="*/ 320406 h 377464"/>
                    <a:gd name="connsiteX37" fmla="*/ 303947 w 419161"/>
                    <a:gd name="connsiteY37" fmla="*/ 325343 h 377464"/>
                    <a:gd name="connsiteX38" fmla="*/ 299009 w 419161"/>
                    <a:gd name="connsiteY38" fmla="*/ 324246 h 377464"/>
                    <a:gd name="connsiteX39" fmla="*/ 297911 w 419161"/>
                    <a:gd name="connsiteY39" fmla="*/ 313273 h 377464"/>
                    <a:gd name="connsiteX40" fmla="*/ 298460 w 419161"/>
                    <a:gd name="connsiteY40" fmla="*/ 306141 h 377464"/>
                    <a:gd name="connsiteX41" fmla="*/ 292974 w 419161"/>
                    <a:gd name="connsiteY41" fmla="*/ 305044 h 377464"/>
                    <a:gd name="connsiteX42" fmla="*/ 275417 w 419161"/>
                    <a:gd name="connsiteY42" fmla="*/ 328087 h 377464"/>
                    <a:gd name="connsiteX43" fmla="*/ 244145 w 419161"/>
                    <a:gd name="connsiteY43" fmla="*/ 325343 h 377464"/>
                    <a:gd name="connsiteX44" fmla="*/ 233721 w 419161"/>
                    <a:gd name="connsiteY44" fmla="*/ 328087 h 377464"/>
                    <a:gd name="connsiteX45" fmla="*/ 236464 w 419161"/>
                    <a:gd name="connsiteY45" fmla="*/ 324246 h 377464"/>
                    <a:gd name="connsiteX46" fmla="*/ 240304 w 419161"/>
                    <a:gd name="connsiteY46" fmla="*/ 320954 h 377464"/>
                    <a:gd name="connsiteX47" fmla="*/ 232074 w 419161"/>
                    <a:gd name="connsiteY47" fmla="*/ 319309 h 377464"/>
                    <a:gd name="connsiteX48" fmla="*/ 229880 w 419161"/>
                    <a:gd name="connsiteY48" fmla="*/ 316565 h 377464"/>
                    <a:gd name="connsiteX49" fmla="*/ 228234 w 419161"/>
                    <a:gd name="connsiteY49" fmla="*/ 320954 h 377464"/>
                    <a:gd name="connsiteX50" fmla="*/ 223296 w 419161"/>
                    <a:gd name="connsiteY50" fmla="*/ 316017 h 377464"/>
                    <a:gd name="connsiteX51" fmla="*/ 223296 w 419161"/>
                    <a:gd name="connsiteY51" fmla="*/ 306690 h 377464"/>
                    <a:gd name="connsiteX52" fmla="*/ 219456 w 419161"/>
                    <a:gd name="connsiteY52" fmla="*/ 308336 h 377464"/>
                    <a:gd name="connsiteX53" fmla="*/ 211775 w 419161"/>
                    <a:gd name="connsiteY53" fmla="*/ 325343 h 377464"/>
                    <a:gd name="connsiteX54" fmla="*/ 224942 w 419161"/>
                    <a:gd name="connsiteY54" fmla="*/ 334122 h 377464"/>
                    <a:gd name="connsiteX55" fmla="*/ 224942 w 419161"/>
                    <a:gd name="connsiteY55" fmla="*/ 345095 h 377464"/>
                    <a:gd name="connsiteX56" fmla="*/ 219456 w 419161"/>
                    <a:gd name="connsiteY56" fmla="*/ 340705 h 377464"/>
                    <a:gd name="connsiteX57" fmla="*/ 215067 w 419161"/>
                    <a:gd name="connsiteY57" fmla="*/ 343449 h 377464"/>
                    <a:gd name="connsiteX58" fmla="*/ 210129 w 419161"/>
                    <a:gd name="connsiteY58" fmla="*/ 343997 h 377464"/>
                    <a:gd name="connsiteX59" fmla="*/ 205192 w 419161"/>
                    <a:gd name="connsiteY59" fmla="*/ 346741 h 377464"/>
                    <a:gd name="connsiteX60" fmla="*/ 190926 w 419161"/>
                    <a:gd name="connsiteY60" fmla="*/ 373075 h 377464"/>
                    <a:gd name="connsiteX61" fmla="*/ 182697 w 419161"/>
                    <a:gd name="connsiteY61" fmla="*/ 377464 h 377464"/>
                    <a:gd name="connsiteX62" fmla="*/ 172273 w 419161"/>
                    <a:gd name="connsiteY62" fmla="*/ 373075 h 377464"/>
                    <a:gd name="connsiteX63" fmla="*/ 168981 w 419161"/>
                    <a:gd name="connsiteY63" fmla="*/ 366491 h 377464"/>
                    <a:gd name="connsiteX64" fmla="*/ 161849 w 419161"/>
                    <a:gd name="connsiteY64" fmla="*/ 361554 h 377464"/>
                    <a:gd name="connsiteX65" fmla="*/ 159654 w 419161"/>
                    <a:gd name="connsiteY65" fmla="*/ 353873 h 377464"/>
                    <a:gd name="connsiteX66" fmla="*/ 160203 w 419161"/>
                    <a:gd name="connsiteY66" fmla="*/ 341254 h 377464"/>
                    <a:gd name="connsiteX67" fmla="*/ 169530 w 419161"/>
                    <a:gd name="connsiteY67" fmla="*/ 327538 h 377464"/>
                    <a:gd name="connsiteX68" fmla="*/ 170627 w 419161"/>
                    <a:gd name="connsiteY68" fmla="*/ 324246 h 377464"/>
                    <a:gd name="connsiteX69" fmla="*/ 168981 w 419161"/>
                    <a:gd name="connsiteY69" fmla="*/ 323149 h 377464"/>
                    <a:gd name="connsiteX70" fmla="*/ 156362 w 419161"/>
                    <a:gd name="connsiteY70" fmla="*/ 325343 h 377464"/>
                    <a:gd name="connsiteX71" fmla="*/ 138806 w 419161"/>
                    <a:gd name="connsiteY71" fmla="*/ 320406 h 377464"/>
                    <a:gd name="connsiteX72" fmla="*/ 130576 w 419161"/>
                    <a:gd name="connsiteY72" fmla="*/ 320406 h 377464"/>
                    <a:gd name="connsiteX73" fmla="*/ 111374 w 419161"/>
                    <a:gd name="connsiteY73" fmla="*/ 333573 h 377464"/>
                    <a:gd name="connsiteX74" fmla="*/ 106985 w 419161"/>
                    <a:gd name="connsiteY74" fmla="*/ 330830 h 377464"/>
                    <a:gd name="connsiteX75" fmla="*/ 63094 w 419161"/>
                    <a:gd name="connsiteY75" fmla="*/ 343997 h 377464"/>
                    <a:gd name="connsiteX76" fmla="*/ 58156 w 419161"/>
                    <a:gd name="connsiteY76" fmla="*/ 339608 h 377464"/>
                    <a:gd name="connsiteX77" fmla="*/ 53766 w 419161"/>
                    <a:gd name="connsiteY77" fmla="*/ 340705 h 377464"/>
                    <a:gd name="connsiteX78" fmla="*/ 47183 w 419161"/>
                    <a:gd name="connsiteY78" fmla="*/ 358262 h 377464"/>
                    <a:gd name="connsiteX79" fmla="*/ 43891 w 419161"/>
                    <a:gd name="connsiteY79" fmla="*/ 358811 h 377464"/>
                    <a:gd name="connsiteX80" fmla="*/ 29078 w 419161"/>
                    <a:gd name="connsiteY80" fmla="*/ 352775 h 377464"/>
                    <a:gd name="connsiteX81" fmla="*/ 21946 w 419161"/>
                    <a:gd name="connsiteY81" fmla="*/ 355519 h 377464"/>
                    <a:gd name="connsiteX82" fmla="*/ 16459 w 419161"/>
                    <a:gd name="connsiteY82" fmla="*/ 355519 h 377464"/>
                    <a:gd name="connsiteX83" fmla="*/ 13167 w 419161"/>
                    <a:gd name="connsiteY83" fmla="*/ 357165 h 377464"/>
                    <a:gd name="connsiteX84" fmla="*/ 0 w 419161"/>
                    <a:gd name="connsiteY84" fmla="*/ 353324 h 377464"/>
                    <a:gd name="connsiteX85" fmla="*/ 549 w 419161"/>
                    <a:gd name="connsiteY85" fmla="*/ 338511 h 377464"/>
                    <a:gd name="connsiteX86" fmla="*/ 17556 w 419161"/>
                    <a:gd name="connsiteY86" fmla="*/ 334122 h 377464"/>
                    <a:gd name="connsiteX87" fmla="*/ 42794 w 419161"/>
                    <a:gd name="connsiteY87" fmla="*/ 316017 h 377464"/>
                    <a:gd name="connsiteX88" fmla="*/ 50475 w 419161"/>
                    <a:gd name="connsiteY88" fmla="*/ 305593 h 377464"/>
                    <a:gd name="connsiteX89" fmla="*/ 59253 w 419161"/>
                    <a:gd name="connsiteY89" fmla="*/ 299557 h 377464"/>
                    <a:gd name="connsiteX90" fmla="*/ 65288 w 419161"/>
                    <a:gd name="connsiteY90" fmla="*/ 289682 h 377464"/>
                    <a:gd name="connsiteX91" fmla="*/ 81198 w 419161"/>
                    <a:gd name="connsiteY91" fmla="*/ 282550 h 377464"/>
                    <a:gd name="connsiteX92" fmla="*/ 92720 w 419161"/>
                    <a:gd name="connsiteY92" fmla="*/ 285841 h 377464"/>
                    <a:gd name="connsiteX93" fmla="*/ 162946 w 419161"/>
                    <a:gd name="connsiteY93" fmla="*/ 275417 h 377464"/>
                    <a:gd name="connsiteX94" fmla="*/ 162397 w 419161"/>
                    <a:gd name="connsiteY94" fmla="*/ 282001 h 377464"/>
                    <a:gd name="connsiteX95" fmla="*/ 178308 w 419161"/>
                    <a:gd name="connsiteY95" fmla="*/ 285841 h 377464"/>
                    <a:gd name="connsiteX96" fmla="*/ 181600 w 419161"/>
                    <a:gd name="connsiteY96" fmla="*/ 285293 h 377464"/>
                    <a:gd name="connsiteX97" fmla="*/ 193670 w 419161"/>
                    <a:gd name="connsiteY97" fmla="*/ 275966 h 377464"/>
                    <a:gd name="connsiteX98" fmla="*/ 194219 w 419161"/>
                    <a:gd name="connsiteY98" fmla="*/ 253472 h 377464"/>
                    <a:gd name="connsiteX99" fmla="*/ 213970 w 419161"/>
                    <a:gd name="connsiteY99" fmla="*/ 232624 h 377464"/>
                    <a:gd name="connsiteX100" fmla="*/ 219456 w 419161"/>
                    <a:gd name="connsiteY100" fmla="*/ 218359 h 377464"/>
                    <a:gd name="connsiteX101" fmla="*/ 221651 w 419161"/>
                    <a:gd name="connsiteY101" fmla="*/ 200802 h 377464"/>
                    <a:gd name="connsiteX102" fmla="*/ 234818 w 419161"/>
                    <a:gd name="connsiteY102" fmla="*/ 193121 h 377464"/>
                    <a:gd name="connsiteX103" fmla="*/ 240304 w 419161"/>
                    <a:gd name="connsiteY103" fmla="*/ 194219 h 377464"/>
                    <a:gd name="connsiteX104" fmla="*/ 239207 w 419161"/>
                    <a:gd name="connsiteY104" fmla="*/ 200802 h 377464"/>
                    <a:gd name="connsiteX105" fmla="*/ 233721 w 419161"/>
                    <a:gd name="connsiteY105" fmla="*/ 203545 h 377464"/>
                    <a:gd name="connsiteX106" fmla="*/ 228234 w 419161"/>
                    <a:gd name="connsiteY106" fmla="*/ 209581 h 377464"/>
                    <a:gd name="connsiteX107" fmla="*/ 227137 w 419161"/>
                    <a:gd name="connsiteY107" fmla="*/ 211226 h 377464"/>
                    <a:gd name="connsiteX108" fmla="*/ 229880 w 419161"/>
                    <a:gd name="connsiteY108" fmla="*/ 218908 h 377464"/>
                    <a:gd name="connsiteX109" fmla="*/ 229880 w 419161"/>
                    <a:gd name="connsiteY109" fmla="*/ 227686 h 377464"/>
                    <a:gd name="connsiteX110" fmla="*/ 241950 w 419161"/>
                    <a:gd name="connsiteY110" fmla="*/ 226588 h 377464"/>
                    <a:gd name="connsiteX111" fmla="*/ 248534 w 419161"/>
                    <a:gd name="connsiteY111" fmla="*/ 219456 h 377464"/>
                    <a:gd name="connsiteX112" fmla="*/ 268834 w 419161"/>
                    <a:gd name="connsiteY112" fmla="*/ 211226 h 377464"/>
                    <a:gd name="connsiteX113" fmla="*/ 289133 w 419161"/>
                    <a:gd name="connsiteY113" fmla="*/ 194219 h 377464"/>
                    <a:gd name="connsiteX114" fmla="*/ 301204 w 419161"/>
                    <a:gd name="connsiteY114" fmla="*/ 175565 h 377464"/>
                    <a:gd name="connsiteX115" fmla="*/ 310530 w 419161"/>
                    <a:gd name="connsiteY115" fmla="*/ 169530 h 377464"/>
                    <a:gd name="connsiteX116" fmla="*/ 313822 w 419161"/>
                    <a:gd name="connsiteY116" fmla="*/ 169530 h 377464"/>
                    <a:gd name="connsiteX117" fmla="*/ 319857 w 419161"/>
                    <a:gd name="connsiteY117" fmla="*/ 161300 h 377464"/>
                    <a:gd name="connsiteX118" fmla="*/ 343997 w 419161"/>
                    <a:gd name="connsiteY118" fmla="*/ 83942 h 377464"/>
                    <a:gd name="connsiteX119" fmla="*/ 339059 w 419161"/>
                    <a:gd name="connsiteY119" fmla="*/ 79553 h 377464"/>
                    <a:gd name="connsiteX120" fmla="*/ 331379 w 419161"/>
                    <a:gd name="connsiteY120" fmla="*/ 76261 h 377464"/>
                    <a:gd name="connsiteX121" fmla="*/ 341802 w 419161"/>
                    <a:gd name="connsiteY121" fmla="*/ 63094 h 377464"/>
                    <a:gd name="connsiteX122" fmla="*/ 340705 w 419161"/>
                    <a:gd name="connsiteY122" fmla="*/ 41697 h 377464"/>
                    <a:gd name="connsiteX123" fmla="*/ 343997 w 419161"/>
                    <a:gd name="connsiteY123" fmla="*/ 36210 h 377464"/>
                    <a:gd name="connsiteX124" fmla="*/ 350032 w 419161"/>
                    <a:gd name="connsiteY124" fmla="*/ 32918 h 377464"/>
                    <a:gd name="connsiteX125" fmla="*/ 351678 w 419161"/>
                    <a:gd name="connsiteY125" fmla="*/ 21946 h 377464"/>
                    <a:gd name="connsiteX126" fmla="*/ 353873 w 419161"/>
                    <a:gd name="connsiteY126" fmla="*/ 16459 h 377464"/>
                    <a:gd name="connsiteX127" fmla="*/ 358811 w 419161"/>
                    <a:gd name="connsiteY127" fmla="*/ 13716 h 377464"/>
                    <a:gd name="connsiteX128" fmla="*/ 363199 w 419161"/>
                    <a:gd name="connsiteY128" fmla="*/ 19202 h 377464"/>
                    <a:gd name="connsiteX129" fmla="*/ 366491 w 419161"/>
                    <a:gd name="connsiteY129" fmla="*/ 28529 h 377464"/>
                    <a:gd name="connsiteX130" fmla="*/ 369234 w 419161"/>
                    <a:gd name="connsiteY130" fmla="*/ 32918 h 377464"/>
                    <a:gd name="connsiteX131" fmla="*/ 374172 w 419161"/>
                    <a:gd name="connsiteY131" fmla="*/ 26335 h 377464"/>
                    <a:gd name="connsiteX132" fmla="*/ 379110 w 419161"/>
                    <a:gd name="connsiteY132" fmla="*/ 27981 h 377464"/>
                    <a:gd name="connsiteX133" fmla="*/ 383500 w 419161"/>
                    <a:gd name="connsiteY133" fmla="*/ 27432 h 377464"/>
                    <a:gd name="connsiteX134" fmla="*/ 387888 w 419161"/>
                    <a:gd name="connsiteY134" fmla="*/ 18105 h 377464"/>
                    <a:gd name="connsiteX135" fmla="*/ 388437 w 419161"/>
                    <a:gd name="connsiteY135" fmla="*/ 10424 h 377464"/>
                    <a:gd name="connsiteX136" fmla="*/ 382950 w 419161"/>
                    <a:gd name="connsiteY136" fmla="*/ 14813 h 377464"/>
                    <a:gd name="connsiteX137" fmla="*/ 374172 w 419161"/>
                    <a:gd name="connsiteY137" fmla="*/ 17557 h 377464"/>
                    <a:gd name="connsiteX138" fmla="*/ 371429 w 419161"/>
                    <a:gd name="connsiteY138" fmla="*/ 9327 h 377464"/>
                    <a:gd name="connsiteX139" fmla="*/ 374172 w 419161"/>
                    <a:gd name="connsiteY139" fmla="*/ 1646 h 377464"/>
                    <a:gd name="connsiteX140" fmla="*/ 377464 w 419161"/>
                    <a:gd name="connsiteY140" fmla="*/ 0 h 377464"/>
                    <a:gd name="connsiteX141" fmla="*/ 383500 w 419161"/>
                    <a:gd name="connsiteY141" fmla="*/ 4389 h 3774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</a:cxnLst>
                  <a:rect l="l" t="t" r="r" b="b"/>
                  <a:pathLst>
                    <a:path w="419161" h="377464">
                      <a:moveTo>
                        <a:pt x="383500" y="4389"/>
                      </a:moveTo>
                      <a:lnTo>
                        <a:pt x="393923" y="3841"/>
                      </a:lnTo>
                      <a:lnTo>
                        <a:pt x="395569" y="8778"/>
                      </a:lnTo>
                      <a:lnTo>
                        <a:pt x="395569" y="36759"/>
                      </a:lnTo>
                      <a:lnTo>
                        <a:pt x="398861" y="47183"/>
                      </a:lnTo>
                      <a:lnTo>
                        <a:pt x="405994" y="55961"/>
                      </a:lnTo>
                      <a:lnTo>
                        <a:pt x="419161" y="97658"/>
                      </a:lnTo>
                      <a:lnTo>
                        <a:pt x="418612" y="104242"/>
                      </a:lnTo>
                      <a:lnTo>
                        <a:pt x="416418" y="109179"/>
                      </a:lnTo>
                      <a:lnTo>
                        <a:pt x="415320" y="116860"/>
                      </a:lnTo>
                      <a:lnTo>
                        <a:pt x="410932" y="122347"/>
                      </a:lnTo>
                      <a:lnTo>
                        <a:pt x="405994" y="122895"/>
                      </a:lnTo>
                      <a:lnTo>
                        <a:pt x="399959" y="142646"/>
                      </a:lnTo>
                      <a:lnTo>
                        <a:pt x="399410" y="153071"/>
                      </a:lnTo>
                      <a:lnTo>
                        <a:pt x="391180" y="152522"/>
                      </a:lnTo>
                      <a:lnTo>
                        <a:pt x="381305" y="159106"/>
                      </a:lnTo>
                      <a:lnTo>
                        <a:pt x="378013" y="171176"/>
                      </a:lnTo>
                      <a:lnTo>
                        <a:pt x="382402" y="217261"/>
                      </a:lnTo>
                      <a:lnTo>
                        <a:pt x="375270" y="223297"/>
                      </a:lnTo>
                      <a:lnTo>
                        <a:pt x="368686" y="237013"/>
                      </a:lnTo>
                      <a:lnTo>
                        <a:pt x="366491" y="264445"/>
                      </a:lnTo>
                      <a:lnTo>
                        <a:pt x="371978" y="271577"/>
                      </a:lnTo>
                      <a:lnTo>
                        <a:pt x="373075" y="276515"/>
                      </a:lnTo>
                      <a:lnTo>
                        <a:pt x="367040" y="279806"/>
                      </a:lnTo>
                      <a:lnTo>
                        <a:pt x="356616" y="300655"/>
                      </a:lnTo>
                      <a:lnTo>
                        <a:pt x="337962" y="313822"/>
                      </a:lnTo>
                      <a:lnTo>
                        <a:pt x="336316" y="307238"/>
                      </a:lnTo>
                      <a:lnTo>
                        <a:pt x="339059" y="290779"/>
                      </a:lnTo>
                      <a:lnTo>
                        <a:pt x="343997" y="285293"/>
                      </a:lnTo>
                      <a:lnTo>
                        <a:pt x="345643" y="279258"/>
                      </a:lnTo>
                      <a:lnTo>
                        <a:pt x="336316" y="279258"/>
                      </a:lnTo>
                      <a:lnTo>
                        <a:pt x="331379" y="293522"/>
                      </a:lnTo>
                      <a:lnTo>
                        <a:pt x="330281" y="300655"/>
                      </a:lnTo>
                      <a:lnTo>
                        <a:pt x="325343" y="296814"/>
                      </a:lnTo>
                      <a:lnTo>
                        <a:pt x="316017" y="295717"/>
                      </a:lnTo>
                      <a:lnTo>
                        <a:pt x="312176" y="302301"/>
                      </a:lnTo>
                      <a:lnTo>
                        <a:pt x="308884" y="320406"/>
                      </a:lnTo>
                      <a:lnTo>
                        <a:pt x="303947" y="325343"/>
                      </a:lnTo>
                      <a:lnTo>
                        <a:pt x="299009" y="324246"/>
                      </a:lnTo>
                      <a:lnTo>
                        <a:pt x="297911" y="313273"/>
                      </a:lnTo>
                      <a:lnTo>
                        <a:pt x="298460" y="306141"/>
                      </a:lnTo>
                      <a:lnTo>
                        <a:pt x="292974" y="305044"/>
                      </a:lnTo>
                      <a:lnTo>
                        <a:pt x="275417" y="328087"/>
                      </a:lnTo>
                      <a:lnTo>
                        <a:pt x="244145" y="325343"/>
                      </a:lnTo>
                      <a:lnTo>
                        <a:pt x="233721" y="328087"/>
                      </a:lnTo>
                      <a:lnTo>
                        <a:pt x="236464" y="324246"/>
                      </a:lnTo>
                      <a:lnTo>
                        <a:pt x="240304" y="320954"/>
                      </a:lnTo>
                      <a:lnTo>
                        <a:pt x="232074" y="319309"/>
                      </a:lnTo>
                      <a:lnTo>
                        <a:pt x="229880" y="316565"/>
                      </a:lnTo>
                      <a:lnTo>
                        <a:pt x="228234" y="320954"/>
                      </a:lnTo>
                      <a:lnTo>
                        <a:pt x="223296" y="316017"/>
                      </a:lnTo>
                      <a:lnTo>
                        <a:pt x="223296" y="306690"/>
                      </a:lnTo>
                      <a:lnTo>
                        <a:pt x="219456" y="308336"/>
                      </a:lnTo>
                      <a:lnTo>
                        <a:pt x="211775" y="325343"/>
                      </a:lnTo>
                      <a:lnTo>
                        <a:pt x="224942" y="334122"/>
                      </a:lnTo>
                      <a:lnTo>
                        <a:pt x="224942" y="345095"/>
                      </a:lnTo>
                      <a:lnTo>
                        <a:pt x="219456" y="340705"/>
                      </a:lnTo>
                      <a:lnTo>
                        <a:pt x="215067" y="343449"/>
                      </a:lnTo>
                      <a:lnTo>
                        <a:pt x="210129" y="343997"/>
                      </a:lnTo>
                      <a:lnTo>
                        <a:pt x="205192" y="346741"/>
                      </a:lnTo>
                      <a:lnTo>
                        <a:pt x="190926" y="373075"/>
                      </a:lnTo>
                      <a:lnTo>
                        <a:pt x="182697" y="377464"/>
                      </a:lnTo>
                      <a:lnTo>
                        <a:pt x="172273" y="373075"/>
                      </a:lnTo>
                      <a:lnTo>
                        <a:pt x="168981" y="366491"/>
                      </a:lnTo>
                      <a:lnTo>
                        <a:pt x="161849" y="361554"/>
                      </a:lnTo>
                      <a:lnTo>
                        <a:pt x="159654" y="353873"/>
                      </a:lnTo>
                      <a:lnTo>
                        <a:pt x="160203" y="341254"/>
                      </a:lnTo>
                      <a:lnTo>
                        <a:pt x="169530" y="327538"/>
                      </a:lnTo>
                      <a:lnTo>
                        <a:pt x="170627" y="324246"/>
                      </a:lnTo>
                      <a:lnTo>
                        <a:pt x="168981" y="323149"/>
                      </a:lnTo>
                      <a:lnTo>
                        <a:pt x="156362" y="325343"/>
                      </a:lnTo>
                      <a:lnTo>
                        <a:pt x="138806" y="320406"/>
                      </a:lnTo>
                      <a:lnTo>
                        <a:pt x="130576" y="320406"/>
                      </a:lnTo>
                      <a:lnTo>
                        <a:pt x="111374" y="333573"/>
                      </a:lnTo>
                      <a:lnTo>
                        <a:pt x="106985" y="330830"/>
                      </a:lnTo>
                      <a:lnTo>
                        <a:pt x="63094" y="343997"/>
                      </a:lnTo>
                      <a:lnTo>
                        <a:pt x="58156" y="339608"/>
                      </a:lnTo>
                      <a:lnTo>
                        <a:pt x="53766" y="340705"/>
                      </a:lnTo>
                      <a:lnTo>
                        <a:pt x="47183" y="358262"/>
                      </a:lnTo>
                      <a:lnTo>
                        <a:pt x="43891" y="358811"/>
                      </a:lnTo>
                      <a:lnTo>
                        <a:pt x="29078" y="352775"/>
                      </a:lnTo>
                      <a:lnTo>
                        <a:pt x="21946" y="355519"/>
                      </a:lnTo>
                      <a:lnTo>
                        <a:pt x="16459" y="355519"/>
                      </a:lnTo>
                      <a:lnTo>
                        <a:pt x="13167" y="357165"/>
                      </a:lnTo>
                      <a:lnTo>
                        <a:pt x="0" y="353324"/>
                      </a:lnTo>
                      <a:lnTo>
                        <a:pt x="549" y="338511"/>
                      </a:lnTo>
                      <a:lnTo>
                        <a:pt x="17556" y="334122"/>
                      </a:lnTo>
                      <a:lnTo>
                        <a:pt x="42794" y="316017"/>
                      </a:lnTo>
                      <a:lnTo>
                        <a:pt x="50475" y="305593"/>
                      </a:lnTo>
                      <a:lnTo>
                        <a:pt x="59253" y="299557"/>
                      </a:lnTo>
                      <a:lnTo>
                        <a:pt x="65288" y="289682"/>
                      </a:lnTo>
                      <a:lnTo>
                        <a:pt x="81198" y="282550"/>
                      </a:lnTo>
                      <a:lnTo>
                        <a:pt x="92720" y="285841"/>
                      </a:lnTo>
                      <a:lnTo>
                        <a:pt x="162946" y="275417"/>
                      </a:lnTo>
                      <a:lnTo>
                        <a:pt x="162397" y="282001"/>
                      </a:lnTo>
                      <a:lnTo>
                        <a:pt x="178308" y="285841"/>
                      </a:lnTo>
                      <a:lnTo>
                        <a:pt x="181600" y="285293"/>
                      </a:lnTo>
                      <a:lnTo>
                        <a:pt x="193670" y="275966"/>
                      </a:lnTo>
                      <a:lnTo>
                        <a:pt x="194219" y="253472"/>
                      </a:lnTo>
                      <a:lnTo>
                        <a:pt x="213970" y="232624"/>
                      </a:lnTo>
                      <a:lnTo>
                        <a:pt x="219456" y="218359"/>
                      </a:lnTo>
                      <a:lnTo>
                        <a:pt x="221651" y="200802"/>
                      </a:lnTo>
                      <a:lnTo>
                        <a:pt x="234818" y="193121"/>
                      </a:lnTo>
                      <a:lnTo>
                        <a:pt x="240304" y="194219"/>
                      </a:lnTo>
                      <a:lnTo>
                        <a:pt x="239207" y="200802"/>
                      </a:lnTo>
                      <a:lnTo>
                        <a:pt x="233721" y="203545"/>
                      </a:lnTo>
                      <a:lnTo>
                        <a:pt x="228234" y="209581"/>
                      </a:lnTo>
                      <a:lnTo>
                        <a:pt x="227137" y="211226"/>
                      </a:lnTo>
                      <a:lnTo>
                        <a:pt x="229880" y="218908"/>
                      </a:lnTo>
                      <a:lnTo>
                        <a:pt x="229880" y="227686"/>
                      </a:lnTo>
                      <a:lnTo>
                        <a:pt x="241950" y="226588"/>
                      </a:lnTo>
                      <a:lnTo>
                        <a:pt x="248534" y="219456"/>
                      </a:lnTo>
                      <a:lnTo>
                        <a:pt x="268834" y="211226"/>
                      </a:lnTo>
                      <a:lnTo>
                        <a:pt x="289133" y="194219"/>
                      </a:lnTo>
                      <a:lnTo>
                        <a:pt x="301204" y="175565"/>
                      </a:lnTo>
                      <a:lnTo>
                        <a:pt x="310530" y="169530"/>
                      </a:lnTo>
                      <a:lnTo>
                        <a:pt x="313822" y="169530"/>
                      </a:lnTo>
                      <a:lnTo>
                        <a:pt x="319857" y="161300"/>
                      </a:lnTo>
                      <a:lnTo>
                        <a:pt x="343997" y="83942"/>
                      </a:lnTo>
                      <a:lnTo>
                        <a:pt x="339059" y="79553"/>
                      </a:lnTo>
                      <a:lnTo>
                        <a:pt x="331379" y="76261"/>
                      </a:lnTo>
                      <a:lnTo>
                        <a:pt x="341802" y="63094"/>
                      </a:lnTo>
                      <a:lnTo>
                        <a:pt x="340705" y="41697"/>
                      </a:lnTo>
                      <a:lnTo>
                        <a:pt x="343997" y="36210"/>
                      </a:lnTo>
                      <a:lnTo>
                        <a:pt x="350032" y="32918"/>
                      </a:lnTo>
                      <a:lnTo>
                        <a:pt x="351678" y="21946"/>
                      </a:lnTo>
                      <a:lnTo>
                        <a:pt x="353873" y="16459"/>
                      </a:lnTo>
                      <a:lnTo>
                        <a:pt x="358811" y="13716"/>
                      </a:lnTo>
                      <a:lnTo>
                        <a:pt x="363199" y="19202"/>
                      </a:lnTo>
                      <a:lnTo>
                        <a:pt x="366491" y="28529"/>
                      </a:lnTo>
                      <a:lnTo>
                        <a:pt x="369234" y="32918"/>
                      </a:lnTo>
                      <a:lnTo>
                        <a:pt x="374172" y="26335"/>
                      </a:lnTo>
                      <a:lnTo>
                        <a:pt x="379110" y="27981"/>
                      </a:lnTo>
                      <a:lnTo>
                        <a:pt x="383500" y="27432"/>
                      </a:lnTo>
                      <a:lnTo>
                        <a:pt x="387888" y="18105"/>
                      </a:lnTo>
                      <a:lnTo>
                        <a:pt x="388437" y="10424"/>
                      </a:lnTo>
                      <a:lnTo>
                        <a:pt x="382950" y="14813"/>
                      </a:lnTo>
                      <a:lnTo>
                        <a:pt x="374172" y="17557"/>
                      </a:lnTo>
                      <a:lnTo>
                        <a:pt x="371429" y="9327"/>
                      </a:lnTo>
                      <a:lnTo>
                        <a:pt x="374172" y="1646"/>
                      </a:lnTo>
                      <a:lnTo>
                        <a:pt x="377464" y="0"/>
                      </a:lnTo>
                      <a:lnTo>
                        <a:pt x="383500" y="4389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30" name="Graphic 7">
                  <a:extLst>
                    <a:ext uri="{FF2B5EF4-FFF2-40B4-BE49-F238E27FC236}">
                      <a16:creationId xmlns:a16="http://schemas.microsoft.com/office/drawing/2014/main" id="{A02FBE2C-B208-4946-8131-6B6E9A4C72C8}"/>
                    </a:ext>
                  </a:extLst>
                </p:cNvPr>
                <p:cNvSpPr/>
                <p:nvPr/>
              </p:nvSpPr>
              <p:spPr>
                <a:xfrm>
                  <a:off x="9296603" y="3260444"/>
                  <a:ext cx="9001" cy="17145"/>
                </a:xfrm>
                <a:custGeom>
                  <a:avLst/>
                  <a:gdLst>
                    <a:gd name="connsiteX0" fmla="*/ 10424 w 11521"/>
                    <a:gd name="connsiteY0" fmla="*/ 0 h 21945"/>
                    <a:gd name="connsiteX1" fmla="*/ 9876 w 11521"/>
                    <a:gd name="connsiteY1" fmla="*/ 8230 h 21945"/>
                    <a:gd name="connsiteX2" fmla="*/ 11521 w 11521"/>
                    <a:gd name="connsiteY2" fmla="*/ 10424 h 21945"/>
                    <a:gd name="connsiteX3" fmla="*/ 7133 w 11521"/>
                    <a:gd name="connsiteY3" fmla="*/ 21946 h 21945"/>
                    <a:gd name="connsiteX4" fmla="*/ 1646 w 11521"/>
                    <a:gd name="connsiteY4" fmla="*/ 21946 h 21945"/>
                    <a:gd name="connsiteX5" fmla="*/ 0 w 11521"/>
                    <a:gd name="connsiteY5" fmla="*/ 15362 h 21945"/>
                    <a:gd name="connsiteX6" fmla="*/ 4938 w 11521"/>
                    <a:gd name="connsiteY6" fmla="*/ 3292 h 21945"/>
                    <a:gd name="connsiteX7" fmla="*/ 10424 w 11521"/>
                    <a:gd name="connsiteY7" fmla="*/ 0 h 219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521" h="21945">
                      <a:moveTo>
                        <a:pt x="10424" y="0"/>
                      </a:moveTo>
                      <a:lnTo>
                        <a:pt x="9876" y="8230"/>
                      </a:lnTo>
                      <a:lnTo>
                        <a:pt x="11521" y="10424"/>
                      </a:lnTo>
                      <a:lnTo>
                        <a:pt x="7133" y="21946"/>
                      </a:lnTo>
                      <a:lnTo>
                        <a:pt x="1646" y="21946"/>
                      </a:lnTo>
                      <a:lnTo>
                        <a:pt x="0" y="15362"/>
                      </a:lnTo>
                      <a:lnTo>
                        <a:pt x="4938" y="3292"/>
                      </a:lnTo>
                      <a:lnTo>
                        <a:pt x="10424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31" name="Graphic 7">
                  <a:extLst>
                    <a:ext uri="{FF2B5EF4-FFF2-40B4-BE49-F238E27FC236}">
                      <a16:creationId xmlns:a16="http://schemas.microsoft.com/office/drawing/2014/main" id="{1AFD32F2-8384-D1D9-060D-D2B4010202D9}"/>
                    </a:ext>
                  </a:extLst>
                </p:cNvPr>
                <p:cNvSpPr/>
                <p:nvPr/>
              </p:nvSpPr>
              <p:spPr>
                <a:xfrm>
                  <a:off x="9117859" y="3403182"/>
                  <a:ext cx="74583" cy="57437"/>
                </a:xfrm>
                <a:custGeom>
                  <a:avLst/>
                  <a:gdLst>
                    <a:gd name="connsiteX0" fmla="*/ 76810 w 95463"/>
                    <a:gd name="connsiteY0" fmla="*/ 47732 h 73517"/>
                    <a:gd name="connsiteX1" fmla="*/ 59253 w 95463"/>
                    <a:gd name="connsiteY1" fmla="*/ 39502 h 73517"/>
                    <a:gd name="connsiteX2" fmla="*/ 50475 w 95463"/>
                    <a:gd name="connsiteY2" fmla="*/ 42245 h 73517"/>
                    <a:gd name="connsiteX3" fmla="*/ 43891 w 95463"/>
                    <a:gd name="connsiteY3" fmla="*/ 46634 h 73517"/>
                    <a:gd name="connsiteX4" fmla="*/ 32918 w 95463"/>
                    <a:gd name="connsiteY4" fmla="*/ 65288 h 73517"/>
                    <a:gd name="connsiteX5" fmla="*/ 32370 w 95463"/>
                    <a:gd name="connsiteY5" fmla="*/ 72969 h 73517"/>
                    <a:gd name="connsiteX6" fmla="*/ 25786 w 95463"/>
                    <a:gd name="connsiteY6" fmla="*/ 73518 h 73517"/>
                    <a:gd name="connsiteX7" fmla="*/ 17556 w 95463"/>
                    <a:gd name="connsiteY7" fmla="*/ 65288 h 73517"/>
                    <a:gd name="connsiteX8" fmla="*/ 12070 w 95463"/>
                    <a:gd name="connsiteY8" fmla="*/ 55961 h 73517"/>
                    <a:gd name="connsiteX9" fmla="*/ 13167 w 95463"/>
                    <a:gd name="connsiteY9" fmla="*/ 52670 h 73517"/>
                    <a:gd name="connsiteX10" fmla="*/ 10424 w 95463"/>
                    <a:gd name="connsiteY10" fmla="*/ 47732 h 73517"/>
                    <a:gd name="connsiteX11" fmla="*/ 6035 w 95463"/>
                    <a:gd name="connsiteY11" fmla="*/ 43891 h 73517"/>
                    <a:gd name="connsiteX12" fmla="*/ 0 w 95463"/>
                    <a:gd name="connsiteY12" fmla="*/ 43891 h 73517"/>
                    <a:gd name="connsiteX13" fmla="*/ 25237 w 95463"/>
                    <a:gd name="connsiteY13" fmla="*/ 15911 h 73517"/>
                    <a:gd name="connsiteX14" fmla="*/ 37856 w 95463"/>
                    <a:gd name="connsiteY14" fmla="*/ 19751 h 73517"/>
                    <a:gd name="connsiteX15" fmla="*/ 45537 w 95463"/>
                    <a:gd name="connsiteY15" fmla="*/ 18105 h 73517"/>
                    <a:gd name="connsiteX16" fmla="*/ 52121 w 95463"/>
                    <a:gd name="connsiteY16" fmla="*/ 14813 h 73517"/>
                    <a:gd name="connsiteX17" fmla="*/ 54864 w 95463"/>
                    <a:gd name="connsiteY17" fmla="*/ 8778 h 73517"/>
                    <a:gd name="connsiteX18" fmla="*/ 64191 w 95463"/>
                    <a:gd name="connsiteY18" fmla="*/ 549 h 73517"/>
                    <a:gd name="connsiteX19" fmla="*/ 69129 w 95463"/>
                    <a:gd name="connsiteY19" fmla="*/ 0 h 73517"/>
                    <a:gd name="connsiteX20" fmla="*/ 76810 w 95463"/>
                    <a:gd name="connsiteY20" fmla="*/ 2195 h 73517"/>
                    <a:gd name="connsiteX21" fmla="*/ 83393 w 95463"/>
                    <a:gd name="connsiteY21" fmla="*/ 6035 h 73517"/>
                    <a:gd name="connsiteX22" fmla="*/ 89977 w 95463"/>
                    <a:gd name="connsiteY22" fmla="*/ 6584 h 73517"/>
                    <a:gd name="connsiteX23" fmla="*/ 93817 w 95463"/>
                    <a:gd name="connsiteY23" fmla="*/ 23043 h 73517"/>
                    <a:gd name="connsiteX24" fmla="*/ 95464 w 95463"/>
                    <a:gd name="connsiteY24" fmla="*/ 24140 h 73517"/>
                    <a:gd name="connsiteX25" fmla="*/ 91074 w 95463"/>
                    <a:gd name="connsiteY25" fmla="*/ 30175 h 73517"/>
                    <a:gd name="connsiteX26" fmla="*/ 87234 w 95463"/>
                    <a:gd name="connsiteY26" fmla="*/ 32370 h 73517"/>
                    <a:gd name="connsiteX27" fmla="*/ 76810 w 95463"/>
                    <a:gd name="connsiteY27" fmla="*/ 47732 h 735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</a:cxnLst>
                  <a:rect l="l" t="t" r="r" b="b"/>
                  <a:pathLst>
                    <a:path w="95463" h="73517">
                      <a:moveTo>
                        <a:pt x="76810" y="47732"/>
                      </a:moveTo>
                      <a:lnTo>
                        <a:pt x="59253" y="39502"/>
                      </a:lnTo>
                      <a:lnTo>
                        <a:pt x="50475" y="42245"/>
                      </a:lnTo>
                      <a:lnTo>
                        <a:pt x="43891" y="46634"/>
                      </a:lnTo>
                      <a:lnTo>
                        <a:pt x="32918" y="65288"/>
                      </a:lnTo>
                      <a:lnTo>
                        <a:pt x="32370" y="72969"/>
                      </a:lnTo>
                      <a:lnTo>
                        <a:pt x="25786" y="73518"/>
                      </a:lnTo>
                      <a:lnTo>
                        <a:pt x="17556" y="65288"/>
                      </a:lnTo>
                      <a:lnTo>
                        <a:pt x="12070" y="55961"/>
                      </a:lnTo>
                      <a:lnTo>
                        <a:pt x="13167" y="52670"/>
                      </a:lnTo>
                      <a:lnTo>
                        <a:pt x="10424" y="47732"/>
                      </a:lnTo>
                      <a:lnTo>
                        <a:pt x="6035" y="43891"/>
                      </a:lnTo>
                      <a:lnTo>
                        <a:pt x="0" y="43891"/>
                      </a:lnTo>
                      <a:lnTo>
                        <a:pt x="25237" y="15911"/>
                      </a:lnTo>
                      <a:lnTo>
                        <a:pt x="37856" y="19751"/>
                      </a:lnTo>
                      <a:lnTo>
                        <a:pt x="45537" y="18105"/>
                      </a:lnTo>
                      <a:lnTo>
                        <a:pt x="52121" y="14813"/>
                      </a:lnTo>
                      <a:lnTo>
                        <a:pt x="54864" y="8778"/>
                      </a:lnTo>
                      <a:lnTo>
                        <a:pt x="64191" y="549"/>
                      </a:lnTo>
                      <a:lnTo>
                        <a:pt x="69129" y="0"/>
                      </a:lnTo>
                      <a:lnTo>
                        <a:pt x="76810" y="2195"/>
                      </a:lnTo>
                      <a:lnTo>
                        <a:pt x="83393" y="6035"/>
                      </a:lnTo>
                      <a:lnTo>
                        <a:pt x="89977" y="6584"/>
                      </a:lnTo>
                      <a:lnTo>
                        <a:pt x="93817" y="23043"/>
                      </a:lnTo>
                      <a:lnTo>
                        <a:pt x="95464" y="24140"/>
                      </a:lnTo>
                      <a:lnTo>
                        <a:pt x="91074" y="30175"/>
                      </a:lnTo>
                      <a:lnTo>
                        <a:pt x="87234" y="32370"/>
                      </a:lnTo>
                      <a:lnTo>
                        <a:pt x="76810" y="47732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32" name="Graphic 7">
                  <a:extLst>
                    <a:ext uri="{FF2B5EF4-FFF2-40B4-BE49-F238E27FC236}">
                      <a16:creationId xmlns:a16="http://schemas.microsoft.com/office/drawing/2014/main" id="{E96827C5-3D87-1F26-DC8B-25578E5766EE}"/>
                    </a:ext>
                  </a:extLst>
                </p:cNvPr>
                <p:cNvSpPr/>
                <p:nvPr/>
              </p:nvSpPr>
              <p:spPr>
                <a:xfrm>
                  <a:off x="9192443" y="3394609"/>
                  <a:ext cx="8572" cy="14145"/>
                </a:xfrm>
                <a:custGeom>
                  <a:avLst/>
                  <a:gdLst>
                    <a:gd name="connsiteX0" fmla="*/ 10973 w 10972"/>
                    <a:gd name="connsiteY0" fmla="*/ 0 h 18105"/>
                    <a:gd name="connsiteX1" fmla="*/ 0 w 10972"/>
                    <a:gd name="connsiteY1" fmla="*/ 16459 h 18105"/>
                    <a:gd name="connsiteX2" fmla="*/ 3840 w 10972"/>
                    <a:gd name="connsiteY2" fmla="*/ 18105 h 18105"/>
                    <a:gd name="connsiteX3" fmla="*/ 8230 w 10972"/>
                    <a:gd name="connsiteY3" fmla="*/ 15911 h 18105"/>
                    <a:gd name="connsiteX4" fmla="*/ 10973 w 10972"/>
                    <a:gd name="connsiteY4" fmla="*/ 0 h 181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972" h="18105">
                      <a:moveTo>
                        <a:pt x="10973" y="0"/>
                      </a:moveTo>
                      <a:lnTo>
                        <a:pt x="0" y="16459"/>
                      </a:lnTo>
                      <a:lnTo>
                        <a:pt x="3840" y="18105"/>
                      </a:lnTo>
                      <a:lnTo>
                        <a:pt x="8230" y="15911"/>
                      </a:lnTo>
                      <a:lnTo>
                        <a:pt x="10973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33" name="Graphic 7">
                  <a:extLst>
                    <a:ext uri="{FF2B5EF4-FFF2-40B4-BE49-F238E27FC236}">
                      <a16:creationId xmlns:a16="http://schemas.microsoft.com/office/drawing/2014/main" id="{2B5F936F-5D0F-ADF1-DE20-EF0DA95E5A1D}"/>
                    </a:ext>
                  </a:extLst>
                </p:cNvPr>
                <p:cNvSpPr/>
                <p:nvPr/>
              </p:nvSpPr>
              <p:spPr>
                <a:xfrm>
                  <a:off x="9042419" y="3418614"/>
                  <a:ext cx="69868" cy="99874"/>
                </a:xfrm>
                <a:custGeom>
                  <a:avLst/>
                  <a:gdLst>
                    <a:gd name="connsiteX0" fmla="*/ 45537 w 89427"/>
                    <a:gd name="connsiteY0" fmla="*/ 1097 h 127833"/>
                    <a:gd name="connsiteX1" fmla="*/ 47183 w 89427"/>
                    <a:gd name="connsiteY1" fmla="*/ 549 h 127833"/>
                    <a:gd name="connsiteX2" fmla="*/ 43891 w 89427"/>
                    <a:gd name="connsiteY2" fmla="*/ 0 h 127833"/>
                    <a:gd name="connsiteX3" fmla="*/ 38405 w 89427"/>
                    <a:gd name="connsiteY3" fmla="*/ 2194 h 127833"/>
                    <a:gd name="connsiteX4" fmla="*/ 32369 w 89427"/>
                    <a:gd name="connsiteY4" fmla="*/ 7681 h 127833"/>
                    <a:gd name="connsiteX5" fmla="*/ 28529 w 89427"/>
                    <a:gd name="connsiteY5" fmla="*/ 14813 h 127833"/>
                    <a:gd name="connsiteX6" fmla="*/ 23043 w 89427"/>
                    <a:gd name="connsiteY6" fmla="*/ 14813 h 127833"/>
                    <a:gd name="connsiteX7" fmla="*/ 19751 w 89427"/>
                    <a:gd name="connsiteY7" fmla="*/ 19202 h 127833"/>
                    <a:gd name="connsiteX8" fmla="*/ 14265 w 89427"/>
                    <a:gd name="connsiteY8" fmla="*/ 21397 h 127833"/>
                    <a:gd name="connsiteX9" fmla="*/ 12070 w 89427"/>
                    <a:gd name="connsiteY9" fmla="*/ 19202 h 127833"/>
                    <a:gd name="connsiteX10" fmla="*/ 7680 w 89427"/>
                    <a:gd name="connsiteY10" fmla="*/ 22494 h 127833"/>
                    <a:gd name="connsiteX11" fmla="*/ 0 w 89427"/>
                    <a:gd name="connsiteY11" fmla="*/ 32370 h 127833"/>
                    <a:gd name="connsiteX12" fmla="*/ 10973 w 89427"/>
                    <a:gd name="connsiteY12" fmla="*/ 42794 h 127833"/>
                    <a:gd name="connsiteX13" fmla="*/ 11521 w 89427"/>
                    <a:gd name="connsiteY13" fmla="*/ 48280 h 127833"/>
                    <a:gd name="connsiteX14" fmla="*/ 8230 w 89427"/>
                    <a:gd name="connsiteY14" fmla="*/ 41697 h 127833"/>
                    <a:gd name="connsiteX15" fmla="*/ 3292 w 89427"/>
                    <a:gd name="connsiteY15" fmla="*/ 41148 h 127833"/>
                    <a:gd name="connsiteX16" fmla="*/ 6035 w 89427"/>
                    <a:gd name="connsiteY16" fmla="*/ 59802 h 127833"/>
                    <a:gd name="connsiteX17" fmla="*/ 9875 w 89427"/>
                    <a:gd name="connsiteY17" fmla="*/ 55413 h 127833"/>
                    <a:gd name="connsiteX18" fmla="*/ 18653 w 89427"/>
                    <a:gd name="connsiteY18" fmla="*/ 53218 h 127833"/>
                    <a:gd name="connsiteX19" fmla="*/ 25237 w 89427"/>
                    <a:gd name="connsiteY19" fmla="*/ 56510 h 127833"/>
                    <a:gd name="connsiteX20" fmla="*/ 28529 w 89427"/>
                    <a:gd name="connsiteY20" fmla="*/ 51023 h 127833"/>
                    <a:gd name="connsiteX21" fmla="*/ 23591 w 89427"/>
                    <a:gd name="connsiteY21" fmla="*/ 48280 h 127833"/>
                    <a:gd name="connsiteX22" fmla="*/ 21946 w 89427"/>
                    <a:gd name="connsiteY22" fmla="*/ 44989 h 127833"/>
                    <a:gd name="connsiteX23" fmla="*/ 21946 w 89427"/>
                    <a:gd name="connsiteY23" fmla="*/ 36210 h 127833"/>
                    <a:gd name="connsiteX24" fmla="*/ 25786 w 89427"/>
                    <a:gd name="connsiteY24" fmla="*/ 33467 h 127833"/>
                    <a:gd name="connsiteX25" fmla="*/ 34564 w 89427"/>
                    <a:gd name="connsiteY25" fmla="*/ 50475 h 127833"/>
                    <a:gd name="connsiteX26" fmla="*/ 34564 w 89427"/>
                    <a:gd name="connsiteY26" fmla="*/ 57607 h 127833"/>
                    <a:gd name="connsiteX27" fmla="*/ 36759 w 89427"/>
                    <a:gd name="connsiteY27" fmla="*/ 58705 h 127833"/>
                    <a:gd name="connsiteX28" fmla="*/ 36210 w 89427"/>
                    <a:gd name="connsiteY28" fmla="*/ 67483 h 127833"/>
                    <a:gd name="connsiteX29" fmla="*/ 32369 w 89427"/>
                    <a:gd name="connsiteY29" fmla="*/ 76810 h 127833"/>
                    <a:gd name="connsiteX30" fmla="*/ 27981 w 89427"/>
                    <a:gd name="connsiteY30" fmla="*/ 80101 h 127833"/>
                    <a:gd name="connsiteX31" fmla="*/ 24140 w 89427"/>
                    <a:gd name="connsiteY31" fmla="*/ 87234 h 127833"/>
                    <a:gd name="connsiteX32" fmla="*/ 25786 w 89427"/>
                    <a:gd name="connsiteY32" fmla="*/ 108082 h 127833"/>
                    <a:gd name="connsiteX33" fmla="*/ 23591 w 89427"/>
                    <a:gd name="connsiteY33" fmla="*/ 114117 h 127833"/>
                    <a:gd name="connsiteX34" fmla="*/ 27981 w 89427"/>
                    <a:gd name="connsiteY34" fmla="*/ 118506 h 127833"/>
                    <a:gd name="connsiteX35" fmla="*/ 37307 w 89427"/>
                    <a:gd name="connsiteY35" fmla="*/ 122895 h 127833"/>
                    <a:gd name="connsiteX36" fmla="*/ 39502 w 89427"/>
                    <a:gd name="connsiteY36" fmla="*/ 113569 h 127833"/>
                    <a:gd name="connsiteX37" fmla="*/ 36759 w 89427"/>
                    <a:gd name="connsiteY37" fmla="*/ 105339 h 127833"/>
                    <a:gd name="connsiteX38" fmla="*/ 38405 w 89427"/>
                    <a:gd name="connsiteY38" fmla="*/ 99304 h 127833"/>
                    <a:gd name="connsiteX39" fmla="*/ 44988 w 89427"/>
                    <a:gd name="connsiteY39" fmla="*/ 100950 h 127833"/>
                    <a:gd name="connsiteX40" fmla="*/ 42245 w 89427"/>
                    <a:gd name="connsiteY40" fmla="*/ 103144 h 127833"/>
                    <a:gd name="connsiteX41" fmla="*/ 41148 w 89427"/>
                    <a:gd name="connsiteY41" fmla="*/ 108631 h 127833"/>
                    <a:gd name="connsiteX42" fmla="*/ 43342 w 89427"/>
                    <a:gd name="connsiteY42" fmla="*/ 127833 h 127833"/>
                    <a:gd name="connsiteX43" fmla="*/ 48280 w 89427"/>
                    <a:gd name="connsiteY43" fmla="*/ 126187 h 127833"/>
                    <a:gd name="connsiteX44" fmla="*/ 54315 w 89427"/>
                    <a:gd name="connsiteY44" fmla="*/ 121249 h 127833"/>
                    <a:gd name="connsiteX45" fmla="*/ 54315 w 89427"/>
                    <a:gd name="connsiteY45" fmla="*/ 115214 h 127833"/>
                    <a:gd name="connsiteX46" fmla="*/ 59801 w 89427"/>
                    <a:gd name="connsiteY46" fmla="*/ 109179 h 127833"/>
                    <a:gd name="connsiteX47" fmla="*/ 64191 w 89427"/>
                    <a:gd name="connsiteY47" fmla="*/ 111374 h 127833"/>
                    <a:gd name="connsiteX48" fmla="*/ 89428 w 89427"/>
                    <a:gd name="connsiteY48" fmla="*/ 47183 h 127833"/>
                    <a:gd name="connsiteX49" fmla="*/ 88879 w 89427"/>
                    <a:gd name="connsiteY49" fmla="*/ 40051 h 127833"/>
                    <a:gd name="connsiteX50" fmla="*/ 85039 w 89427"/>
                    <a:gd name="connsiteY50" fmla="*/ 32370 h 127833"/>
                    <a:gd name="connsiteX51" fmla="*/ 75712 w 89427"/>
                    <a:gd name="connsiteY51" fmla="*/ 30175 h 127833"/>
                    <a:gd name="connsiteX52" fmla="*/ 74615 w 89427"/>
                    <a:gd name="connsiteY52" fmla="*/ 26335 h 127833"/>
                    <a:gd name="connsiteX53" fmla="*/ 78455 w 89427"/>
                    <a:gd name="connsiteY53" fmla="*/ 17008 h 127833"/>
                    <a:gd name="connsiteX54" fmla="*/ 76260 w 89427"/>
                    <a:gd name="connsiteY54" fmla="*/ 12070 h 127833"/>
                    <a:gd name="connsiteX55" fmla="*/ 70774 w 89427"/>
                    <a:gd name="connsiteY55" fmla="*/ 14265 h 127833"/>
                    <a:gd name="connsiteX56" fmla="*/ 59253 w 89427"/>
                    <a:gd name="connsiteY56" fmla="*/ 14813 h 127833"/>
                    <a:gd name="connsiteX57" fmla="*/ 52121 w 89427"/>
                    <a:gd name="connsiteY57" fmla="*/ 6035 h 127833"/>
                    <a:gd name="connsiteX58" fmla="*/ 52121 w 89427"/>
                    <a:gd name="connsiteY58" fmla="*/ 1646 h 127833"/>
                    <a:gd name="connsiteX59" fmla="*/ 45537 w 89427"/>
                    <a:gd name="connsiteY59" fmla="*/ 1097 h 1278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</a:cxnLst>
                  <a:rect l="l" t="t" r="r" b="b"/>
                  <a:pathLst>
                    <a:path w="89427" h="127833">
                      <a:moveTo>
                        <a:pt x="45537" y="1097"/>
                      </a:moveTo>
                      <a:lnTo>
                        <a:pt x="47183" y="549"/>
                      </a:lnTo>
                      <a:lnTo>
                        <a:pt x="43891" y="0"/>
                      </a:lnTo>
                      <a:lnTo>
                        <a:pt x="38405" y="2194"/>
                      </a:lnTo>
                      <a:lnTo>
                        <a:pt x="32369" y="7681"/>
                      </a:lnTo>
                      <a:lnTo>
                        <a:pt x="28529" y="14813"/>
                      </a:lnTo>
                      <a:lnTo>
                        <a:pt x="23043" y="14813"/>
                      </a:lnTo>
                      <a:lnTo>
                        <a:pt x="19751" y="19202"/>
                      </a:lnTo>
                      <a:lnTo>
                        <a:pt x="14265" y="21397"/>
                      </a:lnTo>
                      <a:lnTo>
                        <a:pt x="12070" y="19202"/>
                      </a:lnTo>
                      <a:lnTo>
                        <a:pt x="7680" y="22494"/>
                      </a:lnTo>
                      <a:lnTo>
                        <a:pt x="0" y="32370"/>
                      </a:lnTo>
                      <a:lnTo>
                        <a:pt x="10973" y="42794"/>
                      </a:lnTo>
                      <a:lnTo>
                        <a:pt x="11521" y="48280"/>
                      </a:lnTo>
                      <a:lnTo>
                        <a:pt x="8230" y="41697"/>
                      </a:lnTo>
                      <a:lnTo>
                        <a:pt x="3292" y="41148"/>
                      </a:lnTo>
                      <a:lnTo>
                        <a:pt x="6035" y="59802"/>
                      </a:lnTo>
                      <a:lnTo>
                        <a:pt x="9875" y="55413"/>
                      </a:lnTo>
                      <a:lnTo>
                        <a:pt x="18653" y="53218"/>
                      </a:lnTo>
                      <a:lnTo>
                        <a:pt x="25237" y="56510"/>
                      </a:lnTo>
                      <a:lnTo>
                        <a:pt x="28529" y="51023"/>
                      </a:lnTo>
                      <a:lnTo>
                        <a:pt x="23591" y="48280"/>
                      </a:lnTo>
                      <a:lnTo>
                        <a:pt x="21946" y="44989"/>
                      </a:lnTo>
                      <a:lnTo>
                        <a:pt x="21946" y="36210"/>
                      </a:lnTo>
                      <a:lnTo>
                        <a:pt x="25786" y="33467"/>
                      </a:lnTo>
                      <a:lnTo>
                        <a:pt x="34564" y="50475"/>
                      </a:lnTo>
                      <a:lnTo>
                        <a:pt x="34564" y="57607"/>
                      </a:lnTo>
                      <a:lnTo>
                        <a:pt x="36759" y="58705"/>
                      </a:lnTo>
                      <a:lnTo>
                        <a:pt x="36210" y="67483"/>
                      </a:lnTo>
                      <a:lnTo>
                        <a:pt x="32369" y="76810"/>
                      </a:lnTo>
                      <a:lnTo>
                        <a:pt x="27981" y="80101"/>
                      </a:lnTo>
                      <a:lnTo>
                        <a:pt x="24140" y="87234"/>
                      </a:lnTo>
                      <a:lnTo>
                        <a:pt x="25786" y="108082"/>
                      </a:lnTo>
                      <a:lnTo>
                        <a:pt x="23591" y="114117"/>
                      </a:lnTo>
                      <a:lnTo>
                        <a:pt x="27981" y="118506"/>
                      </a:lnTo>
                      <a:lnTo>
                        <a:pt x="37307" y="122895"/>
                      </a:lnTo>
                      <a:lnTo>
                        <a:pt x="39502" y="113569"/>
                      </a:lnTo>
                      <a:lnTo>
                        <a:pt x="36759" y="105339"/>
                      </a:lnTo>
                      <a:lnTo>
                        <a:pt x="38405" y="99304"/>
                      </a:lnTo>
                      <a:lnTo>
                        <a:pt x="44988" y="100950"/>
                      </a:lnTo>
                      <a:lnTo>
                        <a:pt x="42245" y="103144"/>
                      </a:lnTo>
                      <a:lnTo>
                        <a:pt x="41148" y="108631"/>
                      </a:lnTo>
                      <a:lnTo>
                        <a:pt x="43342" y="127833"/>
                      </a:lnTo>
                      <a:lnTo>
                        <a:pt x="48280" y="126187"/>
                      </a:lnTo>
                      <a:lnTo>
                        <a:pt x="54315" y="121249"/>
                      </a:lnTo>
                      <a:lnTo>
                        <a:pt x="54315" y="115214"/>
                      </a:lnTo>
                      <a:lnTo>
                        <a:pt x="59801" y="109179"/>
                      </a:lnTo>
                      <a:lnTo>
                        <a:pt x="64191" y="111374"/>
                      </a:lnTo>
                      <a:lnTo>
                        <a:pt x="89428" y="47183"/>
                      </a:lnTo>
                      <a:lnTo>
                        <a:pt x="88879" y="40051"/>
                      </a:lnTo>
                      <a:lnTo>
                        <a:pt x="85039" y="32370"/>
                      </a:lnTo>
                      <a:lnTo>
                        <a:pt x="75712" y="30175"/>
                      </a:lnTo>
                      <a:lnTo>
                        <a:pt x="74615" y="26335"/>
                      </a:lnTo>
                      <a:lnTo>
                        <a:pt x="78455" y="17008"/>
                      </a:lnTo>
                      <a:lnTo>
                        <a:pt x="76260" y="12070"/>
                      </a:lnTo>
                      <a:lnTo>
                        <a:pt x="70774" y="14265"/>
                      </a:lnTo>
                      <a:lnTo>
                        <a:pt x="59253" y="14813"/>
                      </a:lnTo>
                      <a:lnTo>
                        <a:pt x="52121" y="6035"/>
                      </a:lnTo>
                      <a:lnTo>
                        <a:pt x="52121" y="1646"/>
                      </a:lnTo>
                      <a:lnTo>
                        <a:pt x="45537" y="1097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34" name="Graphic 7">
                  <a:extLst>
                    <a:ext uri="{FF2B5EF4-FFF2-40B4-BE49-F238E27FC236}">
                      <a16:creationId xmlns:a16="http://schemas.microsoft.com/office/drawing/2014/main" id="{BD1D6F17-DDCD-0E73-73A2-34F5CD0915EF}"/>
                    </a:ext>
                  </a:extLst>
                </p:cNvPr>
                <p:cNvSpPr/>
                <p:nvPr/>
              </p:nvSpPr>
              <p:spPr>
                <a:xfrm>
                  <a:off x="9054848" y="3467907"/>
                  <a:ext cx="4715" cy="12001"/>
                </a:xfrm>
                <a:custGeom>
                  <a:avLst/>
                  <a:gdLst>
                    <a:gd name="connsiteX0" fmla="*/ 2743 w 6035"/>
                    <a:gd name="connsiteY0" fmla="*/ 0 h 15361"/>
                    <a:gd name="connsiteX1" fmla="*/ 549 w 6035"/>
                    <a:gd name="connsiteY1" fmla="*/ 5486 h 15361"/>
                    <a:gd name="connsiteX2" fmla="*/ 0 w 6035"/>
                    <a:gd name="connsiteY2" fmla="*/ 11521 h 15361"/>
                    <a:gd name="connsiteX3" fmla="*/ 1098 w 6035"/>
                    <a:gd name="connsiteY3" fmla="*/ 15362 h 15361"/>
                    <a:gd name="connsiteX4" fmla="*/ 6036 w 6035"/>
                    <a:gd name="connsiteY4" fmla="*/ 2743 h 15361"/>
                    <a:gd name="connsiteX5" fmla="*/ 2743 w 6035"/>
                    <a:gd name="connsiteY5" fmla="*/ 0 h 153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6035" h="15361">
                      <a:moveTo>
                        <a:pt x="2743" y="0"/>
                      </a:moveTo>
                      <a:lnTo>
                        <a:pt x="549" y="5486"/>
                      </a:lnTo>
                      <a:lnTo>
                        <a:pt x="0" y="11521"/>
                      </a:lnTo>
                      <a:lnTo>
                        <a:pt x="1098" y="15362"/>
                      </a:lnTo>
                      <a:lnTo>
                        <a:pt x="6036" y="2743"/>
                      </a:lnTo>
                      <a:lnTo>
                        <a:pt x="2743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35" name="Graphic 7">
                  <a:extLst>
                    <a:ext uri="{FF2B5EF4-FFF2-40B4-BE49-F238E27FC236}">
                      <a16:creationId xmlns:a16="http://schemas.microsoft.com/office/drawing/2014/main" id="{0C7C869D-4064-8A00-5063-DDB53CB39AA4}"/>
                    </a:ext>
                  </a:extLst>
                </p:cNvPr>
                <p:cNvSpPr/>
                <p:nvPr/>
              </p:nvSpPr>
              <p:spPr>
                <a:xfrm>
                  <a:off x="9080996" y="3526632"/>
                  <a:ext cx="4286" cy="14573"/>
                </a:xfrm>
                <a:custGeom>
                  <a:avLst/>
                  <a:gdLst>
                    <a:gd name="connsiteX0" fmla="*/ 5486 w 5486"/>
                    <a:gd name="connsiteY0" fmla="*/ 6035 h 18653"/>
                    <a:gd name="connsiteX1" fmla="*/ 4389 w 5486"/>
                    <a:gd name="connsiteY1" fmla="*/ 0 h 18653"/>
                    <a:gd name="connsiteX2" fmla="*/ 0 w 5486"/>
                    <a:gd name="connsiteY2" fmla="*/ 15910 h 18653"/>
                    <a:gd name="connsiteX3" fmla="*/ 2194 w 5486"/>
                    <a:gd name="connsiteY3" fmla="*/ 18654 h 18653"/>
                    <a:gd name="connsiteX4" fmla="*/ 5486 w 5486"/>
                    <a:gd name="connsiteY4" fmla="*/ 6035 h 186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486" h="18653">
                      <a:moveTo>
                        <a:pt x="5486" y="6035"/>
                      </a:moveTo>
                      <a:lnTo>
                        <a:pt x="4389" y="0"/>
                      </a:lnTo>
                      <a:lnTo>
                        <a:pt x="0" y="15910"/>
                      </a:lnTo>
                      <a:lnTo>
                        <a:pt x="2194" y="18654"/>
                      </a:lnTo>
                      <a:lnTo>
                        <a:pt x="5486" y="6035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36" name="Graphic 7">
                  <a:extLst>
                    <a:ext uri="{FF2B5EF4-FFF2-40B4-BE49-F238E27FC236}">
                      <a16:creationId xmlns:a16="http://schemas.microsoft.com/office/drawing/2014/main" id="{DACA0E5C-C8FE-7EFD-CAAC-952FF175FBF1}"/>
                    </a:ext>
                  </a:extLst>
                </p:cNvPr>
                <p:cNvSpPr/>
                <p:nvPr/>
              </p:nvSpPr>
              <p:spPr>
                <a:xfrm>
                  <a:off x="9065994" y="3539062"/>
                  <a:ext cx="6429" cy="7286"/>
                </a:xfrm>
                <a:custGeom>
                  <a:avLst/>
                  <a:gdLst>
                    <a:gd name="connsiteX0" fmla="*/ 3292 w 8229"/>
                    <a:gd name="connsiteY0" fmla="*/ 2195 h 9326"/>
                    <a:gd name="connsiteX1" fmla="*/ 2194 w 8229"/>
                    <a:gd name="connsiteY1" fmla="*/ 0 h 9326"/>
                    <a:gd name="connsiteX2" fmla="*/ 0 w 8229"/>
                    <a:gd name="connsiteY2" fmla="*/ 3292 h 9326"/>
                    <a:gd name="connsiteX3" fmla="*/ 2194 w 8229"/>
                    <a:gd name="connsiteY3" fmla="*/ 8230 h 9326"/>
                    <a:gd name="connsiteX4" fmla="*/ 8230 w 8229"/>
                    <a:gd name="connsiteY4" fmla="*/ 9327 h 9326"/>
                    <a:gd name="connsiteX5" fmla="*/ 8230 w 8229"/>
                    <a:gd name="connsiteY5" fmla="*/ 3292 h 9326"/>
                    <a:gd name="connsiteX6" fmla="*/ 3292 w 8229"/>
                    <a:gd name="connsiteY6" fmla="*/ 2195 h 93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229" h="9326">
                      <a:moveTo>
                        <a:pt x="3292" y="2195"/>
                      </a:moveTo>
                      <a:lnTo>
                        <a:pt x="2194" y="0"/>
                      </a:lnTo>
                      <a:lnTo>
                        <a:pt x="0" y="3292"/>
                      </a:lnTo>
                      <a:lnTo>
                        <a:pt x="2194" y="8230"/>
                      </a:lnTo>
                      <a:lnTo>
                        <a:pt x="8230" y="9327"/>
                      </a:lnTo>
                      <a:lnTo>
                        <a:pt x="8230" y="3292"/>
                      </a:lnTo>
                      <a:lnTo>
                        <a:pt x="3292" y="2195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37" name="Graphic 7">
                  <a:extLst>
                    <a:ext uri="{FF2B5EF4-FFF2-40B4-BE49-F238E27FC236}">
                      <a16:creationId xmlns:a16="http://schemas.microsoft.com/office/drawing/2014/main" id="{EE6AC064-5FF2-B412-8006-0201BC417310}"/>
                    </a:ext>
                  </a:extLst>
                </p:cNvPr>
                <p:cNvSpPr/>
                <p:nvPr/>
              </p:nvSpPr>
              <p:spPr>
                <a:xfrm>
                  <a:off x="9014556" y="3459763"/>
                  <a:ext cx="4714" cy="6429"/>
                </a:xfrm>
                <a:custGeom>
                  <a:avLst/>
                  <a:gdLst>
                    <a:gd name="connsiteX0" fmla="*/ 5486 w 6034"/>
                    <a:gd name="connsiteY0" fmla="*/ 0 h 8229"/>
                    <a:gd name="connsiteX1" fmla="*/ 0 w 6034"/>
                    <a:gd name="connsiteY1" fmla="*/ 2195 h 8229"/>
                    <a:gd name="connsiteX2" fmla="*/ 0 w 6034"/>
                    <a:gd name="connsiteY2" fmla="*/ 8230 h 8229"/>
                    <a:gd name="connsiteX3" fmla="*/ 6035 w 6034"/>
                    <a:gd name="connsiteY3" fmla="*/ 6035 h 8229"/>
                    <a:gd name="connsiteX4" fmla="*/ 5486 w 6034"/>
                    <a:gd name="connsiteY4" fmla="*/ 0 h 82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034" h="8229">
                      <a:moveTo>
                        <a:pt x="5486" y="0"/>
                      </a:moveTo>
                      <a:lnTo>
                        <a:pt x="0" y="2195"/>
                      </a:lnTo>
                      <a:lnTo>
                        <a:pt x="0" y="8230"/>
                      </a:lnTo>
                      <a:lnTo>
                        <a:pt x="6035" y="6035"/>
                      </a:lnTo>
                      <a:lnTo>
                        <a:pt x="5486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38" name="Graphic 7">
                  <a:extLst>
                    <a:ext uri="{FF2B5EF4-FFF2-40B4-BE49-F238E27FC236}">
                      <a16:creationId xmlns:a16="http://schemas.microsoft.com/office/drawing/2014/main" id="{492683F0-8B02-7D48-7073-1179F8A35BC9}"/>
                    </a:ext>
                  </a:extLst>
                </p:cNvPr>
                <p:cNvSpPr/>
                <p:nvPr/>
              </p:nvSpPr>
              <p:spPr>
                <a:xfrm>
                  <a:off x="9024844" y="3449046"/>
                  <a:ext cx="4715" cy="8144"/>
                </a:xfrm>
                <a:custGeom>
                  <a:avLst/>
                  <a:gdLst>
                    <a:gd name="connsiteX0" fmla="*/ 6036 w 6035"/>
                    <a:gd name="connsiteY0" fmla="*/ 3292 h 10424"/>
                    <a:gd name="connsiteX1" fmla="*/ 4938 w 6035"/>
                    <a:gd name="connsiteY1" fmla="*/ 0 h 10424"/>
                    <a:gd name="connsiteX2" fmla="*/ 2743 w 6035"/>
                    <a:gd name="connsiteY2" fmla="*/ 0 h 10424"/>
                    <a:gd name="connsiteX3" fmla="*/ 0 w 6035"/>
                    <a:gd name="connsiteY3" fmla="*/ 6035 h 10424"/>
                    <a:gd name="connsiteX4" fmla="*/ 1646 w 6035"/>
                    <a:gd name="connsiteY4" fmla="*/ 10424 h 10424"/>
                    <a:gd name="connsiteX5" fmla="*/ 6036 w 6035"/>
                    <a:gd name="connsiteY5" fmla="*/ 6035 h 10424"/>
                    <a:gd name="connsiteX6" fmla="*/ 6036 w 6035"/>
                    <a:gd name="connsiteY6" fmla="*/ 3292 h 104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035" h="10424">
                      <a:moveTo>
                        <a:pt x="6036" y="3292"/>
                      </a:moveTo>
                      <a:lnTo>
                        <a:pt x="4938" y="0"/>
                      </a:lnTo>
                      <a:lnTo>
                        <a:pt x="2743" y="0"/>
                      </a:lnTo>
                      <a:lnTo>
                        <a:pt x="0" y="6035"/>
                      </a:lnTo>
                      <a:lnTo>
                        <a:pt x="1646" y="10424"/>
                      </a:lnTo>
                      <a:lnTo>
                        <a:pt x="6036" y="6035"/>
                      </a:lnTo>
                      <a:lnTo>
                        <a:pt x="6036" y="3292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39" name="Graphic 7">
                  <a:extLst>
                    <a:ext uri="{FF2B5EF4-FFF2-40B4-BE49-F238E27FC236}">
                      <a16:creationId xmlns:a16="http://schemas.microsoft.com/office/drawing/2014/main" id="{63B83254-31CC-8AC9-B87D-F28D118382EE}"/>
                    </a:ext>
                  </a:extLst>
                </p:cNvPr>
                <p:cNvSpPr/>
                <p:nvPr/>
              </p:nvSpPr>
              <p:spPr>
                <a:xfrm>
                  <a:off x="9044562" y="3420757"/>
                  <a:ext cx="2571" cy="4714"/>
                </a:xfrm>
                <a:custGeom>
                  <a:avLst/>
                  <a:gdLst>
                    <a:gd name="connsiteX0" fmla="*/ 549 w 3291"/>
                    <a:gd name="connsiteY0" fmla="*/ 0 h 6034"/>
                    <a:gd name="connsiteX1" fmla="*/ 0 w 3291"/>
                    <a:gd name="connsiteY1" fmla="*/ 3292 h 6034"/>
                    <a:gd name="connsiteX2" fmla="*/ 549 w 3291"/>
                    <a:gd name="connsiteY2" fmla="*/ 6035 h 6034"/>
                    <a:gd name="connsiteX3" fmla="*/ 3292 w 3291"/>
                    <a:gd name="connsiteY3" fmla="*/ 3841 h 6034"/>
                    <a:gd name="connsiteX4" fmla="*/ 549 w 3291"/>
                    <a:gd name="connsiteY4" fmla="*/ 0 h 60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291" h="6034">
                      <a:moveTo>
                        <a:pt x="549" y="0"/>
                      </a:moveTo>
                      <a:lnTo>
                        <a:pt x="0" y="3292"/>
                      </a:lnTo>
                      <a:lnTo>
                        <a:pt x="549" y="6035"/>
                      </a:lnTo>
                      <a:lnTo>
                        <a:pt x="3292" y="3841"/>
                      </a:lnTo>
                      <a:lnTo>
                        <a:pt x="549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40" name="Graphic 7">
                  <a:extLst>
                    <a:ext uri="{FF2B5EF4-FFF2-40B4-BE49-F238E27FC236}">
                      <a16:creationId xmlns:a16="http://schemas.microsoft.com/office/drawing/2014/main" id="{B2809D07-1435-CC89-D3C7-0ECB99A68AEC}"/>
                    </a:ext>
                  </a:extLst>
                </p:cNvPr>
                <p:cNvSpPr/>
                <p:nvPr/>
              </p:nvSpPr>
              <p:spPr>
                <a:xfrm>
                  <a:off x="8761229" y="3708376"/>
                  <a:ext cx="52294" cy="105875"/>
                </a:xfrm>
                <a:custGeom>
                  <a:avLst/>
                  <a:gdLst>
                    <a:gd name="connsiteX0" fmla="*/ 51572 w 66934"/>
                    <a:gd name="connsiteY0" fmla="*/ 0 h 135514"/>
                    <a:gd name="connsiteX1" fmla="*/ 56510 w 66934"/>
                    <a:gd name="connsiteY1" fmla="*/ 2743 h 135514"/>
                    <a:gd name="connsiteX2" fmla="*/ 59253 w 66934"/>
                    <a:gd name="connsiteY2" fmla="*/ 5486 h 135514"/>
                    <a:gd name="connsiteX3" fmla="*/ 63094 w 66934"/>
                    <a:gd name="connsiteY3" fmla="*/ 5486 h 135514"/>
                    <a:gd name="connsiteX4" fmla="*/ 64739 w 66934"/>
                    <a:gd name="connsiteY4" fmla="*/ 6584 h 135514"/>
                    <a:gd name="connsiteX5" fmla="*/ 66934 w 66934"/>
                    <a:gd name="connsiteY5" fmla="*/ 9875 h 135514"/>
                    <a:gd name="connsiteX6" fmla="*/ 63642 w 66934"/>
                    <a:gd name="connsiteY6" fmla="*/ 21946 h 135514"/>
                    <a:gd name="connsiteX7" fmla="*/ 64739 w 66934"/>
                    <a:gd name="connsiteY7" fmla="*/ 27432 h 135514"/>
                    <a:gd name="connsiteX8" fmla="*/ 27981 w 66934"/>
                    <a:gd name="connsiteY8" fmla="*/ 135514 h 135514"/>
                    <a:gd name="connsiteX9" fmla="*/ 25237 w 66934"/>
                    <a:gd name="connsiteY9" fmla="*/ 133868 h 135514"/>
                    <a:gd name="connsiteX10" fmla="*/ 18105 w 66934"/>
                    <a:gd name="connsiteY10" fmla="*/ 116312 h 135514"/>
                    <a:gd name="connsiteX11" fmla="*/ 10973 w 66934"/>
                    <a:gd name="connsiteY11" fmla="*/ 111374 h 135514"/>
                    <a:gd name="connsiteX12" fmla="*/ 4389 w 66934"/>
                    <a:gd name="connsiteY12" fmla="*/ 100950 h 135514"/>
                    <a:gd name="connsiteX13" fmla="*/ 0 w 66934"/>
                    <a:gd name="connsiteY13" fmla="*/ 69677 h 135514"/>
                    <a:gd name="connsiteX14" fmla="*/ 1646 w 66934"/>
                    <a:gd name="connsiteY14" fmla="*/ 62545 h 135514"/>
                    <a:gd name="connsiteX15" fmla="*/ 32918 w 66934"/>
                    <a:gd name="connsiteY15" fmla="*/ 11522 h 135514"/>
                    <a:gd name="connsiteX16" fmla="*/ 44440 w 66934"/>
                    <a:gd name="connsiteY16" fmla="*/ 4389 h 135514"/>
                    <a:gd name="connsiteX17" fmla="*/ 47732 w 66934"/>
                    <a:gd name="connsiteY17" fmla="*/ 1646 h 135514"/>
                    <a:gd name="connsiteX18" fmla="*/ 51572 w 66934"/>
                    <a:gd name="connsiteY18" fmla="*/ 0 h 1355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66934" h="135514">
                      <a:moveTo>
                        <a:pt x="51572" y="0"/>
                      </a:moveTo>
                      <a:lnTo>
                        <a:pt x="56510" y="2743"/>
                      </a:lnTo>
                      <a:lnTo>
                        <a:pt x="59253" y="5486"/>
                      </a:lnTo>
                      <a:lnTo>
                        <a:pt x="63094" y="5486"/>
                      </a:lnTo>
                      <a:lnTo>
                        <a:pt x="64739" y="6584"/>
                      </a:lnTo>
                      <a:lnTo>
                        <a:pt x="66934" y="9875"/>
                      </a:lnTo>
                      <a:lnTo>
                        <a:pt x="63642" y="21946"/>
                      </a:lnTo>
                      <a:lnTo>
                        <a:pt x="64739" y="27432"/>
                      </a:lnTo>
                      <a:lnTo>
                        <a:pt x="27981" y="135514"/>
                      </a:lnTo>
                      <a:lnTo>
                        <a:pt x="25237" y="133868"/>
                      </a:lnTo>
                      <a:lnTo>
                        <a:pt x="18105" y="116312"/>
                      </a:lnTo>
                      <a:lnTo>
                        <a:pt x="10973" y="111374"/>
                      </a:lnTo>
                      <a:lnTo>
                        <a:pt x="4389" y="100950"/>
                      </a:lnTo>
                      <a:lnTo>
                        <a:pt x="0" y="69677"/>
                      </a:lnTo>
                      <a:lnTo>
                        <a:pt x="1646" y="62545"/>
                      </a:lnTo>
                      <a:lnTo>
                        <a:pt x="32918" y="11522"/>
                      </a:lnTo>
                      <a:lnTo>
                        <a:pt x="44440" y="4389"/>
                      </a:lnTo>
                      <a:lnTo>
                        <a:pt x="47732" y="1646"/>
                      </a:lnTo>
                      <a:lnTo>
                        <a:pt x="51572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41" name="Graphic 7">
                  <a:extLst>
                    <a:ext uri="{FF2B5EF4-FFF2-40B4-BE49-F238E27FC236}">
                      <a16:creationId xmlns:a16="http://schemas.microsoft.com/office/drawing/2014/main" id="{2154F3CD-10B2-F8C0-7C1E-8B1817240181}"/>
                    </a:ext>
                  </a:extLst>
                </p:cNvPr>
                <p:cNvSpPr/>
                <p:nvPr/>
              </p:nvSpPr>
              <p:spPr>
                <a:xfrm>
                  <a:off x="8867960" y="3735810"/>
                  <a:ext cx="4715" cy="4714"/>
                </a:xfrm>
                <a:custGeom>
                  <a:avLst/>
                  <a:gdLst>
                    <a:gd name="connsiteX0" fmla="*/ 1097 w 6035"/>
                    <a:gd name="connsiteY0" fmla="*/ 0 h 6034"/>
                    <a:gd name="connsiteX1" fmla="*/ 3841 w 6035"/>
                    <a:gd name="connsiteY1" fmla="*/ 549 h 6034"/>
                    <a:gd name="connsiteX2" fmla="*/ 6035 w 6035"/>
                    <a:gd name="connsiteY2" fmla="*/ 2194 h 6034"/>
                    <a:gd name="connsiteX3" fmla="*/ 6035 w 6035"/>
                    <a:gd name="connsiteY3" fmla="*/ 4938 h 6034"/>
                    <a:gd name="connsiteX4" fmla="*/ 4389 w 6035"/>
                    <a:gd name="connsiteY4" fmla="*/ 6035 h 6034"/>
                    <a:gd name="connsiteX5" fmla="*/ 1097 w 6035"/>
                    <a:gd name="connsiteY5" fmla="*/ 6035 h 6034"/>
                    <a:gd name="connsiteX6" fmla="*/ 0 w 6035"/>
                    <a:gd name="connsiteY6" fmla="*/ 3292 h 6034"/>
                    <a:gd name="connsiteX7" fmla="*/ 1097 w 6035"/>
                    <a:gd name="connsiteY7" fmla="*/ 0 h 60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035" h="6034">
                      <a:moveTo>
                        <a:pt x="1097" y="0"/>
                      </a:moveTo>
                      <a:lnTo>
                        <a:pt x="3841" y="549"/>
                      </a:lnTo>
                      <a:lnTo>
                        <a:pt x="6035" y="2194"/>
                      </a:lnTo>
                      <a:lnTo>
                        <a:pt x="6035" y="4938"/>
                      </a:lnTo>
                      <a:lnTo>
                        <a:pt x="4389" y="6035"/>
                      </a:lnTo>
                      <a:lnTo>
                        <a:pt x="1097" y="6035"/>
                      </a:lnTo>
                      <a:lnTo>
                        <a:pt x="0" y="3292"/>
                      </a:lnTo>
                      <a:lnTo>
                        <a:pt x="1097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42" name="Graphic 7">
                  <a:extLst>
                    <a:ext uri="{FF2B5EF4-FFF2-40B4-BE49-F238E27FC236}">
                      <a16:creationId xmlns:a16="http://schemas.microsoft.com/office/drawing/2014/main" id="{7294A93D-DC69-CC15-5916-D179552138D4}"/>
                    </a:ext>
                  </a:extLst>
                </p:cNvPr>
                <p:cNvSpPr/>
                <p:nvPr/>
              </p:nvSpPr>
              <p:spPr>
                <a:xfrm>
                  <a:off x="8878677" y="3732808"/>
                  <a:ext cx="5143" cy="6429"/>
                </a:xfrm>
                <a:custGeom>
                  <a:avLst/>
                  <a:gdLst>
                    <a:gd name="connsiteX0" fmla="*/ 1097 w 6583"/>
                    <a:gd name="connsiteY0" fmla="*/ 4938 h 8229"/>
                    <a:gd name="connsiteX1" fmla="*/ 0 w 6583"/>
                    <a:gd name="connsiteY1" fmla="*/ 3841 h 8229"/>
                    <a:gd name="connsiteX2" fmla="*/ 3841 w 6583"/>
                    <a:gd name="connsiteY2" fmla="*/ 2195 h 8229"/>
                    <a:gd name="connsiteX3" fmla="*/ 6035 w 6583"/>
                    <a:gd name="connsiteY3" fmla="*/ 0 h 8229"/>
                    <a:gd name="connsiteX4" fmla="*/ 6584 w 6583"/>
                    <a:gd name="connsiteY4" fmla="*/ 2195 h 8229"/>
                    <a:gd name="connsiteX5" fmla="*/ 5486 w 6583"/>
                    <a:gd name="connsiteY5" fmla="*/ 6035 h 8229"/>
                    <a:gd name="connsiteX6" fmla="*/ 2195 w 6583"/>
                    <a:gd name="connsiteY6" fmla="*/ 8230 h 8229"/>
                    <a:gd name="connsiteX7" fmla="*/ 1097 w 6583"/>
                    <a:gd name="connsiteY7" fmla="*/ 4938 h 82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583" h="8229">
                      <a:moveTo>
                        <a:pt x="1097" y="4938"/>
                      </a:moveTo>
                      <a:lnTo>
                        <a:pt x="0" y="3841"/>
                      </a:lnTo>
                      <a:lnTo>
                        <a:pt x="3841" y="2195"/>
                      </a:lnTo>
                      <a:lnTo>
                        <a:pt x="6035" y="0"/>
                      </a:lnTo>
                      <a:lnTo>
                        <a:pt x="6584" y="2195"/>
                      </a:lnTo>
                      <a:lnTo>
                        <a:pt x="5486" y="6035"/>
                      </a:lnTo>
                      <a:lnTo>
                        <a:pt x="2195" y="8230"/>
                      </a:lnTo>
                      <a:lnTo>
                        <a:pt x="1097" y="4938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43" name="Graphic 7">
                  <a:extLst>
                    <a:ext uri="{FF2B5EF4-FFF2-40B4-BE49-F238E27FC236}">
                      <a16:creationId xmlns:a16="http://schemas.microsoft.com/office/drawing/2014/main" id="{73D4AF5B-E606-2833-8F57-C479D6363C74}"/>
                    </a:ext>
                  </a:extLst>
                </p:cNvPr>
                <p:cNvSpPr/>
                <p:nvPr/>
              </p:nvSpPr>
              <p:spPr>
                <a:xfrm>
                  <a:off x="8984123" y="3656938"/>
                  <a:ext cx="15860" cy="23146"/>
                </a:xfrm>
                <a:custGeom>
                  <a:avLst/>
                  <a:gdLst>
                    <a:gd name="connsiteX0" fmla="*/ 4938 w 20300"/>
                    <a:gd name="connsiteY0" fmla="*/ 14265 h 29626"/>
                    <a:gd name="connsiteX1" fmla="*/ 7681 w 20300"/>
                    <a:gd name="connsiteY1" fmla="*/ 11522 h 29626"/>
                    <a:gd name="connsiteX2" fmla="*/ 7681 w 20300"/>
                    <a:gd name="connsiteY2" fmla="*/ 6584 h 29626"/>
                    <a:gd name="connsiteX3" fmla="*/ 11522 w 20300"/>
                    <a:gd name="connsiteY3" fmla="*/ 7132 h 29626"/>
                    <a:gd name="connsiteX4" fmla="*/ 17557 w 20300"/>
                    <a:gd name="connsiteY4" fmla="*/ 3292 h 29626"/>
                    <a:gd name="connsiteX5" fmla="*/ 19752 w 20300"/>
                    <a:gd name="connsiteY5" fmla="*/ 0 h 29626"/>
                    <a:gd name="connsiteX6" fmla="*/ 20300 w 20300"/>
                    <a:gd name="connsiteY6" fmla="*/ 4938 h 29626"/>
                    <a:gd name="connsiteX7" fmla="*/ 17557 w 20300"/>
                    <a:gd name="connsiteY7" fmla="*/ 11522 h 29626"/>
                    <a:gd name="connsiteX8" fmla="*/ 12619 w 20300"/>
                    <a:gd name="connsiteY8" fmla="*/ 13716 h 29626"/>
                    <a:gd name="connsiteX9" fmla="*/ 7133 w 20300"/>
                    <a:gd name="connsiteY9" fmla="*/ 19751 h 29626"/>
                    <a:gd name="connsiteX10" fmla="*/ 7133 w 20300"/>
                    <a:gd name="connsiteY10" fmla="*/ 21397 h 29626"/>
                    <a:gd name="connsiteX11" fmla="*/ 4389 w 20300"/>
                    <a:gd name="connsiteY11" fmla="*/ 24689 h 29626"/>
                    <a:gd name="connsiteX12" fmla="*/ 4389 w 20300"/>
                    <a:gd name="connsiteY12" fmla="*/ 27981 h 29626"/>
                    <a:gd name="connsiteX13" fmla="*/ 2743 w 20300"/>
                    <a:gd name="connsiteY13" fmla="*/ 29627 h 29626"/>
                    <a:gd name="connsiteX14" fmla="*/ 0 w 20300"/>
                    <a:gd name="connsiteY14" fmla="*/ 24689 h 29626"/>
                    <a:gd name="connsiteX15" fmla="*/ 1646 w 20300"/>
                    <a:gd name="connsiteY15" fmla="*/ 18105 h 29626"/>
                    <a:gd name="connsiteX16" fmla="*/ 4938 w 20300"/>
                    <a:gd name="connsiteY16" fmla="*/ 14265 h 296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20300" h="29626">
                      <a:moveTo>
                        <a:pt x="4938" y="14265"/>
                      </a:moveTo>
                      <a:lnTo>
                        <a:pt x="7681" y="11522"/>
                      </a:lnTo>
                      <a:lnTo>
                        <a:pt x="7681" y="6584"/>
                      </a:lnTo>
                      <a:lnTo>
                        <a:pt x="11522" y="7132"/>
                      </a:lnTo>
                      <a:lnTo>
                        <a:pt x="17557" y="3292"/>
                      </a:lnTo>
                      <a:lnTo>
                        <a:pt x="19752" y="0"/>
                      </a:lnTo>
                      <a:lnTo>
                        <a:pt x="20300" y="4938"/>
                      </a:lnTo>
                      <a:lnTo>
                        <a:pt x="17557" y="11522"/>
                      </a:lnTo>
                      <a:lnTo>
                        <a:pt x="12619" y="13716"/>
                      </a:lnTo>
                      <a:lnTo>
                        <a:pt x="7133" y="19751"/>
                      </a:lnTo>
                      <a:lnTo>
                        <a:pt x="7133" y="21397"/>
                      </a:lnTo>
                      <a:lnTo>
                        <a:pt x="4389" y="24689"/>
                      </a:lnTo>
                      <a:lnTo>
                        <a:pt x="4389" y="27981"/>
                      </a:lnTo>
                      <a:lnTo>
                        <a:pt x="2743" y="29627"/>
                      </a:lnTo>
                      <a:lnTo>
                        <a:pt x="0" y="24689"/>
                      </a:lnTo>
                      <a:lnTo>
                        <a:pt x="1646" y="18105"/>
                      </a:lnTo>
                      <a:lnTo>
                        <a:pt x="4938" y="14265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44" name="Graphic 7">
                  <a:extLst>
                    <a:ext uri="{FF2B5EF4-FFF2-40B4-BE49-F238E27FC236}">
                      <a16:creationId xmlns:a16="http://schemas.microsoft.com/office/drawing/2014/main" id="{ECACF64B-2AA3-B6C8-5A82-AB3626BC803C}"/>
                    </a:ext>
                  </a:extLst>
                </p:cNvPr>
                <p:cNvSpPr/>
                <p:nvPr/>
              </p:nvSpPr>
              <p:spPr>
                <a:xfrm>
                  <a:off x="9019272" y="3622218"/>
                  <a:ext cx="2571" cy="7286"/>
                </a:xfrm>
                <a:custGeom>
                  <a:avLst/>
                  <a:gdLst>
                    <a:gd name="connsiteX0" fmla="*/ 2743 w 3291"/>
                    <a:gd name="connsiteY0" fmla="*/ 5486 h 9326"/>
                    <a:gd name="connsiteX1" fmla="*/ 3292 w 3291"/>
                    <a:gd name="connsiteY1" fmla="*/ 8230 h 9326"/>
                    <a:gd name="connsiteX2" fmla="*/ 1646 w 3291"/>
                    <a:gd name="connsiteY2" fmla="*/ 9327 h 9326"/>
                    <a:gd name="connsiteX3" fmla="*/ 549 w 3291"/>
                    <a:gd name="connsiteY3" fmla="*/ 6584 h 9326"/>
                    <a:gd name="connsiteX4" fmla="*/ 0 w 3291"/>
                    <a:gd name="connsiteY4" fmla="*/ 3292 h 9326"/>
                    <a:gd name="connsiteX5" fmla="*/ 549 w 3291"/>
                    <a:gd name="connsiteY5" fmla="*/ 0 h 9326"/>
                    <a:gd name="connsiteX6" fmla="*/ 1646 w 3291"/>
                    <a:gd name="connsiteY6" fmla="*/ 4389 h 9326"/>
                    <a:gd name="connsiteX7" fmla="*/ 2743 w 3291"/>
                    <a:gd name="connsiteY7" fmla="*/ 5486 h 93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91" h="9326">
                      <a:moveTo>
                        <a:pt x="2743" y="5486"/>
                      </a:moveTo>
                      <a:lnTo>
                        <a:pt x="3292" y="8230"/>
                      </a:lnTo>
                      <a:lnTo>
                        <a:pt x="1646" y="9327"/>
                      </a:lnTo>
                      <a:lnTo>
                        <a:pt x="549" y="6584"/>
                      </a:lnTo>
                      <a:lnTo>
                        <a:pt x="0" y="3292"/>
                      </a:lnTo>
                      <a:lnTo>
                        <a:pt x="549" y="0"/>
                      </a:lnTo>
                      <a:lnTo>
                        <a:pt x="1646" y="4389"/>
                      </a:lnTo>
                      <a:lnTo>
                        <a:pt x="2743" y="5486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45" name="Graphic 7">
                  <a:extLst>
                    <a:ext uri="{FF2B5EF4-FFF2-40B4-BE49-F238E27FC236}">
                      <a16:creationId xmlns:a16="http://schemas.microsoft.com/office/drawing/2014/main" id="{FEEE937D-FFAB-C6FD-7A18-E3EF62ACA2FC}"/>
                    </a:ext>
                  </a:extLst>
                </p:cNvPr>
                <p:cNvSpPr/>
                <p:nvPr/>
              </p:nvSpPr>
              <p:spPr>
                <a:xfrm>
                  <a:off x="9030845" y="3602501"/>
                  <a:ext cx="10287" cy="11144"/>
                </a:xfrm>
                <a:custGeom>
                  <a:avLst/>
                  <a:gdLst>
                    <a:gd name="connsiteX0" fmla="*/ 4938 w 13167"/>
                    <a:gd name="connsiteY0" fmla="*/ 3841 h 14264"/>
                    <a:gd name="connsiteX1" fmla="*/ 12070 w 13167"/>
                    <a:gd name="connsiteY1" fmla="*/ 0 h 14264"/>
                    <a:gd name="connsiteX2" fmla="*/ 13167 w 13167"/>
                    <a:gd name="connsiteY2" fmla="*/ 1097 h 14264"/>
                    <a:gd name="connsiteX3" fmla="*/ 12619 w 13167"/>
                    <a:gd name="connsiteY3" fmla="*/ 6035 h 14264"/>
                    <a:gd name="connsiteX4" fmla="*/ 9327 w 13167"/>
                    <a:gd name="connsiteY4" fmla="*/ 7681 h 14264"/>
                    <a:gd name="connsiteX5" fmla="*/ 6584 w 13167"/>
                    <a:gd name="connsiteY5" fmla="*/ 12070 h 14264"/>
                    <a:gd name="connsiteX6" fmla="*/ 3292 w 13167"/>
                    <a:gd name="connsiteY6" fmla="*/ 14265 h 14264"/>
                    <a:gd name="connsiteX7" fmla="*/ 2195 w 13167"/>
                    <a:gd name="connsiteY7" fmla="*/ 13716 h 14264"/>
                    <a:gd name="connsiteX8" fmla="*/ 549 w 13167"/>
                    <a:gd name="connsiteY8" fmla="*/ 11522 h 14264"/>
                    <a:gd name="connsiteX9" fmla="*/ 0 w 13167"/>
                    <a:gd name="connsiteY9" fmla="*/ 7681 h 14264"/>
                    <a:gd name="connsiteX10" fmla="*/ 3292 w 13167"/>
                    <a:gd name="connsiteY10" fmla="*/ 3841 h 14264"/>
                    <a:gd name="connsiteX11" fmla="*/ 4938 w 13167"/>
                    <a:gd name="connsiteY11" fmla="*/ 3841 h 142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3167" h="14264">
                      <a:moveTo>
                        <a:pt x="4938" y="3841"/>
                      </a:moveTo>
                      <a:lnTo>
                        <a:pt x="12070" y="0"/>
                      </a:lnTo>
                      <a:lnTo>
                        <a:pt x="13167" y="1097"/>
                      </a:lnTo>
                      <a:lnTo>
                        <a:pt x="12619" y="6035"/>
                      </a:lnTo>
                      <a:lnTo>
                        <a:pt x="9327" y="7681"/>
                      </a:lnTo>
                      <a:lnTo>
                        <a:pt x="6584" y="12070"/>
                      </a:lnTo>
                      <a:lnTo>
                        <a:pt x="3292" y="14265"/>
                      </a:lnTo>
                      <a:lnTo>
                        <a:pt x="2195" y="13716"/>
                      </a:lnTo>
                      <a:lnTo>
                        <a:pt x="549" y="11522"/>
                      </a:lnTo>
                      <a:lnTo>
                        <a:pt x="0" y="7681"/>
                      </a:lnTo>
                      <a:lnTo>
                        <a:pt x="3292" y="3841"/>
                      </a:lnTo>
                      <a:lnTo>
                        <a:pt x="4938" y="3841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46" name="Graphic 7">
                  <a:extLst>
                    <a:ext uri="{FF2B5EF4-FFF2-40B4-BE49-F238E27FC236}">
                      <a16:creationId xmlns:a16="http://schemas.microsoft.com/office/drawing/2014/main" id="{F1D861D1-48D8-6BDE-C8B5-F905AABAC4D9}"/>
                    </a:ext>
                  </a:extLst>
                </p:cNvPr>
                <p:cNvSpPr/>
                <p:nvPr/>
              </p:nvSpPr>
              <p:spPr>
                <a:xfrm>
                  <a:off x="8913826" y="3722092"/>
                  <a:ext cx="4714" cy="5572"/>
                </a:xfrm>
                <a:custGeom>
                  <a:avLst/>
                  <a:gdLst>
                    <a:gd name="connsiteX0" fmla="*/ 1646 w 6034"/>
                    <a:gd name="connsiteY0" fmla="*/ 1097 h 7132"/>
                    <a:gd name="connsiteX1" fmla="*/ 0 w 6034"/>
                    <a:gd name="connsiteY1" fmla="*/ 0 h 7132"/>
                    <a:gd name="connsiteX2" fmla="*/ 0 w 6034"/>
                    <a:gd name="connsiteY2" fmla="*/ 549 h 7132"/>
                    <a:gd name="connsiteX3" fmla="*/ 2194 w 6034"/>
                    <a:gd name="connsiteY3" fmla="*/ 2195 h 7132"/>
                    <a:gd name="connsiteX4" fmla="*/ 4937 w 6034"/>
                    <a:gd name="connsiteY4" fmla="*/ 3841 h 7132"/>
                    <a:gd name="connsiteX5" fmla="*/ 6035 w 6034"/>
                    <a:gd name="connsiteY5" fmla="*/ 5486 h 7132"/>
                    <a:gd name="connsiteX6" fmla="*/ 2743 w 6034"/>
                    <a:gd name="connsiteY6" fmla="*/ 7132 h 7132"/>
                    <a:gd name="connsiteX7" fmla="*/ 1646 w 6034"/>
                    <a:gd name="connsiteY7" fmla="*/ 4389 h 7132"/>
                    <a:gd name="connsiteX8" fmla="*/ 1646 w 6034"/>
                    <a:gd name="connsiteY8" fmla="*/ 1097 h 71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6034" h="7132">
                      <a:moveTo>
                        <a:pt x="1646" y="1097"/>
                      </a:moveTo>
                      <a:lnTo>
                        <a:pt x="0" y="0"/>
                      </a:lnTo>
                      <a:lnTo>
                        <a:pt x="0" y="549"/>
                      </a:lnTo>
                      <a:lnTo>
                        <a:pt x="2194" y="2195"/>
                      </a:lnTo>
                      <a:lnTo>
                        <a:pt x="4937" y="3841"/>
                      </a:lnTo>
                      <a:lnTo>
                        <a:pt x="6035" y="5486"/>
                      </a:lnTo>
                      <a:lnTo>
                        <a:pt x="2743" y="7132"/>
                      </a:lnTo>
                      <a:lnTo>
                        <a:pt x="1646" y="4389"/>
                      </a:lnTo>
                      <a:lnTo>
                        <a:pt x="1646" y="1097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47" name="Graphic 7">
                  <a:extLst>
                    <a:ext uri="{FF2B5EF4-FFF2-40B4-BE49-F238E27FC236}">
                      <a16:creationId xmlns:a16="http://schemas.microsoft.com/office/drawing/2014/main" id="{EF136875-AF31-F9EE-47EC-2C19B050E80A}"/>
                    </a:ext>
                  </a:extLst>
                </p:cNvPr>
                <p:cNvSpPr/>
                <p:nvPr/>
              </p:nvSpPr>
              <p:spPr>
                <a:xfrm>
                  <a:off x="8578199" y="3802248"/>
                  <a:ext cx="6429" cy="5572"/>
                </a:xfrm>
                <a:custGeom>
                  <a:avLst/>
                  <a:gdLst>
                    <a:gd name="connsiteX0" fmla="*/ 8230 w 8229"/>
                    <a:gd name="connsiteY0" fmla="*/ 0 h 7132"/>
                    <a:gd name="connsiteX1" fmla="*/ 5486 w 8229"/>
                    <a:gd name="connsiteY1" fmla="*/ 1646 h 7132"/>
                    <a:gd name="connsiteX2" fmla="*/ 2195 w 8229"/>
                    <a:gd name="connsiteY2" fmla="*/ 2743 h 7132"/>
                    <a:gd name="connsiteX3" fmla="*/ 0 w 8229"/>
                    <a:gd name="connsiteY3" fmla="*/ 4389 h 7132"/>
                    <a:gd name="connsiteX4" fmla="*/ 0 w 8229"/>
                    <a:gd name="connsiteY4" fmla="*/ 5486 h 7132"/>
                    <a:gd name="connsiteX5" fmla="*/ 1097 w 8229"/>
                    <a:gd name="connsiteY5" fmla="*/ 6035 h 7132"/>
                    <a:gd name="connsiteX6" fmla="*/ 1646 w 8229"/>
                    <a:gd name="connsiteY6" fmla="*/ 5486 h 7132"/>
                    <a:gd name="connsiteX7" fmla="*/ 2743 w 8229"/>
                    <a:gd name="connsiteY7" fmla="*/ 5486 h 7132"/>
                    <a:gd name="connsiteX8" fmla="*/ 4938 w 8229"/>
                    <a:gd name="connsiteY8" fmla="*/ 4938 h 7132"/>
                    <a:gd name="connsiteX9" fmla="*/ 5486 w 8229"/>
                    <a:gd name="connsiteY9" fmla="*/ 7132 h 7132"/>
                    <a:gd name="connsiteX10" fmla="*/ 6584 w 8229"/>
                    <a:gd name="connsiteY10" fmla="*/ 7132 h 7132"/>
                    <a:gd name="connsiteX11" fmla="*/ 6035 w 8229"/>
                    <a:gd name="connsiteY11" fmla="*/ 3292 h 7132"/>
                    <a:gd name="connsiteX12" fmla="*/ 6584 w 8229"/>
                    <a:gd name="connsiteY12" fmla="*/ 2743 h 7132"/>
                    <a:gd name="connsiteX13" fmla="*/ 7132 w 8229"/>
                    <a:gd name="connsiteY13" fmla="*/ 1646 h 7132"/>
                    <a:gd name="connsiteX14" fmla="*/ 8230 w 8229"/>
                    <a:gd name="connsiteY14" fmla="*/ 1097 h 7132"/>
                    <a:gd name="connsiteX15" fmla="*/ 8230 w 8229"/>
                    <a:gd name="connsiteY15" fmla="*/ 0 h 71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8229" h="7132">
                      <a:moveTo>
                        <a:pt x="8230" y="0"/>
                      </a:moveTo>
                      <a:lnTo>
                        <a:pt x="5486" y="1646"/>
                      </a:lnTo>
                      <a:lnTo>
                        <a:pt x="2195" y="2743"/>
                      </a:lnTo>
                      <a:lnTo>
                        <a:pt x="0" y="4389"/>
                      </a:lnTo>
                      <a:lnTo>
                        <a:pt x="0" y="5486"/>
                      </a:lnTo>
                      <a:lnTo>
                        <a:pt x="1097" y="6035"/>
                      </a:lnTo>
                      <a:lnTo>
                        <a:pt x="1646" y="5486"/>
                      </a:lnTo>
                      <a:lnTo>
                        <a:pt x="2743" y="5486"/>
                      </a:lnTo>
                      <a:lnTo>
                        <a:pt x="4938" y="4938"/>
                      </a:lnTo>
                      <a:lnTo>
                        <a:pt x="5486" y="7132"/>
                      </a:lnTo>
                      <a:lnTo>
                        <a:pt x="6584" y="7132"/>
                      </a:lnTo>
                      <a:lnTo>
                        <a:pt x="6035" y="3292"/>
                      </a:lnTo>
                      <a:lnTo>
                        <a:pt x="6584" y="2743"/>
                      </a:lnTo>
                      <a:lnTo>
                        <a:pt x="7132" y="1646"/>
                      </a:lnTo>
                      <a:lnTo>
                        <a:pt x="8230" y="1097"/>
                      </a:lnTo>
                      <a:lnTo>
                        <a:pt x="8230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48" name="Graphic 7">
                  <a:extLst>
                    <a:ext uri="{FF2B5EF4-FFF2-40B4-BE49-F238E27FC236}">
                      <a16:creationId xmlns:a16="http://schemas.microsoft.com/office/drawing/2014/main" id="{E19C719B-3DD9-F7CE-B2B8-16B650CEDB6A}"/>
                    </a:ext>
                  </a:extLst>
                </p:cNvPr>
                <p:cNvSpPr/>
                <p:nvPr/>
              </p:nvSpPr>
              <p:spPr>
                <a:xfrm>
                  <a:off x="8586772" y="3803962"/>
                  <a:ext cx="3857" cy="2572"/>
                </a:xfrm>
                <a:custGeom>
                  <a:avLst/>
                  <a:gdLst>
                    <a:gd name="connsiteX0" fmla="*/ 2743 w 4937"/>
                    <a:gd name="connsiteY0" fmla="*/ 0 h 3292"/>
                    <a:gd name="connsiteX1" fmla="*/ 549 w 4937"/>
                    <a:gd name="connsiteY1" fmla="*/ 0 h 3292"/>
                    <a:gd name="connsiteX2" fmla="*/ 0 w 4937"/>
                    <a:gd name="connsiteY2" fmla="*/ 549 h 3292"/>
                    <a:gd name="connsiteX3" fmla="*/ 2743 w 4937"/>
                    <a:gd name="connsiteY3" fmla="*/ 1646 h 3292"/>
                    <a:gd name="connsiteX4" fmla="*/ 3292 w 4937"/>
                    <a:gd name="connsiteY4" fmla="*/ 3292 h 3292"/>
                    <a:gd name="connsiteX5" fmla="*/ 3841 w 4937"/>
                    <a:gd name="connsiteY5" fmla="*/ 1646 h 3292"/>
                    <a:gd name="connsiteX6" fmla="*/ 4938 w 4937"/>
                    <a:gd name="connsiteY6" fmla="*/ 3292 h 3292"/>
                    <a:gd name="connsiteX7" fmla="*/ 4938 w 4937"/>
                    <a:gd name="connsiteY7" fmla="*/ 1646 h 3292"/>
                    <a:gd name="connsiteX8" fmla="*/ 2743 w 4937"/>
                    <a:gd name="connsiteY8" fmla="*/ 0 h 32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937" h="3292">
                      <a:moveTo>
                        <a:pt x="2743" y="0"/>
                      </a:moveTo>
                      <a:lnTo>
                        <a:pt x="549" y="0"/>
                      </a:lnTo>
                      <a:lnTo>
                        <a:pt x="0" y="549"/>
                      </a:lnTo>
                      <a:lnTo>
                        <a:pt x="2743" y="1646"/>
                      </a:lnTo>
                      <a:lnTo>
                        <a:pt x="3292" y="3292"/>
                      </a:lnTo>
                      <a:lnTo>
                        <a:pt x="3841" y="1646"/>
                      </a:lnTo>
                      <a:lnTo>
                        <a:pt x="4938" y="3292"/>
                      </a:lnTo>
                      <a:lnTo>
                        <a:pt x="4938" y="1646"/>
                      </a:lnTo>
                      <a:lnTo>
                        <a:pt x="2743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49" name="Graphic 7">
                  <a:extLst>
                    <a:ext uri="{FF2B5EF4-FFF2-40B4-BE49-F238E27FC236}">
                      <a16:creationId xmlns:a16="http://schemas.microsoft.com/office/drawing/2014/main" id="{30D9584E-7B7D-A3CF-9698-DACFC53498D6}"/>
                    </a:ext>
                  </a:extLst>
                </p:cNvPr>
                <p:cNvSpPr/>
                <p:nvPr/>
              </p:nvSpPr>
              <p:spPr>
                <a:xfrm>
                  <a:off x="8426031" y="3870402"/>
                  <a:ext cx="68154" cy="60438"/>
                </a:xfrm>
                <a:custGeom>
                  <a:avLst/>
                  <a:gdLst>
                    <a:gd name="connsiteX0" fmla="*/ 69677 w 87233"/>
                    <a:gd name="connsiteY0" fmla="*/ 3292 h 77358"/>
                    <a:gd name="connsiteX1" fmla="*/ 68031 w 87233"/>
                    <a:gd name="connsiteY1" fmla="*/ 3292 h 77358"/>
                    <a:gd name="connsiteX2" fmla="*/ 71323 w 87233"/>
                    <a:gd name="connsiteY2" fmla="*/ 0 h 77358"/>
                    <a:gd name="connsiteX3" fmla="*/ 76810 w 87233"/>
                    <a:gd name="connsiteY3" fmla="*/ 3292 h 77358"/>
                    <a:gd name="connsiteX4" fmla="*/ 83942 w 87233"/>
                    <a:gd name="connsiteY4" fmla="*/ 4938 h 77358"/>
                    <a:gd name="connsiteX5" fmla="*/ 87234 w 87233"/>
                    <a:gd name="connsiteY5" fmla="*/ 18654 h 77358"/>
                    <a:gd name="connsiteX6" fmla="*/ 80101 w 87233"/>
                    <a:gd name="connsiteY6" fmla="*/ 25238 h 77358"/>
                    <a:gd name="connsiteX7" fmla="*/ 67483 w 87233"/>
                    <a:gd name="connsiteY7" fmla="*/ 53767 h 77358"/>
                    <a:gd name="connsiteX8" fmla="*/ 53218 w 87233"/>
                    <a:gd name="connsiteY8" fmla="*/ 67483 h 77358"/>
                    <a:gd name="connsiteX9" fmla="*/ 45537 w 87233"/>
                    <a:gd name="connsiteY9" fmla="*/ 69677 h 77358"/>
                    <a:gd name="connsiteX10" fmla="*/ 40051 w 87233"/>
                    <a:gd name="connsiteY10" fmla="*/ 77358 h 77358"/>
                    <a:gd name="connsiteX11" fmla="*/ 36210 w 87233"/>
                    <a:gd name="connsiteY11" fmla="*/ 76810 h 77358"/>
                    <a:gd name="connsiteX12" fmla="*/ 32918 w 87233"/>
                    <a:gd name="connsiteY12" fmla="*/ 74615 h 77358"/>
                    <a:gd name="connsiteX13" fmla="*/ 7681 w 87233"/>
                    <a:gd name="connsiteY13" fmla="*/ 66934 h 77358"/>
                    <a:gd name="connsiteX14" fmla="*/ 1646 w 87233"/>
                    <a:gd name="connsiteY14" fmla="*/ 58705 h 77358"/>
                    <a:gd name="connsiteX15" fmla="*/ 0 w 87233"/>
                    <a:gd name="connsiteY15" fmla="*/ 34016 h 77358"/>
                    <a:gd name="connsiteX16" fmla="*/ 19751 w 87233"/>
                    <a:gd name="connsiteY16" fmla="*/ 16459 h 77358"/>
                    <a:gd name="connsiteX17" fmla="*/ 20848 w 87233"/>
                    <a:gd name="connsiteY17" fmla="*/ 13716 h 77358"/>
                    <a:gd name="connsiteX18" fmla="*/ 33467 w 87233"/>
                    <a:gd name="connsiteY18" fmla="*/ 7133 h 77358"/>
                    <a:gd name="connsiteX19" fmla="*/ 52669 w 87233"/>
                    <a:gd name="connsiteY19" fmla="*/ 6035 h 77358"/>
                    <a:gd name="connsiteX20" fmla="*/ 57607 w 87233"/>
                    <a:gd name="connsiteY20" fmla="*/ 2743 h 77358"/>
                    <a:gd name="connsiteX21" fmla="*/ 69677 w 87233"/>
                    <a:gd name="connsiteY21" fmla="*/ 3292 h 773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87233" h="77358">
                      <a:moveTo>
                        <a:pt x="69677" y="3292"/>
                      </a:moveTo>
                      <a:lnTo>
                        <a:pt x="68031" y="3292"/>
                      </a:lnTo>
                      <a:lnTo>
                        <a:pt x="71323" y="0"/>
                      </a:lnTo>
                      <a:lnTo>
                        <a:pt x="76810" y="3292"/>
                      </a:lnTo>
                      <a:lnTo>
                        <a:pt x="83942" y="4938"/>
                      </a:lnTo>
                      <a:lnTo>
                        <a:pt x="87234" y="18654"/>
                      </a:lnTo>
                      <a:lnTo>
                        <a:pt x="80101" y="25238"/>
                      </a:lnTo>
                      <a:lnTo>
                        <a:pt x="67483" y="53767"/>
                      </a:lnTo>
                      <a:lnTo>
                        <a:pt x="53218" y="67483"/>
                      </a:lnTo>
                      <a:lnTo>
                        <a:pt x="45537" y="69677"/>
                      </a:lnTo>
                      <a:lnTo>
                        <a:pt x="40051" y="77358"/>
                      </a:lnTo>
                      <a:lnTo>
                        <a:pt x="36210" y="76810"/>
                      </a:lnTo>
                      <a:lnTo>
                        <a:pt x="32918" y="74615"/>
                      </a:lnTo>
                      <a:lnTo>
                        <a:pt x="7681" y="66934"/>
                      </a:lnTo>
                      <a:lnTo>
                        <a:pt x="1646" y="58705"/>
                      </a:lnTo>
                      <a:lnTo>
                        <a:pt x="0" y="34016"/>
                      </a:lnTo>
                      <a:lnTo>
                        <a:pt x="19751" y="16459"/>
                      </a:lnTo>
                      <a:lnTo>
                        <a:pt x="20848" y="13716"/>
                      </a:lnTo>
                      <a:lnTo>
                        <a:pt x="33467" y="7133"/>
                      </a:lnTo>
                      <a:lnTo>
                        <a:pt x="52669" y="6035"/>
                      </a:lnTo>
                      <a:lnTo>
                        <a:pt x="57607" y="2743"/>
                      </a:lnTo>
                      <a:lnTo>
                        <a:pt x="69677" y="3292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50" name="Graphic 7">
                  <a:extLst>
                    <a:ext uri="{FF2B5EF4-FFF2-40B4-BE49-F238E27FC236}">
                      <a16:creationId xmlns:a16="http://schemas.microsoft.com/office/drawing/2014/main" id="{6F9B99E6-083D-7AD4-3F1A-DB94DEE0C1DB}"/>
                    </a:ext>
                  </a:extLst>
                </p:cNvPr>
                <p:cNvSpPr/>
                <p:nvPr/>
              </p:nvSpPr>
              <p:spPr>
                <a:xfrm>
                  <a:off x="7399433" y="2617052"/>
                  <a:ext cx="1795582" cy="1249921"/>
                </a:xfrm>
                <a:custGeom>
                  <a:avLst/>
                  <a:gdLst>
                    <a:gd name="connsiteX0" fmla="*/ 1536192 w 2298253"/>
                    <a:gd name="connsiteY0" fmla="*/ 1508760 h 1599834"/>
                    <a:gd name="connsiteX1" fmla="*/ 1533997 w 2298253"/>
                    <a:gd name="connsiteY1" fmla="*/ 1512601 h 1599834"/>
                    <a:gd name="connsiteX2" fmla="*/ 1532900 w 2298253"/>
                    <a:gd name="connsiteY2" fmla="*/ 1510954 h 1599834"/>
                    <a:gd name="connsiteX3" fmla="*/ 1532900 w 2298253"/>
                    <a:gd name="connsiteY3" fmla="*/ 1508760 h 1599834"/>
                    <a:gd name="connsiteX4" fmla="*/ 1530157 w 2298253"/>
                    <a:gd name="connsiteY4" fmla="*/ 1506017 h 1599834"/>
                    <a:gd name="connsiteX5" fmla="*/ 1524671 w 2298253"/>
                    <a:gd name="connsiteY5" fmla="*/ 1507663 h 1599834"/>
                    <a:gd name="connsiteX6" fmla="*/ 1523025 w 2298253"/>
                    <a:gd name="connsiteY6" fmla="*/ 1508760 h 1599834"/>
                    <a:gd name="connsiteX7" fmla="*/ 1523025 w 2298253"/>
                    <a:gd name="connsiteY7" fmla="*/ 1509857 h 1599834"/>
                    <a:gd name="connsiteX8" fmla="*/ 1526317 w 2298253"/>
                    <a:gd name="connsiteY8" fmla="*/ 1514246 h 1599834"/>
                    <a:gd name="connsiteX9" fmla="*/ 1514246 w 2298253"/>
                    <a:gd name="connsiteY9" fmla="*/ 1516441 h 1599834"/>
                    <a:gd name="connsiteX10" fmla="*/ 1513698 w 2298253"/>
                    <a:gd name="connsiteY10" fmla="*/ 1513149 h 1599834"/>
                    <a:gd name="connsiteX11" fmla="*/ 1514246 w 2298253"/>
                    <a:gd name="connsiteY11" fmla="*/ 1511503 h 1599834"/>
                    <a:gd name="connsiteX12" fmla="*/ 1512601 w 2298253"/>
                    <a:gd name="connsiteY12" fmla="*/ 1508211 h 1599834"/>
                    <a:gd name="connsiteX13" fmla="*/ 1505468 w 2298253"/>
                    <a:gd name="connsiteY13" fmla="*/ 1502725 h 1599834"/>
                    <a:gd name="connsiteX14" fmla="*/ 1499982 w 2298253"/>
                    <a:gd name="connsiteY14" fmla="*/ 1501079 h 1599834"/>
                    <a:gd name="connsiteX15" fmla="*/ 1497787 w 2298253"/>
                    <a:gd name="connsiteY15" fmla="*/ 1496690 h 1599834"/>
                    <a:gd name="connsiteX16" fmla="*/ 1497239 w 2298253"/>
                    <a:gd name="connsiteY16" fmla="*/ 1519733 h 1599834"/>
                    <a:gd name="connsiteX17" fmla="*/ 1494496 w 2298253"/>
                    <a:gd name="connsiteY17" fmla="*/ 1520830 h 1599834"/>
                    <a:gd name="connsiteX18" fmla="*/ 1492301 w 2298253"/>
                    <a:gd name="connsiteY18" fmla="*/ 1520281 h 1599834"/>
                    <a:gd name="connsiteX19" fmla="*/ 1481877 w 2298253"/>
                    <a:gd name="connsiteY19" fmla="*/ 1509309 h 1599834"/>
                    <a:gd name="connsiteX20" fmla="*/ 1479682 w 2298253"/>
                    <a:gd name="connsiteY20" fmla="*/ 1504920 h 1599834"/>
                    <a:gd name="connsiteX21" fmla="*/ 1475293 w 2298253"/>
                    <a:gd name="connsiteY21" fmla="*/ 1522476 h 1599834"/>
                    <a:gd name="connsiteX22" fmla="*/ 1476390 w 2298253"/>
                    <a:gd name="connsiteY22" fmla="*/ 1531254 h 1599834"/>
                    <a:gd name="connsiteX23" fmla="*/ 1474196 w 2298253"/>
                    <a:gd name="connsiteY23" fmla="*/ 1533449 h 1599834"/>
                    <a:gd name="connsiteX24" fmla="*/ 1471453 w 2298253"/>
                    <a:gd name="connsiteY24" fmla="*/ 1532352 h 1599834"/>
                    <a:gd name="connsiteX25" fmla="*/ 1461028 w 2298253"/>
                    <a:gd name="connsiteY25" fmla="*/ 1537289 h 1599834"/>
                    <a:gd name="connsiteX26" fmla="*/ 1453896 w 2298253"/>
                    <a:gd name="connsiteY26" fmla="*/ 1537838 h 1599834"/>
                    <a:gd name="connsiteX27" fmla="*/ 1448958 w 2298253"/>
                    <a:gd name="connsiteY27" fmla="*/ 1540581 h 1599834"/>
                    <a:gd name="connsiteX28" fmla="*/ 1442923 w 2298253"/>
                    <a:gd name="connsiteY28" fmla="*/ 1540581 h 1599834"/>
                    <a:gd name="connsiteX29" fmla="*/ 1440729 w 2298253"/>
                    <a:gd name="connsiteY29" fmla="*/ 1538935 h 1599834"/>
                    <a:gd name="connsiteX30" fmla="*/ 1433596 w 2298253"/>
                    <a:gd name="connsiteY30" fmla="*/ 1540033 h 1599834"/>
                    <a:gd name="connsiteX31" fmla="*/ 1426464 w 2298253"/>
                    <a:gd name="connsiteY31" fmla="*/ 1546616 h 1599834"/>
                    <a:gd name="connsiteX32" fmla="*/ 1410005 w 2298253"/>
                    <a:gd name="connsiteY32" fmla="*/ 1549908 h 1599834"/>
                    <a:gd name="connsiteX33" fmla="*/ 1403970 w 2298253"/>
                    <a:gd name="connsiteY33" fmla="*/ 1549359 h 1599834"/>
                    <a:gd name="connsiteX34" fmla="*/ 1402324 w 2298253"/>
                    <a:gd name="connsiteY34" fmla="*/ 1551554 h 1599834"/>
                    <a:gd name="connsiteX35" fmla="*/ 1385865 w 2298253"/>
                    <a:gd name="connsiteY35" fmla="*/ 1557589 h 1599834"/>
                    <a:gd name="connsiteX36" fmla="*/ 1379830 w 2298253"/>
                    <a:gd name="connsiteY36" fmla="*/ 1555394 h 1599834"/>
                    <a:gd name="connsiteX37" fmla="*/ 1371600 w 2298253"/>
                    <a:gd name="connsiteY37" fmla="*/ 1573500 h 1599834"/>
                    <a:gd name="connsiteX38" fmla="*/ 1379830 w 2298253"/>
                    <a:gd name="connsiteY38" fmla="*/ 1586667 h 1599834"/>
                    <a:gd name="connsiteX39" fmla="*/ 1379281 w 2298253"/>
                    <a:gd name="connsiteY39" fmla="*/ 1594897 h 1599834"/>
                    <a:gd name="connsiteX40" fmla="*/ 1368308 w 2298253"/>
                    <a:gd name="connsiteY40" fmla="*/ 1599834 h 1599834"/>
                    <a:gd name="connsiteX41" fmla="*/ 1361176 w 2298253"/>
                    <a:gd name="connsiteY41" fmla="*/ 1594897 h 1599834"/>
                    <a:gd name="connsiteX42" fmla="*/ 1349654 w 2298253"/>
                    <a:gd name="connsiteY42" fmla="*/ 1569110 h 1599834"/>
                    <a:gd name="connsiteX43" fmla="*/ 1354592 w 2298253"/>
                    <a:gd name="connsiteY43" fmla="*/ 1552651 h 1599834"/>
                    <a:gd name="connsiteX44" fmla="*/ 1351849 w 2298253"/>
                    <a:gd name="connsiteY44" fmla="*/ 1547165 h 1599834"/>
                    <a:gd name="connsiteX45" fmla="*/ 1340876 w 2298253"/>
                    <a:gd name="connsiteY45" fmla="*/ 1553749 h 1599834"/>
                    <a:gd name="connsiteX46" fmla="*/ 1333744 w 2298253"/>
                    <a:gd name="connsiteY46" fmla="*/ 1554297 h 1599834"/>
                    <a:gd name="connsiteX47" fmla="*/ 1330452 w 2298253"/>
                    <a:gd name="connsiteY47" fmla="*/ 1551005 h 1599834"/>
                    <a:gd name="connsiteX48" fmla="*/ 1329355 w 2298253"/>
                    <a:gd name="connsiteY48" fmla="*/ 1547713 h 1599834"/>
                    <a:gd name="connsiteX49" fmla="*/ 1311250 w 2298253"/>
                    <a:gd name="connsiteY49" fmla="*/ 1541678 h 1599834"/>
                    <a:gd name="connsiteX50" fmla="*/ 1308506 w 2298253"/>
                    <a:gd name="connsiteY50" fmla="*/ 1542227 h 1599834"/>
                    <a:gd name="connsiteX51" fmla="*/ 1305763 w 2298253"/>
                    <a:gd name="connsiteY51" fmla="*/ 1547713 h 1599834"/>
                    <a:gd name="connsiteX52" fmla="*/ 1299180 w 2298253"/>
                    <a:gd name="connsiteY52" fmla="*/ 1549359 h 1599834"/>
                    <a:gd name="connsiteX53" fmla="*/ 1299180 w 2298253"/>
                    <a:gd name="connsiteY53" fmla="*/ 1553749 h 1599834"/>
                    <a:gd name="connsiteX54" fmla="*/ 1296985 w 2298253"/>
                    <a:gd name="connsiteY54" fmla="*/ 1546616 h 1599834"/>
                    <a:gd name="connsiteX55" fmla="*/ 1287658 w 2298253"/>
                    <a:gd name="connsiteY55" fmla="*/ 1551554 h 1599834"/>
                    <a:gd name="connsiteX56" fmla="*/ 1283269 w 2298253"/>
                    <a:gd name="connsiteY56" fmla="*/ 1548262 h 1599834"/>
                    <a:gd name="connsiteX57" fmla="*/ 1262969 w 2298253"/>
                    <a:gd name="connsiteY57" fmla="*/ 1547165 h 1599834"/>
                    <a:gd name="connsiteX58" fmla="*/ 1260226 w 2298253"/>
                    <a:gd name="connsiteY58" fmla="*/ 1543873 h 1599834"/>
                    <a:gd name="connsiteX59" fmla="*/ 1244316 w 2298253"/>
                    <a:gd name="connsiteY59" fmla="*/ 1534546 h 1599834"/>
                    <a:gd name="connsiteX60" fmla="*/ 1238829 w 2298253"/>
                    <a:gd name="connsiteY60" fmla="*/ 1526317 h 1599834"/>
                    <a:gd name="connsiteX61" fmla="*/ 1236086 w 2298253"/>
                    <a:gd name="connsiteY61" fmla="*/ 1515892 h 1599834"/>
                    <a:gd name="connsiteX62" fmla="*/ 1239378 w 2298253"/>
                    <a:gd name="connsiteY62" fmla="*/ 1505468 h 1599834"/>
                    <a:gd name="connsiteX63" fmla="*/ 1236086 w 2298253"/>
                    <a:gd name="connsiteY63" fmla="*/ 1498885 h 1599834"/>
                    <a:gd name="connsiteX64" fmla="*/ 1214140 w 2298253"/>
                    <a:gd name="connsiteY64" fmla="*/ 1496141 h 1599834"/>
                    <a:gd name="connsiteX65" fmla="*/ 1185062 w 2298253"/>
                    <a:gd name="connsiteY65" fmla="*/ 1481877 h 1599834"/>
                    <a:gd name="connsiteX66" fmla="*/ 1180125 w 2298253"/>
                    <a:gd name="connsiteY66" fmla="*/ 1482425 h 1599834"/>
                    <a:gd name="connsiteX67" fmla="*/ 1166957 w 2298253"/>
                    <a:gd name="connsiteY67" fmla="*/ 1494495 h 1599834"/>
                    <a:gd name="connsiteX68" fmla="*/ 1152144 w 2298253"/>
                    <a:gd name="connsiteY68" fmla="*/ 1501079 h 1599834"/>
                    <a:gd name="connsiteX69" fmla="*/ 1146109 w 2298253"/>
                    <a:gd name="connsiteY69" fmla="*/ 1498885 h 1599834"/>
                    <a:gd name="connsiteX70" fmla="*/ 1140623 w 2298253"/>
                    <a:gd name="connsiteY70" fmla="*/ 1504371 h 1599834"/>
                    <a:gd name="connsiteX71" fmla="*/ 1134039 w 2298253"/>
                    <a:gd name="connsiteY71" fmla="*/ 1507663 h 1599834"/>
                    <a:gd name="connsiteX72" fmla="*/ 1131296 w 2298253"/>
                    <a:gd name="connsiteY72" fmla="*/ 1503274 h 1599834"/>
                    <a:gd name="connsiteX73" fmla="*/ 1121969 w 2298253"/>
                    <a:gd name="connsiteY73" fmla="*/ 1506017 h 1599834"/>
                    <a:gd name="connsiteX74" fmla="*/ 1118128 w 2298253"/>
                    <a:gd name="connsiteY74" fmla="*/ 1502176 h 1599834"/>
                    <a:gd name="connsiteX75" fmla="*/ 1113739 w 2298253"/>
                    <a:gd name="connsiteY75" fmla="*/ 1503822 h 1599834"/>
                    <a:gd name="connsiteX76" fmla="*/ 1103864 w 2298253"/>
                    <a:gd name="connsiteY76" fmla="*/ 1509857 h 1599834"/>
                    <a:gd name="connsiteX77" fmla="*/ 1099475 w 2298253"/>
                    <a:gd name="connsiteY77" fmla="*/ 1509309 h 1599834"/>
                    <a:gd name="connsiteX78" fmla="*/ 1094537 w 2298253"/>
                    <a:gd name="connsiteY78" fmla="*/ 1504371 h 1599834"/>
                    <a:gd name="connsiteX79" fmla="*/ 1085210 w 2298253"/>
                    <a:gd name="connsiteY79" fmla="*/ 1502725 h 1599834"/>
                    <a:gd name="connsiteX80" fmla="*/ 1083564 w 2298253"/>
                    <a:gd name="connsiteY80" fmla="*/ 1501079 h 1599834"/>
                    <a:gd name="connsiteX81" fmla="*/ 1081369 w 2298253"/>
                    <a:gd name="connsiteY81" fmla="*/ 1502176 h 1599834"/>
                    <a:gd name="connsiteX82" fmla="*/ 1074237 w 2298253"/>
                    <a:gd name="connsiteY82" fmla="*/ 1512052 h 1599834"/>
                    <a:gd name="connsiteX83" fmla="*/ 1074237 w 2298253"/>
                    <a:gd name="connsiteY83" fmla="*/ 1514246 h 1599834"/>
                    <a:gd name="connsiteX84" fmla="*/ 1069848 w 2298253"/>
                    <a:gd name="connsiteY84" fmla="*/ 1512052 h 1599834"/>
                    <a:gd name="connsiteX85" fmla="*/ 1069848 w 2298253"/>
                    <a:gd name="connsiteY85" fmla="*/ 1510406 h 1599834"/>
                    <a:gd name="connsiteX86" fmla="*/ 1056132 w 2298253"/>
                    <a:gd name="connsiteY86" fmla="*/ 1509309 h 1599834"/>
                    <a:gd name="connsiteX87" fmla="*/ 1050097 w 2298253"/>
                    <a:gd name="connsiteY87" fmla="*/ 1514795 h 1599834"/>
                    <a:gd name="connsiteX88" fmla="*/ 1050646 w 2298253"/>
                    <a:gd name="connsiteY88" fmla="*/ 1534546 h 1599834"/>
                    <a:gd name="connsiteX89" fmla="*/ 1055035 w 2298253"/>
                    <a:gd name="connsiteY89" fmla="*/ 1545519 h 1599834"/>
                    <a:gd name="connsiteX90" fmla="*/ 1054486 w 2298253"/>
                    <a:gd name="connsiteY90" fmla="*/ 1555943 h 1599834"/>
                    <a:gd name="connsiteX91" fmla="*/ 1051194 w 2298253"/>
                    <a:gd name="connsiteY91" fmla="*/ 1558138 h 1599834"/>
                    <a:gd name="connsiteX92" fmla="*/ 1037478 w 2298253"/>
                    <a:gd name="connsiteY92" fmla="*/ 1560881 h 1599834"/>
                    <a:gd name="connsiteX93" fmla="*/ 1033089 w 2298253"/>
                    <a:gd name="connsiteY93" fmla="*/ 1538935 h 1599834"/>
                    <a:gd name="connsiteX94" fmla="*/ 1024860 w 2298253"/>
                    <a:gd name="connsiteY94" fmla="*/ 1537838 h 1599834"/>
                    <a:gd name="connsiteX95" fmla="*/ 1014436 w 2298253"/>
                    <a:gd name="connsiteY95" fmla="*/ 1546068 h 1599834"/>
                    <a:gd name="connsiteX96" fmla="*/ 1000720 w 2298253"/>
                    <a:gd name="connsiteY96" fmla="*/ 1547713 h 1599834"/>
                    <a:gd name="connsiteX97" fmla="*/ 988101 w 2298253"/>
                    <a:gd name="connsiteY97" fmla="*/ 1535643 h 1599834"/>
                    <a:gd name="connsiteX98" fmla="*/ 987004 w 2298253"/>
                    <a:gd name="connsiteY98" fmla="*/ 1527962 h 1599834"/>
                    <a:gd name="connsiteX99" fmla="*/ 963961 w 2298253"/>
                    <a:gd name="connsiteY99" fmla="*/ 1521927 h 1599834"/>
                    <a:gd name="connsiteX100" fmla="*/ 971093 w 2298253"/>
                    <a:gd name="connsiteY100" fmla="*/ 1490655 h 1599834"/>
                    <a:gd name="connsiteX101" fmla="*/ 951342 w 2298253"/>
                    <a:gd name="connsiteY101" fmla="*/ 1477488 h 1599834"/>
                    <a:gd name="connsiteX102" fmla="*/ 950245 w 2298253"/>
                    <a:gd name="connsiteY102" fmla="*/ 1463772 h 1599834"/>
                    <a:gd name="connsiteX103" fmla="*/ 946404 w 2298253"/>
                    <a:gd name="connsiteY103" fmla="*/ 1453896 h 1599834"/>
                    <a:gd name="connsiteX104" fmla="*/ 946404 w 2298253"/>
                    <a:gd name="connsiteY104" fmla="*/ 1446764 h 1599834"/>
                    <a:gd name="connsiteX105" fmla="*/ 920069 w 2298253"/>
                    <a:gd name="connsiteY105" fmla="*/ 1447861 h 1599834"/>
                    <a:gd name="connsiteX106" fmla="*/ 903610 w 2298253"/>
                    <a:gd name="connsiteY106" fmla="*/ 1461577 h 1599834"/>
                    <a:gd name="connsiteX107" fmla="*/ 900318 w 2298253"/>
                    <a:gd name="connsiteY107" fmla="*/ 1458285 h 1599834"/>
                    <a:gd name="connsiteX108" fmla="*/ 906902 w 2298253"/>
                    <a:gd name="connsiteY108" fmla="*/ 1445666 h 1599834"/>
                    <a:gd name="connsiteX109" fmla="*/ 907999 w 2298253"/>
                    <a:gd name="connsiteY109" fmla="*/ 1440180 h 1599834"/>
                    <a:gd name="connsiteX110" fmla="*/ 905256 w 2298253"/>
                    <a:gd name="connsiteY110" fmla="*/ 1429756 h 1599834"/>
                    <a:gd name="connsiteX111" fmla="*/ 912388 w 2298253"/>
                    <a:gd name="connsiteY111" fmla="*/ 1406713 h 1599834"/>
                    <a:gd name="connsiteX112" fmla="*/ 919521 w 2298253"/>
                    <a:gd name="connsiteY112" fmla="*/ 1399581 h 1599834"/>
                    <a:gd name="connsiteX113" fmla="*/ 922264 w 2298253"/>
                    <a:gd name="connsiteY113" fmla="*/ 1392448 h 1599834"/>
                    <a:gd name="connsiteX114" fmla="*/ 927202 w 2298253"/>
                    <a:gd name="connsiteY114" fmla="*/ 1391351 h 1599834"/>
                    <a:gd name="connsiteX115" fmla="*/ 939820 w 2298253"/>
                    <a:gd name="connsiteY115" fmla="*/ 1365016 h 1599834"/>
                    <a:gd name="connsiteX116" fmla="*/ 935980 w 2298253"/>
                    <a:gd name="connsiteY116" fmla="*/ 1303020 h 1599834"/>
                    <a:gd name="connsiteX117" fmla="*/ 925556 w 2298253"/>
                    <a:gd name="connsiteY117" fmla="*/ 1302471 h 1599834"/>
                    <a:gd name="connsiteX118" fmla="*/ 921715 w 2298253"/>
                    <a:gd name="connsiteY118" fmla="*/ 1296985 h 1599834"/>
                    <a:gd name="connsiteX119" fmla="*/ 919521 w 2298253"/>
                    <a:gd name="connsiteY119" fmla="*/ 1284366 h 1599834"/>
                    <a:gd name="connsiteX120" fmla="*/ 910742 w 2298253"/>
                    <a:gd name="connsiteY120" fmla="*/ 1275588 h 1599834"/>
                    <a:gd name="connsiteX121" fmla="*/ 902513 w 2298253"/>
                    <a:gd name="connsiteY121" fmla="*/ 1271748 h 1599834"/>
                    <a:gd name="connsiteX122" fmla="*/ 900318 w 2298253"/>
                    <a:gd name="connsiteY122" fmla="*/ 1271199 h 1599834"/>
                    <a:gd name="connsiteX123" fmla="*/ 897575 w 2298253"/>
                    <a:gd name="connsiteY123" fmla="*/ 1275039 h 1599834"/>
                    <a:gd name="connsiteX124" fmla="*/ 891540 w 2298253"/>
                    <a:gd name="connsiteY124" fmla="*/ 1277234 h 1599834"/>
                    <a:gd name="connsiteX125" fmla="*/ 888797 w 2298253"/>
                    <a:gd name="connsiteY125" fmla="*/ 1269004 h 1599834"/>
                    <a:gd name="connsiteX126" fmla="*/ 881665 w 2298253"/>
                    <a:gd name="connsiteY126" fmla="*/ 1266261 h 1599834"/>
                    <a:gd name="connsiteX127" fmla="*/ 871789 w 2298253"/>
                    <a:gd name="connsiteY127" fmla="*/ 1266261 h 1599834"/>
                    <a:gd name="connsiteX128" fmla="*/ 865754 w 2298253"/>
                    <a:gd name="connsiteY128" fmla="*/ 1263518 h 1599834"/>
                    <a:gd name="connsiteX129" fmla="*/ 853135 w 2298253"/>
                    <a:gd name="connsiteY129" fmla="*/ 1263518 h 1599834"/>
                    <a:gd name="connsiteX130" fmla="*/ 855330 w 2298253"/>
                    <a:gd name="connsiteY130" fmla="*/ 1243218 h 1599834"/>
                    <a:gd name="connsiteX131" fmla="*/ 847100 w 2298253"/>
                    <a:gd name="connsiteY131" fmla="*/ 1240475 h 1599834"/>
                    <a:gd name="connsiteX132" fmla="*/ 845454 w 2298253"/>
                    <a:gd name="connsiteY132" fmla="*/ 1233891 h 1599834"/>
                    <a:gd name="connsiteX133" fmla="*/ 847100 w 2298253"/>
                    <a:gd name="connsiteY133" fmla="*/ 1228405 h 1599834"/>
                    <a:gd name="connsiteX134" fmla="*/ 839419 w 2298253"/>
                    <a:gd name="connsiteY134" fmla="*/ 1220724 h 1599834"/>
                    <a:gd name="connsiteX135" fmla="*/ 831190 w 2298253"/>
                    <a:gd name="connsiteY135" fmla="*/ 1222370 h 1599834"/>
                    <a:gd name="connsiteX136" fmla="*/ 821314 w 2298253"/>
                    <a:gd name="connsiteY136" fmla="*/ 1228954 h 1599834"/>
                    <a:gd name="connsiteX137" fmla="*/ 811987 w 2298253"/>
                    <a:gd name="connsiteY137" fmla="*/ 1231697 h 1599834"/>
                    <a:gd name="connsiteX138" fmla="*/ 792785 w 2298253"/>
                    <a:gd name="connsiteY138" fmla="*/ 1231697 h 1599834"/>
                    <a:gd name="connsiteX139" fmla="*/ 787847 w 2298253"/>
                    <a:gd name="connsiteY139" fmla="*/ 1228405 h 1599834"/>
                    <a:gd name="connsiteX140" fmla="*/ 785104 w 2298253"/>
                    <a:gd name="connsiteY140" fmla="*/ 1227856 h 1599834"/>
                    <a:gd name="connsiteX141" fmla="*/ 771937 w 2298253"/>
                    <a:gd name="connsiteY141" fmla="*/ 1235537 h 1599834"/>
                    <a:gd name="connsiteX142" fmla="*/ 768096 w 2298253"/>
                    <a:gd name="connsiteY142" fmla="*/ 1242670 h 1599834"/>
                    <a:gd name="connsiteX143" fmla="*/ 754929 w 2298253"/>
                    <a:gd name="connsiteY143" fmla="*/ 1254191 h 1599834"/>
                    <a:gd name="connsiteX144" fmla="*/ 744505 w 2298253"/>
                    <a:gd name="connsiteY144" fmla="*/ 1257483 h 1599834"/>
                    <a:gd name="connsiteX145" fmla="*/ 728045 w 2298253"/>
                    <a:gd name="connsiteY145" fmla="*/ 1273393 h 1599834"/>
                    <a:gd name="connsiteX146" fmla="*/ 678668 w 2298253"/>
                    <a:gd name="connsiteY146" fmla="*/ 1292047 h 1599834"/>
                    <a:gd name="connsiteX147" fmla="*/ 679216 w 2298253"/>
                    <a:gd name="connsiteY147" fmla="*/ 1293145 h 1599834"/>
                    <a:gd name="connsiteX148" fmla="*/ 678668 w 2298253"/>
                    <a:gd name="connsiteY148" fmla="*/ 1291498 h 1599834"/>
                    <a:gd name="connsiteX149" fmla="*/ 669889 w 2298253"/>
                    <a:gd name="connsiteY149" fmla="*/ 1286561 h 1599834"/>
                    <a:gd name="connsiteX150" fmla="*/ 667695 w 2298253"/>
                    <a:gd name="connsiteY150" fmla="*/ 1283818 h 1599834"/>
                    <a:gd name="connsiteX151" fmla="*/ 666049 w 2298253"/>
                    <a:gd name="connsiteY151" fmla="*/ 1282720 h 1599834"/>
                    <a:gd name="connsiteX152" fmla="*/ 656173 w 2298253"/>
                    <a:gd name="connsiteY152" fmla="*/ 1285464 h 1599834"/>
                    <a:gd name="connsiteX153" fmla="*/ 632582 w 2298253"/>
                    <a:gd name="connsiteY153" fmla="*/ 1281074 h 1599834"/>
                    <a:gd name="connsiteX154" fmla="*/ 627644 w 2298253"/>
                    <a:gd name="connsiteY154" fmla="*/ 1277782 h 1599834"/>
                    <a:gd name="connsiteX155" fmla="*/ 627644 w 2298253"/>
                    <a:gd name="connsiteY155" fmla="*/ 1276137 h 1599834"/>
                    <a:gd name="connsiteX156" fmla="*/ 624901 w 2298253"/>
                    <a:gd name="connsiteY156" fmla="*/ 1272296 h 1599834"/>
                    <a:gd name="connsiteX157" fmla="*/ 621061 w 2298253"/>
                    <a:gd name="connsiteY157" fmla="*/ 1271199 h 1599834"/>
                    <a:gd name="connsiteX158" fmla="*/ 611185 w 2298253"/>
                    <a:gd name="connsiteY158" fmla="*/ 1272296 h 1599834"/>
                    <a:gd name="connsiteX159" fmla="*/ 603504 w 2298253"/>
                    <a:gd name="connsiteY159" fmla="*/ 1275588 h 1599834"/>
                    <a:gd name="connsiteX160" fmla="*/ 595823 w 2298253"/>
                    <a:gd name="connsiteY160" fmla="*/ 1282720 h 1599834"/>
                    <a:gd name="connsiteX161" fmla="*/ 588691 w 2298253"/>
                    <a:gd name="connsiteY161" fmla="*/ 1294242 h 1599834"/>
                    <a:gd name="connsiteX162" fmla="*/ 574426 w 2298253"/>
                    <a:gd name="connsiteY162" fmla="*/ 1307958 h 1599834"/>
                    <a:gd name="connsiteX163" fmla="*/ 573877 w 2298253"/>
                    <a:gd name="connsiteY163" fmla="*/ 1311250 h 1599834"/>
                    <a:gd name="connsiteX164" fmla="*/ 570037 w 2298253"/>
                    <a:gd name="connsiteY164" fmla="*/ 1311798 h 1599834"/>
                    <a:gd name="connsiteX165" fmla="*/ 567842 w 2298253"/>
                    <a:gd name="connsiteY165" fmla="*/ 1310152 h 1599834"/>
                    <a:gd name="connsiteX166" fmla="*/ 566745 w 2298253"/>
                    <a:gd name="connsiteY166" fmla="*/ 1308506 h 1599834"/>
                    <a:gd name="connsiteX167" fmla="*/ 566197 w 2298253"/>
                    <a:gd name="connsiteY167" fmla="*/ 1303020 h 1599834"/>
                    <a:gd name="connsiteX168" fmla="*/ 568940 w 2298253"/>
                    <a:gd name="connsiteY168" fmla="*/ 1294790 h 1599834"/>
                    <a:gd name="connsiteX169" fmla="*/ 567294 w 2298253"/>
                    <a:gd name="connsiteY169" fmla="*/ 1283818 h 1599834"/>
                    <a:gd name="connsiteX170" fmla="*/ 565648 w 2298253"/>
                    <a:gd name="connsiteY170" fmla="*/ 1281623 h 1599834"/>
                    <a:gd name="connsiteX171" fmla="*/ 562905 w 2298253"/>
                    <a:gd name="connsiteY171" fmla="*/ 1279977 h 1599834"/>
                    <a:gd name="connsiteX172" fmla="*/ 559613 w 2298253"/>
                    <a:gd name="connsiteY172" fmla="*/ 1280526 h 1599834"/>
                    <a:gd name="connsiteX173" fmla="*/ 553578 w 2298253"/>
                    <a:gd name="connsiteY173" fmla="*/ 1284915 h 1599834"/>
                    <a:gd name="connsiteX174" fmla="*/ 548640 w 2298253"/>
                    <a:gd name="connsiteY174" fmla="*/ 1284915 h 1599834"/>
                    <a:gd name="connsiteX175" fmla="*/ 542056 w 2298253"/>
                    <a:gd name="connsiteY175" fmla="*/ 1287658 h 1599834"/>
                    <a:gd name="connsiteX176" fmla="*/ 542056 w 2298253"/>
                    <a:gd name="connsiteY176" fmla="*/ 1288207 h 1599834"/>
                    <a:gd name="connsiteX177" fmla="*/ 539313 w 2298253"/>
                    <a:gd name="connsiteY177" fmla="*/ 1287109 h 1599834"/>
                    <a:gd name="connsiteX178" fmla="*/ 533827 w 2298253"/>
                    <a:gd name="connsiteY178" fmla="*/ 1288207 h 1599834"/>
                    <a:gd name="connsiteX179" fmla="*/ 529986 w 2298253"/>
                    <a:gd name="connsiteY179" fmla="*/ 1293693 h 1599834"/>
                    <a:gd name="connsiteX180" fmla="*/ 518465 w 2298253"/>
                    <a:gd name="connsiteY180" fmla="*/ 1291498 h 1599834"/>
                    <a:gd name="connsiteX181" fmla="*/ 513527 w 2298253"/>
                    <a:gd name="connsiteY181" fmla="*/ 1293145 h 1599834"/>
                    <a:gd name="connsiteX182" fmla="*/ 510784 w 2298253"/>
                    <a:gd name="connsiteY182" fmla="*/ 1292596 h 1599834"/>
                    <a:gd name="connsiteX183" fmla="*/ 499262 w 2298253"/>
                    <a:gd name="connsiteY183" fmla="*/ 1287658 h 1599834"/>
                    <a:gd name="connsiteX184" fmla="*/ 494325 w 2298253"/>
                    <a:gd name="connsiteY184" fmla="*/ 1283269 h 1599834"/>
                    <a:gd name="connsiteX185" fmla="*/ 487741 w 2298253"/>
                    <a:gd name="connsiteY185" fmla="*/ 1282720 h 1599834"/>
                    <a:gd name="connsiteX186" fmla="*/ 484998 w 2298253"/>
                    <a:gd name="connsiteY186" fmla="*/ 1283818 h 1599834"/>
                    <a:gd name="connsiteX187" fmla="*/ 482255 w 2298253"/>
                    <a:gd name="connsiteY187" fmla="*/ 1288207 h 1599834"/>
                    <a:gd name="connsiteX188" fmla="*/ 480609 w 2298253"/>
                    <a:gd name="connsiteY188" fmla="*/ 1288755 h 1599834"/>
                    <a:gd name="connsiteX189" fmla="*/ 476768 w 2298253"/>
                    <a:gd name="connsiteY189" fmla="*/ 1287109 h 1599834"/>
                    <a:gd name="connsiteX190" fmla="*/ 472928 w 2298253"/>
                    <a:gd name="connsiteY190" fmla="*/ 1288207 h 1599834"/>
                    <a:gd name="connsiteX191" fmla="*/ 468539 w 2298253"/>
                    <a:gd name="connsiteY191" fmla="*/ 1284915 h 1599834"/>
                    <a:gd name="connsiteX192" fmla="*/ 466344 w 2298253"/>
                    <a:gd name="connsiteY192" fmla="*/ 1287109 h 1599834"/>
                    <a:gd name="connsiteX193" fmla="*/ 461955 w 2298253"/>
                    <a:gd name="connsiteY193" fmla="*/ 1288207 h 1599834"/>
                    <a:gd name="connsiteX194" fmla="*/ 456469 w 2298253"/>
                    <a:gd name="connsiteY194" fmla="*/ 1282720 h 1599834"/>
                    <a:gd name="connsiteX195" fmla="*/ 455920 w 2298253"/>
                    <a:gd name="connsiteY195" fmla="*/ 1279977 h 1599834"/>
                    <a:gd name="connsiteX196" fmla="*/ 452080 w 2298253"/>
                    <a:gd name="connsiteY196" fmla="*/ 1275588 h 1599834"/>
                    <a:gd name="connsiteX197" fmla="*/ 446593 w 2298253"/>
                    <a:gd name="connsiteY197" fmla="*/ 1274491 h 1599834"/>
                    <a:gd name="connsiteX198" fmla="*/ 441655 w 2298253"/>
                    <a:gd name="connsiteY198" fmla="*/ 1276137 h 1599834"/>
                    <a:gd name="connsiteX199" fmla="*/ 431780 w 2298253"/>
                    <a:gd name="connsiteY199" fmla="*/ 1270102 h 1599834"/>
                    <a:gd name="connsiteX200" fmla="*/ 430682 w 2298253"/>
                    <a:gd name="connsiteY200" fmla="*/ 1265713 h 1599834"/>
                    <a:gd name="connsiteX201" fmla="*/ 432328 w 2298253"/>
                    <a:gd name="connsiteY201" fmla="*/ 1256386 h 1599834"/>
                    <a:gd name="connsiteX202" fmla="*/ 430682 w 2298253"/>
                    <a:gd name="connsiteY202" fmla="*/ 1255837 h 1599834"/>
                    <a:gd name="connsiteX203" fmla="*/ 427391 w 2298253"/>
                    <a:gd name="connsiteY203" fmla="*/ 1258032 h 1599834"/>
                    <a:gd name="connsiteX204" fmla="*/ 418064 w 2298253"/>
                    <a:gd name="connsiteY204" fmla="*/ 1258032 h 1599834"/>
                    <a:gd name="connsiteX205" fmla="*/ 413675 w 2298253"/>
                    <a:gd name="connsiteY205" fmla="*/ 1256386 h 1599834"/>
                    <a:gd name="connsiteX206" fmla="*/ 409285 w 2298253"/>
                    <a:gd name="connsiteY206" fmla="*/ 1256386 h 1599834"/>
                    <a:gd name="connsiteX207" fmla="*/ 405445 w 2298253"/>
                    <a:gd name="connsiteY207" fmla="*/ 1254740 h 1599834"/>
                    <a:gd name="connsiteX208" fmla="*/ 402702 w 2298253"/>
                    <a:gd name="connsiteY208" fmla="*/ 1254191 h 1599834"/>
                    <a:gd name="connsiteX209" fmla="*/ 400507 w 2298253"/>
                    <a:gd name="connsiteY209" fmla="*/ 1251997 h 1599834"/>
                    <a:gd name="connsiteX210" fmla="*/ 398861 w 2298253"/>
                    <a:gd name="connsiteY210" fmla="*/ 1248705 h 1599834"/>
                    <a:gd name="connsiteX211" fmla="*/ 395021 w 2298253"/>
                    <a:gd name="connsiteY211" fmla="*/ 1250350 h 1599834"/>
                    <a:gd name="connsiteX212" fmla="*/ 394472 w 2298253"/>
                    <a:gd name="connsiteY212" fmla="*/ 1248156 h 1599834"/>
                    <a:gd name="connsiteX213" fmla="*/ 396118 w 2298253"/>
                    <a:gd name="connsiteY213" fmla="*/ 1239378 h 1599834"/>
                    <a:gd name="connsiteX214" fmla="*/ 395021 w 2298253"/>
                    <a:gd name="connsiteY214" fmla="*/ 1234989 h 1599834"/>
                    <a:gd name="connsiteX215" fmla="*/ 397764 w 2298253"/>
                    <a:gd name="connsiteY215" fmla="*/ 1231148 h 1599834"/>
                    <a:gd name="connsiteX216" fmla="*/ 396667 w 2298253"/>
                    <a:gd name="connsiteY216" fmla="*/ 1229502 h 1599834"/>
                    <a:gd name="connsiteX217" fmla="*/ 392278 w 2298253"/>
                    <a:gd name="connsiteY217" fmla="*/ 1228405 h 1599834"/>
                    <a:gd name="connsiteX218" fmla="*/ 387889 w 2298253"/>
                    <a:gd name="connsiteY218" fmla="*/ 1228954 h 1599834"/>
                    <a:gd name="connsiteX219" fmla="*/ 385694 w 2298253"/>
                    <a:gd name="connsiteY219" fmla="*/ 1228405 h 1599834"/>
                    <a:gd name="connsiteX220" fmla="*/ 383500 w 2298253"/>
                    <a:gd name="connsiteY220" fmla="*/ 1231148 h 1599834"/>
                    <a:gd name="connsiteX221" fmla="*/ 382951 w 2298253"/>
                    <a:gd name="connsiteY221" fmla="*/ 1232794 h 1599834"/>
                    <a:gd name="connsiteX222" fmla="*/ 380207 w 2298253"/>
                    <a:gd name="connsiteY222" fmla="*/ 1235537 h 1599834"/>
                    <a:gd name="connsiteX223" fmla="*/ 378562 w 2298253"/>
                    <a:gd name="connsiteY223" fmla="*/ 1235537 h 1599834"/>
                    <a:gd name="connsiteX224" fmla="*/ 375270 w 2298253"/>
                    <a:gd name="connsiteY224" fmla="*/ 1239378 h 1599834"/>
                    <a:gd name="connsiteX225" fmla="*/ 368686 w 2298253"/>
                    <a:gd name="connsiteY225" fmla="*/ 1237183 h 1599834"/>
                    <a:gd name="connsiteX226" fmla="*/ 366491 w 2298253"/>
                    <a:gd name="connsiteY226" fmla="*/ 1234440 h 1599834"/>
                    <a:gd name="connsiteX227" fmla="*/ 364846 w 2298253"/>
                    <a:gd name="connsiteY227" fmla="*/ 1222918 h 1599834"/>
                    <a:gd name="connsiteX228" fmla="*/ 352775 w 2298253"/>
                    <a:gd name="connsiteY228" fmla="*/ 1210300 h 1599834"/>
                    <a:gd name="connsiteX229" fmla="*/ 343997 w 2298253"/>
                    <a:gd name="connsiteY229" fmla="*/ 1207008 h 1599834"/>
                    <a:gd name="connsiteX230" fmla="*/ 332476 w 2298253"/>
                    <a:gd name="connsiteY230" fmla="*/ 1195486 h 1599834"/>
                    <a:gd name="connsiteX231" fmla="*/ 303398 w 2298253"/>
                    <a:gd name="connsiteY231" fmla="*/ 1187257 h 1599834"/>
                    <a:gd name="connsiteX232" fmla="*/ 301752 w 2298253"/>
                    <a:gd name="connsiteY232" fmla="*/ 1186160 h 1599834"/>
                    <a:gd name="connsiteX233" fmla="*/ 289682 w 2298253"/>
                    <a:gd name="connsiteY233" fmla="*/ 1185062 h 1599834"/>
                    <a:gd name="connsiteX234" fmla="*/ 289133 w 2298253"/>
                    <a:gd name="connsiteY234" fmla="*/ 1186708 h 1599834"/>
                    <a:gd name="connsiteX235" fmla="*/ 289133 w 2298253"/>
                    <a:gd name="connsiteY235" fmla="*/ 1190000 h 1599834"/>
                    <a:gd name="connsiteX236" fmla="*/ 286939 w 2298253"/>
                    <a:gd name="connsiteY236" fmla="*/ 1193292 h 1599834"/>
                    <a:gd name="connsiteX237" fmla="*/ 287488 w 2298253"/>
                    <a:gd name="connsiteY237" fmla="*/ 1194938 h 1599834"/>
                    <a:gd name="connsiteX238" fmla="*/ 286939 w 2298253"/>
                    <a:gd name="connsiteY238" fmla="*/ 1197133 h 1599834"/>
                    <a:gd name="connsiteX239" fmla="*/ 281452 w 2298253"/>
                    <a:gd name="connsiteY239" fmla="*/ 1192743 h 1599834"/>
                    <a:gd name="connsiteX240" fmla="*/ 279258 w 2298253"/>
                    <a:gd name="connsiteY240" fmla="*/ 1188903 h 1599834"/>
                    <a:gd name="connsiteX241" fmla="*/ 275966 w 2298253"/>
                    <a:gd name="connsiteY241" fmla="*/ 1186708 h 1599834"/>
                    <a:gd name="connsiteX242" fmla="*/ 263896 w 2298253"/>
                    <a:gd name="connsiteY242" fmla="*/ 1183417 h 1599834"/>
                    <a:gd name="connsiteX243" fmla="*/ 262250 w 2298253"/>
                    <a:gd name="connsiteY243" fmla="*/ 1181770 h 1599834"/>
                    <a:gd name="connsiteX244" fmla="*/ 259507 w 2298253"/>
                    <a:gd name="connsiteY244" fmla="*/ 1177381 h 1599834"/>
                    <a:gd name="connsiteX245" fmla="*/ 256215 w 2298253"/>
                    <a:gd name="connsiteY245" fmla="*/ 1177381 h 1599834"/>
                    <a:gd name="connsiteX246" fmla="*/ 247985 w 2298253"/>
                    <a:gd name="connsiteY246" fmla="*/ 1170798 h 1599834"/>
                    <a:gd name="connsiteX247" fmla="*/ 239756 w 2298253"/>
                    <a:gd name="connsiteY247" fmla="*/ 1168054 h 1599834"/>
                    <a:gd name="connsiteX248" fmla="*/ 238110 w 2298253"/>
                    <a:gd name="connsiteY248" fmla="*/ 1165860 h 1599834"/>
                    <a:gd name="connsiteX249" fmla="*/ 238110 w 2298253"/>
                    <a:gd name="connsiteY249" fmla="*/ 1162568 h 1599834"/>
                    <a:gd name="connsiteX250" fmla="*/ 236464 w 2298253"/>
                    <a:gd name="connsiteY250" fmla="*/ 1160374 h 1599834"/>
                    <a:gd name="connsiteX251" fmla="*/ 233172 w 2298253"/>
                    <a:gd name="connsiteY251" fmla="*/ 1159825 h 1599834"/>
                    <a:gd name="connsiteX252" fmla="*/ 232075 w 2298253"/>
                    <a:gd name="connsiteY252" fmla="*/ 1158179 h 1599834"/>
                    <a:gd name="connsiteX253" fmla="*/ 229331 w 2298253"/>
                    <a:gd name="connsiteY253" fmla="*/ 1157082 h 1599834"/>
                    <a:gd name="connsiteX254" fmla="*/ 223297 w 2298253"/>
                    <a:gd name="connsiteY254" fmla="*/ 1159825 h 1599834"/>
                    <a:gd name="connsiteX255" fmla="*/ 222199 w 2298253"/>
                    <a:gd name="connsiteY255" fmla="*/ 1158179 h 1599834"/>
                    <a:gd name="connsiteX256" fmla="*/ 221651 w 2298253"/>
                    <a:gd name="connsiteY256" fmla="*/ 1154338 h 1599834"/>
                    <a:gd name="connsiteX257" fmla="*/ 220005 w 2298253"/>
                    <a:gd name="connsiteY257" fmla="*/ 1153241 h 1599834"/>
                    <a:gd name="connsiteX258" fmla="*/ 217810 w 2298253"/>
                    <a:gd name="connsiteY258" fmla="*/ 1152693 h 1599834"/>
                    <a:gd name="connsiteX259" fmla="*/ 206837 w 2298253"/>
                    <a:gd name="connsiteY259" fmla="*/ 1153790 h 1599834"/>
                    <a:gd name="connsiteX260" fmla="*/ 202448 w 2298253"/>
                    <a:gd name="connsiteY260" fmla="*/ 1156533 h 1599834"/>
                    <a:gd name="connsiteX261" fmla="*/ 200254 w 2298253"/>
                    <a:gd name="connsiteY261" fmla="*/ 1155985 h 1599834"/>
                    <a:gd name="connsiteX262" fmla="*/ 198608 w 2298253"/>
                    <a:gd name="connsiteY262" fmla="*/ 1154338 h 1599834"/>
                    <a:gd name="connsiteX263" fmla="*/ 199705 w 2298253"/>
                    <a:gd name="connsiteY263" fmla="*/ 1147755 h 1599834"/>
                    <a:gd name="connsiteX264" fmla="*/ 195865 w 2298253"/>
                    <a:gd name="connsiteY264" fmla="*/ 1145012 h 1599834"/>
                    <a:gd name="connsiteX265" fmla="*/ 193670 w 2298253"/>
                    <a:gd name="connsiteY265" fmla="*/ 1141171 h 1599834"/>
                    <a:gd name="connsiteX266" fmla="*/ 193121 w 2298253"/>
                    <a:gd name="connsiteY266" fmla="*/ 1138977 h 1599834"/>
                    <a:gd name="connsiteX267" fmla="*/ 189829 w 2298253"/>
                    <a:gd name="connsiteY267" fmla="*/ 1135685 h 1599834"/>
                    <a:gd name="connsiteX268" fmla="*/ 189829 w 2298253"/>
                    <a:gd name="connsiteY268" fmla="*/ 1132942 h 1599834"/>
                    <a:gd name="connsiteX269" fmla="*/ 192024 w 2298253"/>
                    <a:gd name="connsiteY269" fmla="*/ 1127455 h 1599834"/>
                    <a:gd name="connsiteX270" fmla="*/ 189829 w 2298253"/>
                    <a:gd name="connsiteY270" fmla="*/ 1123066 h 1599834"/>
                    <a:gd name="connsiteX271" fmla="*/ 190378 w 2298253"/>
                    <a:gd name="connsiteY271" fmla="*/ 1115934 h 1599834"/>
                    <a:gd name="connsiteX272" fmla="*/ 192024 w 2298253"/>
                    <a:gd name="connsiteY272" fmla="*/ 1111545 h 1599834"/>
                    <a:gd name="connsiteX273" fmla="*/ 181600 w 2298253"/>
                    <a:gd name="connsiteY273" fmla="*/ 1100023 h 1599834"/>
                    <a:gd name="connsiteX274" fmla="*/ 181600 w 2298253"/>
                    <a:gd name="connsiteY274" fmla="*/ 1092342 h 1599834"/>
                    <a:gd name="connsiteX275" fmla="*/ 179954 w 2298253"/>
                    <a:gd name="connsiteY275" fmla="*/ 1087953 h 1599834"/>
                    <a:gd name="connsiteX276" fmla="*/ 180503 w 2298253"/>
                    <a:gd name="connsiteY276" fmla="*/ 1085758 h 1599834"/>
                    <a:gd name="connsiteX277" fmla="*/ 188183 w 2298253"/>
                    <a:gd name="connsiteY277" fmla="*/ 1084661 h 1599834"/>
                    <a:gd name="connsiteX278" fmla="*/ 190378 w 2298253"/>
                    <a:gd name="connsiteY278" fmla="*/ 1081918 h 1599834"/>
                    <a:gd name="connsiteX279" fmla="*/ 191476 w 2298253"/>
                    <a:gd name="connsiteY279" fmla="*/ 1083015 h 1599834"/>
                    <a:gd name="connsiteX280" fmla="*/ 192024 w 2298253"/>
                    <a:gd name="connsiteY280" fmla="*/ 1087953 h 1599834"/>
                    <a:gd name="connsiteX281" fmla="*/ 193670 w 2298253"/>
                    <a:gd name="connsiteY281" fmla="*/ 1090696 h 1599834"/>
                    <a:gd name="connsiteX282" fmla="*/ 195865 w 2298253"/>
                    <a:gd name="connsiteY282" fmla="*/ 1092342 h 1599834"/>
                    <a:gd name="connsiteX283" fmla="*/ 199705 w 2298253"/>
                    <a:gd name="connsiteY283" fmla="*/ 1094537 h 1599834"/>
                    <a:gd name="connsiteX284" fmla="*/ 201899 w 2298253"/>
                    <a:gd name="connsiteY284" fmla="*/ 1093988 h 1599834"/>
                    <a:gd name="connsiteX285" fmla="*/ 203545 w 2298253"/>
                    <a:gd name="connsiteY285" fmla="*/ 1092891 h 1599834"/>
                    <a:gd name="connsiteX286" fmla="*/ 206289 w 2298253"/>
                    <a:gd name="connsiteY286" fmla="*/ 1093440 h 1599834"/>
                    <a:gd name="connsiteX287" fmla="*/ 206837 w 2298253"/>
                    <a:gd name="connsiteY287" fmla="*/ 1089599 h 1599834"/>
                    <a:gd name="connsiteX288" fmla="*/ 209581 w 2298253"/>
                    <a:gd name="connsiteY288" fmla="*/ 1087953 h 1599834"/>
                    <a:gd name="connsiteX289" fmla="*/ 211775 w 2298253"/>
                    <a:gd name="connsiteY289" fmla="*/ 1084113 h 1599834"/>
                    <a:gd name="connsiteX290" fmla="*/ 212872 w 2298253"/>
                    <a:gd name="connsiteY290" fmla="*/ 1084113 h 1599834"/>
                    <a:gd name="connsiteX291" fmla="*/ 215067 w 2298253"/>
                    <a:gd name="connsiteY291" fmla="*/ 1087405 h 1599834"/>
                    <a:gd name="connsiteX292" fmla="*/ 216713 w 2298253"/>
                    <a:gd name="connsiteY292" fmla="*/ 1087405 h 1599834"/>
                    <a:gd name="connsiteX293" fmla="*/ 222748 w 2298253"/>
                    <a:gd name="connsiteY293" fmla="*/ 1079724 h 1599834"/>
                    <a:gd name="connsiteX294" fmla="*/ 222748 w 2298253"/>
                    <a:gd name="connsiteY294" fmla="*/ 1077529 h 1599834"/>
                    <a:gd name="connsiteX295" fmla="*/ 216164 w 2298253"/>
                    <a:gd name="connsiteY295" fmla="*/ 1068202 h 1599834"/>
                    <a:gd name="connsiteX296" fmla="*/ 215615 w 2298253"/>
                    <a:gd name="connsiteY296" fmla="*/ 1064910 h 1599834"/>
                    <a:gd name="connsiteX297" fmla="*/ 216713 w 2298253"/>
                    <a:gd name="connsiteY297" fmla="*/ 1062716 h 1599834"/>
                    <a:gd name="connsiteX298" fmla="*/ 216164 w 2298253"/>
                    <a:gd name="connsiteY298" fmla="*/ 1059973 h 1599834"/>
                    <a:gd name="connsiteX299" fmla="*/ 209581 w 2298253"/>
                    <a:gd name="connsiteY299" fmla="*/ 1056681 h 1599834"/>
                    <a:gd name="connsiteX300" fmla="*/ 206289 w 2298253"/>
                    <a:gd name="connsiteY300" fmla="*/ 1057229 h 1599834"/>
                    <a:gd name="connsiteX301" fmla="*/ 205192 w 2298253"/>
                    <a:gd name="connsiteY301" fmla="*/ 1055035 h 1599834"/>
                    <a:gd name="connsiteX302" fmla="*/ 199156 w 2298253"/>
                    <a:gd name="connsiteY302" fmla="*/ 1049548 h 1599834"/>
                    <a:gd name="connsiteX303" fmla="*/ 199156 w 2298253"/>
                    <a:gd name="connsiteY303" fmla="*/ 1040221 h 1599834"/>
                    <a:gd name="connsiteX304" fmla="*/ 202448 w 2298253"/>
                    <a:gd name="connsiteY304" fmla="*/ 1039124 h 1599834"/>
                    <a:gd name="connsiteX305" fmla="*/ 201351 w 2298253"/>
                    <a:gd name="connsiteY305" fmla="*/ 1035284 h 1599834"/>
                    <a:gd name="connsiteX306" fmla="*/ 201351 w 2298253"/>
                    <a:gd name="connsiteY306" fmla="*/ 1033089 h 1599834"/>
                    <a:gd name="connsiteX307" fmla="*/ 202448 w 2298253"/>
                    <a:gd name="connsiteY307" fmla="*/ 1032541 h 1599834"/>
                    <a:gd name="connsiteX308" fmla="*/ 198059 w 2298253"/>
                    <a:gd name="connsiteY308" fmla="*/ 1027054 h 1599834"/>
                    <a:gd name="connsiteX309" fmla="*/ 198608 w 2298253"/>
                    <a:gd name="connsiteY309" fmla="*/ 1022665 h 1599834"/>
                    <a:gd name="connsiteX310" fmla="*/ 198608 w 2298253"/>
                    <a:gd name="connsiteY310" fmla="*/ 1022116 h 1599834"/>
                    <a:gd name="connsiteX311" fmla="*/ 205192 w 2298253"/>
                    <a:gd name="connsiteY311" fmla="*/ 1022665 h 1599834"/>
                    <a:gd name="connsiteX312" fmla="*/ 208483 w 2298253"/>
                    <a:gd name="connsiteY312" fmla="*/ 1019922 h 1599834"/>
                    <a:gd name="connsiteX313" fmla="*/ 215067 w 2298253"/>
                    <a:gd name="connsiteY313" fmla="*/ 1022116 h 1599834"/>
                    <a:gd name="connsiteX314" fmla="*/ 217261 w 2298253"/>
                    <a:gd name="connsiteY314" fmla="*/ 1021019 h 1599834"/>
                    <a:gd name="connsiteX315" fmla="*/ 223845 w 2298253"/>
                    <a:gd name="connsiteY315" fmla="*/ 1010595 h 1599834"/>
                    <a:gd name="connsiteX316" fmla="*/ 223845 w 2298253"/>
                    <a:gd name="connsiteY316" fmla="*/ 1003462 h 1599834"/>
                    <a:gd name="connsiteX317" fmla="*/ 230429 w 2298253"/>
                    <a:gd name="connsiteY317" fmla="*/ 1001817 h 1599834"/>
                    <a:gd name="connsiteX318" fmla="*/ 231526 w 2298253"/>
                    <a:gd name="connsiteY318" fmla="*/ 1001268 h 1599834"/>
                    <a:gd name="connsiteX319" fmla="*/ 229880 w 2298253"/>
                    <a:gd name="connsiteY319" fmla="*/ 999622 h 1599834"/>
                    <a:gd name="connsiteX320" fmla="*/ 230429 w 2298253"/>
                    <a:gd name="connsiteY320" fmla="*/ 997427 h 1599834"/>
                    <a:gd name="connsiteX321" fmla="*/ 233172 w 2298253"/>
                    <a:gd name="connsiteY321" fmla="*/ 995782 h 1599834"/>
                    <a:gd name="connsiteX322" fmla="*/ 233721 w 2298253"/>
                    <a:gd name="connsiteY322" fmla="*/ 993587 h 1599834"/>
                    <a:gd name="connsiteX323" fmla="*/ 240853 w 2298253"/>
                    <a:gd name="connsiteY323" fmla="*/ 988101 h 1599834"/>
                    <a:gd name="connsiteX324" fmla="*/ 240853 w 2298253"/>
                    <a:gd name="connsiteY324" fmla="*/ 983711 h 1599834"/>
                    <a:gd name="connsiteX325" fmla="*/ 244693 w 2298253"/>
                    <a:gd name="connsiteY325" fmla="*/ 979871 h 1599834"/>
                    <a:gd name="connsiteX326" fmla="*/ 246340 w 2298253"/>
                    <a:gd name="connsiteY326" fmla="*/ 967252 h 1599834"/>
                    <a:gd name="connsiteX327" fmla="*/ 247985 w 2298253"/>
                    <a:gd name="connsiteY327" fmla="*/ 965058 h 1599834"/>
                    <a:gd name="connsiteX328" fmla="*/ 247985 w 2298253"/>
                    <a:gd name="connsiteY328" fmla="*/ 959571 h 1599834"/>
                    <a:gd name="connsiteX329" fmla="*/ 252374 w 2298253"/>
                    <a:gd name="connsiteY329" fmla="*/ 955182 h 1599834"/>
                    <a:gd name="connsiteX330" fmla="*/ 252374 w 2298253"/>
                    <a:gd name="connsiteY330" fmla="*/ 952988 h 1599834"/>
                    <a:gd name="connsiteX331" fmla="*/ 250180 w 2298253"/>
                    <a:gd name="connsiteY331" fmla="*/ 951342 h 1599834"/>
                    <a:gd name="connsiteX332" fmla="*/ 247437 w 2298253"/>
                    <a:gd name="connsiteY332" fmla="*/ 950793 h 1599834"/>
                    <a:gd name="connsiteX333" fmla="*/ 242499 w 2298253"/>
                    <a:gd name="connsiteY333" fmla="*/ 956828 h 1599834"/>
                    <a:gd name="connsiteX334" fmla="*/ 240853 w 2298253"/>
                    <a:gd name="connsiteY334" fmla="*/ 956828 h 1599834"/>
                    <a:gd name="connsiteX335" fmla="*/ 238658 w 2298253"/>
                    <a:gd name="connsiteY335" fmla="*/ 954634 h 1599834"/>
                    <a:gd name="connsiteX336" fmla="*/ 237013 w 2298253"/>
                    <a:gd name="connsiteY336" fmla="*/ 946953 h 1599834"/>
                    <a:gd name="connsiteX337" fmla="*/ 233721 w 2298253"/>
                    <a:gd name="connsiteY337" fmla="*/ 949147 h 1599834"/>
                    <a:gd name="connsiteX338" fmla="*/ 231526 w 2298253"/>
                    <a:gd name="connsiteY338" fmla="*/ 949147 h 1599834"/>
                    <a:gd name="connsiteX339" fmla="*/ 229880 w 2298253"/>
                    <a:gd name="connsiteY339" fmla="*/ 945855 h 1599834"/>
                    <a:gd name="connsiteX340" fmla="*/ 227686 w 2298253"/>
                    <a:gd name="connsiteY340" fmla="*/ 945855 h 1599834"/>
                    <a:gd name="connsiteX341" fmla="*/ 226040 w 2298253"/>
                    <a:gd name="connsiteY341" fmla="*/ 944758 h 1599834"/>
                    <a:gd name="connsiteX342" fmla="*/ 225491 w 2298253"/>
                    <a:gd name="connsiteY342" fmla="*/ 938174 h 1599834"/>
                    <a:gd name="connsiteX343" fmla="*/ 222748 w 2298253"/>
                    <a:gd name="connsiteY343" fmla="*/ 937626 h 1599834"/>
                    <a:gd name="connsiteX344" fmla="*/ 222199 w 2298253"/>
                    <a:gd name="connsiteY344" fmla="*/ 935431 h 1599834"/>
                    <a:gd name="connsiteX345" fmla="*/ 220005 w 2298253"/>
                    <a:gd name="connsiteY345" fmla="*/ 934882 h 1599834"/>
                    <a:gd name="connsiteX346" fmla="*/ 217810 w 2298253"/>
                    <a:gd name="connsiteY346" fmla="*/ 934882 h 1599834"/>
                    <a:gd name="connsiteX347" fmla="*/ 215067 w 2298253"/>
                    <a:gd name="connsiteY347" fmla="*/ 931591 h 1599834"/>
                    <a:gd name="connsiteX348" fmla="*/ 213970 w 2298253"/>
                    <a:gd name="connsiteY348" fmla="*/ 930493 h 1599834"/>
                    <a:gd name="connsiteX349" fmla="*/ 211226 w 2298253"/>
                    <a:gd name="connsiteY349" fmla="*/ 930493 h 1599834"/>
                    <a:gd name="connsiteX350" fmla="*/ 208483 w 2298253"/>
                    <a:gd name="connsiteY350" fmla="*/ 932139 h 1599834"/>
                    <a:gd name="connsiteX351" fmla="*/ 204094 w 2298253"/>
                    <a:gd name="connsiteY351" fmla="*/ 932139 h 1599834"/>
                    <a:gd name="connsiteX352" fmla="*/ 200802 w 2298253"/>
                    <a:gd name="connsiteY352" fmla="*/ 934334 h 1599834"/>
                    <a:gd name="connsiteX353" fmla="*/ 190927 w 2298253"/>
                    <a:gd name="connsiteY353" fmla="*/ 934882 h 1599834"/>
                    <a:gd name="connsiteX354" fmla="*/ 171724 w 2298253"/>
                    <a:gd name="connsiteY354" fmla="*/ 946953 h 1599834"/>
                    <a:gd name="connsiteX355" fmla="*/ 168433 w 2298253"/>
                    <a:gd name="connsiteY355" fmla="*/ 951342 h 1599834"/>
                    <a:gd name="connsiteX356" fmla="*/ 164592 w 2298253"/>
                    <a:gd name="connsiteY356" fmla="*/ 951342 h 1599834"/>
                    <a:gd name="connsiteX357" fmla="*/ 161849 w 2298253"/>
                    <a:gd name="connsiteY357" fmla="*/ 955182 h 1599834"/>
                    <a:gd name="connsiteX358" fmla="*/ 157460 w 2298253"/>
                    <a:gd name="connsiteY358" fmla="*/ 952988 h 1599834"/>
                    <a:gd name="connsiteX359" fmla="*/ 153619 w 2298253"/>
                    <a:gd name="connsiteY359" fmla="*/ 955182 h 1599834"/>
                    <a:gd name="connsiteX360" fmla="*/ 143195 w 2298253"/>
                    <a:gd name="connsiteY360" fmla="*/ 954634 h 1599834"/>
                    <a:gd name="connsiteX361" fmla="*/ 138257 w 2298253"/>
                    <a:gd name="connsiteY361" fmla="*/ 951342 h 1599834"/>
                    <a:gd name="connsiteX362" fmla="*/ 133868 w 2298253"/>
                    <a:gd name="connsiteY362" fmla="*/ 951890 h 1599834"/>
                    <a:gd name="connsiteX363" fmla="*/ 110277 w 2298253"/>
                    <a:gd name="connsiteY363" fmla="*/ 939820 h 1599834"/>
                    <a:gd name="connsiteX364" fmla="*/ 110277 w 2298253"/>
                    <a:gd name="connsiteY364" fmla="*/ 935431 h 1599834"/>
                    <a:gd name="connsiteX365" fmla="*/ 109180 w 2298253"/>
                    <a:gd name="connsiteY365" fmla="*/ 933237 h 1599834"/>
                    <a:gd name="connsiteX366" fmla="*/ 106436 w 2298253"/>
                    <a:gd name="connsiteY366" fmla="*/ 933785 h 1599834"/>
                    <a:gd name="connsiteX367" fmla="*/ 103144 w 2298253"/>
                    <a:gd name="connsiteY367" fmla="*/ 936529 h 1599834"/>
                    <a:gd name="connsiteX368" fmla="*/ 101498 w 2298253"/>
                    <a:gd name="connsiteY368" fmla="*/ 935980 h 1599834"/>
                    <a:gd name="connsiteX369" fmla="*/ 97658 w 2298253"/>
                    <a:gd name="connsiteY369" fmla="*/ 937626 h 1599834"/>
                    <a:gd name="connsiteX370" fmla="*/ 95464 w 2298253"/>
                    <a:gd name="connsiteY370" fmla="*/ 937077 h 1599834"/>
                    <a:gd name="connsiteX371" fmla="*/ 90526 w 2298253"/>
                    <a:gd name="connsiteY371" fmla="*/ 929396 h 1599834"/>
                    <a:gd name="connsiteX372" fmla="*/ 86137 w 2298253"/>
                    <a:gd name="connsiteY372" fmla="*/ 927750 h 1599834"/>
                    <a:gd name="connsiteX373" fmla="*/ 85039 w 2298253"/>
                    <a:gd name="connsiteY373" fmla="*/ 925556 h 1599834"/>
                    <a:gd name="connsiteX374" fmla="*/ 85588 w 2298253"/>
                    <a:gd name="connsiteY374" fmla="*/ 923910 h 1599834"/>
                    <a:gd name="connsiteX375" fmla="*/ 88331 w 2298253"/>
                    <a:gd name="connsiteY375" fmla="*/ 922813 h 1599834"/>
                    <a:gd name="connsiteX376" fmla="*/ 89428 w 2298253"/>
                    <a:gd name="connsiteY376" fmla="*/ 920618 h 1599834"/>
                    <a:gd name="connsiteX377" fmla="*/ 88880 w 2298253"/>
                    <a:gd name="connsiteY377" fmla="*/ 917326 h 1599834"/>
                    <a:gd name="connsiteX378" fmla="*/ 86685 w 2298253"/>
                    <a:gd name="connsiteY378" fmla="*/ 915680 h 1599834"/>
                    <a:gd name="connsiteX379" fmla="*/ 88331 w 2298253"/>
                    <a:gd name="connsiteY379" fmla="*/ 906902 h 1599834"/>
                    <a:gd name="connsiteX380" fmla="*/ 86137 w 2298253"/>
                    <a:gd name="connsiteY380" fmla="*/ 903061 h 1599834"/>
                    <a:gd name="connsiteX381" fmla="*/ 75164 w 2298253"/>
                    <a:gd name="connsiteY381" fmla="*/ 893186 h 1599834"/>
                    <a:gd name="connsiteX382" fmla="*/ 71872 w 2298253"/>
                    <a:gd name="connsiteY382" fmla="*/ 894283 h 1599834"/>
                    <a:gd name="connsiteX383" fmla="*/ 66934 w 2298253"/>
                    <a:gd name="connsiteY383" fmla="*/ 897026 h 1599834"/>
                    <a:gd name="connsiteX384" fmla="*/ 66385 w 2298253"/>
                    <a:gd name="connsiteY384" fmla="*/ 896478 h 1599834"/>
                    <a:gd name="connsiteX385" fmla="*/ 66385 w 2298253"/>
                    <a:gd name="connsiteY385" fmla="*/ 887699 h 1599834"/>
                    <a:gd name="connsiteX386" fmla="*/ 64739 w 2298253"/>
                    <a:gd name="connsiteY386" fmla="*/ 886054 h 1599834"/>
                    <a:gd name="connsiteX387" fmla="*/ 60350 w 2298253"/>
                    <a:gd name="connsiteY387" fmla="*/ 887151 h 1599834"/>
                    <a:gd name="connsiteX388" fmla="*/ 55961 w 2298253"/>
                    <a:gd name="connsiteY388" fmla="*/ 884956 h 1599834"/>
                    <a:gd name="connsiteX389" fmla="*/ 53767 w 2298253"/>
                    <a:gd name="connsiteY389" fmla="*/ 884408 h 1599834"/>
                    <a:gd name="connsiteX390" fmla="*/ 44440 w 2298253"/>
                    <a:gd name="connsiteY390" fmla="*/ 886054 h 1599834"/>
                    <a:gd name="connsiteX391" fmla="*/ 36759 w 2298253"/>
                    <a:gd name="connsiteY391" fmla="*/ 883859 h 1599834"/>
                    <a:gd name="connsiteX392" fmla="*/ 37307 w 2298253"/>
                    <a:gd name="connsiteY392" fmla="*/ 882762 h 1599834"/>
                    <a:gd name="connsiteX393" fmla="*/ 36210 w 2298253"/>
                    <a:gd name="connsiteY393" fmla="*/ 879470 h 1599834"/>
                    <a:gd name="connsiteX394" fmla="*/ 32370 w 2298253"/>
                    <a:gd name="connsiteY394" fmla="*/ 877824 h 1599834"/>
                    <a:gd name="connsiteX395" fmla="*/ 30724 w 2298253"/>
                    <a:gd name="connsiteY395" fmla="*/ 875629 h 1599834"/>
                    <a:gd name="connsiteX396" fmla="*/ 36210 w 2298253"/>
                    <a:gd name="connsiteY396" fmla="*/ 870143 h 1599834"/>
                    <a:gd name="connsiteX397" fmla="*/ 38953 w 2298253"/>
                    <a:gd name="connsiteY397" fmla="*/ 869594 h 1599834"/>
                    <a:gd name="connsiteX398" fmla="*/ 42245 w 2298253"/>
                    <a:gd name="connsiteY398" fmla="*/ 870692 h 1599834"/>
                    <a:gd name="connsiteX399" fmla="*/ 43891 w 2298253"/>
                    <a:gd name="connsiteY399" fmla="*/ 870692 h 1599834"/>
                    <a:gd name="connsiteX400" fmla="*/ 42245 w 2298253"/>
                    <a:gd name="connsiteY400" fmla="*/ 870692 h 1599834"/>
                    <a:gd name="connsiteX401" fmla="*/ 47732 w 2298253"/>
                    <a:gd name="connsiteY401" fmla="*/ 872338 h 1599834"/>
                    <a:gd name="connsiteX402" fmla="*/ 49926 w 2298253"/>
                    <a:gd name="connsiteY402" fmla="*/ 871240 h 1599834"/>
                    <a:gd name="connsiteX403" fmla="*/ 49926 w 2298253"/>
                    <a:gd name="connsiteY403" fmla="*/ 847649 h 1599834"/>
                    <a:gd name="connsiteX404" fmla="*/ 42794 w 2298253"/>
                    <a:gd name="connsiteY404" fmla="*/ 830641 h 1599834"/>
                    <a:gd name="connsiteX405" fmla="*/ 42794 w 2298253"/>
                    <a:gd name="connsiteY405" fmla="*/ 816925 h 1599834"/>
                    <a:gd name="connsiteX406" fmla="*/ 37307 w 2298253"/>
                    <a:gd name="connsiteY406" fmla="*/ 809793 h 1599834"/>
                    <a:gd name="connsiteX407" fmla="*/ 25786 w 2298253"/>
                    <a:gd name="connsiteY407" fmla="*/ 808695 h 1599834"/>
                    <a:gd name="connsiteX408" fmla="*/ 11521 w 2298253"/>
                    <a:gd name="connsiteY408" fmla="*/ 812536 h 1599834"/>
                    <a:gd name="connsiteX409" fmla="*/ 4389 w 2298253"/>
                    <a:gd name="connsiteY409" fmla="*/ 808147 h 1599834"/>
                    <a:gd name="connsiteX410" fmla="*/ 0 w 2298253"/>
                    <a:gd name="connsiteY410" fmla="*/ 782361 h 1599834"/>
                    <a:gd name="connsiteX411" fmla="*/ 7681 w 2298253"/>
                    <a:gd name="connsiteY411" fmla="*/ 759318 h 1599834"/>
                    <a:gd name="connsiteX412" fmla="*/ 6584 w 2298253"/>
                    <a:gd name="connsiteY412" fmla="*/ 751637 h 1599834"/>
                    <a:gd name="connsiteX413" fmla="*/ 13167 w 2298253"/>
                    <a:gd name="connsiteY413" fmla="*/ 738469 h 1599834"/>
                    <a:gd name="connsiteX414" fmla="*/ 34564 w 2298253"/>
                    <a:gd name="connsiteY414" fmla="*/ 729142 h 1599834"/>
                    <a:gd name="connsiteX415" fmla="*/ 37856 w 2298253"/>
                    <a:gd name="connsiteY415" fmla="*/ 725302 h 1599834"/>
                    <a:gd name="connsiteX416" fmla="*/ 42794 w 2298253"/>
                    <a:gd name="connsiteY416" fmla="*/ 725302 h 1599834"/>
                    <a:gd name="connsiteX417" fmla="*/ 47183 w 2298253"/>
                    <a:gd name="connsiteY417" fmla="*/ 715426 h 1599834"/>
                    <a:gd name="connsiteX418" fmla="*/ 54315 w 2298253"/>
                    <a:gd name="connsiteY418" fmla="*/ 717621 h 1599834"/>
                    <a:gd name="connsiteX419" fmla="*/ 64191 w 2298253"/>
                    <a:gd name="connsiteY419" fmla="*/ 713781 h 1599834"/>
                    <a:gd name="connsiteX420" fmla="*/ 71323 w 2298253"/>
                    <a:gd name="connsiteY420" fmla="*/ 714878 h 1599834"/>
                    <a:gd name="connsiteX421" fmla="*/ 75712 w 2298253"/>
                    <a:gd name="connsiteY421" fmla="*/ 723107 h 1599834"/>
                    <a:gd name="connsiteX422" fmla="*/ 100950 w 2298253"/>
                    <a:gd name="connsiteY422" fmla="*/ 722559 h 1599834"/>
                    <a:gd name="connsiteX423" fmla="*/ 110277 w 2298253"/>
                    <a:gd name="connsiteY423" fmla="*/ 715975 h 1599834"/>
                    <a:gd name="connsiteX424" fmla="*/ 114117 w 2298253"/>
                    <a:gd name="connsiteY424" fmla="*/ 703905 h 1599834"/>
                    <a:gd name="connsiteX425" fmla="*/ 120701 w 2298253"/>
                    <a:gd name="connsiteY425" fmla="*/ 695675 h 1599834"/>
                    <a:gd name="connsiteX426" fmla="*/ 171724 w 2298253"/>
                    <a:gd name="connsiteY426" fmla="*/ 685251 h 1599834"/>
                    <a:gd name="connsiteX427" fmla="*/ 177760 w 2298253"/>
                    <a:gd name="connsiteY427" fmla="*/ 675925 h 1599834"/>
                    <a:gd name="connsiteX428" fmla="*/ 187635 w 2298253"/>
                    <a:gd name="connsiteY428" fmla="*/ 666049 h 1599834"/>
                    <a:gd name="connsiteX429" fmla="*/ 244693 w 2298253"/>
                    <a:gd name="connsiteY429" fmla="*/ 639714 h 1599834"/>
                    <a:gd name="connsiteX430" fmla="*/ 249083 w 2298253"/>
                    <a:gd name="connsiteY430" fmla="*/ 630936 h 1599834"/>
                    <a:gd name="connsiteX431" fmla="*/ 250729 w 2298253"/>
                    <a:gd name="connsiteY431" fmla="*/ 603504 h 1599834"/>
                    <a:gd name="connsiteX432" fmla="*/ 256215 w 2298253"/>
                    <a:gd name="connsiteY432" fmla="*/ 596920 h 1599834"/>
                    <a:gd name="connsiteX433" fmla="*/ 255118 w 2298253"/>
                    <a:gd name="connsiteY433" fmla="*/ 588142 h 1599834"/>
                    <a:gd name="connsiteX434" fmla="*/ 263896 w 2298253"/>
                    <a:gd name="connsiteY434" fmla="*/ 582107 h 1599834"/>
                    <a:gd name="connsiteX435" fmla="*/ 247985 w 2298253"/>
                    <a:gd name="connsiteY435" fmla="*/ 508589 h 1599834"/>
                    <a:gd name="connsiteX436" fmla="*/ 242499 w 2298253"/>
                    <a:gd name="connsiteY436" fmla="*/ 498165 h 1599834"/>
                    <a:gd name="connsiteX437" fmla="*/ 237013 w 2298253"/>
                    <a:gd name="connsiteY437" fmla="*/ 493227 h 1599834"/>
                    <a:gd name="connsiteX438" fmla="*/ 243047 w 2298253"/>
                    <a:gd name="connsiteY438" fmla="*/ 488290 h 1599834"/>
                    <a:gd name="connsiteX439" fmla="*/ 322052 w 2298253"/>
                    <a:gd name="connsiteY439" fmla="*/ 474574 h 1599834"/>
                    <a:gd name="connsiteX440" fmla="*/ 326989 w 2298253"/>
                    <a:gd name="connsiteY440" fmla="*/ 470733 h 1599834"/>
                    <a:gd name="connsiteX441" fmla="*/ 321503 w 2298253"/>
                    <a:gd name="connsiteY441" fmla="*/ 448239 h 1599834"/>
                    <a:gd name="connsiteX442" fmla="*/ 349484 w 2298253"/>
                    <a:gd name="connsiteY442" fmla="*/ 367589 h 1599834"/>
                    <a:gd name="connsiteX443" fmla="*/ 365943 w 2298253"/>
                    <a:gd name="connsiteY443" fmla="*/ 368137 h 1599834"/>
                    <a:gd name="connsiteX444" fmla="*/ 372527 w 2298253"/>
                    <a:gd name="connsiteY444" fmla="*/ 373075 h 1599834"/>
                    <a:gd name="connsiteX445" fmla="*/ 384597 w 2298253"/>
                    <a:gd name="connsiteY445" fmla="*/ 377464 h 1599834"/>
                    <a:gd name="connsiteX446" fmla="*/ 408737 w 2298253"/>
                    <a:gd name="connsiteY446" fmla="*/ 374721 h 1599834"/>
                    <a:gd name="connsiteX447" fmla="*/ 421355 w 2298253"/>
                    <a:gd name="connsiteY447" fmla="*/ 386243 h 1599834"/>
                    <a:gd name="connsiteX448" fmla="*/ 431231 w 2298253"/>
                    <a:gd name="connsiteY448" fmla="*/ 378013 h 1599834"/>
                    <a:gd name="connsiteX449" fmla="*/ 447142 w 2298253"/>
                    <a:gd name="connsiteY449" fmla="*/ 372527 h 1599834"/>
                    <a:gd name="connsiteX450" fmla="*/ 450982 w 2298253"/>
                    <a:gd name="connsiteY450" fmla="*/ 314919 h 1599834"/>
                    <a:gd name="connsiteX451" fmla="*/ 458114 w 2298253"/>
                    <a:gd name="connsiteY451" fmla="*/ 300655 h 1599834"/>
                    <a:gd name="connsiteX452" fmla="*/ 469087 w 2298253"/>
                    <a:gd name="connsiteY452" fmla="*/ 301203 h 1599834"/>
                    <a:gd name="connsiteX453" fmla="*/ 482803 w 2298253"/>
                    <a:gd name="connsiteY453" fmla="*/ 297911 h 1599834"/>
                    <a:gd name="connsiteX454" fmla="*/ 493776 w 2298253"/>
                    <a:gd name="connsiteY454" fmla="*/ 286390 h 1599834"/>
                    <a:gd name="connsiteX455" fmla="*/ 500908 w 2298253"/>
                    <a:gd name="connsiteY455" fmla="*/ 272674 h 1599834"/>
                    <a:gd name="connsiteX456" fmla="*/ 517367 w 2298253"/>
                    <a:gd name="connsiteY456" fmla="*/ 277612 h 1599834"/>
                    <a:gd name="connsiteX457" fmla="*/ 528340 w 2298253"/>
                    <a:gd name="connsiteY457" fmla="*/ 267188 h 1599834"/>
                    <a:gd name="connsiteX458" fmla="*/ 532181 w 2298253"/>
                    <a:gd name="connsiteY458" fmla="*/ 266639 h 1599834"/>
                    <a:gd name="connsiteX459" fmla="*/ 532181 w 2298253"/>
                    <a:gd name="connsiteY459" fmla="*/ 269382 h 1599834"/>
                    <a:gd name="connsiteX460" fmla="*/ 541508 w 2298253"/>
                    <a:gd name="connsiteY460" fmla="*/ 294620 h 1599834"/>
                    <a:gd name="connsiteX461" fmla="*/ 562356 w 2298253"/>
                    <a:gd name="connsiteY461" fmla="*/ 311079 h 1599834"/>
                    <a:gd name="connsiteX462" fmla="*/ 569488 w 2298253"/>
                    <a:gd name="connsiteY462" fmla="*/ 324795 h 1599834"/>
                    <a:gd name="connsiteX463" fmla="*/ 579364 w 2298253"/>
                    <a:gd name="connsiteY463" fmla="*/ 332476 h 1599834"/>
                    <a:gd name="connsiteX464" fmla="*/ 584850 w 2298253"/>
                    <a:gd name="connsiteY464" fmla="*/ 324795 h 1599834"/>
                    <a:gd name="connsiteX465" fmla="*/ 595823 w 2298253"/>
                    <a:gd name="connsiteY465" fmla="*/ 326989 h 1599834"/>
                    <a:gd name="connsiteX466" fmla="*/ 605699 w 2298253"/>
                    <a:gd name="connsiteY466" fmla="*/ 333024 h 1599834"/>
                    <a:gd name="connsiteX467" fmla="*/ 616672 w 2298253"/>
                    <a:gd name="connsiteY467" fmla="*/ 334122 h 1599834"/>
                    <a:gd name="connsiteX468" fmla="*/ 643555 w 2298253"/>
                    <a:gd name="connsiteY468" fmla="*/ 401604 h 1599834"/>
                    <a:gd name="connsiteX469" fmla="*/ 645749 w 2298253"/>
                    <a:gd name="connsiteY469" fmla="*/ 446593 h 1599834"/>
                    <a:gd name="connsiteX470" fmla="*/ 640263 w 2298253"/>
                    <a:gd name="connsiteY470" fmla="*/ 458663 h 1599834"/>
                    <a:gd name="connsiteX471" fmla="*/ 639166 w 2298253"/>
                    <a:gd name="connsiteY471" fmla="*/ 467990 h 1599834"/>
                    <a:gd name="connsiteX472" fmla="*/ 644652 w 2298253"/>
                    <a:gd name="connsiteY472" fmla="*/ 473476 h 1599834"/>
                    <a:gd name="connsiteX473" fmla="*/ 706100 w 2298253"/>
                    <a:gd name="connsiteY473" fmla="*/ 487741 h 1599834"/>
                    <a:gd name="connsiteX474" fmla="*/ 723656 w 2298253"/>
                    <a:gd name="connsiteY474" fmla="*/ 483901 h 1599834"/>
                    <a:gd name="connsiteX475" fmla="*/ 804306 w 2298253"/>
                    <a:gd name="connsiteY475" fmla="*/ 520111 h 1599834"/>
                    <a:gd name="connsiteX476" fmla="*/ 812536 w 2298253"/>
                    <a:gd name="connsiteY476" fmla="*/ 521208 h 1599834"/>
                    <a:gd name="connsiteX477" fmla="*/ 869046 w 2298253"/>
                    <a:gd name="connsiteY477" fmla="*/ 600212 h 1599834"/>
                    <a:gd name="connsiteX478" fmla="*/ 878921 w 2298253"/>
                    <a:gd name="connsiteY478" fmla="*/ 604053 h 1599834"/>
                    <a:gd name="connsiteX479" fmla="*/ 1006206 w 2298253"/>
                    <a:gd name="connsiteY479" fmla="*/ 595274 h 1599834"/>
                    <a:gd name="connsiteX480" fmla="*/ 1047902 w 2298253"/>
                    <a:gd name="connsiteY480" fmla="*/ 607893 h 1599834"/>
                    <a:gd name="connsiteX481" fmla="*/ 1064362 w 2298253"/>
                    <a:gd name="connsiteY481" fmla="*/ 623804 h 1599834"/>
                    <a:gd name="connsiteX482" fmla="*/ 1130747 w 2298253"/>
                    <a:gd name="connsiteY482" fmla="*/ 649041 h 1599834"/>
                    <a:gd name="connsiteX483" fmla="*/ 1149949 w 2298253"/>
                    <a:gd name="connsiteY483" fmla="*/ 650687 h 1599834"/>
                    <a:gd name="connsiteX484" fmla="*/ 1154339 w 2298253"/>
                    <a:gd name="connsiteY484" fmla="*/ 652333 h 1599834"/>
                    <a:gd name="connsiteX485" fmla="*/ 1161471 w 2298253"/>
                    <a:gd name="connsiteY485" fmla="*/ 657819 h 1599834"/>
                    <a:gd name="connsiteX486" fmla="*/ 1169701 w 2298253"/>
                    <a:gd name="connsiteY486" fmla="*/ 661111 h 1599834"/>
                    <a:gd name="connsiteX487" fmla="*/ 1176284 w 2298253"/>
                    <a:gd name="connsiteY487" fmla="*/ 659465 h 1599834"/>
                    <a:gd name="connsiteX488" fmla="*/ 1190000 w 2298253"/>
                    <a:gd name="connsiteY488" fmla="*/ 649590 h 1599834"/>
                    <a:gd name="connsiteX489" fmla="*/ 1226759 w 2298253"/>
                    <a:gd name="connsiteY489" fmla="*/ 637520 h 1599834"/>
                    <a:gd name="connsiteX490" fmla="*/ 1231697 w 2298253"/>
                    <a:gd name="connsiteY490" fmla="*/ 631485 h 1599834"/>
                    <a:gd name="connsiteX491" fmla="*/ 1276685 w 2298253"/>
                    <a:gd name="connsiteY491" fmla="*/ 618866 h 1599834"/>
                    <a:gd name="connsiteX492" fmla="*/ 1294790 w 2298253"/>
                    <a:gd name="connsiteY492" fmla="*/ 620512 h 1599834"/>
                    <a:gd name="connsiteX493" fmla="*/ 1306312 w 2298253"/>
                    <a:gd name="connsiteY493" fmla="*/ 616123 h 1599834"/>
                    <a:gd name="connsiteX494" fmla="*/ 1324966 w 2298253"/>
                    <a:gd name="connsiteY494" fmla="*/ 621609 h 1599834"/>
                    <a:gd name="connsiteX495" fmla="*/ 1328806 w 2298253"/>
                    <a:gd name="connsiteY495" fmla="*/ 619963 h 1599834"/>
                    <a:gd name="connsiteX496" fmla="*/ 1348009 w 2298253"/>
                    <a:gd name="connsiteY496" fmla="*/ 618866 h 1599834"/>
                    <a:gd name="connsiteX497" fmla="*/ 1391351 w 2298253"/>
                    <a:gd name="connsiteY497" fmla="*/ 595274 h 1599834"/>
                    <a:gd name="connsiteX498" fmla="*/ 1397935 w 2298253"/>
                    <a:gd name="connsiteY498" fmla="*/ 584850 h 1599834"/>
                    <a:gd name="connsiteX499" fmla="*/ 1437437 w 2298253"/>
                    <a:gd name="connsiteY499" fmla="*/ 551383 h 1599834"/>
                    <a:gd name="connsiteX500" fmla="*/ 1435791 w 2298253"/>
                    <a:gd name="connsiteY500" fmla="*/ 542056 h 1599834"/>
                    <a:gd name="connsiteX501" fmla="*/ 1420978 w 2298253"/>
                    <a:gd name="connsiteY501" fmla="*/ 521757 h 1599834"/>
                    <a:gd name="connsiteX502" fmla="*/ 1423172 w 2298253"/>
                    <a:gd name="connsiteY502" fmla="*/ 511881 h 1599834"/>
                    <a:gd name="connsiteX503" fmla="*/ 1437985 w 2298253"/>
                    <a:gd name="connsiteY503" fmla="*/ 487192 h 1599834"/>
                    <a:gd name="connsiteX504" fmla="*/ 1452250 w 2298253"/>
                    <a:gd name="connsiteY504" fmla="*/ 482254 h 1599834"/>
                    <a:gd name="connsiteX505" fmla="*/ 1463223 w 2298253"/>
                    <a:gd name="connsiteY505" fmla="*/ 486095 h 1599834"/>
                    <a:gd name="connsiteX506" fmla="*/ 1471453 w 2298253"/>
                    <a:gd name="connsiteY506" fmla="*/ 494873 h 1599834"/>
                    <a:gd name="connsiteX507" fmla="*/ 1497787 w 2298253"/>
                    <a:gd name="connsiteY507" fmla="*/ 498165 h 1599834"/>
                    <a:gd name="connsiteX508" fmla="*/ 1516990 w 2298253"/>
                    <a:gd name="connsiteY508" fmla="*/ 486644 h 1599834"/>
                    <a:gd name="connsiteX509" fmla="*/ 1543324 w 2298253"/>
                    <a:gd name="connsiteY509" fmla="*/ 457566 h 1599834"/>
                    <a:gd name="connsiteX510" fmla="*/ 1559235 w 2298253"/>
                    <a:gd name="connsiteY510" fmla="*/ 458114 h 1599834"/>
                    <a:gd name="connsiteX511" fmla="*/ 1576792 w 2298253"/>
                    <a:gd name="connsiteY511" fmla="*/ 448239 h 1599834"/>
                    <a:gd name="connsiteX512" fmla="*/ 1621780 w 2298253"/>
                    <a:gd name="connsiteY512" fmla="*/ 399959 h 1599834"/>
                    <a:gd name="connsiteX513" fmla="*/ 1687068 w 2298253"/>
                    <a:gd name="connsiteY513" fmla="*/ 391729 h 1599834"/>
                    <a:gd name="connsiteX514" fmla="*/ 1712854 w 2298253"/>
                    <a:gd name="connsiteY514" fmla="*/ 397215 h 1599834"/>
                    <a:gd name="connsiteX515" fmla="*/ 1719438 w 2298253"/>
                    <a:gd name="connsiteY515" fmla="*/ 393375 h 1599834"/>
                    <a:gd name="connsiteX516" fmla="*/ 1718341 w 2298253"/>
                    <a:gd name="connsiteY516" fmla="*/ 384597 h 1599834"/>
                    <a:gd name="connsiteX517" fmla="*/ 1709562 w 2298253"/>
                    <a:gd name="connsiteY517" fmla="*/ 378562 h 1599834"/>
                    <a:gd name="connsiteX518" fmla="*/ 1710660 w 2298253"/>
                    <a:gd name="connsiteY518" fmla="*/ 363200 h 1599834"/>
                    <a:gd name="connsiteX519" fmla="*/ 1706271 w 2298253"/>
                    <a:gd name="connsiteY519" fmla="*/ 354421 h 1599834"/>
                    <a:gd name="connsiteX520" fmla="*/ 1677741 w 2298253"/>
                    <a:gd name="connsiteY520" fmla="*/ 327538 h 1599834"/>
                    <a:gd name="connsiteX521" fmla="*/ 1672804 w 2298253"/>
                    <a:gd name="connsiteY521" fmla="*/ 318760 h 1599834"/>
                    <a:gd name="connsiteX522" fmla="*/ 1640982 w 2298253"/>
                    <a:gd name="connsiteY522" fmla="*/ 341254 h 1599834"/>
                    <a:gd name="connsiteX523" fmla="*/ 1606418 w 2298253"/>
                    <a:gd name="connsiteY523" fmla="*/ 347289 h 1599834"/>
                    <a:gd name="connsiteX524" fmla="*/ 1578986 w 2298253"/>
                    <a:gd name="connsiteY524" fmla="*/ 341254 h 1599834"/>
                    <a:gd name="connsiteX525" fmla="*/ 1573500 w 2298253"/>
                    <a:gd name="connsiteY525" fmla="*/ 330830 h 1599834"/>
                    <a:gd name="connsiteX526" fmla="*/ 1570208 w 2298253"/>
                    <a:gd name="connsiteY526" fmla="*/ 302301 h 1599834"/>
                    <a:gd name="connsiteX527" fmla="*/ 1576792 w 2298253"/>
                    <a:gd name="connsiteY527" fmla="*/ 290231 h 1599834"/>
                    <a:gd name="connsiteX528" fmla="*/ 1576243 w 2298253"/>
                    <a:gd name="connsiteY528" fmla="*/ 254569 h 1599834"/>
                    <a:gd name="connsiteX529" fmla="*/ 1597640 w 2298253"/>
                    <a:gd name="connsiteY529" fmla="*/ 218907 h 1599834"/>
                    <a:gd name="connsiteX530" fmla="*/ 1603675 w 2298253"/>
                    <a:gd name="connsiteY530" fmla="*/ 212872 h 1599834"/>
                    <a:gd name="connsiteX531" fmla="*/ 1603675 w 2298253"/>
                    <a:gd name="connsiteY531" fmla="*/ 210129 h 1599834"/>
                    <a:gd name="connsiteX532" fmla="*/ 1658539 w 2298253"/>
                    <a:gd name="connsiteY532" fmla="*/ 233721 h 1599834"/>
                    <a:gd name="connsiteX533" fmla="*/ 1666768 w 2298253"/>
                    <a:gd name="connsiteY533" fmla="*/ 231526 h 1599834"/>
                    <a:gd name="connsiteX534" fmla="*/ 1711208 w 2298253"/>
                    <a:gd name="connsiteY534" fmla="*/ 202997 h 1599834"/>
                    <a:gd name="connsiteX535" fmla="*/ 1712305 w 2298253"/>
                    <a:gd name="connsiteY535" fmla="*/ 198059 h 1599834"/>
                    <a:gd name="connsiteX536" fmla="*/ 1710660 w 2298253"/>
                    <a:gd name="connsiteY536" fmla="*/ 189829 h 1599834"/>
                    <a:gd name="connsiteX537" fmla="*/ 1712854 w 2298253"/>
                    <a:gd name="connsiteY537" fmla="*/ 181051 h 1599834"/>
                    <a:gd name="connsiteX538" fmla="*/ 1724376 w 2298253"/>
                    <a:gd name="connsiteY538" fmla="*/ 164592 h 1599834"/>
                    <a:gd name="connsiteX539" fmla="*/ 1738092 w 2298253"/>
                    <a:gd name="connsiteY539" fmla="*/ 117409 h 1599834"/>
                    <a:gd name="connsiteX540" fmla="*/ 1750162 w 2298253"/>
                    <a:gd name="connsiteY540" fmla="*/ 110277 h 1599834"/>
                    <a:gd name="connsiteX541" fmla="*/ 1767169 w 2298253"/>
                    <a:gd name="connsiteY541" fmla="*/ 91623 h 1599834"/>
                    <a:gd name="connsiteX542" fmla="*/ 1767169 w 2298253"/>
                    <a:gd name="connsiteY542" fmla="*/ 88331 h 1599834"/>
                    <a:gd name="connsiteX543" fmla="*/ 1763878 w 2298253"/>
                    <a:gd name="connsiteY543" fmla="*/ 81747 h 1599834"/>
                    <a:gd name="connsiteX544" fmla="*/ 1764975 w 2298253"/>
                    <a:gd name="connsiteY544" fmla="*/ 62545 h 1599834"/>
                    <a:gd name="connsiteX545" fmla="*/ 1761135 w 2298253"/>
                    <a:gd name="connsiteY545" fmla="*/ 59802 h 1599834"/>
                    <a:gd name="connsiteX546" fmla="*/ 1740286 w 2298253"/>
                    <a:gd name="connsiteY546" fmla="*/ 63642 h 1599834"/>
                    <a:gd name="connsiteX547" fmla="*/ 1738092 w 2298253"/>
                    <a:gd name="connsiteY547" fmla="*/ 59802 h 1599834"/>
                    <a:gd name="connsiteX548" fmla="*/ 1741384 w 2298253"/>
                    <a:gd name="connsiteY548" fmla="*/ 51023 h 1599834"/>
                    <a:gd name="connsiteX549" fmla="*/ 1757843 w 2298253"/>
                    <a:gd name="connsiteY549" fmla="*/ 35113 h 1599834"/>
                    <a:gd name="connsiteX550" fmla="*/ 1762780 w 2298253"/>
                    <a:gd name="connsiteY550" fmla="*/ 26335 h 1599834"/>
                    <a:gd name="connsiteX551" fmla="*/ 1773753 w 2298253"/>
                    <a:gd name="connsiteY551" fmla="*/ 18105 h 1599834"/>
                    <a:gd name="connsiteX552" fmla="*/ 1875252 w 2298253"/>
                    <a:gd name="connsiteY552" fmla="*/ 0 h 1599834"/>
                    <a:gd name="connsiteX553" fmla="*/ 1907073 w 2298253"/>
                    <a:gd name="connsiteY553" fmla="*/ 22494 h 1599834"/>
                    <a:gd name="connsiteX554" fmla="*/ 1918045 w 2298253"/>
                    <a:gd name="connsiteY554" fmla="*/ 25237 h 1599834"/>
                    <a:gd name="connsiteX555" fmla="*/ 1931213 w 2298253"/>
                    <a:gd name="connsiteY555" fmla="*/ 23591 h 1599834"/>
                    <a:gd name="connsiteX556" fmla="*/ 1951512 w 2298253"/>
                    <a:gd name="connsiteY556" fmla="*/ 30724 h 1599834"/>
                    <a:gd name="connsiteX557" fmla="*/ 1965228 w 2298253"/>
                    <a:gd name="connsiteY557" fmla="*/ 52669 h 1599834"/>
                    <a:gd name="connsiteX558" fmla="*/ 1965777 w 2298253"/>
                    <a:gd name="connsiteY558" fmla="*/ 60899 h 1599834"/>
                    <a:gd name="connsiteX559" fmla="*/ 1977847 w 2298253"/>
                    <a:gd name="connsiteY559" fmla="*/ 70226 h 1599834"/>
                    <a:gd name="connsiteX560" fmla="*/ 1978944 w 2298253"/>
                    <a:gd name="connsiteY560" fmla="*/ 75712 h 1599834"/>
                    <a:gd name="connsiteX561" fmla="*/ 1979493 w 2298253"/>
                    <a:gd name="connsiteY561" fmla="*/ 72420 h 1599834"/>
                    <a:gd name="connsiteX562" fmla="*/ 2020092 w 2298253"/>
                    <a:gd name="connsiteY562" fmla="*/ 198059 h 1599834"/>
                    <a:gd name="connsiteX563" fmla="*/ 2019544 w 2298253"/>
                    <a:gd name="connsiteY563" fmla="*/ 201351 h 1599834"/>
                    <a:gd name="connsiteX564" fmla="*/ 2020092 w 2298253"/>
                    <a:gd name="connsiteY564" fmla="*/ 201899 h 1599834"/>
                    <a:gd name="connsiteX565" fmla="*/ 2021739 w 2298253"/>
                    <a:gd name="connsiteY565" fmla="*/ 229331 h 1599834"/>
                    <a:gd name="connsiteX566" fmla="*/ 2029968 w 2298253"/>
                    <a:gd name="connsiteY566" fmla="*/ 236464 h 1599834"/>
                    <a:gd name="connsiteX567" fmla="*/ 2045879 w 2298253"/>
                    <a:gd name="connsiteY567" fmla="*/ 238110 h 1599834"/>
                    <a:gd name="connsiteX568" fmla="*/ 2060143 w 2298253"/>
                    <a:gd name="connsiteY568" fmla="*/ 233172 h 1599834"/>
                    <a:gd name="connsiteX569" fmla="*/ 2096353 w 2298253"/>
                    <a:gd name="connsiteY569" fmla="*/ 245242 h 1599834"/>
                    <a:gd name="connsiteX570" fmla="*/ 2118299 w 2298253"/>
                    <a:gd name="connsiteY570" fmla="*/ 265542 h 1599834"/>
                    <a:gd name="connsiteX571" fmla="*/ 2128723 w 2298253"/>
                    <a:gd name="connsiteY571" fmla="*/ 270479 h 1599834"/>
                    <a:gd name="connsiteX572" fmla="*/ 2136953 w 2298253"/>
                    <a:gd name="connsiteY572" fmla="*/ 270479 h 1599834"/>
                    <a:gd name="connsiteX573" fmla="*/ 2140245 w 2298253"/>
                    <a:gd name="connsiteY573" fmla="*/ 276515 h 1599834"/>
                    <a:gd name="connsiteX574" fmla="*/ 2140245 w 2298253"/>
                    <a:gd name="connsiteY574" fmla="*/ 279258 h 1599834"/>
                    <a:gd name="connsiteX575" fmla="*/ 2141342 w 2298253"/>
                    <a:gd name="connsiteY575" fmla="*/ 279258 h 1599834"/>
                    <a:gd name="connsiteX576" fmla="*/ 2142439 w 2298253"/>
                    <a:gd name="connsiteY576" fmla="*/ 289682 h 1599834"/>
                    <a:gd name="connsiteX577" fmla="*/ 2146829 w 2298253"/>
                    <a:gd name="connsiteY577" fmla="*/ 296266 h 1599834"/>
                    <a:gd name="connsiteX578" fmla="*/ 2146829 w 2298253"/>
                    <a:gd name="connsiteY578" fmla="*/ 319308 h 1599834"/>
                    <a:gd name="connsiteX579" fmla="*/ 2158350 w 2298253"/>
                    <a:gd name="connsiteY579" fmla="*/ 339059 h 1599834"/>
                    <a:gd name="connsiteX580" fmla="*/ 2170420 w 2298253"/>
                    <a:gd name="connsiteY580" fmla="*/ 338511 h 1599834"/>
                    <a:gd name="connsiteX581" fmla="*/ 2183587 w 2298253"/>
                    <a:gd name="connsiteY581" fmla="*/ 342351 h 1599834"/>
                    <a:gd name="connsiteX582" fmla="*/ 2195657 w 2298253"/>
                    <a:gd name="connsiteY582" fmla="*/ 340705 h 1599834"/>
                    <a:gd name="connsiteX583" fmla="*/ 2240098 w 2298253"/>
                    <a:gd name="connsiteY583" fmla="*/ 315468 h 1599834"/>
                    <a:gd name="connsiteX584" fmla="*/ 2252716 w 2298253"/>
                    <a:gd name="connsiteY584" fmla="*/ 314919 h 1599834"/>
                    <a:gd name="connsiteX585" fmla="*/ 2297705 w 2298253"/>
                    <a:gd name="connsiteY585" fmla="*/ 296266 h 1599834"/>
                    <a:gd name="connsiteX586" fmla="*/ 2298253 w 2298253"/>
                    <a:gd name="connsiteY586" fmla="*/ 298460 h 1599834"/>
                    <a:gd name="connsiteX587" fmla="*/ 2292218 w 2298253"/>
                    <a:gd name="connsiteY587" fmla="*/ 307787 h 1599834"/>
                    <a:gd name="connsiteX588" fmla="*/ 2292218 w 2298253"/>
                    <a:gd name="connsiteY588" fmla="*/ 320954 h 1599834"/>
                    <a:gd name="connsiteX589" fmla="*/ 2296059 w 2298253"/>
                    <a:gd name="connsiteY589" fmla="*/ 331927 h 1599834"/>
                    <a:gd name="connsiteX590" fmla="*/ 2294412 w 2298253"/>
                    <a:gd name="connsiteY590" fmla="*/ 345095 h 1599834"/>
                    <a:gd name="connsiteX591" fmla="*/ 2276856 w 2298253"/>
                    <a:gd name="connsiteY591" fmla="*/ 361005 h 1599834"/>
                    <a:gd name="connsiteX592" fmla="*/ 2259848 w 2298253"/>
                    <a:gd name="connsiteY592" fmla="*/ 426842 h 1599834"/>
                    <a:gd name="connsiteX593" fmla="*/ 2237354 w 2298253"/>
                    <a:gd name="connsiteY593" fmla="*/ 465247 h 1599834"/>
                    <a:gd name="connsiteX594" fmla="*/ 2234062 w 2298253"/>
                    <a:gd name="connsiteY594" fmla="*/ 478963 h 1599834"/>
                    <a:gd name="connsiteX595" fmla="*/ 2225832 w 2298253"/>
                    <a:gd name="connsiteY595" fmla="*/ 485546 h 1599834"/>
                    <a:gd name="connsiteX596" fmla="*/ 2221992 w 2298253"/>
                    <a:gd name="connsiteY596" fmla="*/ 483352 h 1599834"/>
                    <a:gd name="connsiteX597" fmla="*/ 2187977 w 2298253"/>
                    <a:gd name="connsiteY597" fmla="*/ 474574 h 1599834"/>
                    <a:gd name="connsiteX598" fmla="*/ 2153961 w 2298253"/>
                    <a:gd name="connsiteY598" fmla="*/ 503103 h 1599834"/>
                    <a:gd name="connsiteX599" fmla="*/ 2159996 w 2298253"/>
                    <a:gd name="connsiteY599" fmla="*/ 512430 h 1599834"/>
                    <a:gd name="connsiteX600" fmla="*/ 2163836 w 2298253"/>
                    <a:gd name="connsiteY600" fmla="*/ 571683 h 1599834"/>
                    <a:gd name="connsiteX601" fmla="*/ 2152864 w 2298253"/>
                    <a:gd name="connsiteY601" fmla="*/ 588691 h 1599834"/>
                    <a:gd name="connsiteX602" fmla="*/ 2139148 w 2298253"/>
                    <a:gd name="connsiteY602" fmla="*/ 600212 h 1599834"/>
                    <a:gd name="connsiteX603" fmla="*/ 2139148 w 2298253"/>
                    <a:gd name="connsiteY603" fmla="*/ 612282 h 1599834"/>
                    <a:gd name="connsiteX604" fmla="*/ 2133661 w 2298253"/>
                    <a:gd name="connsiteY604" fmla="*/ 611734 h 1599834"/>
                    <a:gd name="connsiteX605" fmla="*/ 2128175 w 2298253"/>
                    <a:gd name="connsiteY605" fmla="*/ 601858 h 1599834"/>
                    <a:gd name="connsiteX606" fmla="*/ 2120494 w 2298253"/>
                    <a:gd name="connsiteY606" fmla="*/ 594177 h 1599834"/>
                    <a:gd name="connsiteX607" fmla="*/ 2113361 w 2298253"/>
                    <a:gd name="connsiteY607" fmla="*/ 599663 h 1599834"/>
                    <a:gd name="connsiteX608" fmla="*/ 2101291 w 2298253"/>
                    <a:gd name="connsiteY608" fmla="*/ 624901 h 1599834"/>
                    <a:gd name="connsiteX609" fmla="*/ 2079894 w 2298253"/>
                    <a:gd name="connsiteY609" fmla="*/ 640263 h 1599834"/>
                    <a:gd name="connsiteX610" fmla="*/ 2049719 w 2298253"/>
                    <a:gd name="connsiteY610" fmla="*/ 644103 h 1599834"/>
                    <a:gd name="connsiteX611" fmla="*/ 2046427 w 2298253"/>
                    <a:gd name="connsiteY611" fmla="*/ 650138 h 1599834"/>
                    <a:gd name="connsiteX612" fmla="*/ 2050817 w 2298253"/>
                    <a:gd name="connsiteY612" fmla="*/ 672084 h 1599834"/>
                    <a:gd name="connsiteX613" fmla="*/ 2022287 w 2298253"/>
                    <a:gd name="connsiteY613" fmla="*/ 674827 h 1599834"/>
                    <a:gd name="connsiteX614" fmla="*/ 2011863 w 2298253"/>
                    <a:gd name="connsiteY614" fmla="*/ 668243 h 1599834"/>
                    <a:gd name="connsiteX615" fmla="*/ 1999793 w 2298253"/>
                    <a:gd name="connsiteY615" fmla="*/ 664952 h 1599834"/>
                    <a:gd name="connsiteX616" fmla="*/ 1935053 w 2298253"/>
                    <a:gd name="connsiteY616" fmla="*/ 715975 h 1599834"/>
                    <a:gd name="connsiteX617" fmla="*/ 1924629 w 2298253"/>
                    <a:gd name="connsiteY617" fmla="*/ 720364 h 1599834"/>
                    <a:gd name="connsiteX618" fmla="*/ 1905427 w 2298253"/>
                    <a:gd name="connsiteY618" fmla="*/ 745053 h 1599834"/>
                    <a:gd name="connsiteX619" fmla="*/ 1904329 w 2298253"/>
                    <a:gd name="connsiteY619" fmla="*/ 746699 h 1599834"/>
                    <a:gd name="connsiteX620" fmla="*/ 1871960 w 2298253"/>
                    <a:gd name="connsiteY620" fmla="*/ 756574 h 1599834"/>
                    <a:gd name="connsiteX621" fmla="*/ 1868119 w 2298253"/>
                    <a:gd name="connsiteY621" fmla="*/ 752185 h 1599834"/>
                    <a:gd name="connsiteX622" fmla="*/ 1854952 w 2298253"/>
                    <a:gd name="connsiteY622" fmla="*/ 762061 h 1599834"/>
                    <a:gd name="connsiteX623" fmla="*/ 1830812 w 2298253"/>
                    <a:gd name="connsiteY623" fmla="*/ 771937 h 1599834"/>
                    <a:gd name="connsiteX624" fmla="*/ 1824777 w 2298253"/>
                    <a:gd name="connsiteY624" fmla="*/ 777971 h 1599834"/>
                    <a:gd name="connsiteX625" fmla="*/ 1819839 w 2298253"/>
                    <a:gd name="connsiteY625" fmla="*/ 786750 h 1599834"/>
                    <a:gd name="connsiteX626" fmla="*/ 1812158 w 2298253"/>
                    <a:gd name="connsiteY626" fmla="*/ 792785 h 1599834"/>
                    <a:gd name="connsiteX627" fmla="*/ 1806123 w 2298253"/>
                    <a:gd name="connsiteY627" fmla="*/ 792785 h 1599834"/>
                    <a:gd name="connsiteX628" fmla="*/ 1801734 w 2298253"/>
                    <a:gd name="connsiteY628" fmla="*/ 796625 h 1599834"/>
                    <a:gd name="connsiteX629" fmla="*/ 1789115 w 2298253"/>
                    <a:gd name="connsiteY629" fmla="*/ 803209 h 1599834"/>
                    <a:gd name="connsiteX630" fmla="*/ 1785275 w 2298253"/>
                    <a:gd name="connsiteY630" fmla="*/ 799917 h 1599834"/>
                    <a:gd name="connsiteX631" fmla="*/ 1791310 w 2298253"/>
                    <a:gd name="connsiteY631" fmla="*/ 791687 h 1599834"/>
                    <a:gd name="connsiteX632" fmla="*/ 1801185 w 2298253"/>
                    <a:gd name="connsiteY632" fmla="*/ 788944 h 1599834"/>
                    <a:gd name="connsiteX633" fmla="*/ 1806123 w 2298253"/>
                    <a:gd name="connsiteY633" fmla="*/ 773582 h 1599834"/>
                    <a:gd name="connsiteX634" fmla="*/ 1795699 w 2298253"/>
                    <a:gd name="connsiteY634" fmla="*/ 766999 h 1599834"/>
                    <a:gd name="connsiteX635" fmla="*/ 1790761 w 2298253"/>
                    <a:gd name="connsiteY635" fmla="*/ 765353 h 1599834"/>
                    <a:gd name="connsiteX636" fmla="*/ 1797345 w 2298253"/>
                    <a:gd name="connsiteY636" fmla="*/ 762061 h 1599834"/>
                    <a:gd name="connsiteX637" fmla="*/ 1798991 w 2298253"/>
                    <a:gd name="connsiteY637" fmla="*/ 753831 h 1599834"/>
                    <a:gd name="connsiteX638" fmla="*/ 1806123 w 2298253"/>
                    <a:gd name="connsiteY638" fmla="*/ 748345 h 1599834"/>
                    <a:gd name="connsiteX639" fmla="*/ 1826423 w 2298253"/>
                    <a:gd name="connsiteY639" fmla="*/ 719267 h 1599834"/>
                    <a:gd name="connsiteX640" fmla="*/ 1824777 w 2298253"/>
                    <a:gd name="connsiteY640" fmla="*/ 713781 h 1599834"/>
                    <a:gd name="connsiteX641" fmla="*/ 1816547 w 2298253"/>
                    <a:gd name="connsiteY641" fmla="*/ 704454 h 1599834"/>
                    <a:gd name="connsiteX642" fmla="*/ 1813804 w 2298253"/>
                    <a:gd name="connsiteY642" fmla="*/ 695675 h 1599834"/>
                    <a:gd name="connsiteX643" fmla="*/ 1810512 w 2298253"/>
                    <a:gd name="connsiteY643" fmla="*/ 691286 h 1599834"/>
                    <a:gd name="connsiteX644" fmla="*/ 1806672 w 2298253"/>
                    <a:gd name="connsiteY644" fmla="*/ 695675 h 1599834"/>
                    <a:gd name="connsiteX645" fmla="*/ 1790761 w 2298253"/>
                    <a:gd name="connsiteY645" fmla="*/ 696773 h 1599834"/>
                    <a:gd name="connsiteX646" fmla="*/ 1784726 w 2298253"/>
                    <a:gd name="connsiteY646" fmla="*/ 699516 h 1599834"/>
                    <a:gd name="connsiteX647" fmla="*/ 1757843 w 2298253"/>
                    <a:gd name="connsiteY647" fmla="*/ 733532 h 1599834"/>
                    <a:gd name="connsiteX648" fmla="*/ 1722730 w 2298253"/>
                    <a:gd name="connsiteY648" fmla="*/ 752734 h 1599834"/>
                    <a:gd name="connsiteX649" fmla="*/ 1716146 w 2298253"/>
                    <a:gd name="connsiteY649" fmla="*/ 771388 h 1599834"/>
                    <a:gd name="connsiteX650" fmla="*/ 1710111 w 2298253"/>
                    <a:gd name="connsiteY650" fmla="*/ 777423 h 1599834"/>
                    <a:gd name="connsiteX651" fmla="*/ 1703527 w 2298253"/>
                    <a:gd name="connsiteY651" fmla="*/ 781812 h 1599834"/>
                    <a:gd name="connsiteX652" fmla="*/ 1678290 w 2298253"/>
                    <a:gd name="connsiteY652" fmla="*/ 786201 h 1599834"/>
                    <a:gd name="connsiteX653" fmla="*/ 1673901 w 2298253"/>
                    <a:gd name="connsiteY653" fmla="*/ 783458 h 1599834"/>
                    <a:gd name="connsiteX654" fmla="*/ 1665671 w 2298253"/>
                    <a:gd name="connsiteY654" fmla="*/ 782361 h 1599834"/>
                    <a:gd name="connsiteX655" fmla="*/ 1659088 w 2298253"/>
                    <a:gd name="connsiteY655" fmla="*/ 788944 h 1599834"/>
                    <a:gd name="connsiteX656" fmla="*/ 1653052 w 2298253"/>
                    <a:gd name="connsiteY656" fmla="*/ 814182 h 1599834"/>
                    <a:gd name="connsiteX657" fmla="*/ 1667866 w 2298253"/>
                    <a:gd name="connsiteY657" fmla="*/ 833384 h 1599834"/>
                    <a:gd name="connsiteX658" fmla="*/ 1673352 w 2298253"/>
                    <a:gd name="connsiteY658" fmla="*/ 836127 h 1599834"/>
                    <a:gd name="connsiteX659" fmla="*/ 1678290 w 2298253"/>
                    <a:gd name="connsiteY659" fmla="*/ 836127 h 1599834"/>
                    <a:gd name="connsiteX660" fmla="*/ 1682130 w 2298253"/>
                    <a:gd name="connsiteY660" fmla="*/ 841065 h 1599834"/>
                    <a:gd name="connsiteX661" fmla="*/ 1687617 w 2298253"/>
                    <a:gd name="connsiteY661" fmla="*/ 841065 h 1599834"/>
                    <a:gd name="connsiteX662" fmla="*/ 1690909 w 2298253"/>
                    <a:gd name="connsiteY662" fmla="*/ 848746 h 1599834"/>
                    <a:gd name="connsiteX663" fmla="*/ 1698041 w 2298253"/>
                    <a:gd name="connsiteY663" fmla="*/ 854233 h 1599834"/>
                    <a:gd name="connsiteX664" fmla="*/ 1699687 w 2298253"/>
                    <a:gd name="connsiteY664" fmla="*/ 866302 h 1599834"/>
                    <a:gd name="connsiteX665" fmla="*/ 1705173 w 2298253"/>
                    <a:gd name="connsiteY665" fmla="*/ 873983 h 1599834"/>
                    <a:gd name="connsiteX666" fmla="*/ 1723827 w 2298253"/>
                    <a:gd name="connsiteY666" fmla="*/ 881116 h 1599834"/>
                    <a:gd name="connsiteX667" fmla="*/ 1733154 w 2298253"/>
                    <a:gd name="connsiteY667" fmla="*/ 880018 h 1599834"/>
                    <a:gd name="connsiteX668" fmla="*/ 1741384 w 2298253"/>
                    <a:gd name="connsiteY668" fmla="*/ 869046 h 1599834"/>
                    <a:gd name="connsiteX669" fmla="*/ 1749064 w 2298253"/>
                    <a:gd name="connsiteY669" fmla="*/ 863011 h 1599834"/>
                    <a:gd name="connsiteX670" fmla="*/ 1754002 w 2298253"/>
                    <a:gd name="connsiteY670" fmla="*/ 855878 h 1599834"/>
                    <a:gd name="connsiteX671" fmla="*/ 1769364 w 2298253"/>
                    <a:gd name="connsiteY671" fmla="*/ 848746 h 1599834"/>
                    <a:gd name="connsiteX672" fmla="*/ 1774302 w 2298253"/>
                    <a:gd name="connsiteY672" fmla="*/ 847649 h 1599834"/>
                    <a:gd name="connsiteX673" fmla="*/ 1788018 w 2298253"/>
                    <a:gd name="connsiteY673" fmla="*/ 859719 h 1599834"/>
                    <a:gd name="connsiteX674" fmla="*/ 1795150 w 2298253"/>
                    <a:gd name="connsiteY674" fmla="*/ 860267 h 1599834"/>
                    <a:gd name="connsiteX675" fmla="*/ 1800088 w 2298253"/>
                    <a:gd name="connsiteY675" fmla="*/ 865754 h 1599834"/>
                    <a:gd name="connsiteX676" fmla="*/ 1813804 w 2298253"/>
                    <a:gd name="connsiteY676" fmla="*/ 865205 h 1599834"/>
                    <a:gd name="connsiteX677" fmla="*/ 1819839 w 2298253"/>
                    <a:gd name="connsiteY677" fmla="*/ 861913 h 1599834"/>
                    <a:gd name="connsiteX678" fmla="*/ 1828617 w 2298253"/>
                    <a:gd name="connsiteY678" fmla="*/ 865754 h 1599834"/>
                    <a:gd name="connsiteX679" fmla="*/ 1837396 w 2298253"/>
                    <a:gd name="connsiteY679" fmla="*/ 867400 h 1599834"/>
                    <a:gd name="connsiteX680" fmla="*/ 1840139 w 2298253"/>
                    <a:gd name="connsiteY680" fmla="*/ 868497 h 1599834"/>
                    <a:gd name="connsiteX681" fmla="*/ 1837944 w 2298253"/>
                    <a:gd name="connsiteY681" fmla="*/ 877824 h 1599834"/>
                    <a:gd name="connsiteX682" fmla="*/ 1834652 w 2298253"/>
                    <a:gd name="connsiteY682" fmla="*/ 883859 h 1599834"/>
                    <a:gd name="connsiteX683" fmla="*/ 1834652 w 2298253"/>
                    <a:gd name="connsiteY683" fmla="*/ 886602 h 1599834"/>
                    <a:gd name="connsiteX684" fmla="*/ 1828069 w 2298253"/>
                    <a:gd name="connsiteY684" fmla="*/ 894832 h 1599834"/>
                    <a:gd name="connsiteX685" fmla="*/ 1825325 w 2298253"/>
                    <a:gd name="connsiteY685" fmla="*/ 892637 h 1599834"/>
                    <a:gd name="connsiteX686" fmla="*/ 1822582 w 2298253"/>
                    <a:gd name="connsiteY686" fmla="*/ 886054 h 1599834"/>
                    <a:gd name="connsiteX687" fmla="*/ 1818742 w 2298253"/>
                    <a:gd name="connsiteY687" fmla="*/ 888797 h 1599834"/>
                    <a:gd name="connsiteX688" fmla="*/ 1814353 w 2298253"/>
                    <a:gd name="connsiteY688" fmla="*/ 887151 h 1599834"/>
                    <a:gd name="connsiteX689" fmla="*/ 1809415 w 2298253"/>
                    <a:gd name="connsiteY689" fmla="*/ 890991 h 1599834"/>
                    <a:gd name="connsiteX690" fmla="*/ 1805026 w 2298253"/>
                    <a:gd name="connsiteY690" fmla="*/ 897575 h 1599834"/>
                    <a:gd name="connsiteX691" fmla="*/ 1790212 w 2298253"/>
                    <a:gd name="connsiteY691" fmla="*/ 899221 h 1599834"/>
                    <a:gd name="connsiteX692" fmla="*/ 1781983 w 2298253"/>
                    <a:gd name="connsiteY692" fmla="*/ 904159 h 1599834"/>
                    <a:gd name="connsiteX693" fmla="*/ 1773753 w 2298253"/>
                    <a:gd name="connsiteY693" fmla="*/ 904159 h 1599834"/>
                    <a:gd name="connsiteX694" fmla="*/ 1775399 w 2298253"/>
                    <a:gd name="connsiteY694" fmla="*/ 912937 h 1599834"/>
                    <a:gd name="connsiteX695" fmla="*/ 1773753 w 2298253"/>
                    <a:gd name="connsiteY695" fmla="*/ 912937 h 1599834"/>
                    <a:gd name="connsiteX696" fmla="*/ 1769913 w 2298253"/>
                    <a:gd name="connsiteY696" fmla="*/ 916777 h 1599834"/>
                    <a:gd name="connsiteX697" fmla="*/ 1764975 w 2298253"/>
                    <a:gd name="connsiteY697" fmla="*/ 927750 h 1599834"/>
                    <a:gd name="connsiteX698" fmla="*/ 1757843 w 2298253"/>
                    <a:gd name="connsiteY698" fmla="*/ 928847 h 1599834"/>
                    <a:gd name="connsiteX699" fmla="*/ 1756197 w 2298253"/>
                    <a:gd name="connsiteY699" fmla="*/ 921715 h 1599834"/>
                    <a:gd name="connsiteX700" fmla="*/ 1749613 w 2298253"/>
                    <a:gd name="connsiteY700" fmla="*/ 921715 h 1599834"/>
                    <a:gd name="connsiteX701" fmla="*/ 1744675 w 2298253"/>
                    <a:gd name="connsiteY701" fmla="*/ 927202 h 1599834"/>
                    <a:gd name="connsiteX702" fmla="*/ 1750162 w 2298253"/>
                    <a:gd name="connsiteY702" fmla="*/ 933237 h 1599834"/>
                    <a:gd name="connsiteX703" fmla="*/ 1741932 w 2298253"/>
                    <a:gd name="connsiteY703" fmla="*/ 945307 h 1599834"/>
                    <a:gd name="connsiteX704" fmla="*/ 1729862 w 2298253"/>
                    <a:gd name="connsiteY704" fmla="*/ 952439 h 1599834"/>
                    <a:gd name="connsiteX705" fmla="*/ 1712305 w 2298253"/>
                    <a:gd name="connsiteY705" fmla="*/ 984260 h 1599834"/>
                    <a:gd name="connsiteX706" fmla="*/ 1713403 w 2298253"/>
                    <a:gd name="connsiteY706" fmla="*/ 990295 h 1599834"/>
                    <a:gd name="connsiteX707" fmla="*/ 1750162 w 2298253"/>
                    <a:gd name="connsiteY707" fmla="*/ 1008949 h 1599834"/>
                    <a:gd name="connsiteX708" fmla="*/ 1754551 w 2298253"/>
                    <a:gd name="connsiteY708" fmla="*/ 1014984 h 1599834"/>
                    <a:gd name="connsiteX709" fmla="*/ 1757843 w 2298253"/>
                    <a:gd name="connsiteY709" fmla="*/ 1026505 h 1599834"/>
                    <a:gd name="connsiteX710" fmla="*/ 1762780 w 2298253"/>
                    <a:gd name="connsiteY710" fmla="*/ 1033089 h 1599834"/>
                    <a:gd name="connsiteX711" fmla="*/ 1776496 w 2298253"/>
                    <a:gd name="connsiteY711" fmla="*/ 1081369 h 1599834"/>
                    <a:gd name="connsiteX712" fmla="*/ 1782532 w 2298253"/>
                    <a:gd name="connsiteY712" fmla="*/ 1090148 h 1599834"/>
                    <a:gd name="connsiteX713" fmla="*/ 1791310 w 2298253"/>
                    <a:gd name="connsiteY713" fmla="*/ 1094537 h 1599834"/>
                    <a:gd name="connsiteX714" fmla="*/ 1792407 w 2298253"/>
                    <a:gd name="connsiteY714" fmla="*/ 1101669 h 1599834"/>
                    <a:gd name="connsiteX715" fmla="*/ 1812158 w 2298253"/>
                    <a:gd name="connsiteY715" fmla="*/ 1125261 h 1599834"/>
                    <a:gd name="connsiteX716" fmla="*/ 1812158 w 2298253"/>
                    <a:gd name="connsiteY716" fmla="*/ 1127455 h 1599834"/>
                    <a:gd name="connsiteX717" fmla="*/ 1789664 w 2298253"/>
                    <a:gd name="connsiteY717" fmla="*/ 1118677 h 1599834"/>
                    <a:gd name="connsiteX718" fmla="*/ 1781983 w 2298253"/>
                    <a:gd name="connsiteY718" fmla="*/ 1118128 h 1599834"/>
                    <a:gd name="connsiteX719" fmla="*/ 1764426 w 2298253"/>
                    <a:gd name="connsiteY719" fmla="*/ 1109350 h 1599834"/>
                    <a:gd name="connsiteX720" fmla="*/ 1746321 w 2298253"/>
                    <a:gd name="connsiteY720" fmla="*/ 1113190 h 1599834"/>
                    <a:gd name="connsiteX721" fmla="*/ 1746321 w 2298253"/>
                    <a:gd name="connsiteY721" fmla="*/ 1117580 h 1599834"/>
                    <a:gd name="connsiteX722" fmla="*/ 1763878 w 2298253"/>
                    <a:gd name="connsiteY722" fmla="*/ 1113739 h 1599834"/>
                    <a:gd name="connsiteX723" fmla="*/ 1767169 w 2298253"/>
                    <a:gd name="connsiteY723" fmla="*/ 1116482 h 1599834"/>
                    <a:gd name="connsiteX724" fmla="*/ 1769364 w 2298253"/>
                    <a:gd name="connsiteY724" fmla="*/ 1121420 h 1599834"/>
                    <a:gd name="connsiteX725" fmla="*/ 1776496 w 2298253"/>
                    <a:gd name="connsiteY725" fmla="*/ 1122517 h 1599834"/>
                    <a:gd name="connsiteX726" fmla="*/ 1785275 w 2298253"/>
                    <a:gd name="connsiteY726" fmla="*/ 1128004 h 1599834"/>
                    <a:gd name="connsiteX727" fmla="*/ 1792407 w 2298253"/>
                    <a:gd name="connsiteY727" fmla="*/ 1136233 h 1599834"/>
                    <a:gd name="connsiteX728" fmla="*/ 1801734 w 2298253"/>
                    <a:gd name="connsiteY728" fmla="*/ 1141720 h 1599834"/>
                    <a:gd name="connsiteX729" fmla="*/ 1812707 w 2298253"/>
                    <a:gd name="connsiteY729" fmla="*/ 1158179 h 1599834"/>
                    <a:gd name="connsiteX730" fmla="*/ 1812158 w 2298253"/>
                    <a:gd name="connsiteY730" fmla="*/ 1160922 h 1599834"/>
                    <a:gd name="connsiteX731" fmla="*/ 1802283 w 2298253"/>
                    <a:gd name="connsiteY731" fmla="*/ 1161471 h 1599834"/>
                    <a:gd name="connsiteX732" fmla="*/ 1795699 w 2298253"/>
                    <a:gd name="connsiteY732" fmla="*/ 1168603 h 1599834"/>
                    <a:gd name="connsiteX733" fmla="*/ 1782532 w 2298253"/>
                    <a:gd name="connsiteY733" fmla="*/ 1174638 h 1599834"/>
                    <a:gd name="connsiteX734" fmla="*/ 1780337 w 2298253"/>
                    <a:gd name="connsiteY734" fmla="*/ 1177930 h 1599834"/>
                    <a:gd name="connsiteX735" fmla="*/ 1772107 w 2298253"/>
                    <a:gd name="connsiteY735" fmla="*/ 1182868 h 1599834"/>
                    <a:gd name="connsiteX736" fmla="*/ 1754002 w 2298253"/>
                    <a:gd name="connsiteY736" fmla="*/ 1184514 h 1599834"/>
                    <a:gd name="connsiteX737" fmla="*/ 1746870 w 2298253"/>
                    <a:gd name="connsiteY737" fmla="*/ 1188354 h 1599834"/>
                    <a:gd name="connsiteX738" fmla="*/ 1754551 w 2298253"/>
                    <a:gd name="connsiteY738" fmla="*/ 1187257 h 1599834"/>
                    <a:gd name="connsiteX739" fmla="*/ 1771010 w 2298253"/>
                    <a:gd name="connsiteY739" fmla="*/ 1193292 h 1599834"/>
                    <a:gd name="connsiteX740" fmla="*/ 1785275 w 2298253"/>
                    <a:gd name="connsiteY740" fmla="*/ 1187257 h 1599834"/>
                    <a:gd name="connsiteX741" fmla="*/ 1790761 w 2298253"/>
                    <a:gd name="connsiteY741" fmla="*/ 1188903 h 1599834"/>
                    <a:gd name="connsiteX742" fmla="*/ 1796796 w 2298253"/>
                    <a:gd name="connsiteY742" fmla="*/ 1194389 h 1599834"/>
                    <a:gd name="connsiteX743" fmla="*/ 1798991 w 2298253"/>
                    <a:gd name="connsiteY743" fmla="*/ 1198230 h 1599834"/>
                    <a:gd name="connsiteX744" fmla="*/ 1807769 w 2298253"/>
                    <a:gd name="connsiteY744" fmla="*/ 1202619 h 1599834"/>
                    <a:gd name="connsiteX745" fmla="*/ 1813255 w 2298253"/>
                    <a:gd name="connsiteY745" fmla="*/ 1202619 h 1599834"/>
                    <a:gd name="connsiteX746" fmla="*/ 1816547 w 2298253"/>
                    <a:gd name="connsiteY746" fmla="*/ 1203716 h 1599834"/>
                    <a:gd name="connsiteX747" fmla="*/ 1796248 w 2298253"/>
                    <a:gd name="connsiteY747" fmla="*/ 1220724 h 1599834"/>
                    <a:gd name="connsiteX748" fmla="*/ 1798991 w 2298253"/>
                    <a:gd name="connsiteY748" fmla="*/ 1220724 h 1599834"/>
                    <a:gd name="connsiteX749" fmla="*/ 1809415 w 2298253"/>
                    <a:gd name="connsiteY749" fmla="*/ 1215786 h 1599834"/>
                    <a:gd name="connsiteX750" fmla="*/ 1808866 w 2298253"/>
                    <a:gd name="connsiteY750" fmla="*/ 1231697 h 1599834"/>
                    <a:gd name="connsiteX751" fmla="*/ 1807769 w 2298253"/>
                    <a:gd name="connsiteY751" fmla="*/ 1229502 h 1599834"/>
                    <a:gd name="connsiteX752" fmla="*/ 1803928 w 2298253"/>
                    <a:gd name="connsiteY752" fmla="*/ 1231697 h 1599834"/>
                    <a:gd name="connsiteX753" fmla="*/ 1796248 w 2298253"/>
                    <a:gd name="connsiteY753" fmla="*/ 1233891 h 1599834"/>
                    <a:gd name="connsiteX754" fmla="*/ 1795699 w 2298253"/>
                    <a:gd name="connsiteY754" fmla="*/ 1236086 h 1599834"/>
                    <a:gd name="connsiteX755" fmla="*/ 1799539 w 2298253"/>
                    <a:gd name="connsiteY755" fmla="*/ 1243218 h 1599834"/>
                    <a:gd name="connsiteX756" fmla="*/ 1797893 w 2298253"/>
                    <a:gd name="connsiteY756" fmla="*/ 1252545 h 1599834"/>
                    <a:gd name="connsiteX757" fmla="*/ 1795150 w 2298253"/>
                    <a:gd name="connsiteY757" fmla="*/ 1255288 h 1599834"/>
                    <a:gd name="connsiteX758" fmla="*/ 1795699 w 2298253"/>
                    <a:gd name="connsiteY758" fmla="*/ 1267358 h 1599834"/>
                    <a:gd name="connsiteX759" fmla="*/ 1790761 w 2298253"/>
                    <a:gd name="connsiteY759" fmla="*/ 1277234 h 1599834"/>
                    <a:gd name="connsiteX760" fmla="*/ 1788018 w 2298253"/>
                    <a:gd name="connsiteY760" fmla="*/ 1275588 h 1599834"/>
                    <a:gd name="connsiteX761" fmla="*/ 1784726 w 2298253"/>
                    <a:gd name="connsiteY761" fmla="*/ 1271199 h 1599834"/>
                    <a:gd name="connsiteX762" fmla="*/ 1780885 w 2298253"/>
                    <a:gd name="connsiteY762" fmla="*/ 1273942 h 1599834"/>
                    <a:gd name="connsiteX763" fmla="*/ 1761135 w 2298253"/>
                    <a:gd name="connsiteY763" fmla="*/ 1304117 h 1599834"/>
                    <a:gd name="connsiteX764" fmla="*/ 1760586 w 2298253"/>
                    <a:gd name="connsiteY764" fmla="*/ 1308506 h 1599834"/>
                    <a:gd name="connsiteX765" fmla="*/ 1753453 w 2298253"/>
                    <a:gd name="connsiteY765" fmla="*/ 1321674 h 1599834"/>
                    <a:gd name="connsiteX766" fmla="*/ 1743029 w 2298253"/>
                    <a:gd name="connsiteY766" fmla="*/ 1331001 h 1599834"/>
                    <a:gd name="connsiteX767" fmla="*/ 1741384 w 2298253"/>
                    <a:gd name="connsiteY767" fmla="*/ 1340876 h 1599834"/>
                    <a:gd name="connsiteX768" fmla="*/ 1736994 w 2298253"/>
                    <a:gd name="connsiteY768" fmla="*/ 1345265 h 1599834"/>
                    <a:gd name="connsiteX769" fmla="*/ 1735897 w 2298253"/>
                    <a:gd name="connsiteY769" fmla="*/ 1344168 h 1599834"/>
                    <a:gd name="connsiteX770" fmla="*/ 1734800 w 2298253"/>
                    <a:gd name="connsiteY770" fmla="*/ 1334293 h 1599834"/>
                    <a:gd name="connsiteX771" fmla="*/ 1729313 w 2298253"/>
                    <a:gd name="connsiteY771" fmla="*/ 1335390 h 1599834"/>
                    <a:gd name="connsiteX772" fmla="*/ 1723827 w 2298253"/>
                    <a:gd name="connsiteY772" fmla="*/ 1339779 h 1599834"/>
                    <a:gd name="connsiteX773" fmla="*/ 1729862 w 2298253"/>
                    <a:gd name="connsiteY773" fmla="*/ 1351300 h 1599834"/>
                    <a:gd name="connsiteX774" fmla="*/ 1729862 w 2298253"/>
                    <a:gd name="connsiteY774" fmla="*/ 1354044 h 1599834"/>
                    <a:gd name="connsiteX775" fmla="*/ 1726021 w 2298253"/>
                    <a:gd name="connsiteY775" fmla="*/ 1364468 h 1599834"/>
                    <a:gd name="connsiteX776" fmla="*/ 1726021 w 2298253"/>
                    <a:gd name="connsiteY776" fmla="*/ 1368308 h 1599834"/>
                    <a:gd name="connsiteX777" fmla="*/ 1723278 w 2298253"/>
                    <a:gd name="connsiteY777" fmla="*/ 1376538 h 1599834"/>
                    <a:gd name="connsiteX778" fmla="*/ 1721632 w 2298253"/>
                    <a:gd name="connsiteY778" fmla="*/ 1378732 h 1599834"/>
                    <a:gd name="connsiteX779" fmla="*/ 1719438 w 2298253"/>
                    <a:gd name="connsiteY779" fmla="*/ 1379281 h 1599834"/>
                    <a:gd name="connsiteX780" fmla="*/ 1718889 w 2298253"/>
                    <a:gd name="connsiteY780" fmla="*/ 1383670 h 1599834"/>
                    <a:gd name="connsiteX781" fmla="*/ 1720535 w 2298253"/>
                    <a:gd name="connsiteY781" fmla="*/ 1389157 h 1599834"/>
                    <a:gd name="connsiteX782" fmla="*/ 1718889 w 2298253"/>
                    <a:gd name="connsiteY782" fmla="*/ 1391351 h 1599834"/>
                    <a:gd name="connsiteX783" fmla="*/ 1716146 w 2298253"/>
                    <a:gd name="connsiteY783" fmla="*/ 1389705 h 1599834"/>
                    <a:gd name="connsiteX784" fmla="*/ 1711757 w 2298253"/>
                    <a:gd name="connsiteY784" fmla="*/ 1389157 h 1599834"/>
                    <a:gd name="connsiteX785" fmla="*/ 1709014 w 2298253"/>
                    <a:gd name="connsiteY785" fmla="*/ 1392997 h 1599834"/>
                    <a:gd name="connsiteX786" fmla="*/ 1710660 w 2298253"/>
                    <a:gd name="connsiteY786" fmla="*/ 1397935 h 1599834"/>
                    <a:gd name="connsiteX787" fmla="*/ 1707916 w 2298253"/>
                    <a:gd name="connsiteY787" fmla="*/ 1401226 h 1599834"/>
                    <a:gd name="connsiteX788" fmla="*/ 1705173 w 2298253"/>
                    <a:gd name="connsiteY788" fmla="*/ 1399581 h 1599834"/>
                    <a:gd name="connsiteX789" fmla="*/ 1700784 w 2298253"/>
                    <a:gd name="connsiteY789" fmla="*/ 1400678 h 1599834"/>
                    <a:gd name="connsiteX790" fmla="*/ 1696944 w 2298253"/>
                    <a:gd name="connsiteY790" fmla="*/ 1411102 h 1599834"/>
                    <a:gd name="connsiteX791" fmla="*/ 1692006 w 2298253"/>
                    <a:gd name="connsiteY791" fmla="*/ 1414394 h 1599834"/>
                    <a:gd name="connsiteX792" fmla="*/ 1690909 w 2298253"/>
                    <a:gd name="connsiteY792" fmla="*/ 1421526 h 1599834"/>
                    <a:gd name="connsiteX793" fmla="*/ 1687068 w 2298253"/>
                    <a:gd name="connsiteY793" fmla="*/ 1424818 h 1599834"/>
                    <a:gd name="connsiteX794" fmla="*/ 1675547 w 2298253"/>
                    <a:gd name="connsiteY794" fmla="*/ 1427013 h 1599834"/>
                    <a:gd name="connsiteX795" fmla="*/ 1670060 w 2298253"/>
                    <a:gd name="connsiteY795" fmla="*/ 1425367 h 1599834"/>
                    <a:gd name="connsiteX796" fmla="*/ 1665123 w 2298253"/>
                    <a:gd name="connsiteY796" fmla="*/ 1430305 h 1599834"/>
                    <a:gd name="connsiteX797" fmla="*/ 1665123 w 2298253"/>
                    <a:gd name="connsiteY797" fmla="*/ 1431950 h 1599834"/>
                    <a:gd name="connsiteX798" fmla="*/ 1667866 w 2298253"/>
                    <a:gd name="connsiteY798" fmla="*/ 1435791 h 1599834"/>
                    <a:gd name="connsiteX799" fmla="*/ 1665123 w 2298253"/>
                    <a:gd name="connsiteY799" fmla="*/ 1442374 h 1599834"/>
                    <a:gd name="connsiteX800" fmla="*/ 1655796 w 2298253"/>
                    <a:gd name="connsiteY800" fmla="*/ 1451153 h 1599834"/>
                    <a:gd name="connsiteX801" fmla="*/ 1652504 w 2298253"/>
                    <a:gd name="connsiteY801" fmla="*/ 1451153 h 1599834"/>
                    <a:gd name="connsiteX802" fmla="*/ 1650309 w 2298253"/>
                    <a:gd name="connsiteY802" fmla="*/ 1459382 h 1599834"/>
                    <a:gd name="connsiteX803" fmla="*/ 1648663 w 2298253"/>
                    <a:gd name="connsiteY803" fmla="*/ 1453896 h 1599834"/>
                    <a:gd name="connsiteX804" fmla="*/ 1644823 w 2298253"/>
                    <a:gd name="connsiteY804" fmla="*/ 1457188 h 1599834"/>
                    <a:gd name="connsiteX805" fmla="*/ 1644274 w 2298253"/>
                    <a:gd name="connsiteY805" fmla="*/ 1462674 h 1599834"/>
                    <a:gd name="connsiteX806" fmla="*/ 1641531 w 2298253"/>
                    <a:gd name="connsiteY806" fmla="*/ 1461028 h 1599834"/>
                    <a:gd name="connsiteX807" fmla="*/ 1639336 w 2298253"/>
                    <a:gd name="connsiteY807" fmla="*/ 1461028 h 1599834"/>
                    <a:gd name="connsiteX808" fmla="*/ 1632753 w 2298253"/>
                    <a:gd name="connsiteY808" fmla="*/ 1466515 h 1599834"/>
                    <a:gd name="connsiteX809" fmla="*/ 1630009 w 2298253"/>
                    <a:gd name="connsiteY809" fmla="*/ 1465417 h 1599834"/>
                    <a:gd name="connsiteX810" fmla="*/ 1625072 w 2298253"/>
                    <a:gd name="connsiteY810" fmla="*/ 1467063 h 1599834"/>
                    <a:gd name="connsiteX811" fmla="*/ 1611356 w 2298253"/>
                    <a:gd name="connsiteY811" fmla="*/ 1486814 h 1599834"/>
                    <a:gd name="connsiteX812" fmla="*/ 1586118 w 2298253"/>
                    <a:gd name="connsiteY812" fmla="*/ 1498885 h 1599834"/>
                    <a:gd name="connsiteX813" fmla="*/ 1576792 w 2298253"/>
                    <a:gd name="connsiteY813" fmla="*/ 1496141 h 1599834"/>
                    <a:gd name="connsiteX814" fmla="*/ 1574048 w 2298253"/>
                    <a:gd name="connsiteY814" fmla="*/ 1498885 h 1599834"/>
                    <a:gd name="connsiteX815" fmla="*/ 1573500 w 2298253"/>
                    <a:gd name="connsiteY815" fmla="*/ 1502176 h 1599834"/>
                    <a:gd name="connsiteX816" fmla="*/ 1568562 w 2298253"/>
                    <a:gd name="connsiteY816" fmla="*/ 1503274 h 1599834"/>
                    <a:gd name="connsiteX817" fmla="*/ 1565270 w 2298253"/>
                    <a:gd name="connsiteY817" fmla="*/ 1501628 h 1599834"/>
                    <a:gd name="connsiteX818" fmla="*/ 1564721 w 2298253"/>
                    <a:gd name="connsiteY818" fmla="*/ 1498336 h 1599834"/>
                    <a:gd name="connsiteX819" fmla="*/ 1559235 w 2298253"/>
                    <a:gd name="connsiteY819" fmla="*/ 1496141 h 1599834"/>
                    <a:gd name="connsiteX820" fmla="*/ 1553200 w 2298253"/>
                    <a:gd name="connsiteY820" fmla="*/ 1500530 h 1599834"/>
                    <a:gd name="connsiteX821" fmla="*/ 1549360 w 2298253"/>
                    <a:gd name="connsiteY821" fmla="*/ 1506017 h 1599834"/>
                    <a:gd name="connsiteX822" fmla="*/ 1544422 w 2298253"/>
                    <a:gd name="connsiteY822" fmla="*/ 1506017 h 1599834"/>
                    <a:gd name="connsiteX823" fmla="*/ 1542776 w 2298253"/>
                    <a:gd name="connsiteY823" fmla="*/ 1502176 h 1599834"/>
                    <a:gd name="connsiteX824" fmla="*/ 1542776 w 2298253"/>
                    <a:gd name="connsiteY824" fmla="*/ 1498885 h 1599834"/>
                    <a:gd name="connsiteX825" fmla="*/ 1536741 w 2298253"/>
                    <a:gd name="connsiteY825" fmla="*/ 1501079 h 1599834"/>
                    <a:gd name="connsiteX826" fmla="*/ 1536741 w 2298253"/>
                    <a:gd name="connsiteY826" fmla="*/ 1508211 h 1599834"/>
                    <a:gd name="connsiteX827" fmla="*/ 1536192 w 2298253"/>
                    <a:gd name="connsiteY827" fmla="*/ 1508760 h 15998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  <a:cxn ang="0">
                      <a:pos x="connsiteX328" y="connsiteY328"/>
                    </a:cxn>
                    <a:cxn ang="0">
                      <a:pos x="connsiteX329" y="connsiteY329"/>
                    </a:cxn>
                    <a:cxn ang="0">
                      <a:pos x="connsiteX330" y="connsiteY330"/>
                    </a:cxn>
                    <a:cxn ang="0">
                      <a:pos x="connsiteX331" y="connsiteY331"/>
                    </a:cxn>
                    <a:cxn ang="0">
                      <a:pos x="connsiteX332" y="connsiteY332"/>
                    </a:cxn>
                    <a:cxn ang="0">
                      <a:pos x="connsiteX333" y="connsiteY333"/>
                    </a:cxn>
                    <a:cxn ang="0">
                      <a:pos x="connsiteX334" y="connsiteY334"/>
                    </a:cxn>
                    <a:cxn ang="0">
                      <a:pos x="connsiteX335" y="connsiteY335"/>
                    </a:cxn>
                    <a:cxn ang="0">
                      <a:pos x="connsiteX336" y="connsiteY336"/>
                    </a:cxn>
                    <a:cxn ang="0">
                      <a:pos x="connsiteX337" y="connsiteY337"/>
                    </a:cxn>
                    <a:cxn ang="0">
                      <a:pos x="connsiteX338" y="connsiteY338"/>
                    </a:cxn>
                    <a:cxn ang="0">
                      <a:pos x="connsiteX339" y="connsiteY339"/>
                    </a:cxn>
                    <a:cxn ang="0">
                      <a:pos x="connsiteX340" y="connsiteY340"/>
                    </a:cxn>
                    <a:cxn ang="0">
                      <a:pos x="connsiteX341" y="connsiteY341"/>
                    </a:cxn>
                    <a:cxn ang="0">
                      <a:pos x="connsiteX342" y="connsiteY342"/>
                    </a:cxn>
                    <a:cxn ang="0">
                      <a:pos x="connsiteX343" y="connsiteY343"/>
                    </a:cxn>
                    <a:cxn ang="0">
                      <a:pos x="connsiteX344" y="connsiteY344"/>
                    </a:cxn>
                    <a:cxn ang="0">
                      <a:pos x="connsiteX345" y="connsiteY345"/>
                    </a:cxn>
                    <a:cxn ang="0">
                      <a:pos x="connsiteX346" y="connsiteY346"/>
                    </a:cxn>
                    <a:cxn ang="0">
                      <a:pos x="connsiteX347" y="connsiteY347"/>
                    </a:cxn>
                    <a:cxn ang="0">
                      <a:pos x="connsiteX348" y="connsiteY348"/>
                    </a:cxn>
                    <a:cxn ang="0">
                      <a:pos x="connsiteX349" y="connsiteY349"/>
                    </a:cxn>
                    <a:cxn ang="0">
                      <a:pos x="connsiteX350" y="connsiteY350"/>
                    </a:cxn>
                    <a:cxn ang="0">
                      <a:pos x="connsiteX351" y="connsiteY351"/>
                    </a:cxn>
                    <a:cxn ang="0">
                      <a:pos x="connsiteX352" y="connsiteY352"/>
                    </a:cxn>
                    <a:cxn ang="0">
                      <a:pos x="connsiteX353" y="connsiteY353"/>
                    </a:cxn>
                    <a:cxn ang="0">
                      <a:pos x="connsiteX354" y="connsiteY354"/>
                    </a:cxn>
                    <a:cxn ang="0">
                      <a:pos x="connsiteX355" y="connsiteY355"/>
                    </a:cxn>
                    <a:cxn ang="0">
                      <a:pos x="connsiteX356" y="connsiteY356"/>
                    </a:cxn>
                    <a:cxn ang="0">
                      <a:pos x="connsiteX357" y="connsiteY357"/>
                    </a:cxn>
                    <a:cxn ang="0">
                      <a:pos x="connsiteX358" y="connsiteY358"/>
                    </a:cxn>
                    <a:cxn ang="0">
                      <a:pos x="connsiteX359" y="connsiteY359"/>
                    </a:cxn>
                    <a:cxn ang="0">
                      <a:pos x="connsiteX360" y="connsiteY360"/>
                    </a:cxn>
                    <a:cxn ang="0">
                      <a:pos x="connsiteX361" y="connsiteY361"/>
                    </a:cxn>
                    <a:cxn ang="0">
                      <a:pos x="connsiteX362" y="connsiteY362"/>
                    </a:cxn>
                    <a:cxn ang="0">
                      <a:pos x="connsiteX363" y="connsiteY363"/>
                    </a:cxn>
                    <a:cxn ang="0">
                      <a:pos x="connsiteX364" y="connsiteY364"/>
                    </a:cxn>
                    <a:cxn ang="0">
                      <a:pos x="connsiteX365" y="connsiteY365"/>
                    </a:cxn>
                    <a:cxn ang="0">
                      <a:pos x="connsiteX366" y="connsiteY366"/>
                    </a:cxn>
                    <a:cxn ang="0">
                      <a:pos x="connsiteX367" y="connsiteY367"/>
                    </a:cxn>
                    <a:cxn ang="0">
                      <a:pos x="connsiteX368" y="connsiteY368"/>
                    </a:cxn>
                    <a:cxn ang="0">
                      <a:pos x="connsiteX369" y="connsiteY369"/>
                    </a:cxn>
                    <a:cxn ang="0">
                      <a:pos x="connsiteX370" y="connsiteY370"/>
                    </a:cxn>
                    <a:cxn ang="0">
                      <a:pos x="connsiteX371" y="connsiteY371"/>
                    </a:cxn>
                    <a:cxn ang="0">
                      <a:pos x="connsiteX372" y="connsiteY372"/>
                    </a:cxn>
                    <a:cxn ang="0">
                      <a:pos x="connsiteX373" y="connsiteY373"/>
                    </a:cxn>
                    <a:cxn ang="0">
                      <a:pos x="connsiteX374" y="connsiteY374"/>
                    </a:cxn>
                    <a:cxn ang="0">
                      <a:pos x="connsiteX375" y="connsiteY375"/>
                    </a:cxn>
                    <a:cxn ang="0">
                      <a:pos x="connsiteX376" y="connsiteY376"/>
                    </a:cxn>
                    <a:cxn ang="0">
                      <a:pos x="connsiteX377" y="connsiteY377"/>
                    </a:cxn>
                    <a:cxn ang="0">
                      <a:pos x="connsiteX378" y="connsiteY378"/>
                    </a:cxn>
                    <a:cxn ang="0">
                      <a:pos x="connsiteX379" y="connsiteY379"/>
                    </a:cxn>
                    <a:cxn ang="0">
                      <a:pos x="connsiteX380" y="connsiteY380"/>
                    </a:cxn>
                    <a:cxn ang="0">
                      <a:pos x="connsiteX381" y="connsiteY381"/>
                    </a:cxn>
                    <a:cxn ang="0">
                      <a:pos x="connsiteX382" y="connsiteY382"/>
                    </a:cxn>
                    <a:cxn ang="0">
                      <a:pos x="connsiteX383" y="connsiteY383"/>
                    </a:cxn>
                    <a:cxn ang="0">
                      <a:pos x="connsiteX384" y="connsiteY384"/>
                    </a:cxn>
                    <a:cxn ang="0">
                      <a:pos x="connsiteX385" y="connsiteY385"/>
                    </a:cxn>
                    <a:cxn ang="0">
                      <a:pos x="connsiteX386" y="connsiteY386"/>
                    </a:cxn>
                    <a:cxn ang="0">
                      <a:pos x="connsiteX387" y="connsiteY387"/>
                    </a:cxn>
                    <a:cxn ang="0">
                      <a:pos x="connsiteX388" y="connsiteY388"/>
                    </a:cxn>
                    <a:cxn ang="0">
                      <a:pos x="connsiteX389" y="connsiteY389"/>
                    </a:cxn>
                    <a:cxn ang="0">
                      <a:pos x="connsiteX390" y="connsiteY390"/>
                    </a:cxn>
                    <a:cxn ang="0">
                      <a:pos x="connsiteX391" y="connsiteY391"/>
                    </a:cxn>
                    <a:cxn ang="0">
                      <a:pos x="connsiteX392" y="connsiteY392"/>
                    </a:cxn>
                    <a:cxn ang="0">
                      <a:pos x="connsiteX393" y="connsiteY393"/>
                    </a:cxn>
                    <a:cxn ang="0">
                      <a:pos x="connsiteX394" y="connsiteY394"/>
                    </a:cxn>
                    <a:cxn ang="0">
                      <a:pos x="connsiteX395" y="connsiteY395"/>
                    </a:cxn>
                    <a:cxn ang="0">
                      <a:pos x="connsiteX396" y="connsiteY396"/>
                    </a:cxn>
                    <a:cxn ang="0">
                      <a:pos x="connsiteX397" y="connsiteY397"/>
                    </a:cxn>
                    <a:cxn ang="0">
                      <a:pos x="connsiteX398" y="connsiteY398"/>
                    </a:cxn>
                    <a:cxn ang="0">
                      <a:pos x="connsiteX399" y="connsiteY399"/>
                    </a:cxn>
                    <a:cxn ang="0">
                      <a:pos x="connsiteX400" y="connsiteY400"/>
                    </a:cxn>
                    <a:cxn ang="0">
                      <a:pos x="connsiteX401" y="connsiteY401"/>
                    </a:cxn>
                    <a:cxn ang="0">
                      <a:pos x="connsiteX402" y="connsiteY402"/>
                    </a:cxn>
                    <a:cxn ang="0">
                      <a:pos x="connsiteX403" y="connsiteY403"/>
                    </a:cxn>
                    <a:cxn ang="0">
                      <a:pos x="connsiteX404" y="connsiteY404"/>
                    </a:cxn>
                    <a:cxn ang="0">
                      <a:pos x="connsiteX405" y="connsiteY405"/>
                    </a:cxn>
                    <a:cxn ang="0">
                      <a:pos x="connsiteX406" y="connsiteY406"/>
                    </a:cxn>
                    <a:cxn ang="0">
                      <a:pos x="connsiteX407" y="connsiteY407"/>
                    </a:cxn>
                    <a:cxn ang="0">
                      <a:pos x="connsiteX408" y="connsiteY408"/>
                    </a:cxn>
                    <a:cxn ang="0">
                      <a:pos x="connsiteX409" y="connsiteY409"/>
                    </a:cxn>
                    <a:cxn ang="0">
                      <a:pos x="connsiteX410" y="connsiteY410"/>
                    </a:cxn>
                    <a:cxn ang="0">
                      <a:pos x="connsiteX411" y="connsiteY411"/>
                    </a:cxn>
                    <a:cxn ang="0">
                      <a:pos x="connsiteX412" y="connsiteY412"/>
                    </a:cxn>
                    <a:cxn ang="0">
                      <a:pos x="connsiteX413" y="connsiteY413"/>
                    </a:cxn>
                    <a:cxn ang="0">
                      <a:pos x="connsiteX414" y="connsiteY414"/>
                    </a:cxn>
                    <a:cxn ang="0">
                      <a:pos x="connsiteX415" y="connsiteY415"/>
                    </a:cxn>
                    <a:cxn ang="0">
                      <a:pos x="connsiteX416" y="connsiteY416"/>
                    </a:cxn>
                    <a:cxn ang="0">
                      <a:pos x="connsiteX417" y="connsiteY417"/>
                    </a:cxn>
                    <a:cxn ang="0">
                      <a:pos x="connsiteX418" y="connsiteY418"/>
                    </a:cxn>
                    <a:cxn ang="0">
                      <a:pos x="connsiteX419" y="connsiteY419"/>
                    </a:cxn>
                    <a:cxn ang="0">
                      <a:pos x="connsiteX420" y="connsiteY420"/>
                    </a:cxn>
                    <a:cxn ang="0">
                      <a:pos x="connsiteX421" y="connsiteY421"/>
                    </a:cxn>
                    <a:cxn ang="0">
                      <a:pos x="connsiteX422" y="connsiteY422"/>
                    </a:cxn>
                    <a:cxn ang="0">
                      <a:pos x="connsiteX423" y="connsiteY423"/>
                    </a:cxn>
                    <a:cxn ang="0">
                      <a:pos x="connsiteX424" y="connsiteY424"/>
                    </a:cxn>
                    <a:cxn ang="0">
                      <a:pos x="connsiteX425" y="connsiteY425"/>
                    </a:cxn>
                    <a:cxn ang="0">
                      <a:pos x="connsiteX426" y="connsiteY426"/>
                    </a:cxn>
                    <a:cxn ang="0">
                      <a:pos x="connsiteX427" y="connsiteY427"/>
                    </a:cxn>
                    <a:cxn ang="0">
                      <a:pos x="connsiteX428" y="connsiteY428"/>
                    </a:cxn>
                    <a:cxn ang="0">
                      <a:pos x="connsiteX429" y="connsiteY429"/>
                    </a:cxn>
                    <a:cxn ang="0">
                      <a:pos x="connsiteX430" y="connsiteY430"/>
                    </a:cxn>
                    <a:cxn ang="0">
                      <a:pos x="connsiteX431" y="connsiteY431"/>
                    </a:cxn>
                    <a:cxn ang="0">
                      <a:pos x="connsiteX432" y="connsiteY432"/>
                    </a:cxn>
                    <a:cxn ang="0">
                      <a:pos x="connsiteX433" y="connsiteY433"/>
                    </a:cxn>
                    <a:cxn ang="0">
                      <a:pos x="connsiteX434" y="connsiteY434"/>
                    </a:cxn>
                    <a:cxn ang="0">
                      <a:pos x="connsiteX435" y="connsiteY435"/>
                    </a:cxn>
                    <a:cxn ang="0">
                      <a:pos x="connsiteX436" y="connsiteY436"/>
                    </a:cxn>
                    <a:cxn ang="0">
                      <a:pos x="connsiteX437" y="connsiteY437"/>
                    </a:cxn>
                    <a:cxn ang="0">
                      <a:pos x="connsiteX438" y="connsiteY438"/>
                    </a:cxn>
                    <a:cxn ang="0">
                      <a:pos x="connsiteX439" y="connsiteY439"/>
                    </a:cxn>
                    <a:cxn ang="0">
                      <a:pos x="connsiteX440" y="connsiteY440"/>
                    </a:cxn>
                    <a:cxn ang="0">
                      <a:pos x="connsiteX441" y="connsiteY441"/>
                    </a:cxn>
                    <a:cxn ang="0">
                      <a:pos x="connsiteX442" y="connsiteY442"/>
                    </a:cxn>
                    <a:cxn ang="0">
                      <a:pos x="connsiteX443" y="connsiteY443"/>
                    </a:cxn>
                    <a:cxn ang="0">
                      <a:pos x="connsiteX444" y="connsiteY444"/>
                    </a:cxn>
                    <a:cxn ang="0">
                      <a:pos x="connsiteX445" y="connsiteY445"/>
                    </a:cxn>
                    <a:cxn ang="0">
                      <a:pos x="connsiteX446" y="connsiteY446"/>
                    </a:cxn>
                    <a:cxn ang="0">
                      <a:pos x="connsiteX447" y="connsiteY447"/>
                    </a:cxn>
                    <a:cxn ang="0">
                      <a:pos x="connsiteX448" y="connsiteY448"/>
                    </a:cxn>
                    <a:cxn ang="0">
                      <a:pos x="connsiteX449" y="connsiteY449"/>
                    </a:cxn>
                    <a:cxn ang="0">
                      <a:pos x="connsiteX450" y="connsiteY450"/>
                    </a:cxn>
                    <a:cxn ang="0">
                      <a:pos x="connsiteX451" y="connsiteY451"/>
                    </a:cxn>
                    <a:cxn ang="0">
                      <a:pos x="connsiteX452" y="connsiteY452"/>
                    </a:cxn>
                    <a:cxn ang="0">
                      <a:pos x="connsiteX453" y="connsiteY453"/>
                    </a:cxn>
                    <a:cxn ang="0">
                      <a:pos x="connsiteX454" y="connsiteY454"/>
                    </a:cxn>
                    <a:cxn ang="0">
                      <a:pos x="connsiteX455" y="connsiteY455"/>
                    </a:cxn>
                    <a:cxn ang="0">
                      <a:pos x="connsiteX456" y="connsiteY456"/>
                    </a:cxn>
                    <a:cxn ang="0">
                      <a:pos x="connsiteX457" y="connsiteY457"/>
                    </a:cxn>
                    <a:cxn ang="0">
                      <a:pos x="connsiteX458" y="connsiteY458"/>
                    </a:cxn>
                    <a:cxn ang="0">
                      <a:pos x="connsiteX459" y="connsiteY459"/>
                    </a:cxn>
                    <a:cxn ang="0">
                      <a:pos x="connsiteX460" y="connsiteY460"/>
                    </a:cxn>
                    <a:cxn ang="0">
                      <a:pos x="connsiteX461" y="connsiteY461"/>
                    </a:cxn>
                    <a:cxn ang="0">
                      <a:pos x="connsiteX462" y="connsiteY462"/>
                    </a:cxn>
                    <a:cxn ang="0">
                      <a:pos x="connsiteX463" y="connsiteY463"/>
                    </a:cxn>
                    <a:cxn ang="0">
                      <a:pos x="connsiteX464" y="connsiteY464"/>
                    </a:cxn>
                    <a:cxn ang="0">
                      <a:pos x="connsiteX465" y="connsiteY465"/>
                    </a:cxn>
                    <a:cxn ang="0">
                      <a:pos x="connsiteX466" y="connsiteY466"/>
                    </a:cxn>
                    <a:cxn ang="0">
                      <a:pos x="connsiteX467" y="connsiteY467"/>
                    </a:cxn>
                    <a:cxn ang="0">
                      <a:pos x="connsiteX468" y="connsiteY468"/>
                    </a:cxn>
                    <a:cxn ang="0">
                      <a:pos x="connsiteX469" y="connsiteY469"/>
                    </a:cxn>
                    <a:cxn ang="0">
                      <a:pos x="connsiteX470" y="connsiteY470"/>
                    </a:cxn>
                    <a:cxn ang="0">
                      <a:pos x="connsiteX471" y="connsiteY471"/>
                    </a:cxn>
                    <a:cxn ang="0">
                      <a:pos x="connsiteX472" y="connsiteY472"/>
                    </a:cxn>
                    <a:cxn ang="0">
                      <a:pos x="connsiteX473" y="connsiteY473"/>
                    </a:cxn>
                    <a:cxn ang="0">
                      <a:pos x="connsiteX474" y="connsiteY474"/>
                    </a:cxn>
                    <a:cxn ang="0">
                      <a:pos x="connsiteX475" y="connsiteY475"/>
                    </a:cxn>
                    <a:cxn ang="0">
                      <a:pos x="connsiteX476" y="connsiteY476"/>
                    </a:cxn>
                    <a:cxn ang="0">
                      <a:pos x="connsiteX477" y="connsiteY477"/>
                    </a:cxn>
                    <a:cxn ang="0">
                      <a:pos x="connsiteX478" y="connsiteY478"/>
                    </a:cxn>
                    <a:cxn ang="0">
                      <a:pos x="connsiteX479" y="connsiteY479"/>
                    </a:cxn>
                    <a:cxn ang="0">
                      <a:pos x="connsiteX480" y="connsiteY480"/>
                    </a:cxn>
                    <a:cxn ang="0">
                      <a:pos x="connsiteX481" y="connsiteY481"/>
                    </a:cxn>
                    <a:cxn ang="0">
                      <a:pos x="connsiteX482" y="connsiteY482"/>
                    </a:cxn>
                    <a:cxn ang="0">
                      <a:pos x="connsiteX483" y="connsiteY483"/>
                    </a:cxn>
                    <a:cxn ang="0">
                      <a:pos x="connsiteX484" y="connsiteY484"/>
                    </a:cxn>
                    <a:cxn ang="0">
                      <a:pos x="connsiteX485" y="connsiteY485"/>
                    </a:cxn>
                    <a:cxn ang="0">
                      <a:pos x="connsiteX486" y="connsiteY486"/>
                    </a:cxn>
                    <a:cxn ang="0">
                      <a:pos x="connsiteX487" y="connsiteY487"/>
                    </a:cxn>
                    <a:cxn ang="0">
                      <a:pos x="connsiteX488" y="connsiteY488"/>
                    </a:cxn>
                    <a:cxn ang="0">
                      <a:pos x="connsiteX489" y="connsiteY489"/>
                    </a:cxn>
                    <a:cxn ang="0">
                      <a:pos x="connsiteX490" y="connsiteY490"/>
                    </a:cxn>
                    <a:cxn ang="0">
                      <a:pos x="connsiteX491" y="connsiteY491"/>
                    </a:cxn>
                    <a:cxn ang="0">
                      <a:pos x="connsiteX492" y="connsiteY492"/>
                    </a:cxn>
                    <a:cxn ang="0">
                      <a:pos x="connsiteX493" y="connsiteY493"/>
                    </a:cxn>
                    <a:cxn ang="0">
                      <a:pos x="connsiteX494" y="connsiteY494"/>
                    </a:cxn>
                    <a:cxn ang="0">
                      <a:pos x="connsiteX495" y="connsiteY495"/>
                    </a:cxn>
                    <a:cxn ang="0">
                      <a:pos x="connsiteX496" y="connsiteY496"/>
                    </a:cxn>
                    <a:cxn ang="0">
                      <a:pos x="connsiteX497" y="connsiteY497"/>
                    </a:cxn>
                    <a:cxn ang="0">
                      <a:pos x="connsiteX498" y="connsiteY498"/>
                    </a:cxn>
                    <a:cxn ang="0">
                      <a:pos x="connsiteX499" y="connsiteY499"/>
                    </a:cxn>
                    <a:cxn ang="0">
                      <a:pos x="connsiteX500" y="connsiteY500"/>
                    </a:cxn>
                    <a:cxn ang="0">
                      <a:pos x="connsiteX501" y="connsiteY501"/>
                    </a:cxn>
                    <a:cxn ang="0">
                      <a:pos x="connsiteX502" y="connsiteY502"/>
                    </a:cxn>
                    <a:cxn ang="0">
                      <a:pos x="connsiteX503" y="connsiteY503"/>
                    </a:cxn>
                    <a:cxn ang="0">
                      <a:pos x="connsiteX504" y="connsiteY504"/>
                    </a:cxn>
                    <a:cxn ang="0">
                      <a:pos x="connsiteX505" y="connsiteY505"/>
                    </a:cxn>
                    <a:cxn ang="0">
                      <a:pos x="connsiteX506" y="connsiteY506"/>
                    </a:cxn>
                    <a:cxn ang="0">
                      <a:pos x="connsiteX507" y="connsiteY507"/>
                    </a:cxn>
                    <a:cxn ang="0">
                      <a:pos x="connsiteX508" y="connsiteY508"/>
                    </a:cxn>
                    <a:cxn ang="0">
                      <a:pos x="connsiteX509" y="connsiteY509"/>
                    </a:cxn>
                    <a:cxn ang="0">
                      <a:pos x="connsiteX510" y="connsiteY510"/>
                    </a:cxn>
                    <a:cxn ang="0">
                      <a:pos x="connsiteX511" y="connsiteY511"/>
                    </a:cxn>
                    <a:cxn ang="0">
                      <a:pos x="connsiteX512" y="connsiteY512"/>
                    </a:cxn>
                    <a:cxn ang="0">
                      <a:pos x="connsiteX513" y="connsiteY513"/>
                    </a:cxn>
                    <a:cxn ang="0">
                      <a:pos x="connsiteX514" y="connsiteY514"/>
                    </a:cxn>
                    <a:cxn ang="0">
                      <a:pos x="connsiteX515" y="connsiteY515"/>
                    </a:cxn>
                    <a:cxn ang="0">
                      <a:pos x="connsiteX516" y="connsiteY516"/>
                    </a:cxn>
                    <a:cxn ang="0">
                      <a:pos x="connsiteX517" y="connsiteY517"/>
                    </a:cxn>
                    <a:cxn ang="0">
                      <a:pos x="connsiteX518" y="connsiteY518"/>
                    </a:cxn>
                    <a:cxn ang="0">
                      <a:pos x="connsiteX519" y="connsiteY519"/>
                    </a:cxn>
                    <a:cxn ang="0">
                      <a:pos x="connsiteX520" y="connsiteY520"/>
                    </a:cxn>
                    <a:cxn ang="0">
                      <a:pos x="connsiteX521" y="connsiteY521"/>
                    </a:cxn>
                    <a:cxn ang="0">
                      <a:pos x="connsiteX522" y="connsiteY522"/>
                    </a:cxn>
                    <a:cxn ang="0">
                      <a:pos x="connsiteX523" y="connsiteY523"/>
                    </a:cxn>
                    <a:cxn ang="0">
                      <a:pos x="connsiteX524" y="connsiteY524"/>
                    </a:cxn>
                    <a:cxn ang="0">
                      <a:pos x="connsiteX525" y="connsiteY525"/>
                    </a:cxn>
                    <a:cxn ang="0">
                      <a:pos x="connsiteX526" y="connsiteY526"/>
                    </a:cxn>
                    <a:cxn ang="0">
                      <a:pos x="connsiteX527" y="connsiteY527"/>
                    </a:cxn>
                    <a:cxn ang="0">
                      <a:pos x="connsiteX528" y="connsiteY528"/>
                    </a:cxn>
                    <a:cxn ang="0">
                      <a:pos x="connsiteX529" y="connsiteY529"/>
                    </a:cxn>
                    <a:cxn ang="0">
                      <a:pos x="connsiteX530" y="connsiteY530"/>
                    </a:cxn>
                    <a:cxn ang="0">
                      <a:pos x="connsiteX531" y="connsiteY531"/>
                    </a:cxn>
                    <a:cxn ang="0">
                      <a:pos x="connsiteX532" y="connsiteY532"/>
                    </a:cxn>
                    <a:cxn ang="0">
                      <a:pos x="connsiteX533" y="connsiteY533"/>
                    </a:cxn>
                    <a:cxn ang="0">
                      <a:pos x="connsiteX534" y="connsiteY534"/>
                    </a:cxn>
                    <a:cxn ang="0">
                      <a:pos x="connsiteX535" y="connsiteY535"/>
                    </a:cxn>
                    <a:cxn ang="0">
                      <a:pos x="connsiteX536" y="connsiteY536"/>
                    </a:cxn>
                    <a:cxn ang="0">
                      <a:pos x="connsiteX537" y="connsiteY537"/>
                    </a:cxn>
                    <a:cxn ang="0">
                      <a:pos x="connsiteX538" y="connsiteY538"/>
                    </a:cxn>
                    <a:cxn ang="0">
                      <a:pos x="connsiteX539" y="connsiteY539"/>
                    </a:cxn>
                    <a:cxn ang="0">
                      <a:pos x="connsiteX540" y="connsiteY540"/>
                    </a:cxn>
                    <a:cxn ang="0">
                      <a:pos x="connsiteX541" y="connsiteY541"/>
                    </a:cxn>
                    <a:cxn ang="0">
                      <a:pos x="connsiteX542" y="connsiteY542"/>
                    </a:cxn>
                    <a:cxn ang="0">
                      <a:pos x="connsiteX543" y="connsiteY543"/>
                    </a:cxn>
                    <a:cxn ang="0">
                      <a:pos x="connsiteX544" y="connsiteY544"/>
                    </a:cxn>
                    <a:cxn ang="0">
                      <a:pos x="connsiteX545" y="connsiteY545"/>
                    </a:cxn>
                    <a:cxn ang="0">
                      <a:pos x="connsiteX546" y="connsiteY546"/>
                    </a:cxn>
                    <a:cxn ang="0">
                      <a:pos x="connsiteX547" y="connsiteY547"/>
                    </a:cxn>
                    <a:cxn ang="0">
                      <a:pos x="connsiteX548" y="connsiteY548"/>
                    </a:cxn>
                    <a:cxn ang="0">
                      <a:pos x="connsiteX549" y="connsiteY549"/>
                    </a:cxn>
                    <a:cxn ang="0">
                      <a:pos x="connsiteX550" y="connsiteY550"/>
                    </a:cxn>
                    <a:cxn ang="0">
                      <a:pos x="connsiteX551" y="connsiteY551"/>
                    </a:cxn>
                    <a:cxn ang="0">
                      <a:pos x="connsiteX552" y="connsiteY552"/>
                    </a:cxn>
                    <a:cxn ang="0">
                      <a:pos x="connsiteX553" y="connsiteY553"/>
                    </a:cxn>
                    <a:cxn ang="0">
                      <a:pos x="connsiteX554" y="connsiteY554"/>
                    </a:cxn>
                    <a:cxn ang="0">
                      <a:pos x="connsiteX555" y="connsiteY555"/>
                    </a:cxn>
                    <a:cxn ang="0">
                      <a:pos x="connsiteX556" y="connsiteY556"/>
                    </a:cxn>
                    <a:cxn ang="0">
                      <a:pos x="connsiteX557" y="connsiteY557"/>
                    </a:cxn>
                    <a:cxn ang="0">
                      <a:pos x="connsiteX558" y="connsiteY558"/>
                    </a:cxn>
                    <a:cxn ang="0">
                      <a:pos x="connsiteX559" y="connsiteY559"/>
                    </a:cxn>
                    <a:cxn ang="0">
                      <a:pos x="connsiteX560" y="connsiteY560"/>
                    </a:cxn>
                    <a:cxn ang="0">
                      <a:pos x="connsiteX561" y="connsiteY561"/>
                    </a:cxn>
                    <a:cxn ang="0">
                      <a:pos x="connsiteX562" y="connsiteY562"/>
                    </a:cxn>
                    <a:cxn ang="0">
                      <a:pos x="connsiteX563" y="connsiteY563"/>
                    </a:cxn>
                    <a:cxn ang="0">
                      <a:pos x="connsiteX564" y="connsiteY564"/>
                    </a:cxn>
                    <a:cxn ang="0">
                      <a:pos x="connsiteX565" y="connsiteY565"/>
                    </a:cxn>
                    <a:cxn ang="0">
                      <a:pos x="connsiteX566" y="connsiteY566"/>
                    </a:cxn>
                    <a:cxn ang="0">
                      <a:pos x="connsiteX567" y="connsiteY567"/>
                    </a:cxn>
                    <a:cxn ang="0">
                      <a:pos x="connsiteX568" y="connsiteY568"/>
                    </a:cxn>
                    <a:cxn ang="0">
                      <a:pos x="connsiteX569" y="connsiteY569"/>
                    </a:cxn>
                    <a:cxn ang="0">
                      <a:pos x="connsiteX570" y="connsiteY570"/>
                    </a:cxn>
                    <a:cxn ang="0">
                      <a:pos x="connsiteX571" y="connsiteY571"/>
                    </a:cxn>
                    <a:cxn ang="0">
                      <a:pos x="connsiteX572" y="connsiteY572"/>
                    </a:cxn>
                    <a:cxn ang="0">
                      <a:pos x="connsiteX573" y="connsiteY573"/>
                    </a:cxn>
                    <a:cxn ang="0">
                      <a:pos x="connsiteX574" y="connsiteY574"/>
                    </a:cxn>
                    <a:cxn ang="0">
                      <a:pos x="connsiteX575" y="connsiteY575"/>
                    </a:cxn>
                    <a:cxn ang="0">
                      <a:pos x="connsiteX576" y="connsiteY576"/>
                    </a:cxn>
                    <a:cxn ang="0">
                      <a:pos x="connsiteX577" y="connsiteY577"/>
                    </a:cxn>
                    <a:cxn ang="0">
                      <a:pos x="connsiteX578" y="connsiteY578"/>
                    </a:cxn>
                    <a:cxn ang="0">
                      <a:pos x="connsiteX579" y="connsiteY579"/>
                    </a:cxn>
                    <a:cxn ang="0">
                      <a:pos x="connsiteX580" y="connsiteY580"/>
                    </a:cxn>
                    <a:cxn ang="0">
                      <a:pos x="connsiteX581" y="connsiteY581"/>
                    </a:cxn>
                    <a:cxn ang="0">
                      <a:pos x="connsiteX582" y="connsiteY582"/>
                    </a:cxn>
                    <a:cxn ang="0">
                      <a:pos x="connsiteX583" y="connsiteY583"/>
                    </a:cxn>
                    <a:cxn ang="0">
                      <a:pos x="connsiteX584" y="connsiteY584"/>
                    </a:cxn>
                    <a:cxn ang="0">
                      <a:pos x="connsiteX585" y="connsiteY585"/>
                    </a:cxn>
                    <a:cxn ang="0">
                      <a:pos x="connsiteX586" y="connsiteY586"/>
                    </a:cxn>
                    <a:cxn ang="0">
                      <a:pos x="connsiteX587" y="connsiteY587"/>
                    </a:cxn>
                    <a:cxn ang="0">
                      <a:pos x="connsiteX588" y="connsiteY588"/>
                    </a:cxn>
                    <a:cxn ang="0">
                      <a:pos x="connsiteX589" y="connsiteY589"/>
                    </a:cxn>
                    <a:cxn ang="0">
                      <a:pos x="connsiteX590" y="connsiteY590"/>
                    </a:cxn>
                    <a:cxn ang="0">
                      <a:pos x="connsiteX591" y="connsiteY591"/>
                    </a:cxn>
                    <a:cxn ang="0">
                      <a:pos x="connsiteX592" y="connsiteY592"/>
                    </a:cxn>
                    <a:cxn ang="0">
                      <a:pos x="connsiteX593" y="connsiteY593"/>
                    </a:cxn>
                    <a:cxn ang="0">
                      <a:pos x="connsiteX594" y="connsiteY594"/>
                    </a:cxn>
                    <a:cxn ang="0">
                      <a:pos x="connsiteX595" y="connsiteY595"/>
                    </a:cxn>
                    <a:cxn ang="0">
                      <a:pos x="connsiteX596" y="connsiteY596"/>
                    </a:cxn>
                    <a:cxn ang="0">
                      <a:pos x="connsiteX597" y="connsiteY597"/>
                    </a:cxn>
                    <a:cxn ang="0">
                      <a:pos x="connsiteX598" y="connsiteY598"/>
                    </a:cxn>
                    <a:cxn ang="0">
                      <a:pos x="connsiteX599" y="connsiteY599"/>
                    </a:cxn>
                    <a:cxn ang="0">
                      <a:pos x="connsiteX600" y="connsiteY600"/>
                    </a:cxn>
                    <a:cxn ang="0">
                      <a:pos x="connsiteX601" y="connsiteY601"/>
                    </a:cxn>
                    <a:cxn ang="0">
                      <a:pos x="connsiteX602" y="connsiteY602"/>
                    </a:cxn>
                    <a:cxn ang="0">
                      <a:pos x="connsiteX603" y="connsiteY603"/>
                    </a:cxn>
                    <a:cxn ang="0">
                      <a:pos x="connsiteX604" y="connsiteY604"/>
                    </a:cxn>
                    <a:cxn ang="0">
                      <a:pos x="connsiteX605" y="connsiteY605"/>
                    </a:cxn>
                    <a:cxn ang="0">
                      <a:pos x="connsiteX606" y="connsiteY606"/>
                    </a:cxn>
                    <a:cxn ang="0">
                      <a:pos x="connsiteX607" y="connsiteY607"/>
                    </a:cxn>
                    <a:cxn ang="0">
                      <a:pos x="connsiteX608" y="connsiteY608"/>
                    </a:cxn>
                    <a:cxn ang="0">
                      <a:pos x="connsiteX609" y="connsiteY609"/>
                    </a:cxn>
                    <a:cxn ang="0">
                      <a:pos x="connsiteX610" y="connsiteY610"/>
                    </a:cxn>
                    <a:cxn ang="0">
                      <a:pos x="connsiteX611" y="connsiteY611"/>
                    </a:cxn>
                    <a:cxn ang="0">
                      <a:pos x="connsiteX612" y="connsiteY612"/>
                    </a:cxn>
                    <a:cxn ang="0">
                      <a:pos x="connsiteX613" y="connsiteY613"/>
                    </a:cxn>
                    <a:cxn ang="0">
                      <a:pos x="connsiteX614" y="connsiteY614"/>
                    </a:cxn>
                    <a:cxn ang="0">
                      <a:pos x="connsiteX615" y="connsiteY615"/>
                    </a:cxn>
                    <a:cxn ang="0">
                      <a:pos x="connsiteX616" y="connsiteY616"/>
                    </a:cxn>
                    <a:cxn ang="0">
                      <a:pos x="connsiteX617" y="connsiteY617"/>
                    </a:cxn>
                    <a:cxn ang="0">
                      <a:pos x="connsiteX618" y="connsiteY618"/>
                    </a:cxn>
                    <a:cxn ang="0">
                      <a:pos x="connsiteX619" y="connsiteY619"/>
                    </a:cxn>
                    <a:cxn ang="0">
                      <a:pos x="connsiteX620" y="connsiteY620"/>
                    </a:cxn>
                    <a:cxn ang="0">
                      <a:pos x="connsiteX621" y="connsiteY621"/>
                    </a:cxn>
                    <a:cxn ang="0">
                      <a:pos x="connsiteX622" y="connsiteY622"/>
                    </a:cxn>
                    <a:cxn ang="0">
                      <a:pos x="connsiteX623" y="connsiteY623"/>
                    </a:cxn>
                    <a:cxn ang="0">
                      <a:pos x="connsiteX624" y="connsiteY624"/>
                    </a:cxn>
                    <a:cxn ang="0">
                      <a:pos x="connsiteX625" y="connsiteY625"/>
                    </a:cxn>
                    <a:cxn ang="0">
                      <a:pos x="connsiteX626" y="connsiteY626"/>
                    </a:cxn>
                    <a:cxn ang="0">
                      <a:pos x="connsiteX627" y="connsiteY627"/>
                    </a:cxn>
                    <a:cxn ang="0">
                      <a:pos x="connsiteX628" y="connsiteY628"/>
                    </a:cxn>
                    <a:cxn ang="0">
                      <a:pos x="connsiteX629" y="connsiteY629"/>
                    </a:cxn>
                    <a:cxn ang="0">
                      <a:pos x="connsiteX630" y="connsiteY630"/>
                    </a:cxn>
                    <a:cxn ang="0">
                      <a:pos x="connsiteX631" y="connsiteY631"/>
                    </a:cxn>
                    <a:cxn ang="0">
                      <a:pos x="connsiteX632" y="connsiteY632"/>
                    </a:cxn>
                    <a:cxn ang="0">
                      <a:pos x="connsiteX633" y="connsiteY633"/>
                    </a:cxn>
                    <a:cxn ang="0">
                      <a:pos x="connsiteX634" y="connsiteY634"/>
                    </a:cxn>
                    <a:cxn ang="0">
                      <a:pos x="connsiteX635" y="connsiteY635"/>
                    </a:cxn>
                    <a:cxn ang="0">
                      <a:pos x="connsiteX636" y="connsiteY636"/>
                    </a:cxn>
                    <a:cxn ang="0">
                      <a:pos x="connsiteX637" y="connsiteY637"/>
                    </a:cxn>
                    <a:cxn ang="0">
                      <a:pos x="connsiteX638" y="connsiteY638"/>
                    </a:cxn>
                    <a:cxn ang="0">
                      <a:pos x="connsiteX639" y="connsiteY639"/>
                    </a:cxn>
                    <a:cxn ang="0">
                      <a:pos x="connsiteX640" y="connsiteY640"/>
                    </a:cxn>
                    <a:cxn ang="0">
                      <a:pos x="connsiteX641" y="connsiteY641"/>
                    </a:cxn>
                    <a:cxn ang="0">
                      <a:pos x="connsiteX642" y="connsiteY642"/>
                    </a:cxn>
                    <a:cxn ang="0">
                      <a:pos x="connsiteX643" y="connsiteY643"/>
                    </a:cxn>
                    <a:cxn ang="0">
                      <a:pos x="connsiteX644" y="connsiteY644"/>
                    </a:cxn>
                    <a:cxn ang="0">
                      <a:pos x="connsiteX645" y="connsiteY645"/>
                    </a:cxn>
                    <a:cxn ang="0">
                      <a:pos x="connsiteX646" y="connsiteY646"/>
                    </a:cxn>
                    <a:cxn ang="0">
                      <a:pos x="connsiteX647" y="connsiteY647"/>
                    </a:cxn>
                    <a:cxn ang="0">
                      <a:pos x="connsiteX648" y="connsiteY648"/>
                    </a:cxn>
                    <a:cxn ang="0">
                      <a:pos x="connsiteX649" y="connsiteY649"/>
                    </a:cxn>
                    <a:cxn ang="0">
                      <a:pos x="connsiteX650" y="connsiteY650"/>
                    </a:cxn>
                    <a:cxn ang="0">
                      <a:pos x="connsiteX651" y="connsiteY651"/>
                    </a:cxn>
                    <a:cxn ang="0">
                      <a:pos x="connsiteX652" y="connsiteY652"/>
                    </a:cxn>
                    <a:cxn ang="0">
                      <a:pos x="connsiteX653" y="connsiteY653"/>
                    </a:cxn>
                    <a:cxn ang="0">
                      <a:pos x="connsiteX654" y="connsiteY654"/>
                    </a:cxn>
                    <a:cxn ang="0">
                      <a:pos x="connsiteX655" y="connsiteY655"/>
                    </a:cxn>
                    <a:cxn ang="0">
                      <a:pos x="connsiteX656" y="connsiteY656"/>
                    </a:cxn>
                    <a:cxn ang="0">
                      <a:pos x="connsiteX657" y="connsiteY657"/>
                    </a:cxn>
                    <a:cxn ang="0">
                      <a:pos x="connsiteX658" y="connsiteY658"/>
                    </a:cxn>
                    <a:cxn ang="0">
                      <a:pos x="connsiteX659" y="connsiteY659"/>
                    </a:cxn>
                    <a:cxn ang="0">
                      <a:pos x="connsiteX660" y="connsiteY660"/>
                    </a:cxn>
                    <a:cxn ang="0">
                      <a:pos x="connsiteX661" y="connsiteY661"/>
                    </a:cxn>
                    <a:cxn ang="0">
                      <a:pos x="connsiteX662" y="connsiteY662"/>
                    </a:cxn>
                    <a:cxn ang="0">
                      <a:pos x="connsiteX663" y="connsiteY663"/>
                    </a:cxn>
                    <a:cxn ang="0">
                      <a:pos x="connsiteX664" y="connsiteY664"/>
                    </a:cxn>
                    <a:cxn ang="0">
                      <a:pos x="connsiteX665" y="connsiteY665"/>
                    </a:cxn>
                    <a:cxn ang="0">
                      <a:pos x="connsiteX666" y="connsiteY666"/>
                    </a:cxn>
                    <a:cxn ang="0">
                      <a:pos x="connsiteX667" y="connsiteY667"/>
                    </a:cxn>
                    <a:cxn ang="0">
                      <a:pos x="connsiteX668" y="connsiteY668"/>
                    </a:cxn>
                    <a:cxn ang="0">
                      <a:pos x="connsiteX669" y="connsiteY669"/>
                    </a:cxn>
                    <a:cxn ang="0">
                      <a:pos x="connsiteX670" y="connsiteY670"/>
                    </a:cxn>
                    <a:cxn ang="0">
                      <a:pos x="connsiteX671" y="connsiteY671"/>
                    </a:cxn>
                    <a:cxn ang="0">
                      <a:pos x="connsiteX672" y="connsiteY672"/>
                    </a:cxn>
                    <a:cxn ang="0">
                      <a:pos x="connsiteX673" y="connsiteY673"/>
                    </a:cxn>
                    <a:cxn ang="0">
                      <a:pos x="connsiteX674" y="connsiteY674"/>
                    </a:cxn>
                    <a:cxn ang="0">
                      <a:pos x="connsiteX675" y="connsiteY675"/>
                    </a:cxn>
                    <a:cxn ang="0">
                      <a:pos x="connsiteX676" y="connsiteY676"/>
                    </a:cxn>
                    <a:cxn ang="0">
                      <a:pos x="connsiteX677" y="connsiteY677"/>
                    </a:cxn>
                    <a:cxn ang="0">
                      <a:pos x="connsiteX678" y="connsiteY678"/>
                    </a:cxn>
                    <a:cxn ang="0">
                      <a:pos x="connsiteX679" y="connsiteY679"/>
                    </a:cxn>
                    <a:cxn ang="0">
                      <a:pos x="connsiteX680" y="connsiteY680"/>
                    </a:cxn>
                    <a:cxn ang="0">
                      <a:pos x="connsiteX681" y="connsiteY681"/>
                    </a:cxn>
                    <a:cxn ang="0">
                      <a:pos x="connsiteX682" y="connsiteY682"/>
                    </a:cxn>
                    <a:cxn ang="0">
                      <a:pos x="connsiteX683" y="connsiteY683"/>
                    </a:cxn>
                    <a:cxn ang="0">
                      <a:pos x="connsiteX684" y="connsiteY684"/>
                    </a:cxn>
                    <a:cxn ang="0">
                      <a:pos x="connsiteX685" y="connsiteY685"/>
                    </a:cxn>
                    <a:cxn ang="0">
                      <a:pos x="connsiteX686" y="connsiteY686"/>
                    </a:cxn>
                    <a:cxn ang="0">
                      <a:pos x="connsiteX687" y="connsiteY687"/>
                    </a:cxn>
                    <a:cxn ang="0">
                      <a:pos x="connsiteX688" y="connsiteY688"/>
                    </a:cxn>
                    <a:cxn ang="0">
                      <a:pos x="connsiteX689" y="connsiteY689"/>
                    </a:cxn>
                    <a:cxn ang="0">
                      <a:pos x="connsiteX690" y="connsiteY690"/>
                    </a:cxn>
                    <a:cxn ang="0">
                      <a:pos x="connsiteX691" y="connsiteY691"/>
                    </a:cxn>
                    <a:cxn ang="0">
                      <a:pos x="connsiteX692" y="connsiteY692"/>
                    </a:cxn>
                    <a:cxn ang="0">
                      <a:pos x="connsiteX693" y="connsiteY693"/>
                    </a:cxn>
                    <a:cxn ang="0">
                      <a:pos x="connsiteX694" y="connsiteY694"/>
                    </a:cxn>
                    <a:cxn ang="0">
                      <a:pos x="connsiteX695" y="connsiteY695"/>
                    </a:cxn>
                    <a:cxn ang="0">
                      <a:pos x="connsiteX696" y="connsiteY696"/>
                    </a:cxn>
                    <a:cxn ang="0">
                      <a:pos x="connsiteX697" y="connsiteY697"/>
                    </a:cxn>
                    <a:cxn ang="0">
                      <a:pos x="connsiteX698" y="connsiteY698"/>
                    </a:cxn>
                    <a:cxn ang="0">
                      <a:pos x="connsiteX699" y="connsiteY699"/>
                    </a:cxn>
                    <a:cxn ang="0">
                      <a:pos x="connsiteX700" y="connsiteY700"/>
                    </a:cxn>
                    <a:cxn ang="0">
                      <a:pos x="connsiteX701" y="connsiteY701"/>
                    </a:cxn>
                    <a:cxn ang="0">
                      <a:pos x="connsiteX702" y="connsiteY702"/>
                    </a:cxn>
                    <a:cxn ang="0">
                      <a:pos x="connsiteX703" y="connsiteY703"/>
                    </a:cxn>
                    <a:cxn ang="0">
                      <a:pos x="connsiteX704" y="connsiteY704"/>
                    </a:cxn>
                    <a:cxn ang="0">
                      <a:pos x="connsiteX705" y="connsiteY705"/>
                    </a:cxn>
                    <a:cxn ang="0">
                      <a:pos x="connsiteX706" y="connsiteY706"/>
                    </a:cxn>
                    <a:cxn ang="0">
                      <a:pos x="connsiteX707" y="connsiteY707"/>
                    </a:cxn>
                    <a:cxn ang="0">
                      <a:pos x="connsiteX708" y="connsiteY708"/>
                    </a:cxn>
                    <a:cxn ang="0">
                      <a:pos x="connsiteX709" y="connsiteY709"/>
                    </a:cxn>
                    <a:cxn ang="0">
                      <a:pos x="connsiteX710" y="connsiteY710"/>
                    </a:cxn>
                    <a:cxn ang="0">
                      <a:pos x="connsiteX711" y="connsiteY711"/>
                    </a:cxn>
                    <a:cxn ang="0">
                      <a:pos x="connsiteX712" y="connsiteY712"/>
                    </a:cxn>
                    <a:cxn ang="0">
                      <a:pos x="connsiteX713" y="connsiteY713"/>
                    </a:cxn>
                    <a:cxn ang="0">
                      <a:pos x="connsiteX714" y="connsiteY714"/>
                    </a:cxn>
                    <a:cxn ang="0">
                      <a:pos x="connsiteX715" y="connsiteY715"/>
                    </a:cxn>
                    <a:cxn ang="0">
                      <a:pos x="connsiteX716" y="connsiteY716"/>
                    </a:cxn>
                    <a:cxn ang="0">
                      <a:pos x="connsiteX717" y="connsiteY717"/>
                    </a:cxn>
                    <a:cxn ang="0">
                      <a:pos x="connsiteX718" y="connsiteY718"/>
                    </a:cxn>
                    <a:cxn ang="0">
                      <a:pos x="connsiteX719" y="connsiteY719"/>
                    </a:cxn>
                    <a:cxn ang="0">
                      <a:pos x="connsiteX720" y="connsiteY720"/>
                    </a:cxn>
                    <a:cxn ang="0">
                      <a:pos x="connsiteX721" y="connsiteY721"/>
                    </a:cxn>
                    <a:cxn ang="0">
                      <a:pos x="connsiteX722" y="connsiteY722"/>
                    </a:cxn>
                    <a:cxn ang="0">
                      <a:pos x="connsiteX723" y="connsiteY723"/>
                    </a:cxn>
                    <a:cxn ang="0">
                      <a:pos x="connsiteX724" y="connsiteY724"/>
                    </a:cxn>
                    <a:cxn ang="0">
                      <a:pos x="connsiteX725" y="connsiteY725"/>
                    </a:cxn>
                    <a:cxn ang="0">
                      <a:pos x="connsiteX726" y="connsiteY726"/>
                    </a:cxn>
                    <a:cxn ang="0">
                      <a:pos x="connsiteX727" y="connsiteY727"/>
                    </a:cxn>
                    <a:cxn ang="0">
                      <a:pos x="connsiteX728" y="connsiteY728"/>
                    </a:cxn>
                    <a:cxn ang="0">
                      <a:pos x="connsiteX729" y="connsiteY729"/>
                    </a:cxn>
                    <a:cxn ang="0">
                      <a:pos x="connsiteX730" y="connsiteY730"/>
                    </a:cxn>
                    <a:cxn ang="0">
                      <a:pos x="connsiteX731" y="connsiteY731"/>
                    </a:cxn>
                    <a:cxn ang="0">
                      <a:pos x="connsiteX732" y="connsiteY732"/>
                    </a:cxn>
                    <a:cxn ang="0">
                      <a:pos x="connsiteX733" y="connsiteY733"/>
                    </a:cxn>
                    <a:cxn ang="0">
                      <a:pos x="connsiteX734" y="connsiteY734"/>
                    </a:cxn>
                    <a:cxn ang="0">
                      <a:pos x="connsiteX735" y="connsiteY735"/>
                    </a:cxn>
                    <a:cxn ang="0">
                      <a:pos x="connsiteX736" y="connsiteY736"/>
                    </a:cxn>
                    <a:cxn ang="0">
                      <a:pos x="connsiteX737" y="connsiteY737"/>
                    </a:cxn>
                    <a:cxn ang="0">
                      <a:pos x="connsiteX738" y="connsiteY738"/>
                    </a:cxn>
                    <a:cxn ang="0">
                      <a:pos x="connsiteX739" y="connsiteY739"/>
                    </a:cxn>
                    <a:cxn ang="0">
                      <a:pos x="connsiteX740" y="connsiteY740"/>
                    </a:cxn>
                    <a:cxn ang="0">
                      <a:pos x="connsiteX741" y="connsiteY741"/>
                    </a:cxn>
                    <a:cxn ang="0">
                      <a:pos x="connsiteX742" y="connsiteY742"/>
                    </a:cxn>
                    <a:cxn ang="0">
                      <a:pos x="connsiteX743" y="connsiteY743"/>
                    </a:cxn>
                    <a:cxn ang="0">
                      <a:pos x="connsiteX744" y="connsiteY744"/>
                    </a:cxn>
                    <a:cxn ang="0">
                      <a:pos x="connsiteX745" y="connsiteY745"/>
                    </a:cxn>
                    <a:cxn ang="0">
                      <a:pos x="connsiteX746" y="connsiteY746"/>
                    </a:cxn>
                    <a:cxn ang="0">
                      <a:pos x="connsiteX747" y="connsiteY747"/>
                    </a:cxn>
                    <a:cxn ang="0">
                      <a:pos x="connsiteX748" y="connsiteY748"/>
                    </a:cxn>
                    <a:cxn ang="0">
                      <a:pos x="connsiteX749" y="connsiteY749"/>
                    </a:cxn>
                    <a:cxn ang="0">
                      <a:pos x="connsiteX750" y="connsiteY750"/>
                    </a:cxn>
                    <a:cxn ang="0">
                      <a:pos x="connsiteX751" y="connsiteY751"/>
                    </a:cxn>
                    <a:cxn ang="0">
                      <a:pos x="connsiteX752" y="connsiteY752"/>
                    </a:cxn>
                    <a:cxn ang="0">
                      <a:pos x="connsiteX753" y="connsiteY753"/>
                    </a:cxn>
                    <a:cxn ang="0">
                      <a:pos x="connsiteX754" y="connsiteY754"/>
                    </a:cxn>
                    <a:cxn ang="0">
                      <a:pos x="connsiteX755" y="connsiteY755"/>
                    </a:cxn>
                    <a:cxn ang="0">
                      <a:pos x="connsiteX756" y="connsiteY756"/>
                    </a:cxn>
                    <a:cxn ang="0">
                      <a:pos x="connsiteX757" y="connsiteY757"/>
                    </a:cxn>
                    <a:cxn ang="0">
                      <a:pos x="connsiteX758" y="connsiteY758"/>
                    </a:cxn>
                    <a:cxn ang="0">
                      <a:pos x="connsiteX759" y="connsiteY759"/>
                    </a:cxn>
                    <a:cxn ang="0">
                      <a:pos x="connsiteX760" y="connsiteY760"/>
                    </a:cxn>
                    <a:cxn ang="0">
                      <a:pos x="connsiteX761" y="connsiteY761"/>
                    </a:cxn>
                    <a:cxn ang="0">
                      <a:pos x="connsiteX762" y="connsiteY762"/>
                    </a:cxn>
                    <a:cxn ang="0">
                      <a:pos x="connsiteX763" y="connsiteY763"/>
                    </a:cxn>
                    <a:cxn ang="0">
                      <a:pos x="connsiteX764" y="connsiteY764"/>
                    </a:cxn>
                    <a:cxn ang="0">
                      <a:pos x="connsiteX765" y="connsiteY765"/>
                    </a:cxn>
                    <a:cxn ang="0">
                      <a:pos x="connsiteX766" y="connsiteY766"/>
                    </a:cxn>
                    <a:cxn ang="0">
                      <a:pos x="connsiteX767" y="connsiteY767"/>
                    </a:cxn>
                    <a:cxn ang="0">
                      <a:pos x="connsiteX768" y="connsiteY768"/>
                    </a:cxn>
                    <a:cxn ang="0">
                      <a:pos x="connsiteX769" y="connsiteY769"/>
                    </a:cxn>
                    <a:cxn ang="0">
                      <a:pos x="connsiteX770" y="connsiteY770"/>
                    </a:cxn>
                    <a:cxn ang="0">
                      <a:pos x="connsiteX771" y="connsiteY771"/>
                    </a:cxn>
                    <a:cxn ang="0">
                      <a:pos x="connsiteX772" y="connsiteY772"/>
                    </a:cxn>
                    <a:cxn ang="0">
                      <a:pos x="connsiteX773" y="connsiteY773"/>
                    </a:cxn>
                    <a:cxn ang="0">
                      <a:pos x="connsiteX774" y="connsiteY774"/>
                    </a:cxn>
                    <a:cxn ang="0">
                      <a:pos x="connsiteX775" y="connsiteY775"/>
                    </a:cxn>
                    <a:cxn ang="0">
                      <a:pos x="connsiteX776" y="connsiteY776"/>
                    </a:cxn>
                    <a:cxn ang="0">
                      <a:pos x="connsiteX777" y="connsiteY777"/>
                    </a:cxn>
                    <a:cxn ang="0">
                      <a:pos x="connsiteX778" y="connsiteY778"/>
                    </a:cxn>
                    <a:cxn ang="0">
                      <a:pos x="connsiteX779" y="connsiteY779"/>
                    </a:cxn>
                    <a:cxn ang="0">
                      <a:pos x="connsiteX780" y="connsiteY780"/>
                    </a:cxn>
                    <a:cxn ang="0">
                      <a:pos x="connsiteX781" y="connsiteY781"/>
                    </a:cxn>
                    <a:cxn ang="0">
                      <a:pos x="connsiteX782" y="connsiteY782"/>
                    </a:cxn>
                    <a:cxn ang="0">
                      <a:pos x="connsiteX783" y="connsiteY783"/>
                    </a:cxn>
                    <a:cxn ang="0">
                      <a:pos x="connsiteX784" y="connsiteY784"/>
                    </a:cxn>
                    <a:cxn ang="0">
                      <a:pos x="connsiteX785" y="connsiteY785"/>
                    </a:cxn>
                    <a:cxn ang="0">
                      <a:pos x="connsiteX786" y="connsiteY786"/>
                    </a:cxn>
                    <a:cxn ang="0">
                      <a:pos x="connsiteX787" y="connsiteY787"/>
                    </a:cxn>
                    <a:cxn ang="0">
                      <a:pos x="connsiteX788" y="connsiteY788"/>
                    </a:cxn>
                    <a:cxn ang="0">
                      <a:pos x="connsiteX789" y="connsiteY789"/>
                    </a:cxn>
                    <a:cxn ang="0">
                      <a:pos x="connsiteX790" y="connsiteY790"/>
                    </a:cxn>
                    <a:cxn ang="0">
                      <a:pos x="connsiteX791" y="connsiteY791"/>
                    </a:cxn>
                    <a:cxn ang="0">
                      <a:pos x="connsiteX792" y="connsiteY792"/>
                    </a:cxn>
                    <a:cxn ang="0">
                      <a:pos x="connsiteX793" y="connsiteY793"/>
                    </a:cxn>
                    <a:cxn ang="0">
                      <a:pos x="connsiteX794" y="connsiteY794"/>
                    </a:cxn>
                    <a:cxn ang="0">
                      <a:pos x="connsiteX795" y="connsiteY795"/>
                    </a:cxn>
                    <a:cxn ang="0">
                      <a:pos x="connsiteX796" y="connsiteY796"/>
                    </a:cxn>
                    <a:cxn ang="0">
                      <a:pos x="connsiteX797" y="connsiteY797"/>
                    </a:cxn>
                    <a:cxn ang="0">
                      <a:pos x="connsiteX798" y="connsiteY798"/>
                    </a:cxn>
                    <a:cxn ang="0">
                      <a:pos x="connsiteX799" y="connsiteY799"/>
                    </a:cxn>
                    <a:cxn ang="0">
                      <a:pos x="connsiteX800" y="connsiteY800"/>
                    </a:cxn>
                    <a:cxn ang="0">
                      <a:pos x="connsiteX801" y="connsiteY801"/>
                    </a:cxn>
                    <a:cxn ang="0">
                      <a:pos x="connsiteX802" y="connsiteY802"/>
                    </a:cxn>
                    <a:cxn ang="0">
                      <a:pos x="connsiteX803" y="connsiteY803"/>
                    </a:cxn>
                    <a:cxn ang="0">
                      <a:pos x="connsiteX804" y="connsiteY804"/>
                    </a:cxn>
                    <a:cxn ang="0">
                      <a:pos x="connsiteX805" y="connsiteY805"/>
                    </a:cxn>
                    <a:cxn ang="0">
                      <a:pos x="connsiteX806" y="connsiteY806"/>
                    </a:cxn>
                    <a:cxn ang="0">
                      <a:pos x="connsiteX807" y="connsiteY807"/>
                    </a:cxn>
                    <a:cxn ang="0">
                      <a:pos x="connsiteX808" y="connsiteY808"/>
                    </a:cxn>
                    <a:cxn ang="0">
                      <a:pos x="connsiteX809" y="connsiteY809"/>
                    </a:cxn>
                    <a:cxn ang="0">
                      <a:pos x="connsiteX810" y="connsiteY810"/>
                    </a:cxn>
                    <a:cxn ang="0">
                      <a:pos x="connsiteX811" y="connsiteY811"/>
                    </a:cxn>
                    <a:cxn ang="0">
                      <a:pos x="connsiteX812" y="connsiteY812"/>
                    </a:cxn>
                    <a:cxn ang="0">
                      <a:pos x="connsiteX813" y="connsiteY813"/>
                    </a:cxn>
                    <a:cxn ang="0">
                      <a:pos x="connsiteX814" y="connsiteY814"/>
                    </a:cxn>
                    <a:cxn ang="0">
                      <a:pos x="connsiteX815" y="connsiteY815"/>
                    </a:cxn>
                    <a:cxn ang="0">
                      <a:pos x="connsiteX816" y="connsiteY816"/>
                    </a:cxn>
                    <a:cxn ang="0">
                      <a:pos x="connsiteX817" y="connsiteY817"/>
                    </a:cxn>
                    <a:cxn ang="0">
                      <a:pos x="connsiteX818" y="connsiteY818"/>
                    </a:cxn>
                    <a:cxn ang="0">
                      <a:pos x="connsiteX819" y="connsiteY819"/>
                    </a:cxn>
                    <a:cxn ang="0">
                      <a:pos x="connsiteX820" y="connsiteY820"/>
                    </a:cxn>
                    <a:cxn ang="0">
                      <a:pos x="connsiteX821" y="connsiteY821"/>
                    </a:cxn>
                    <a:cxn ang="0">
                      <a:pos x="connsiteX822" y="connsiteY822"/>
                    </a:cxn>
                    <a:cxn ang="0">
                      <a:pos x="connsiteX823" y="connsiteY823"/>
                    </a:cxn>
                    <a:cxn ang="0">
                      <a:pos x="connsiteX824" y="connsiteY824"/>
                    </a:cxn>
                    <a:cxn ang="0">
                      <a:pos x="connsiteX825" y="connsiteY825"/>
                    </a:cxn>
                    <a:cxn ang="0">
                      <a:pos x="connsiteX826" y="connsiteY826"/>
                    </a:cxn>
                    <a:cxn ang="0">
                      <a:pos x="connsiteX827" y="connsiteY827"/>
                    </a:cxn>
                  </a:cxnLst>
                  <a:rect l="l" t="t" r="r" b="b"/>
                  <a:pathLst>
                    <a:path w="2298253" h="1599834">
                      <a:moveTo>
                        <a:pt x="1536192" y="1508760"/>
                      </a:moveTo>
                      <a:lnTo>
                        <a:pt x="1533997" y="1512601"/>
                      </a:lnTo>
                      <a:lnTo>
                        <a:pt x="1532900" y="1510954"/>
                      </a:lnTo>
                      <a:lnTo>
                        <a:pt x="1532900" y="1508760"/>
                      </a:lnTo>
                      <a:lnTo>
                        <a:pt x="1530157" y="1506017"/>
                      </a:lnTo>
                      <a:lnTo>
                        <a:pt x="1524671" y="1507663"/>
                      </a:lnTo>
                      <a:lnTo>
                        <a:pt x="1523025" y="1508760"/>
                      </a:lnTo>
                      <a:lnTo>
                        <a:pt x="1523025" y="1509857"/>
                      </a:lnTo>
                      <a:lnTo>
                        <a:pt x="1526317" y="1514246"/>
                      </a:lnTo>
                      <a:lnTo>
                        <a:pt x="1514246" y="1516441"/>
                      </a:lnTo>
                      <a:lnTo>
                        <a:pt x="1513698" y="1513149"/>
                      </a:lnTo>
                      <a:lnTo>
                        <a:pt x="1514246" y="1511503"/>
                      </a:lnTo>
                      <a:lnTo>
                        <a:pt x="1512601" y="1508211"/>
                      </a:lnTo>
                      <a:lnTo>
                        <a:pt x="1505468" y="1502725"/>
                      </a:lnTo>
                      <a:lnTo>
                        <a:pt x="1499982" y="1501079"/>
                      </a:lnTo>
                      <a:lnTo>
                        <a:pt x="1497787" y="1496690"/>
                      </a:lnTo>
                      <a:lnTo>
                        <a:pt x="1497239" y="1519733"/>
                      </a:lnTo>
                      <a:lnTo>
                        <a:pt x="1494496" y="1520830"/>
                      </a:lnTo>
                      <a:lnTo>
                        <a:pt x="1492301" y="1520281"/>
                      </a:lnTo>
                      <a:lnTo>
                        <a:pt x="1481877" y="1509309"/>
                      </a:lnTo>
                      <a:lnTo>
                        <a:pt x="1479682" y="1504920"/>
                      </a:lnTo>
                      <a:lnTo>
                        <a:pt x="1475293" y="1522476"/>
                      </a:lnTo>
                      <a:lnTo>
                        <a:pt x="1476390" y="1531254"/>
                      </a:lnTo>
                      <a:lnTo>
                        <a:pt x="1474196" y="1533449"/>
                      </a:lnTo>
                      <a:lnTo>
                        <a:pt x="1471453" y="1532352"/>
                      </a:lnTo>
                      <a:lnTo>
                        <a:pt x="1461028" y="1537289"/>
                      </a:lnTo>
                      <a:lnTo>
                        <a:pt x="1453896" y="1537838"/>
                      </a:lnTo>
                      <a:lnTo>
                        <a:pt x="1448958" y="1540581"/>
                      </a:lnTo>
                      <a:lnTo>
                        <a:pt x="1442923" y="1540581"/>
                      </a:lnTo>
                      <a:lnTo>
                        <a:pt x="1440729" y="1538935"/>
                      </a:lnTo>
                      <a:lnTo>
                        <a:pt x="1433596" y="1540033"/>
                      </a:lnTo>
                      <a:lnTo>
                        <a:pt x="1426464" y="1546616"/>
                      </a:lnTo>
                      <a:lnTo>
                        <a:pt x="1410005" y="1549908"/>
                      </a:lnTo>
                      <a:lnTo>
                        <a:pt x="1403970" y="1549359"/>
                      </a:lnTo>
                      <a:lnTo>
                        <a:pt x="1402324" y="1551554"/>
                      </a:lnTo>
                      <a:lnTo>
                        <a:pt x="1385865" y="1557589"/>
                      </a:lnTo>
                      <a:lnTo>
                        <a:pt x="1379830" y="1555394"/>
                      </a:lnTo>
                      <a:lnTo>
                        <a:pt x="1371600" y="1573500"/>
                      </a:lnTo>
                      <a:lnTo>
                        <a:pt x="1379830" y="1586667"/>
                      </a:lnTo>
                      <a:lnTo>
                        <a:pt x="1379281" y="1594897"/>
                      </a:lnTo>
                      <a:lnTo>
                        <a:pt x="1368308" y="1599834"/>
                      </a:lnTo>
                      <a:lnTo>
                        <a:pt x="1361176" y="1594897"/>
                      </a:lnTo>
                      <a:lnTo>
                        <a:pt x="1349654" y="1569110"/>
                      </a:lnTo>
                      <a:lnTo>
                        <a:pt x="1354592" y="1552651"/>
                      </a:lnTo>
                      <a:lnTo>
                        <a:pt x="1351849" y="1547165"/>
                      </a:lnTo>
                      <a:lnTo>
                        <a:pt x="1340876" y="1553749"/>
                      </a:lnTo>
                      <a:lnTo>
                        <a:pt x="1333744" y="1554297"/>
                      </a:lnTo>
                      <a:lnTo>
                        <a:pt x="1330452" y="1551005"/>
                      </a:lnTo>
                      <a:lnTo>
                        <a:pt x="1329355" y="1547713"/>
                      </a:lnTo>
                      <a:lnTo>
                        <a:pt x="1311250" y="1541678"/>
                      </a:lnTo>
                      <a:lnTo>
                        <a:pt x="1308506" y="1542227"/>
                      </a:lnTo>
                      <a:lnTo>
                        <a:pt x="1305763" y="1547713"/>
                      </a:lnTo>
                      <a:lnTo>
                        <a:pt x="1299180" y="1549359"/>
                      </a:lnTo>
                      <a:lnTo>
                        <a:pt x="1299180" y="1553749"/>
                      </a:lnTo>
                      <a:lnTo>
                        <a:pt x="1296985" y="1546616"/>
                      </a:lnTo>
                      <a:lnTo>
                        <a:pt x="1287658" y="1551554"/>
                      </a:lnTo>
                      <a:lnTo>
                        <a:pt x="1283269" y="1548262"/>
                      </a:lnTo>
                      <a:lnTo>
                        <a:pt x="1262969" y="1547165"/>
                      </a:lnTo>
                      <a:lnTo>
                        <a:pt x="1260226" y="1543873"/>
                      </a:lnTo>
                      <a:lnTo>
                        <a:pt x="1244316" y="1534546"/>
                      </a:lnTo>
                      <a:lnTo>
                        <a:pt x="1238829" y="1526317"/>
                      </a:lnTo>
                      <a:lnTo>
                        <a:pt x="1236086" y="1515892"/>
                      </a:lnTo>
                      <a:lnTo>
                        <a:pt x="1239378" y="1505468"/>
                      </a:lnTo>
                      <a:lnTo>
                        <a:pt x="1236086" y="1498885"/>
                      </a:lnTo>
                      <a:lnTo>
                        <a:pt x="1214140" y="1496141"/>
                      </a:lnTo>
                      <a:lnTo>
                        <a:pt x="1185062" y="1481877"/>
                      </a:lnTo>
                      <a:lnTo>
                        <a:pt x="1180125" y="1482425"/>
                      </a:lnTo>
                      <a:lnTo>
                        <a:pt x="1166957" y="1494495"/>
                      </a:lnTo>
                      <a:lnTo>
                        <a:pt x="1152144" y="1501079"/>
                      </a:lnTo>
                      <a:lnTo>
                        <a:pt x="1146109" y="1498885"/>
                      </a:lnTo>
                      <a:lnTo>
                        <a:pt x="1140623" y="1504371"/>
                      </a:lnTo>
                      <a:lnTo>
                        <a:pt x="1134039" y="1507663"/>
                      </a:lnTo>
                      <a:lnTo>
                        <a:pt x="1131296" y="1503274"/>
                      </a:lnTo>
                      <a:lnTo>
                        <a:pt x="1121969" y="1506017"/>
                      </a:lnTo>
                      <a:lnTo>
                        <a:pt x="1118128" y="1502176"/>
                      </a:lnTo>
                      <a:lnTo>
                        <a:pt x="1113739" y="1503822"/>
                      </a:lnTo>
                      <a:lnTo>
                        <a:pt x="1103864" y="1509857"/>
                      </a:lnTo>
                      <a:lnTo>
                        <a:pt x="1099475" y="1509309"/>
                      </a:lnTo>
                      <a:lnTo>
                        <a:pt x="1094537" y="1504371"/>
                      </a:lnTo>
                      <a:lnTo>
                        <a:pt x="1085210" y="1502725"/>
                      </a:lnTo>
                      <a:lnTo>
                        <a:pt x="1083564" y="1501079"/>
                      </a:lnTo>
                      <a:lnTo>
                        <a:pt x="1081369" y="1502176"/>
                      </a:lnTo>
                      <a:lnTo>
                        <a:pt x="1074237" y="1512052"/>
                      </a:lnTo>
                      <a:lnTo>
                        <a:pt x="1074237" y="1514246"/>
                      </a:lnTo>
                      <a:lnTo>
                        <a:pt x="1069848" y="1512052"/>
                      </a:lnTo>
                      <a:lnTo>
                        <a:pt x="1069848" y="1510406"/>
                      </a:lnTo>
                      <a:lnTo>
                        <a:pt x="1056132" y="1509309"/>
                      </a:lnTo>
                      <a:lnTo>
                        <a:pt x="1050097" y="1514795"/>
                      </a:lnTo>
                      <a:lnTo>
                        <a:pt x="1050646" y="1534546"/>
                      </a:lnTo>
                      <a:lnTo>
                        <a:pt x="1055035" y="1545519"/>
                      </a:lnTo>
                      <a:lnTo>
                        <a:pt x="1054486" y="1555943"/>
                      </a:lnTo>
                      <a:lnTo>
                        <a:pt x="1051194" y="1558138"/>
                      </a:lnTo>
                      <a:lnTo>
                        <a:pt x="1037478" y="1560881"/>
                      </a:lnTo>
                      <a:lnTo>
                        <a:pt x="1033089" y="1538935"/>
                      </a:lnTo>
                      <a:lnTo>
                        <a:pt x="1024860" y="1537838"/>
                      </a:lnTo>
                      <a:lnTo>
                        <a:pt x="1014436" y="1546068"/>
                      </a:lnTo>
                      <a:lnTo>
                        <a:pt x="1000720" y="1547713"/>
                      </a:lnTo>
                      <a:lnTo>
                        <a:pt x="988101" y="1535643"/>
                      </a:lnTo>
                      <a:lnTo>
                        <a:pt x="987004" y="1527962"/>
                      </a:lnTo>
                      <a:lnTo>
                        <a:pt x="963961" y="1521927"/>
                      </a:lnTo>
                      <a:lnTo>
                        <a:pt x="971093" y="1490655"/>
                      </a:lnTo>
                      <a:lnTo>
                        <a:pt x="951342" y="1477488"/>
                      </a:lnTo>
                      <a:lnTo>
                        <a:pt x="950245" y="1463772"/>
                      </a:lnTo>
                      <a:lnTo>
                        <a:pt x="946404" y="1453896"/>
                      </a:lnTo>
                      <a:lnTo>
                        <a:pt x="946404" y="1446764"/>
                      </a:lnTo>
                      <a:lnTo>
                        <a:pt x="920069" y="1447861"/>
                      </a:lnTo>
                      <a:lnTo>
                        <a:pt x="903610" y="1461577"/>
                      </a:lnTo>
                      <a:lnTo>
                        <a:pt x="900318" y="1458285"/>
                      </a:lnTo>
                      <a:lnTo>
                        <a:pt x="906902" y="1445666"/>
                      </a:lnTo>
                      <a:lnTo>
                        <a:pt x="907999" y="1440180"/>
                      </a:lnTo>
                      <a:lnTo>
                        <a:pt x="905256" y="1429756"/>
                      </a:lnTo>
                      <a:lnTo>
                        <a:pt x="912388" y="1406713"/>
                      </a:lnTo>
                      <a:lnTo>
                        <a:pt x="919521" y="1399581"/>
                      </a:lnTo>
                      <a:lnTo>
                        <a:pt x="922264" y="1392448"/>
                      </a:lnTo>
                      <a:lnTo>
                        <a:pt x="927202" y="1391351"/>
                      </a:lnTo>
                      <a:lnTo>
                        <a:pt x="939820" y="1365016"/>
                      </a:lnTo>
                      <a:lnTo>
                        <a:pt x="935980" y="1303020"/>
                      </a:lnTo>
                      <a:lnTo>
                        <a:pt x="925556" y="1302471"/>
                      </a:lnTo>
                      <a:lnTo>
                        <a:pt x="921715" y="1296985"/>
                      </a:lnTo>
                      <a:lnTo>
                        <a:pt x="919521" y="1284366"/>
                      </a:lnTo>
                      <a:lnTo>
                        <a:pt x="910742" y="1275588"/>
                      </a:lnTo>
                      <a:lnTo>
                        <a:pt x="902513" y="1271748"/>
                      </a:lnTo>
                      <a:lnTo>
                        <a:pt x="900318" y="1271199"/>
                      </a:lnTo>
                      <a:lnTo>
                        <a:pt x="897575" y="1275039"/>
                      </a:lnTo>
                      <a:lnTo>
                        <a:pt x="891540" y="1277234"/>
                      </a:lnTo>
                      <a:lnTo>
                        <a:pt x="888797" y="1269004"/>
                      </a:lnTo>
                      <a:lnTo>
                        <a:pt x="881665" y="1266261"/>
                      </a:lnTo>
                      <a:lnTo>
                        <a:pt x="871789" y="1266261"/>
                      </a:lnTo>
                      <a:lnTo>
                        <a:pt x="865754" y="1263518"/>
                      </a:lnTo>
                      <a:lnTo>
                        <a:pt x="853135" y="1263518"/>
                      </a:lnTo>
                      <a:lnTo>
                        <a:pt x="855330" y="1243218"/>
                      </a:lnTo>
                      <a:lnTo>
                        <a:pt x="847100" y="1240475"/>
                      </a:lnTo>
                      <a:lnTo>
                        <a:pt x="845454" y="1233891"/>
                      </a:lnTo>
                      <a:lnTo>
                        <a:pt x="847100" y="1228405"/>
                      </a:lnTo>
                      <a:lnTo>
                        <a:pt x="839419" y="1220724"/>
                      </a:lnTo>
                      <a:lnTo>
                        <a:pt x="831190" y="1222370"/>
                      </a:lnTo>
                      <a:lnTo>
                        <a:pt x="821314" y="1228954"/>
                      </a:lnTo>
                      <a:lnTo>
                        <a:pt x="811987" y="1231697"/>
                      </a:lnTo>
                      <a:lnTo>
                        <a:pt x="792785" y="1231697"/>
                      </a:lnTo>
                      <a:lnTo>
                        <a:pt x="787847" y="1228405"/>
                      </a:lnTo>
                      <a:lnTo>
                        <a:pt x="785104" y="1227856"/>
                      </a:lnTo>
                      <a:lnTo>
                        <a:pt x="771937" y="1235537"/>
                      </a:lnTo>
                      <a:lnTo>
                        <a:pt x="768096" y="1242670"/>
                      </a:lnTo>
                      <a:lnTo>
                        <a:pt x="754929" y="1254191"/>
                      </a:lnTo>
                      <a:lnTo>
                        <a:pt x="744505" y="1257483"/>
                      </a:lnTo>
                      <a:lnTo>
                        <a:pt x="728045" y="1273393"/>
                      </a:lnTo>
                      <a:lnTo>
                        <a:pt x="678668" y="1292047"/>
                      </a:lnTo>
                      <a:lnTo>
                        <a:pt x="679216" y="1293145"/>
                      </a:lnTo>
                      <a:lnTo>
                        <a:pt x="678668" y="1291498"/>
                      </a:lnTo>
                      <a:lnTo>
                        <a:pt x="669889" y="1286561"/>
                      </a:lnTo>
                      <a:lnTo>
                        <a:pt x="667695" y="1283818"/>
                      </a:lnTo>
                      <a:lnTo>
                        <a:pt x="666049" y="1282720"/>
                      </a:lnTo>
                      <a:lnTo>
                        <a:pt x="656173" y="1285464"/>
                      </a:lnTo>
                      <a:lnTo>
                        <a:pt x="632582" y="1281074"/>
                      </a:lnTo>
                      <a:lnTo>
                        <a:pt x="627644" y="1277782"/>
                      </a:lnTo>
                      <a:lnTo>
                        <a:pt x="627644" y="1276137"/>
                      </a:lnTo>
                      <a:lnTo>
                        <a:pt x="624901" y="1272296"/>
                      </a:lnTo>
                      <a:lnTo>
                        <a:pt x="621061" y="1271199"/>
                      </a:lnTo>
                      <a:lnTo>
                        <a:pt x="611185" y="1272296"/>
                      </a:lnTo>
                      <a:lnTo>
                        <a:pt x="603504" y="1275588"/>
                      </a:lnTo>
                      <a:lnTo>
                        <a:pt x="595823" y="1282720"/>
                      </a:lnTo>
                      <a:lnTo>
                        <a:pt x="588691" y="1294242"/>
                      </a:lnTo>
                      <a:lnTo>
                        <a:pt x="574426" y="1307958"/>
                      </a:lnTo>
                      <a:lnTo>
                        <a:pt x="573877" y="1311250"/>
                      </a:lnTo>
                      <a:lnTo>
                        <a:pt x="570037" y="1311798"/>
                      </a:lnTo>
                      <a:lnTo>
                        <a:pt x="567842" y="1310152"/>
                      </a:lnTo>
                      <a:lnTo>
                        <a:pt x="566745" y="1308506"/>
                      </a:lnTo>
                      <a:lnTo>
                        <a:pt x="566197" y="1303020"/>
                      </a:lnTo>
                      <a:lnTo>
                        <a:pt x="568940" y="1294790"/>
                      </a:lnTo>
                      <a:lnTo>
                        <a:pt x="567294" y="1283818"/>
                      </a:lnTo>
                      <a:lnTo>
                        <a:pt x="565648" y="1281623"/>
                      </a:lnTo>
                      <a:lnTo>
                        <a:pt x="562905" y="1279977"/>
                      </a:lnTo>
                      <a:lnTo>
                        <a:pt x="559613" y="1280526"/>
                      </a:lnTo>
                      <a:lnTo>
                        <a:pt x="553578" y="1284915"/>
                      </a:lnTo>
                      <a:lnTo>
                        <a:pt x="548640" y="1284915"/>
                      </a:lnTo>
                      <a:lnTo>
                        <a:pt x="542056" y="1287658"/>
                      </a:lnTo>
                      <a:lnTo>
                        <a:pt x="542056" y="1288207"/>
                      </a:lnTo>
                      <a:lnTo>
                        <a:pt x="539313" y="1287109"/>
                      </a:lnTo>
                      <a:lnTo>
                        <a:pt x="533827" y="1288207"/>
                      </a:lnTo>
                      <a:lnTo>
                        <a:pt x="529986" y="1293693"/>
                      </a:lnTo>
                      <a:lnTo>
                        <a:pt x="518465" y="1291498"/>
                      </a:lnTo>
                      <a:lnTo>
                        <a:pt x="513527" y="1293145"/>
                      </a:lnTo>
                      <a:lnTo>
                        <a:pt x="510784" y="1292596"/>
                      </a:lnTo>
                      <a:lnTo>
                        <a:pt x="499262" y="1287658"/>
                      </a:lnTo>
                      <a:lnTo>
                        <a:pt x="494325" y="1283269"/>
                      </a:lnTo>
                      <a:lnTo>
                        <a:pt x="487741" y="1282720"/>
                      </a:lnTo>
                      <a:lnTo>
                        <a:pt x="484998" y="1283818"/>
                      </a:lnTo>
                      <a:lnTo>
                        <a:pt x="482255" y="1288207"/>
                      </a:lnTo>
                      <a:lnTo>
                        <a:pt x="480609" y="1288755"/>
                      </a:lnTo>
                      <a:lnTo>
                        <a:pt x="476768" y="1287109"/>
                      </a:lnTo>
                      <a:lnTo>
                        <a:pt x="472928" y="1288207"/>
                      </a:lnTo>
                      <a:lnTo>
                        <a:pt x="468539" y="1284915"/>
                      </a:lnTo>
                      <a:lnTo>
                        <a:pt x="466344" y="1287109"/>
                      </a:lnTo>
                      <a:lnTo>
                        <a:pt x="461955" y="1288207"/>
                      </a:lnTo>
                      <a:lnTo>
                        <a:pt x="456469" y="1282720"/>
                      </a:lnTo>
                      <a:lnTo>
                        <a:pt x="455920" y="1279977"/>
                      </a:lnTo>
                      <a:lnTo>
                        <a:pt x="452080" y="1275588"/>
                      </a:lnTo>
                      <a:lnTo>
                        <a:pt x="446593" y="1274491"/>
                      </a:lnTo>
                      <a:lnTo>
                        <a:pt x="441655" y="1276137"/>
                      </a:lnTo>
                      <a:lnTo>
                        <a:pt x="431780" y="1270102"/>
                      </a:lnTo>
                      <a:lnTo>
                        <a:pt x="430682" y="1265713"/>
                      </a:lnTo>
                      <a:lnTo>
                        <a:pt x="432328" y="1256386"/>
                      </a:lnTo>
                      <a:lnTo>
                        <a:pt x="430682" y="1255837"/>
                      </a:lnTo>
                      <a:lnTo>
                        <a:pt x="427391" y="1258032"/>
                      </a:lnTo>
                      <a:lnTo>
                        <a:pt x="418064" y="1258032"/>
                      </a:lnTo>
                      <a:lnTo>
                        <a:pt x="413675" y="1256386"/>
                      </a:lnTo>
                      <a:lnTo>
                        <a:pt x="409285" y="1256386"/>
                      </a:lnTo>
                      <a:lnTo>
                        <a:pt x="405445" y="1254740"/>
                      </a:lnTo>
                      <a:lnTo>
                        <a:pt x="402702" y="1254191"/>
                      </a:lnTo>
                      <a:lnTo>
                        <a:pt x="400507" y="1251997"/>
                      </a:lnTo>
                      <a:lnTo>
                        <a:pt x="398861" y="1248705"/>
                      </a:lnTo>
                      <a:lnTo>
                        <a:pt x="395021" y="1250350"/>
                      </a:lnTo>
                      <a:lnTo>
                        <a:pt x="394472" y="1248156"/>
                      </a:lnTo>
                      <a:lnTo>
                        <a:pt x="396118" y="1239378"/>
                      </a:lnTo>
                      <a:lnTo>
                        <a:pt x="395021" y="1234989"/>
                      </a:lnTo>
                      <a:lnTo>
                        <a:pt x="397764" y="1231148"/>
                      </a:lnTo>
                      <a:lnTo>
                        <a:pt x="396667" y="1229502"/>
                      </a:lnTo>
                      <a:lnTo>
                        <a:pt x="392278" y="1228405"/>
                      </a:lnTo>
                      <a:lnTo>
                        <a:pt x="387889" y="1228954"/>
                      </a:lnTo>
                      <a:lnTo>
                        <a:pt x="385694" y="1228405"/>
                      </a:lnTo>
                      <a:lnTo>
                        <a:pt x="383500" y="1231148"/>
                      </a:lnTo>
                      <a:lnTo>
                        <a:pt x="382951" y="1232794"/>
                      </a:lnTo>
                      <a:lnTo>
                        <a:pt x="380207" y="1235537"/>
                      </a:lnTo>
                      <a:lnTo>
                        <a:pt x="378562" y="1235537"/>
                      </a:lnTo>
                      <a:lnTo>
                        <a:pt x="375270" y="1239378"/>
                      </a:lnTo>
                      <a:lnTo>
                        <a:pt x="368686" y="1237183"/>
                      </a:lnTo>
                      <a:lnTo>
                        <a:pt x="366491" y="1234440"/>
                      </a:lnTo>
                      <a:lnTo>
                        <a:pt x="364846" y="1222918"/>
                      </a:lnTo>
                      <a:lnTo>
                        <a:pt x="352775" y="1210300"/>
                      </a:lnTo>
                      <a:lnTo>
                        <a:pt x="343997" y="1207008"/>
                      </a:lnTo>
                      <a:lnTo>
                        <a:pt x="332476" y="1195486"/>
                      </a:lnTo>
                      <a:lnTo>
                        <a:pt x="303398" y="1187257"/>
                      </a:lnTo>
                      <a:lnTo>
                        <a:pt x="301752" y="1186160"/>
                      </a:lnTo>
                      <a:lnTo>
                        <a:pt x="289682" y="1185062"/>
                      </a:lnTo>
                      <a:lnTo>
                        <a:pt x="289133" y="1186708"/>
                      </a:lnTo>
                      <a:lnTo>
                        <a:pt x="289133" y="1190000"/>
                      </a:lnTo>
                      <a:lnTo>
                        <a:pt x="286939" y="1193292"/>
                      </a:lnTo>
                      <a:lnTo>
                        <a:pt x="287488" y="1194938"/>
                      </a:lnTo>
                      <a:lnTo>
                        <a:pt x="286939" y="1197133"/>
                      </a:lnTo>
                      <a:lnTo>
                        <a:pt x="281452" y="1192743"/>
                      </a:lnTo>
                      <a:lnTo>
                        <a:pt x="279258" y="1188903"/>
                      </a:lnTo>
                      <a:lnTo>
                        <a:pt x="275966" y="1186708"/>
                      </a:lnTo>
                      <a:lnTo>
                        <a:pt x="263896" y="1183417"/>
                      </a:lnTo>
                      <a:lnTo>
                        <a:pt x="262250" y="1181770"/>
                      </a:lnTo>
                      <a:lnTo>
                        <a:pt x="259507" y="1177381"/>
                      </a:lnTo>
                      <a:lnTo>
                        <a:pt x="256215" y="1177381"/>
                      </a:lnTo>
                      <a:lnTo>
                        <a:pt x="247985" y="1170798"/>
                      </a:lnTo>
                      <a:lnTo>
                        <a:pt x="239756" y="1168054"/>
                      </a:lnTo>
                      <a:lnTo>
                        <a:pt x="238110" y="1165860"/>
                      </a:lnTo>
                      <a:lnTo>
                        <a:pt x="238110" y="1162568"/>
                      </a:lnTo>
                      <a:lnTo>
                        <a:pt x="236464" y="1160374"/>
                      </a:lnTo>
                      <a:lnTo>
                        <a:pt x="233172" y="1159825"/>
                      </a:lnTo>
                      <a:lnTo>
                        <a:pt x="232075" y="1158179"/>
                      </a:lnTo>
                      <a:lnTo>
                        <a:pt x="229331" y="1157082"/>
                      </a:lnTo>
                      <a:lnTo>
                        <a:pt x="223297" y="1159825"/>
                      </a:lnTo>
                      <a:lnTo>
                        <a:pt x="222199" y="1158179"/>
                      </a:lnTo>
                      <a:lnTo>
                        <a:pt x="221651" y="1154338"/>
                      </a:lnTo>
                      <a:lnTo>
                        <a:pt x="220005" y="1153241"/>
                      </a:lnTo>
                      <a:lnTo>
                        <a:pt x="217810" y="1152693"/>
                      </a:lnTo>
                      <a:lnTo>
                        <a:pt x="206837" y="1153790"/>
                      </a:lnTo>
                      <a:lnTo>
                        <a:pt x="202448" y="1156533"/>
                      </a:lnTo>
                      <a:lnTo>
                        <a:pt x="200254" y="1155985"/>
                      </a:lnTo>
                      <a:lnTo>
                        <a:pt x="198608" y="1154338"/>
                      </a:lnTo>
                      <a:lnTo>
                        <a:pt x="199705" y="1147755"/>
                      </a:lnTo>
                      <a:lnTo>
                        <a:pt x="195865" y="1145012"/>
                      </a:lnTo>
                      <a:lnTo>
                        <a:pt x="193670" y="1141171"/>
                      </a:lnTo>
                      <a:lnTo>
                        <a:pt x="193121" y="1138977"/>
                      </a:lnTo>
                      <a:lnTo>
                        <a:pt x="189829" y="1135685"/>
                      </a:lnTo>
                      <a:lnTo>
                        <a:pt x="189829" y="1132942"/>
                      </a:lnTo>
                      <a:lnTo>
                        <a:pt x="192024" y="1127455"/>
                      </a:lnTo>
                      <a:lnTo>
                        <a:pt x="189829" y="1123066"/>
                      </a:lnTo>
                      <a:lnTo>
                        <a:pt x="190378" y="1115934"/>
                      </a:lnTo>
                      <a:lnTo>
                        <a:pt x="192024" y="1111545"/>
                      </a:lnTo>
                      <a:lnTo>
                        <a:pt x="181600" y="1100023"/>
                      </a:lnTo>
                      <a:lnTo>
                        <a:pt x="181600" y="1092342"/>
                      </a:lnTo>
                      <a:lnTo>
                        <a:pt x="179954" y="1087953"/>
                      </a:lnTo>
                      <a:lnTo>
                        <a:pt x="180503" y="1085758"/>
                      </a:lnTo>
                      <a:lnTo>
                        <a:pt x="188183" y="1084661"/>
                      </a:lnTo>
                      <a:lnTo>
                        <a:pt x="190378" y="1081918"/>
                      </a:lnTo>
                      <a:lnTo>
                        <a:pt x="191476" y="1083015"/>
                      </a:lnTo>
                      <a:lnTo>
                        <a:pt x="192024" y="1087953"/>
                      </a:lnTo>
                      <a:lnTo>
                        <a:pt x="193670" y="1090696"/>
                      </a:lnTo>
                      <a:lnTo>
                        <a:pt x="195865" y="1092342"/>
                      </a:lnTo>
                      <a:lnTo>
                        <a:pt x="199705" y="1094537"/>
                      </a:lnTo>
                      <a:lnTo>
                        <a:pt x="201899" y="1093988"/>
                      </a:lnTo>
                      <a:lnTo>
                        <a:pt x="203545" y="1092891"/>
                      </a:lnTo>
                      <a:lnTo>
                        <a:pt x="206289" y="1093440"/>
                      </a:lnTo>
                      <a:lnTo>
                        <a:pt x="206837" y="1089599"/>
                      </a:lnTo>
                      <a:lnTo>
                        <a:pt x="209581" y="1087953"/>
                      </a:lnTo>
                      <a:lnTo>
                        <a:pt x="211775" y="1084113"/>
                      </a:lnTo>
                      <a:lnTo>
                        <a:pt x="212872" y="1084113"/>
                      </a:lnTo>
                      <a:lnTo>
                        <a:pt x="215067" y="1087405"/>
                      </a:lnTo>
                      <a:lnTo>
                        <a:pt x="216713" y="1087405"/>
                      </a:lnTo>
                      <a:lnTo>
                        <a:pt x="222748" y="1079724"/>
                      </a:lnTo>
                      <a:lnTo>
                        <a:pt x="222748" y="1077529"/>
                      </a:lnTo>
                      <a:lnTo>
                        <a:pt x="216164" y="1068202"/>
                      </a:lnTo>
                      <a:lnTo>
                        <a:pt x="215615" y="1064910"/>
                      </a:lnTo>
                      <a:lnTo>
                        <a:pt x="216713" y="1062716"/>
                      </a:lnTo>
                      <a:lnTo>
                        <a:pt x="216164" y="1059973"/>
                      </a:lnTo>
                      <a:lnTo>
                        <a:pt x="209581" y="1056681"/>
                      </a:lnTo>
                      <a:lnTo>
                        <a:pt x="206289" y="1057229"/>
                      </a:lnTo>
                      <a:lnTo>
                        <a:pt x="205192" y="1055035"/>
                      </a:lnTo>
                      <a:lnTo>
                        <a:pt x="199156" y="1049548"/>
                      </a:lnTo>
                      <a:lnTo>
                        <a:pt x="199156" y="1040221"/>
                      </a:lnTo>
                      <a:lnTo>
                        <a:pt x="202448" y="1039124"/>
                      </a:lnTo>
                      <a:lnTo>
                        <a:pt x="201351" y="1035284"/>
                      </a:lnTo>
                      <a:lnTo>
                        <a:pt x="201351" y="1033089"/>
                      </a:lnTo>
                      <a:lnTo>
                        <a:pt x="202448" y="1032541"/>
                      </a:lnTo>
                      <a:lnTo>
                        <a:pt x="198059" y="1027054"/>
                      </a:lnTo>
                      <a:lnTo>
                        <a:pt x="198608" y="1022665"/>
                      </a:lnTo>
                      <a:lnTo>
                        <a:pt x="198608" y="1022116"/>
                      </a:lnTo>
                      <a:lnTo>
                        <a:pt x="205192" y="1022665"/>
                      </a:lnTo>
                      <a:lnTo>
                        <a:pt x="208483" y="1019922"/>
                      </a:lnTo>
                      <a:lnTo>
                        <a:pt x="215067" y="1022116"/>
                      </a:lnTo>
                      <a:lnTo>
                        <a:pt x="217261" y="1021019"/>
                      </a:lnTo>
                      <a:lnTo>
                        <a:pt x="223845" y="1010595"/>
                      </a:lnTo>
                      <a:lnTo>
                        <a:pt x="223845" y="1003462"/>
                      </a:lnTo>
                      <a:lnTo>
                        <a:pt x="230429" y="1001817"/>
                      </a:lnTo>
                      <a:lnTo>
                        <a:pt x="231526" y="1001268"/>
                      </a:lnTo>
                      <a:lnTo>
                        <a:pt x="229880" y="999622"/>
                      </a:lnTo>
                      <a:lnTo>
                        <a:pt x="230429" y="997427"/>
                      </a:lnTo>
                      <a:lnTo>
                        <a:pt x="233172" y="995782"/>
                      </a:lnTo>
                      <a:lnTo>
                        <a:pt x="233721" y="993587"/>
                      </a:lnTo>
                      <a:lnTo>
                        <a:pt x="240853" y="988101"/>
                      </a:lnTo>
                      <a:lnTo>
                        <a:pt x="240853" y="983711"/>
                      </a:lnTo>
                      <a:lnTo>
                        <a:pt x="244693" y="979871"/>
                      </a:lnTo>
                      <a:lnTo>
                        <a:pt x="246340" y="967252"/>
                      </a:lnTo>
                      <a:lnTo>
                        <a:pt x="247985" y="965058"/>
                      </a:lnTo>
                      <a:lnTo>
                        <a:pt x="247985" y="959571"/>
                      </a:lnTo>
                      <a:lnTo>
                        <a:pt x="252374" y="955182"/>
                      </a:lnTo>
                      <a:lnTo>
                        <a:pt x="252374" y="952988"/>
                      </a:lnTo>
                      <a:lnTo>
                        <a:pt x="250180" y="951342"/>
                      </a:lnTo>
                      <a:lnTo>
                        <a:pt x="247437" y="950793"/>
                      </a:lnTo>
                      <a:lnTo>
                        <a:pt x="242499" y="956828"/>
                      </a:lnTo>
                      <a:lnTo>
                        <a:pt x="240853" y="956828"/>
                      </a:lnTo>
                      <a:lnTo>
                        <a:pt x="238658" y="954634"/>
                      </a:lnTo>
                      <a:lnTo>
                        <a:pt x="237013" y="946953"/>
                      </a:lnTo>
                      <a:lnTo>
                        <a:pt x="233721" y="949147"/>
                      </a:lnTo>
                      <a:lnTo>
                        <a:pt x="231526" y="949147"/>
                      </a:lnTo>
                      <a:lnTo>
                        <a:pt x="229880" y="945855"/>
                      </a:lnTo>
                      <a:lnTo>
                        <a:pt x="227686" y="945855"/>
                      </a:lnTo>
                      <a:lnTo>
                        <a:pt x="226040" y="944758"/>
                      </a:lnTo>
                      <a:lnTo>
                        <a:pt x="225491" y="938174"/>
                      </a:lnTo>
                      <a:lnTo>
                        <a:pt x="222748" y="937626"/>
                      </a:lnTo>
                      <a:lnTo>
                        <a:pt x="222199" y="935431"/>
                      </a:lnTo>
                      <a:lnTo>
                        <a:pt x="220005" y="934882"/>
                      </a:lnTo>
                      <a:lnTo>
                        <a:pt x="217810" y="934882"/>
                      </a:lnTo>
                      <a:lnTo>
                        <a:pt x="215067" y="931591"/>
                      </a:lnTo>
                      <a:lnTo>
                        <a:pt x="213970" y="930493"/>
                      </a:lnTo>
                      <a:lnTo>
                        <a:pt x="211226" y="930493"/>
                      </a:lnTo>
                      <a:lnTo>
                        <a:pt x="208483" y="932139"/>
                      </a:lnTo>
                      <a:lnTo>
                        <a:pt x="204094" y="932139"/>
                      </a:lnTo>
                      <a:lnTo>
                        <a:pt x="200802" y="934334"/>
                      </a:lnTo>
                      <a:lnTo>
                        <a:pt x="190927" y="934882"/>
                      </a:lnTo>
                      <a:lnTo>
                        <a:pt x="171724" y="946953"/>
                      </a:lnTo>
                      <a:lnTo>
                        <a:pt x="168433" y="951342"/>
                      </a:lnTo>
                      <a:lnTo>
                        <a:pt x="164592" y="951342"/>
                      </a:lnTo>
                      <a:lnTo>
                        <a:pt x="161849" y="955182"/>
                      </a:lnTo>
                      <a:lnTo>
                        <a:pt x="157460" y="952988"/>
                      </a:lnTo>
                      <a:lnTo>
                        <a:pt x="153619" y="955182"/>
                      </a:lnTo>
                      <a:lnTo>
                        <a:pt x="143195" y="954634"/>
                      </a:lnTo>
                      <a:lnTo>
                        <a:pt x="138257" y="951342"/>
                      </a:lnTo>
                      <a:lnTo>
                        <a:pt x="133868" y="951890"/>
                      </a:lnTo>
                      <a:lnTo>
                        <a:pt x="110277" y="939820"/>
                      </a:lnTo>
                      <a:lnTo>
                        <a:pt x="110277" y="935431"/>
                      </a:lnTo>
                      <a:lnTo>
                        <a:pt x="109180" y="933237"/>
                      </a:lnTo>
                      <a:lnTo>
                        <a:pt x="106436" y="933785"/>
                      </a:lnTo>
                      <a:lnTo>
                        <a:pt x="103144" y="936529"/>
                      </a:lnTo>
                      <a:lnTo>
                        <a:pt x="101498" y="935980"/>
                      </a:lnTo>
                      <a:lnTo>
                        <a:pt x="97658" y="937626"/>
                      </a:lnTo>
                      <a:lnTo>
                        <a:pt x="95464" y="937077"/>
                      </a:lnTo>
                      <a:lnTo>
                        <a:pt x="90526" y="929396"/>
                      </a:lnTo>
                      <a:lnTo>
                        <a:pt x="86137" y="927750"/>
                      </a:lnTo>
                      <a:lnTo>
                        <a:pt x="85039" y="925556"/>
                      </a:lnTo>
                      <a:lnTo>
                        <a:pt x="85588" y="923910"/>
                      </a:lnTo>
                      <a:lnTo>
                        <a:pt x="88331" y="922813"/>
                      </a:lnTo>
                      <a:lnTo>
                        <a:pt x="89428" y="920618"/>
                      </a:lnTo>
                      <a:lnTo>
                        <a:pt x="88880" y="917326"/>
                      </a:lnTo>
                      <a:lnTo>
                        <a:pt x="86685" y="915680"/>
                      </a:lnTo>
                      <a:lnTo>
                        <a:pt x="88331" y="906902"/>
                      </a:lnTo>
                      <a:lnTo>
                        <a:pt x="86137" y="903061"/>
                      </a:lnTo>
                      <a:lnTo>
                        <a:pt x="75164" y="893186"/>
                      </a:lnTo>
                      <a:lnTo>
                        <a:pt x="71872" y="894283"/>
                      </a:lnTo>
                      <a:lnTo>
                        <a:pt x="66934" y="897026"/>
                      </a:lnTo>
                      <a:lnTo>
                        <a:pt x="66385" y="896478"/>
                      </a:lnTo>
                      <a:lnTo>
                        <a:pt x="66385" y="887699"/>
                      </a:lnTo>
                      <a:lnTo>
                        <a:pt x="64739" y="886054"/>
                      </a:lnTo>
                      <a:lnTo>
                        <a:pt x="60350" y="887151"/>
                      </a:lnTo>
                      <a:lnTo>
                        <a:pt x="55961" y="884956"/>
                      </a:lnTo>
                      <a:lnTo>
                        <a:pt x="53767" y="884408"/>
                      </a:lnTo>
                      <a:lnTo>
                        <a:pt x="44440" y="886054"/>
                      </a:lnTo>
                      <a:lnTo>
                        <a:pt x="36759" y="883859"/>
                      </a:lnTo>
                      <a:lnTo>
                        <a:pt x="37307" y="882762"/>
                      </a:lnTo>
                      <a:lnTo>
                        <a:pt x="36210" y="879470"/>
                      </a:lnTo>
                      <a:lnTo>
                        <a:pt x="32370" y="877824"/>
                      </a:lnTo>
                      <a:lnTo>
                        <a:pt x="30724" y="875629"/>
                      </a:lnTo>
                      <a:lnTo>
                        <a:pt x="36210" y="870143"/>
                      </a:lnTo>
                      <a:lnTo>
                        <a:pt x="38953" y="869594"/>
                      </a:lnTo>
                      <a:lnTo>
                        <a:pt x="42245" y="870692"/>
                      </a:lnTo>
                      <a:lnTo>
                        <a:pt x="43891" y="870692"/>
                      </a:lnTo>
                      <a:lnTo>
                        <a:pt x="42245" y="870692"/>
                      </a:lnTo>
                      <a:lnTo>
                        <a:pt x="47732" y="872338"/>
                      </a:lnTo>
                      <a:lnTo>
                        <a:pt x="49926" y="871240"/>
                      </a:lnTo>
                      <a:lnTo>
                        <a:pt x="49926" y="847649"/>
                      </a:lnTo>
                      <a:lnTo>
                        <a:pt x="42794" y="830641"/>
                      </a:lnTo>
                      <a:lnTo>
                        <a:pt x="42794" y="816925"/>
                      </a:lnTo>
                      <a:lnTo>
                        <a:pt x="37307" y="809793"/>
                      </a:lnTo>
                      <a:lnTo>
                        <a:pt x="25786" y="808695"/>
                      </a:lnTo>
                      <a:lnTo>
                        <a:pt x="11521" y="812536"/>
                      </a:lnTo>
                      <a:lnTo>
                        <a:pt x="4389" y="808147"/>
                      </a:lnTo>
                      <a:lnTo>
                        <a:pt x="0" y="782361"/>
                      </a:lnTo>
                      <a:lnTo>
                        <a:pt x="7681" y="759318"/>
                      </a:lnTo>
                      <a:lnTo>
                        <a:pt x="6584" y="751637"/>
                      </a:lnTo>
                      <a:lnTo>
                        <a:pt x="13167" y="738469"/>
                      </a:lnTo>
                      <a:lnTo>
                        <a:pt x="34564" y="729142"/>
                      </a:lnTo>
                      <a:lnTo>
                        <a:pt x="37856" y="725302"/>
                      </a:lnTo>
                      <a:lnTo>
                        <a:pt x="42794" y="725302"/>
                      </a:lnTo>
                      <a:lnTo>
                        <a:pt x="47183" y="715426"/>
                      </a:lnTo>
                      <a:lnTo>
                        <a:pt x="54315" y="717621"/>
                      </a:lnTo>
                      <a:lnTo>
                        <a:pt x="64191" y="713781"/>
                      </a:lnTo>
                      <a:lnTo>
                        <a:pt x="71323" y="714878"/>
                      </a:lnTo>
                      <a:lnTo>
                        <a:pt x="75712" y="723107"/>
                      </a:lnTo>
                      <a:lnTo>
                        <a:pt x="100950" y="722559"/>
                      </a:lnTo>
                      <a:lnTo>
                        <a:pt x="110277" y="715975"/>
                      </a:lnTo>
                      <a:lnTo>
                        <a:pt x="114117" y="703905"/>
                      </a:lnTo>
                      <a:lnTo>
                        <a:pt x="120701" y="695675"/>
                      </a:lnTo>
                      <a:lnTo>
                        <a:pt x="171724" y="685251"/>
                      </a:lnTo>
                      <a:lnTo>
                        <a:pt x="177760" y="675925"/>
                      </a:lnTo>
                      <a:lnTo>
                        <a:pt x="187635" y="666049"/>
                      </a:lnTo>
                      <a:lnTo>
                        <a:pt x="244693" y="639714"/>
                      </a:lnTo>
                      <a:lnTo>
                        <a:pt x="249083" y="630936"/>
                      </a:lnTo>
                      <a:lnTo>
                        <a:pt x="250729" y="603504"/>
                      </a:lnTo>
                      <a:lnTo>
                        <a:pt x="256215" y="596920"/>
                      </a:lnTo>
                      <a:lnTo>
                        <a:pt x="255118" y="588142"/>
                      </a:lnTo>
                      <a:lnTo>
                        <a:pt x="263896" y="582107"/>
                      </a:lnTo>
                      <a:lnTo>
                        <a:pt x="247985" y="508589"/>
                      </a:lnTo>
                      <a:lnTo>
                        <a:pt x="242499" y="498165"/>
                      </a:lnTo>
                      <a:lnTo>
                        <a:pt x="237013" y="493227"/>
                      </a:lnTo>
                      <a:lnTo>
                        <a:pt x="243047" y="488290"/>
                      </a:lnTo>
                      <a:lnTo>
                        <a:pt x="322052" y="474574"/>
                      </a:lnTo>
                      <a:lnTo>
                        <a:pt x="326989" y="470733"/>
                      </a:lnTo>
                      <a:lnTo>
                        <a:pt x="321503" y="448239"/>
                      </a:lnTo>
                      <a:lnTo>
                        <a:pt x="349484" y="367589"/>
                      </a:lnTo>
                      <a:lnTo>
                        <a:pt x="365943" y="368137"/>
                      </a:lnTo>
                      <a:lnTo>
                        <a:pt x="372527" y="373075"/>
                      </a:lnTo>
                      <a:lnTo>
                        <a:pt x="384597" y="377464"/>
                      </a:lnTo>
                      <a:lnTo>
                        <a:pt x="408737" y="374721"/>
                      </a:lnTo>
                      <a:lnTo>
                        <a:pt x="421355" y="386243"/>
                      </a:lnTo>
                      <a:lnTo>
                        <a:pt x="431231" y="378013"/>
                      </a:lnTo>
                      <a:lnTo>
                        <a:pt x="447142" y="372527"/>
                      </a:lnTo>
                      <a:lnTo>
                        <a:pt x="450982" y="314919"/>
                      </a:lnTo>
                      <a:lnTo>
                        <a:pt x="458114" y="300655"/>
                      </a:lnTo>
                      <a:lnTo>
                        <a:pt x="469087" y="301203"/>
                      </a:lnTo>
                      <a:lnTo>
                        <a:pt x="482803" y="297911"/>
                      </a:lnTo>
                      <a:lnTo>
                        <a:pt x="493776" y="286390"/>
                      </a:lnTo>
                      <a:lnTo>
                        <a:pt x="500908" y="272674"/>
                      </a:lnTo>
                      <a:lnTo>
                        <a:pt x="517367" y="277612"/>
                      </a:lnTo>
                      <a:lnTo>
                        <a:pt x="528340" y="267188"/>
                      </a:lnTo>
                      <a:lnTo>
                        <a:pt x="532181" y="266639"/>
                      </a:lnTo>
                      <a:lnTo>
                        <a:pt x="532181" y="269382"/>
                      </a:lnTo>
                      <a:lnTo>
                        <a:pt x="541508" y="294620"/>
                      </a:lnTo>
                      <a:lnTo>
                        <a:pt x="562356" y="311079"/>
                      </a:lnTo>
                      <a:lnTo>
                        <a:pt x="569488" y="324795"/>
                      </a:lnTo>
                      <a:lnTo>
                        <a:pt x="579364" y="332476"/>
                      </a:lnTo>
                      <a:lnTo>
                        <a:pt x="584850" y="324795"/>
                      </a:lnTo>
                      <a:lnTo>
                        <a:pt x="595823" y="326989"/>
                      </a:lnTo>
                      <a:lnTo>
                        <a:pt x="605699" y="333024"/>
                      </a:lnTo>
                      <a:lnTo>
                        <a:pt x="616672" y="334122"/>
                      </a:lnTo>
                      <a:lnTo>
                        <a:pt x="643555" y="401604"/>
                      </a:lnTo>
                      <a:lnTo>
                        <a:pt x="645749" y="446593"/>
                      </a:lnTo>
                      <a:lnTo>
                        <a:pt x="640263" y="458663"/>
                      </a:lnTo>
                      <a:lnTo>
                        <a:pt x="639166" y="467990"/>
                      </a:lnTo>
                      <a:lnTo>
                        <a:pt x="644652" y="473476"/>
                      </a:lnTo>
                      <a:lnTo>
                        <a:pt x="706100" y="487741"/>
                      </a:lnTo>
                      <a:lnTo>
                        <a:pt x="723656" y="483901"/>
                      </a:lnTo>
                      <a:lnTo>
                        <a:pt x="804306" y="520111"/>
                      </a:lnTo>
                      <a:lnTo>
                        <a:pt x="812536" y="521208"/>
                      </a:lnTo>
                      <a:lnTo>
                        <a:pt x="869046" y="600212"/>
                      </a:lnTo>
                      <a:lnTo>
                        <a:pt x="878921" y="604053"/>
                      </a:lnTo>
                      <a:lnTo>
                        <a:pt x="1006206" y="595274"/>
                      </a:lnTo>
                      <a:lnTo>
                        <a:pt x="1047902" y="607893"/>
                      </a:lnTo>
                      <a:lnTo>
                        <a:pt x="1064362" y="623804"/>
                      </a:lnTo>
                      <a:lnTo>
                        <a:pt x="1130747" y="649041"/>
                      </a:lnTo>
                      <a:lnTo>
                        <a:pt x="1149949" y="650687"/>
                      </a:lnTo>
                      <a:lnTo>
                        <a:pt x="1154339" y="652333"/>
                      </a:lnTo>
                      <a:lnTo>
                        <a:pt x="1161471" y="657819"/>
                      </a:lnTo>
                      <a:lnTo>
                        <a:pt x="1169701" y="661111"/>
                      </a:lnTo>
                      <a:lnTo>
                        <a:pt x="1176284" y="659465"/>
                      </a:lnTo>
                      <a:lnTo>
                        <a:pt x="1190000" y="649590"/>
                      </a:lnTo>
                      <a:lnTo>
                        <a:pt x="1226759" y="637520"/>
                      </a:lnTo>
                      <a:lnTo>
                        <a:pt x="1231697" y="631485"/>
                      </a:lnTo>
                      <a:lnTo>
                        <a:pt x="1276685" y="618866"/>
                      </a:lnTo>
                      <a:lnTo>
                        <a:pt x="1294790" y="620512"/>
                      </a:lnTo>
                      <a:lnTo>
                        <a:pt x="1306312" y="616123"/>
                      </a:lnTo>
                      <a:lnTo>
                        <a:pt x="1324966" y="621609"/>
                      </a:lnTo>
                      <a:lnTo>
                        <a:pt x="1328806" y="619963"/>
                      </a:lnTo>
                      <a:lnTo>
                        <a:pt x="1348009" y="618866"/>
                      </a:lnTo>
                      <a:lnTo>
                        <a:pt x="1391351" y="595274"/>
                      </a:lnTo>
                      <a:lnTo>
                        <a:pt x="1397935" y="584850"/>
                      </a:lnTo>
                      <a:lnTo>
                        <a:pt x="1437437" y="551383"/>
                      </a:lnTo>
                      <a:lnTo>
                        <a:pt x="1435791" y="542056"/>
                      </a:lnTo>
                      <a:lnTo>
                        <a:pt x="1420978" y="521757"/>
                      </a:lnTo>
                      <a:lnTo>
                        <a:pt x="1423172" y="511881"/>
                      </a:lnTo>
                      <a:lnTo>
                        <a:pt x="1437985" y="487192"/>
                      </a:lnTo>
                      <a:lnTo>
                        <a:pt x="1452250" y="482254"/>
                      </a:lnTo>
                      <a:lnTo>
                        <a:pt x="1463223" y="486095"/>
                      </a:lnTo>
                      <a:lnTo>
                        <a:pt x="1471453" y="494873"/>
                      </a:lnTo>
                      <a:lnTo>
                        <a:pt x="1497787" y="498165"/>
                      </a:lnTo>
                      <a:lnTo>
                        <a:pt x="1516990" y="486644"/>
                      </a:lnTo>
                      <a:lnTo>
                        <a:pt x="1543324" y="457566"/>
                      </a:lnTo>
                      <a:lnTo>
                        <a:pt x="1559235" y="458114"/>
                      </a:lnTo>
                      <a:lnTo>
                        <a:pt x="1576792" y="448239"/>
                      </a:lnTo>
                      <a:lnTo>
                        <a:pt x="1621780" y="399959"/>
                      </a:lnTo>
                      <a:lnTo>
                        <a:pt x="1687068" y="391729"/>
                      </a:lnTo>
                      <a:lnTo>
                        <a:pt x="1712854" y="397215"/>
                      </a:lnTo>
                      <a:lnTo>
                        <a:pt x="1719438" y="393375"/>
                      </a:lnTo>
                      <a:lnTo>
                        <a:pt x="1718341" y="384597"/>
                      </a:lnTo>
                      <a:lnTo>
                        <a:pt x="1709562" y="378562"/>
                      </a:lnTo>
                      <a:lnTo>
                        <a:pt x="1710660" y="363200"/>
                      </a:lnTo>
                      <a:lnTo>
                        <a:pt x="1706271" y="354421"/>
                      </a:lnTo>
                      <a:lnTo>
                        <a:pt x="1677741" y="327538"/>
                      </a:lnTo>
                      <a:lnTo>
                        <a:pt x="1672804" y="318760"/>
                      </a:lnTo>
                      <a:lnTo>
                        <a:pt x="1640982" y="341254"/>
                      </a:lnTo>
                      <a:lnTo>
                        <a:pt x="1606418" y="347289"/>
                      </a:lnTo>
                      <a:lnTo>
                        <a:pt x="1578986" y="341254"/>
                      </a:lnTo>
                      <a:lnTo>
                        <a:pt x="1573500" y="330830"/>
                      </a:lnTo>
                      <a:lnTo>
                        <a:pt x="1570208" y="302301"/>
                      </a:lnTo>
                      <a:lnTo>
                        <a:pt x="1576792" y="290231"/>
                      </a:lnTo>
                      <a:lnTo>
                        <a:pt x="1576243" y="254569"/>
                      </a:lnTo>
                      <a:lnTo>
                        <a:pt x="1597640" y="218907"/>
                      </a:lnTo>
                      <a:lnTo>
                        <a:pt x="1603675" y="212872"/>
                      </a:lnTo>
                      <a:lnTo>
                        <a:pt x="1603675" y="210129"/>
                      </a:lnTo>
                      <a:lnTo>
                        <a:pt x="1658539" y="233721"/>
                      </a:lnTo>
                      <a:lnTo>
                        <a:pt x="1666768" y="231526"/>
                      </a:lnTo>
                      <a:lnTo>
                        <a:pt x="1711208" y="202997"/>
                      </a:lnTo>
                      <a:lnTo>
                        <a:pt x="1712305" y="198059"/>
                      </a:lnTo>
                      <a:lnTo>
                        <a:pt x="1710660" y="189829"/>
                      </a:lnTo>
                      <a:lnTo>
                        <a:pt x="1712854" y="181051"/>
                      </a:lnTo>
                      <a:lnTo>
                        <a:pt x="1724376" y="164592"/>
                      </a:lnTo>
                      <a:lnTo>
                        <a:pt x="1738092" y="117409"/>
                      </a:lnTo>
                      <a:lnTo>
                        <a:pt x="1750162" y="110277"/>
                      </a:lnTo>
                      <a:lnTo>
                        <a:pt x="1767169" y="91623"/>
                      </a:lnTo>
                      <a:lnTo>
                        <a:pt x="1767169" y="88331"/>
                      </a:lnTo>
                      <a:lnTo>
                        <a:pt x="1763878" y="81747"/>
                      </a:lnTo>
                      <a:lnTo>
                        <a:pt x="1764975" y="62545"/>
                      </a:lnTo>
                      <a:lnTo>
                        <a:pt x="1761135" y="59802"/>
                      </a:lnTo>
                      <a:lnTo>
                        <a:pt x="1740286" y="63642"/>
                      </a:lnTo>
                      <a:lnTo>
                        <a:pt x="1738092" y="59802"/>
                      </a:lnTo>
                      <a:lnTo>
                        <a:pt x="1741384" y="51023"/>
                      </a:lnTo>
                      <a:lnTo>
                        <a:pt x="1757843" y="35113"/>
                      </a:lnTo>
                      <a:lnTo>
                        <a:pt x="1762780" y="26335"/>
                      </a:lnTo>
                      <a:lnTo>
                        <a:pt x="1773753" y="18105"/>
                      </a:lnTo>
                      <a:lnTo>
                        <a:pt x="1875252" y="0"/>
                      </a:lnTo>
                      <a:lnTo>
                        <a:pt x="1907073" y="22494"/>
                      </a:lnTo>
                      <a:lnTo>
                        <a:pt x="1918045" y="25237"/>
                      </a:lnTo>
                      <a:lnTo>
                        <a:pt x="1931213" y="23591"/>
                      </a:lnTo>
                      <a:lnTo>
                        <a:pt x="1951512" y="30724"/>
                      </a:lnTo>
                      <a:lnTo>
                        <a:pt x="1965228" y="52669"/>
                      </a:lnTo>
                      <a:lnTo>
                        <a:pt x="1965777" y="60899"/>
                      </a:lnTo>
                      <a:lnTo>
                        <a:pt x="1977847" y="70226"/>
                      </a:lnTo>
                      <a:lnTo>
                        <a:pt x="1978944" y="75712"/>
                      </a:lnTo>
                      <a:lnTo>
                        <a:pt x="1979493" y="72420"/>
                      </a:lnTo>
                      <a:lnTo>
                        <a:pt x="2020092" y="198059"/>
                      </a:lnTo>
                      <a:lnTo>
                        <a:pt x="2019544" y="201351"/>
                      </a:lnTo>
                      <a:lnTo>
                        <a:pt x="2020092" y="201899"/>
                      </a:lnTo>
                      <a:lnTo>
                        <a:pt x="2021739" y="229331"/>
                      </a:lnTo>
                      <a:lnTo>
                        <a:pt x="2029968" y="236464"/>
                      </a:lnTo>
                      <a:lnTo>
                        <a:pt x="2045879" y="238110"/>
                      </a:lnTo>
                      <a:lnTo>
                        <a:pt x="2060143" y="233172"/>
                      </a:lnTo>
                      <a:lnTo>
                        <a:pt x="2096353" y="245242"/>
                      </a:lnTo>
                      <a:lnTo>
                        <a:pt x="2118299" y="265542"/>
                      </a:lnTo>
                      <a:lnTo>
                        <a:pt x="2128723" y="270479"/>
                      </a:lnTo>
                      <a:lnTo>
                        <a:pt x="2136953" y="270479"/>
                      </a:lnTo>
                      <a:lnTo>
                        <a:pt x="2140245" y="276515"/>
                      </a:lnTo>
                      <a:lnTo>
                        <a:pt x="2140245" y="279258"/>
                      </a:lnTo>
                      <a:lnTo>
                        <a:pt x="2141342" y="279258"/>
                      </a:lnTo>
                      <a:lnTo>
                        <a:pt x="2142439" y="289682"/>
                      </a:lnTo>
                      <a:lnTo>
                        <a:pt x="2146829" y="296266"/>
                      </a:lnTo>
                      <a:lnTo>
                        <a:pt x="2146829" y="319308"/>
                      </a:lnTo>
                      <a:lnTo>
                        <a:pt x="2158350" y="339059"/>
                      </a:lnTo>
                      <a:lnTo>
                        <a:pt x="2170420" y="338511"/>
                      </a:lnTo>
                      <a:lnTo>
                        <a:pt x="2183587" y="342351"/>
                      </a:lnTo>
                      <a:lnTo>
                        <a:pt x="2195657" y="340705"/>
                      </a:lnTo>
                      <a:lnTo>
                        <a:pt x="2240098" y="315468"/>
                      </a:lnTo>
                      <a:lnTo>
                        <a:pt x="2252716" y="314919"/>
                      </a:lnTo>
                      <a:lnTo>
                        <a:pt x="2297705" y="296266"/>
                      </a:lnTo>
                      <a:lnTo>
                        <a:pt x="2298253" y="298460"/>
                      </a:lnTo>
                      <a:lnTo>
                        <a:pt x="2292218" y="307787"/>
                      </a:lnTo>
                      <a:lnTo>
                        <a:pt x="2292218" y="320954"/>
                      </a:lnTo>
                      <a:lnTo>
                        <a:pt x="2296059" y="331927"/>
                      </a:lnTo>
                      <a:lnTo>
                        <a:pt x="2294412" y="345095"/>
                      </a:lnTo>
                      <a:lnTo>
                        <a:pt x="2276856" y="361005"/>
                      </a:lnTo>
                      <a:lnTo>
                        <a:pt x="2259848" y="426842"/>
                      </a:lnTo>
                      <a:lnTo>
                        <a:pt x="2237354" y="465247"/>
                      </a:lnTo>
                      <a:lnTo>
                        <a:pt x="2234062" y="478963"/>
                      </a:lnTo>
                      <a:lnTo>
                        <a:pt x="2225832" y="485546"/>
                      </a:lnTo>
                      <a:lnTo>
                        <a:pt x="2221992" y="483352"/>
                      </a:lnTo>
                      <a:lnTo>
                        <a:pt x="2187977" y="474574"/>
                      </a:lnTo>
                      <a:lnTo>
                        <a:pt x="2153961" y="503103"/>
                      </a:lnTo>
                      <a:lnTo>
                        <a:pt x="2159996" y="512430"/>
                      </a:lnTo>
                      <a:lnTo>
                        <a:pt x="2163836" y="571683"/>
                      </a:lnTo>
                      <a:lnTo>
                        <a:pt x="2152864" y="588691"/>
                      </a:lnTo>
                      <a:lnTo>
                        <a:pt x="2139148" y="600212"/>
                      </a:lnTo>
                      <a:lnTo>
                        <a:pt x="2139148" y="612282"/>
                      </a:lnTo>
                      <a:lnTo>
                        <a:pt x="2133661" y="611734"/>
                      </a:lnTo>
                      <a:lnTo>
                        <a:pt x="2128175" y="601858"/>
                      </a:lnTo>
                      <a:lnTo>
                        <a:pt x="2120494" y="594177"/>
                      </a:lnTo>
                      <a:lnTo>
                        <a:pt x="2113361" y="599663"/>
                      </a:lnTo>
                      <a:lnTo>
                        <a:pt x="2101291" y="624901"/>
                      </a:lnTo>
                      <a:lnTo>
                        <a:pt x="2079894" y="640263"/>
                      </a:lnTo>
                      <a:lnTo>
                        <a:pt x="2049719" y="644103"/>
                      </a:lnTo>
                      <a:lnTo>
                        <a:pt x="2046427" y="650138"/>
                      </a:lnTo>
                      <a:lnTo>
                        <a:pt x="2050817" y="672084"/>
                      </a:lnTo>
                      <a:lnTo>
                        <a:pt x="2022287" y="674827"/>
                      </a:lnTo>
                      <a:lnTo>
                        <a:pt x="2011863" y="668243"/>
                      </a:lnTo>
                      <a:lnTo>
                        <a:pt x="1999793" y="664952"/>
                      </a:lnTo>
                      <a:lnTo>
                        <a:pt x="1935053" y="715975"/>
                      </a:lnTo>
                      <a:lnTo>
                        <a:pt x="1924629" y="720364"/>
                      </a:lnTo>
                      <a:lnTo>
                        <a:pt x="1905427" y="745053"/>
                      </a:lnTo>
                      <a:lnTo>
                        <a:pt x="1904329" y="746699"/>
                      </a:lnTo>
                      <a:lnTo>
                        <a:pt x="1871960" y="756574"/>
                      </a:lnTo>
                      <a:lnTo>
                        <a:pt x="1868119" y="752185"/>
                      </a:lnTo>
                      <a:lnTo>
                        <a:pt x="1854952" y="762061"/>
                      </a:lnTo>
                      <a:lnTo>
                        <a:pt x="1830812" y="771937"/>
                      </a:lnTo>
                      <a:lnTo>
                        <a:pt x="1824777" y="777971"/>
                      </a:lnTo>
                      <a:lnTo>
                        <a:pt x="1819839" y="786750"/>
                      </a:lnTo>
                      <a:lnTo>
                        <a:pt x="1812158" y="792785"/>
                      </a:lnTo>
                      <a:lnTo>
                        <a:pt x="1806123" y="792785"/>
                      </a:lnTo>
                      <a:lnTo>
                        <a:pt x="1801734" y="796625"/>
                      </a:lnTo>
                      <a:lnTo>
                        <a:pt x="1789115" y="803209"/>
                      </a:lnTo>
                      <a:lnTo>
                        <a:pt x="1785275" y="799917"/>
                      </a:lnTo>
                      <a:lnTo>
                        <a:pt x="1791310" y="791687"/>
                      </a:lnTo>
                      <a:lnTo>
                        <a:pt x="1801185" y="788944"/>
                      </a:lnTo>
                      <a:lnTo>
                        <a:pt x="1806123" y="773582"/>
                      </a:lnTo>
                      <a:lnTo>
                        <a:pt x="1795699" y="766999"/>
                      </a:lnTo>
                      <a:lnTo>
                        <a:pt x="1790761" y="765353"/>
                      </a:lnTo>
                      <a:lnTo>
                        <a:pt x="1797345" y="762061"/>
                      </a:lnTo>
                      <a:lnTo>
                        <a:pt x="1798991" y="753831"/>
                      </a:lnTo>
                      <a:lnTo>
                        <a:pt x="1806123" y="748345"/>
                      </a:lnTo>
                      <a:lnTo>
                        <a:pt x="1826423" y="719267"/>
                      </a:lnTo>
                      <a:lnTo>
                        <a:pt x="1824777" y="713781"/>
                      </a:lnTo>
                      <a:lnTo>
                        <a:pt x="1816547" y="704454"/>
                      </a:lnTo>
                      <a:lnTo>
                        <a:pt x="1813804" y="695675"/>
                      </a:lnTo>
                      <a:lnTo>
                        <a:pt x="1810512" y="691286"/>
                      </a:lnTo>
                      <a:lnTo>
                        <a:pt x="1806672" y="695675"/>
                      </a:lnTo>
                      <a:lnTo>
                        <a:pt x="1790761" y="696773"/>
                      </a:lnTo>
                      <a:lnTo>
                        <a:pt x="1784726" y="699516"/>
                      </a:lnTo>
                      <a:lnTo>
                        <a:pt x="1757843" y="733532"/>
                      </a:lnTo>
                      <a:lnTo>
                        <a:pt x="1722730" y="752734"/>
                      </a:lnTo>
                      <a:lnTo>
                        <a:pt x="1716146" y="771388"/>
                      </a:lnTo>
                      <a:lnTo>
                        <a:pt x="1710111" y="777423"/>
                      </a:lnTo>
                      <a:lnTo>
                        <a:pt x="1703527" y="781812"/>
                      </a:lnTo>
                      <a:lnTo>
                        <a:pt x="1678290" y="786201"/>
                      </a:lnTo>
                      <a:lnTo>
                        <a:pt x="1673901" y="783458"/>
                      </a:lnTo>
                      <a:lnTo>
                        <a:pt x="1665671" y="782361"/>
                      </a:lnTo>
                      <a:lnTo>
                        <a:pt x="1659088" y="788944"/>
                      </a:lnTo>
                      <a:lnTo>
                        <a:pt x="1653052" y="814182"/>
                      </a:lnTo>
                      <a:lnTo>
                        <a:pt x="1667866" y="833384"/>
                      </a:lnTo>
                      <a:lnTo>
                        <a:pt x="1673352" y="836127"/>
                      </a:lnTo>
                      <a:lnTo>
                        <a:pt x="1678290" y="836127"/>
                      </a:lnTo>
                      <a:lnTo>
                        <a:pt x="1682130" y="841065"/>
                      </a:lnTo>
                      <a:lnTo>
                        <a:pt x="1687617" y="841065"/>
                      </a:lnTo>
                      <a:lnTo>
                        <a:pt x="1690909" y="848746"/>
                      </a:lnTo>
                      <a:lnTo>
                        <a:pt x="1698041" y="854233"/>
                      </a:lnTo>
                      <a:lnTo>
                        <a:pt x="1699687" y="866302"/>
                      </a:lnTo>
                      <a:lnTo>
                        <a:pt x="1705173" y="873983"/>
                      </a:lnTo>
                      <a:lnTo>
                        <a:pt x="1723827" y="881116"/>
                      </a:lnTo>
                      <a:lnTo>
                        <a:pt x="1733154" y="880018"/>
                      </a:lnTo>
                      <a:lnTo>
                        <a:pt x="1741384" y="869046"/>
                      </a:lnTo>
                      <a:lnTo>
                        <a:pt x="1749064" y="863011"/>
                      </a:lnTo>
                      <a:lnTo>
                        <a:pt x="1754002" y="855878"/>
                      </a:lnTo>
                      <a:lnTo>
                        <a:pt x="1769364" y="848746"/>
                      </a:lnTo>
                      <a:lnTo>
                        <a:pt x="1774302" y="847649"/>
                      </a:lnTo>
                      <a:lnTo>
                        <a:pt x="1788018" y="859719"/>
                      </a:lnTo>
                      <a:lnTo>
                        <a:pt x="1795150" y="860267"/>
                      </a:lnTo>
                      <a:lnTo>
                        <a:pt x="1800088" y="865754"/>
                      </a:lnTo>
                      <a:lnTo>
                        <a:pt x="1813804" y="865205"/>
                      </a:lnTo>
                      <a:lnTo>
                        <a:pt x="1819839" y="861913"/>
                      </a:lnTo>
                      <a:lnTo>
                        <a:pt x="1828617" y="865754"/>
                      </a:lnTo>
                      <a:lnTo>
                        <a:pt x="1837396" y="867400"/>
                      </a:lnTo>
                      <a:lnTo>
                        <a:pt x="1840139" y="868497"/>
                      </a:lnTo>
                      <a:lnTo>
                        <a:pt x="1837944" y="877824"/>
                      </a:lnTo>
                      <a:lnTo>
                        <a:pt x="1834652" y="883859"/>
                      </a:lnTo>
                      <a:lnTo>
                        <a:pt x="1834652" y="886602"/>
                      </a:lnTo>
                      <a:lnTo>
                        <a:pt x="1828069" y="894832"/>
                      </a:lnTo>
                      <a:lnTo>
                        <a:pt x="1825325" y="892637"/>
                      </a:lnTo>
                      <a:lnTo>
                        <a:pt x="1822582" y="886054"/>
                      </a:lnTo>
                      <a:lnTo>
                        <a:pt x="1818742" y="888797"/>
                      </a:lnTo>
                      <a:lnTo>
                        <a:pt x="1814353" y="887151"/>
                      </a:lnTo>
                      <a:lnTo>
                        <a:pt x="1809415" y="890991"/>
                      </a:lnTo>
                      <a:lnTo>
                        <a:pt x="1805026" y="897575"/>
                      </a:lnTo>
                      <a:lnTo>
                        <a:pt x="1790212" y="899221"/>
                      </a:lnTo>
                      <a:lnTo>
                        <a:pt x="1781983" y="904159"/>
                      </a:lnTo>
                      <a:lnTo>
                        <a:pt x="1773753" y="904159"/>
                      </a:lnTo>
                      <a:lnTo>
                        <a:pt x="1775399" y="912937"/>
                      </a:lnTo>
                      <a:lnTo>
                        <a:pt x="1773753" y="912937"/>
                      </a:lnTo>
                      <a:lnTo>
                        <a:pt x="1769913" y="916777"/>
                      </a:lnTo>
                      <a:lnTo>
                        <a:pt x="1764975" y="927750"/>
                      </a:lnTo>
                      <a:lnTo>
                        <a:pt x="1757843" y="928847"/>
                      </a:lnTo>
                      <a:lnTo>
                        <a:pt x="1756197" y="921715"/>
                      </a:lnTo>
                      <a:lnTo>
                        <a:pt x="1749613" y="921715"/>
                      </a:lnTo>
                      <a:lnTo>
                        <a:pt x="1744675" y="927202"/>
                      </a:lnTo>
                      <a:lnTo>
                        <a:pt x="1750162" y="933237"/>
                      </a:lnTo>
                      <a:lnTo>
                        <a:pt x="1741932" y="945307"/>
                      </a:lnTo>
                      <a:lnTo>
                        <a:pt x="1729862" y="952439"/>
                      </a:lnTo>
                      <a:lnTo>
                        <a:pt x="1712305" y="984260"/>
                      </a:lnTo>
                      <a:lnTo>
                        <a:pt x="1713403" y="990295"/>
                      </a:lnTo>
                      <a:lnTo>
                        <a:pt x="1750162" y="1008949"/>
                      </a:lnTo>
                      <a:lnTo>
                        <a:pt x="1754551" y="1014984"/>
                      </a:lnTo>
                      <a:lnTo>
                        <a:pt x="1757843" y="1026505"/>
                      </a:lnTo>
                      <a:lnTo>
                        <a:pt x="1762780" y="1033089"/>
                      </a:lnTo>
                      <a:lnTo>
                        <a:pt x="1776496" y="1081369"/>
                      </a:lnTo>
                      <a:lnTo>
                        <a:pt x="1782532" y="1090148"/>
                      </a:lnTo>
                      <a:lnTo>
                        <a:pt x="1791310" y="1094537"/>
                      </a:lnTo>
                      <a:lnTo>
                        <a:pt x="1792407" y="1101669"/>
                      </a:lnTo>
                      <a:lnTo>
                        <a:pt x="1812158" y="1125261"/>
                      </a:lnTo>
                      <a:lnTo>
                        <a:pt x="1812158" y="1127455"/>
                      </a:lnTo>
                      <a:lnTo>
                        <a:pt x="1789664" y="1118677"/>
                      </a:lnTo>
                      <a:lnTo>
                        <a:pt x="1781983" y="1118128"/>
                      </a:lnTo>
                      <a:lnTo>
                        <a:pt x="1764426" y="1109350"/>
                      </a:lnTo>
                      <a:lnTo>
                        <a:pt x="1746321" y="1113190"/>
                      </a:lnTo>
                      <a:lnTo>
                        <a:pt x="1746321" y="1117580"/>
                      </a:lnTo>
                      <a:lnTo>
                        <a:pt x="1763878" y="1113739"/>
                      </a:lnTo>
                      <a:lnTo>
                        <a:pt x="1767169" y="1116482"/>
                      </a:lnTo>
                      <a:lnTo>
                        <a:pt x="1769364" y="1121420"/>
                      </a:lnTo>
                      <a:lnTo>
                        <a:pt x="1776496" y="1122517"/>
                      </a:lnTo>
                      <a:lnTo>
                        <a:pt x="1785275" y="1128004"/>
                      </a:lnTo>
                      <a:lnTo>
                        <a:pt x="1792407" y="1136233"/>
                      </a:lnTo>
                      <a:lnTo>
                        <a:pt x="1801734" y="1141720"/>
                      </a:lnTo>
                      <a:lnTo>
                        <a:pt x="1812707" y="1158179"/>
                      </a:lnTo>
                      <a:lnTo>
                        <a:pt x="1812158" y="1160922"/>
                      </a:lnTo>
                      <a:lnTo>
                        <a:pt x="1802283" y="1161471"/>
                      </a:lnTo>
                      <a:lnTo>
                        <a:pt x="1795699" y="1168603"/>
                      </a:lnTo>
                      <a:lnTo>
                        <a:pt x="1782532" y="1174638"/>
                      </a:lnTo>
                      <a:lnTo>
                        <a:pt x="1780337" y="1177930"/>
                      </a:lnTo>
                      <a:lnTo>
                        <a:pt x="1772107" y="1182868"/>
                      </a:lnTo>
                      <a:lnTo>
                        <a:pt x="1754002" y="1184514"/>
                      </a:lnTo>
                      <a:lnTo>
                        <a:pt x="1746870" y="1188354"/>
                      </a:lnTo>
                      <a:lnTo>
                        <a:pt x="1754551" y="1187257"/>
                      </a:lnTo>
                      <a:lnTo>
                        <a:pt x="1771010" y="1193292"/>
                      </a:lnTo>
                      <a:lnTo>
                        <a:pt x="1785275" y="1187257"/>
                      </a:lnTo>
                      <a:lnTo>
                        <a:pt x="1790761" y="1188903"/>
                      </a:lnTo>
                      <a:lnTo>
                        <a:pt x="1796796" y="1194389"/>
                      </a:lnTo>
                      <a:lnTo>
                        <a:pt x="1798991" y="1198230"/>
                      </a:lnTo>
                      <a:lnTo>
                        <a:pt x="1807769" y="1202619"/>
                      </a:lnTo>
                      <a:lnTo>
                        <a:pt x="1813255" y="1202619"/>
                      </a:lnTo>
                      <a:lnTo>
                        <a:pt x="1816547" y="1203716"/>
                      </a:lnTo>
                      <a:lnTo>
                        <a:pt x="1796248" y="1220724"/>
                      </a:lnTo>
                      <a:lnTo>
                        <a:pt x="1798991" y="1220724"/>
                      </a:lnTo>
                      <a:lnTo>
                        <a:pt x="1809415" y="1215786"/>
                      </a:lnTo>
                      <a:lnTo>
                        <a:pt x="1808866" y="1231697"/>
                      </a:lnTo>
                      <a:lnTo>
                        <a:pt x="1807769" y="1229502"/>
                      </a:lnTo>
                      <a:lnTo>
                        <a:pt x="1803928" y="1231697"/>
                      </a:lnTo>
                      <a:lnTo>
                        <a:pt x="1796248" y="1233891"/>
                      </a:lnTo>
                      <a:lnTo>
                        <a:pt x="1795699" y="1236086"/>
                      </a:lnTo>
                      <a:lnTo>
                        <a:pt x="1799539" y="1243218"/>
                      </a:lnTo>
                      <a:lnTo>
                        <a:pt x="1797893" y="1252545"/>
                      </a:lnTo>
                      <a:lnTo>
                        <a:pt x="1795150" y="1255288"/>
                      </a:lnTo>
                      <a:lnTo>
                        <a:pt x="1795699" y="1267358"/>
                      </a:lnTo>
                      <a:lnTo>
                        <a:pt x="1790761" y="1277234"/>
                      </a:lnTo>
                      <a:lnTo>
                        <a:pt x="1788018" y="1275588"/>
                      </a:lnTo>
                      <a:lnTo>
                        <a:pt x="1784726" y="1271199"/>
                      </a:lnTo>
                      <a:lnTo>
                        <a:pt x="1780885" y="1273942"/>
                      </a:lnTo>
                      <a:lnTo>
                        <a:pt x="1761135" y="1304117"/>
                      </a:lnTo>
                      <a:lnTo>
                        <a:pt x="1760586" y="1308506"/>
                      </a:lnTo>
                      <a:lnTo>
                        <a:pt x="1753453" y="1321674"/>
                      </a:lnTo>
                      <a:lnTo>
                        <a:pt x="1743029" y="1331001"/>
                      </a:lnTo>
                      <a:lnTo>
                        <a:pt x="1741384" y="1340876"/>
                      </a:lnTo>
                      <a:lnTo>
                        <a:pt x="1736994" y="1345265"/>
                      </a:lnTo>
                      <a:lnTo>
                        <a:pt x="1735897" y="1344168"/>
                      </a:lnTo>
                      <a:lnTo>
                        <a:pt x="1734800" y="1334293"/>
                      </a:lnTo>
                      <a:lnTo>
                        <a:pt x="1729313" y="1335390"/>
                      </a:lnTo>
                      <a:lnTo>
                        <a:pt x="1723827" y="1339779"/>
                      </a:lnTo>
                      <a:lnTo>
                        <a:pt x="1729862" y="1351300"/>
                      </a:lnTo>
                      <a:lnTo>
                        <a:pt x="1729862" y="1354044"/>
                      </a:lnTo>
                      <a:lnTo>
                        <a:pt x="1726021" y="1364468"/>
                      </a:lnTo>
                      <a:lnTo>
                        <a:pt x="1726021" y="1368308"/>
                      </a:lnTo>
                      <a:lnTo>
                        <a:pt x="1723278" y="1376538"/>
                      </a:lnTo>
                      <a:lnTo>
                        <a:pt x="1721632" y="1378732"/>
                      </a:lnTo>
                      <a:lnTo>
                        <a:pt x="1719438" y="1379281"/>
                      </a:lnTo>
                      <a:lnTo>
                        <a:pt x="1718889" y="1383670"/>
                      </a:lnTo>
                      <a:lnTo>
                        <a:pt x="1720535" y="1389157"/>
                      </a:lnTo>
                      <a:lnTo>
                        <a:pt x="1718889" y="1391351"/>
                      </a:lnTo>
                      <a:lnTo>
                        <a:pt x="1716146" y="1389705"/>
                      </a:lnTo>
                      <a:lnTo>
                        <a:pt x="1711757" y="1389157"/>
                      </a:lnTo>
                      <a:lnTo>
                        <a:pt x="1709014" y="1392997"/>
                      </a:lnTo>
                      <a:lnTo>
                        <a:pt x="1710660" y="1397935"/>
                      </a:lnTo>
                      <a:lnTo>
                        <a:pt x="1707916" y="1401226"/>
                      </a:lnTo>
                      <a:lnTo>
                        <a:pt x="1705173" y="1399581"/>
                      </a:lnTo>
                      <a:lnTo>
                        <a:pt x="1700784" y="1400678"/>
                      </a:lnTo>
                      <a:lnTo>
                        <a:pt x="1696944" y="1411102"/>
                      </a:lnTo>
                      <a:lnTo>
                        <a:pt x="1692006" y="1414394"/>
                      </a:lnTo>
                      <a:lnTo>
                        <a:pt x="1690909" y="1421526"/>
                      </a:lnTo>
                      <a:lnTo>
                        <a:pt x="1687068" y="1424818"/>
                      </a:lnTo>
                      <a:lnTo>
                        <a:pt x="1675547" y="1427013"/>
                      </a:lnTo>
                      <a:lnTo>
                        <a:pt x="1670060" y="1425367"/>
                      </a:lnTo>
                      <a:lnTo>
                        <a:pt x="1665123" y="1430305"/>
                      </a:lnTo>
                      <a:lnTo>
                        <a:pt x="1665123" y="1431950"/>
                      </a:lnTo>
                      <a:lnTo>
                        <a:pt x="1667866" y="1435791"/>
                      </a:lnTo>
                      <a:lnTo>
                        <a:pt x="1665123" y="1442374"/>
                      </a:lnTo>
                      <a:lnTo>
                        <a:pt x="1655796" y="1451153"/>
                      </a:lnTo>
                      <a:lnTo>
                        <a:pt x="1652504" y="1451153"/>
                      </a:lnTo>
                      <a:lnTo>
                        <a:pt x="1650309" y="1459382"/>
                      </a:lnTo>
                      <a:lnTo>
                        <a:pt x="1648663" y="1453896"/>
                      </a:lnTo>
                      <a:lnTo>
                        <a:pt x="1644823" y="1457188"/>
                      </a:lnTo>
                      <a:lnTo>
                        <a:pt x="1644274" y="1462674"/>
                      </a:lnTo>
                      <a:lnTo>
                        <a:pt x="1641531" y="1461028"/>
                      </a:lnTo>
                      <a:lnTo>
                        <a:pt x="1639336" y="1461028"/>
                      </a:lnTo>
                      <a:lnTo>
                        <a:pt x="1632753" y="1466515"/>
                      </a:lnTo>
                      <a:lnTo>
                        <a:pt x="1630009" y="1465417"/>
                      </a:lnTo>
                      <a:lnTo>
                        <a:pt x="1625072" y="1467063"/>
                      </a:lnTo>
                      <a:lnTo>
                        <a:pt x="1611356" y="1486814"/>
                      </a:lnTo>
                      <a:lnTo>
                        <a:pt x="1586118" y="1498885"/>
                      </a:lnTo>
                      <a:lnTo>
                        <a:pt x="1576792" y="1496141"/>
                      </a:lnTo>
                      <a:lnTo>
                        <a:pt x="1574048" y="1498885"/>
                      </a:lnTo>
                      <a:lnTo>
                        <a:pt x="1573500" y="1502176"/>
                      </a:lnTo>
                      <a:lnTo>
                        <a:pt x="1568562" y="1503274"/>
                      </a:lnTo>
                      <a:lnTo>
                        <a:pt x="1565270" y="1501628"/>
                      </a:lnTo>
                      <a:lnTo>
                        <a:pt x="1564721" y="1498336"/>
                      </a:lnTo>
                      <a:lnTo>
                        <a:pt x="1559235" y="1496141"/>
                      </a:lnTo>
                      <a:lnTo>
                        <a:pt x="1553200" y="1500530"/>
                      </a:lnTo>
                      <a:lnTo>
                        <a:pt x="1549360" y="1506017"/>
                      </a:lnTo>
                      <a:lnTo>
                        <a:pt x="1544422" y="1506017"/>
                      </a:lnTo>
                      <a:lnTo>
                        <a:pt x="1542776" y="1502176"/>
                      </a:lnTo>
                      <a:lnTo>
                        <a:pt x="1542776" y="1498885"/>
                      </a:lnTo>
                      <a:lnTo>
                        <a:pt x="1536741" y="1501079"/>
                      </a:lnTo>
                      <a:lnTo>
                        <a:pt x="1536741" y="1508211"/>
                      </a:lnTo>
                      <a:lnTo>
                        <a:pt x="1536192" y="150876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51" name="Graphic 7">
                  <a:extLst>
                    <a:ext uri="{FF2B5EF4-FFF2-40B4-BE49-F238E27FC236}">
                      <a16:creationId xmlns:a16="http://schemas.microsoft.com/office/drawing/2014/main" id="{55E36213-DADC-117F-E879-725F7EBE92B5}"/>
                    </a:ext>
                  </a:extLst>
                </p:cNvPr>
                <p:cNvSpPr/>
                <p:nvPr/>
              </p:nvSpPr>
              <p:spPr>
                <a:xfrm>
                  <a:off x="8123837" y="4232176"/>
                  <a:ext cx="4286" cy="9001"/>
                </a:xfrm>
                <a:custGeom>
                  <a:avLst/>
                  <a:gdLst>
                    <a:gd name="connsiteX0" fmla="*/ 1646 w 5486"/>
                    <a:gd name="connsiteY0" fmla="*/ 1097 h 11521"/>
                    <a:gd name="connsiteX1" fmla="*/ 0 w 5486"/>
                    <a:gd name="connsiteY1" fmla="*/ 1646 h 11521"/>
                    <a:gd name="connsiteX2" fmla="*/ 0 w 5486"/>
                    <a:gd name="connsiteY2" fmla="*/ 7681 h 11521"/>
                    <a:gd name="connsiteX3" fmla="*/ 1646 w 5486"/>
                    <a:gd name="connsiteY3" fmla="*/ 11521 h 11521"/>
                    <a:gd name="connsiteX4" fmla="*/ 5486 w 5486"/>
                    <a:gd name="connsiteY4" fmla="*/ 8230 h 11521"/>
                    <a:gd name="connsiteX5" fmla="*/ 5486 w 5486"/>
                    <a:gd name="connsiteY5" fmla="*/ 3841 h 11521"/>
                    <a:gd name="connsiteX6" fmla="*/ 2743 w 5486"/>
                    <a:gd name="connsiteY6" fmla="*/ 0 h 11521"/>
                    <a:gd name="connsiteX7" fmla="*/ 1646 w 5486"/>
                    <a:gd name="connsiteY7" fmla="*/ 1097 h 115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5486" h="11521">
                      <a:moveTo>
                        <a:pt x="1646" y="1097"/>
                      </a:moveTo>
                      <a:lnTo>
                        <a:pt x="0" y="1646"/>
                      </a:lnTo>
                      <a:lnTo>
                        <a:pt x="0" y="7681"/>
                      </a:lnTo>
                      <a:lnTo>
                        <a:pt x="1646" y="11521"/>
                      </a:lnTo>
                      <a:lnTo>
                        <a:pt x="5486" y="8230"/>
                      </a:lnTo>
                      <a:lnTo>
                        <a:pt x="5486" y="3841"/>
                      </a:lnTo>
                      <a:lnTo>
                        <a:pt x="2743" y="0"/>
                      </a:lnTo>
                      <a:lnTo>
                        <a:pt x="1646" y="1097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52" name="Graphic 7">
                  <a:extLst>
                    <a:ext uri="{FF2B5EF4-FFF2-40B4-BE49-F238E27FC236}">
                      <a16:creationId xmlns:a16="http://schemas.microsoft.com/office/drawing/2014/main" id="{DD671D31-1FE9-EBDE-E23A-0BD055A362E3}"/>
                    </a:ext>
                  </a:extLst>
                </p:cNvPr>
                <p:cNvSpPr/>
                <p:nvPr/>
              </p:nvSpPr>
              <p:spPr>
                <a:xfrm>
                  <a:off x="8103263" y="3852828"/>
                  <a:ext cx="230609" cy="451788"/>
                </a:xfrm>
                <a:custGeom>
                  <a:avLst/>
                  <a:gdLst>
                    <a:gd name="connsiteX0" fmla="*/ 98206 w 295168"/>
                    <a:gd name="connsiteY0" fmla="*/ 0 h 578266"/>
                    <a:gd name="connsiteX1" fmla="*/ 94366 w 295168"/>
                    <a:gd name="connsiteY1" fmla="*/ 1646 h 578266"/>
                    <a:gd name="connsiteX2" fmla="*/ 86137 w 295168"/>
                    <a:gd name="connsiteY2" fmla="*/ 16459 h 578266"/>
                    <a:gd name="connsiteX3" fmla="*/ 76261 w 295168"/>
                    <a:gd name="connsiteY3" fmla="*/ 18105 h 578266"/>
                    <a:gd name="connsiteX4" fmla="*/ 45537 w 295168"/>
                    <a:gd name="connsiteY4" fmla="*/ 41148 h 578266"/>
                    <a:gd name="connsiteX5" fmla="*/ 16459 w 295168"/>
                    <a:gd name="connsiteY5" fmla="*/ 45537 h 578266"/>
                    <a:gd name="connsiteX6" fmla="*/ 4938 w 295168"/>
                    <a:gd name="connsiteY6" fmla="*/ 80650 h 578266"/>
                    <a:gd name="connsiteX7" fmla="*/ 6035 w 295168"/>
                    <a:gd name="connsiteY7" fmla="*/ 87782 h 578266"/>
                    <a:gd name="connsiteX8" fmla="*/ 0 w 295168"/>
                    <a:gd name="connsiteY8" fmla="*/ 92171 h 578266"/>
                    <a:gd name="connsiteX9" fmla="*/ 12070 w 295168"/>
                    <a:gd name="connsiteY9" fmla="*/ 123993 h 578266"/>
                    <a:gd name="connsiteX10" fmla="*/ 27981 w 295168"/>
                    <a:gd name="connsiteY10" fmla="*/ 136063 h 578266"/>
                    <a:gd name="connsiteX11" fmla="*/ 32918 w 295168"/>
                    <a:gd name="connsiteY11" fmla="*/ 142646 h 578266"/>
                    <a:gd name="connsiteX12" fmla="*/ 35113 w 295168"/>
                    <a:gd name="connsiteY12" fmla="*/ 172822 h 578266"/>
                    <a:gd name="connsiteX13" fmla="*/ 42245 w 295168"/>
                    <a:gd name="connsiteY13" fmla="*/ 173370 h 578266"/>
                    <a:gd name="connsiteX14" fmla="*/ 44440 w 295168"/>
                    <a:gd name="connsiteY14" fmla="*/ 179954 h 578266"/>
                    <a:gd name="connsiteX15" fmla="*/ 40599 w 295168"/>
                    <a:gd name="connsiteY15" fmla="*/ 183794 h 578266"/>
                    <a:gd name="connsiteX16" fmla="*/ 35113 w 295168"/>
                    <a:gd name="connsiteY16" fmla="*/ 199156 h 578266"/>
                    <a:gd name="connsiteX17" fmla="*/ 34564 w 295168"/>
                    <a:gd name="connsiteY17" fmla="*/ 207386 h 578266"/>
                    <a:gd name="connsiteX18" fmla="*/ 26335 w 295168"/>
                    <a:gd name="connsiteY18" fmla="*/ 215615 h 578266"/>
                    <a:gd name="connsiteX19" fmla="*/ 23591 w 295168"/>
                    <a:gd name="connsiteY19" fmla="*/ 221102 h 578266"/>
                    <a:gd name="connsiteX20" fmla="*/ 22494 w 295168"/>
                    <a:gd name="connsiteY20" fmla="*/ 230429 h 578266"/>
                    <a:gd name="connsiteX21" fmla="*/ 26883 w 295168"/>
                    <a:gd name="connsiteY21" fmla="*/ 241950 h 578266"/>
                    <a:gd name="connsiteX22" fmla="*/ 52669 w 295168"/>
                    <a:gd name="connsiteY22" fmla="*/ 264445 h 578266"/>
                    <a:gd name="connsiteX23" fmla="*/ 60899 w 295168"/>
                    <a:gd name="connsiteY23" fmla="*/ 309433 h 578266"/>
                    <a:gd name="connsiteX24" fmla="*/ 61996 w 295168"/>
                    <a:gd name="connsiteY24" fmla="*/ 309982 h 578266"/>
                    <a:gd name="connsiteX25" fmla="*/ 76261 w 295168"/>
                    <a:gd name="connsiteY25" fmla="*/ 343997 h 578266"/>
                    <a:gd name="connsiteX26" fmla="*/ 75164 w 295168"/>
                    <a:gd name="connsiteY26" fmla="*/ 348935 h 578266"/>
                    <a:gd name="connsiteX27" fmla="*/ 61996 w 295168"/>
                    <a:gd name="connsiteY27" fmla="*/ 368686 h 578266"/>
                    <a:gd name="connsiteX28" fmla="*/ 54864 w 295168"/>
                    <a:gd name="connsiteY28" fmla="*/ 374721 h 578266"/>
                    <a:gd name="connsiteX29" fmla="*/ 25786 w 295168"/>
                    <a:gd name="connsiteY29" fmla="*/ 476219 h 578266"/>
                    <a:gd name="connsiteX30" fmla="*/ 27981 w 295168"/>
                    <a:gd name="connsiteY30" fmla="*/ 482803 h 578266"/>
                    <a:gd name="connsiteX31" fmla="*/ 41148 w 295168"/>
                    <a:gd name="connsiteY31" fmla="*/ 481706 h 578266"/>
                    <a:gd name="connsiteX32" fmla="*/ 54864 w 295168"/>
                    <a:gd name="connsiteY32" fmla="*/ 496519 h 578266"/>
                    <a:gd name="connsiteX33" fmla="*/ 58705 w 295168"/>
                    <a:gd name="connsiteY33" fmla="*/ 498714 h 578266"/>
                    <a:gd name="connsiteX34" fmla="*/ 76810 w 295168"/>
                    <a:gd name="connsiteY34" fmla="*/ 520111 h 578266"/>
                    <a:gd name="connsiteX35" fmla="*/ 80650 w 295168"/>
                    <a:gd name="connsiteY35" fmla="*/ 529986 h 578266"/>
                    <a:gd name="connsiteX36" fmla="*/ 99304 w 295168"/>
                    <a:gd name="connsiteY36" fmla="*/ 549737 h 578266"/>
                    <a:gd name="connsiteX37" fmla="*/ 96012 w 295168"/>
                    <a:gd name="connsiteY37" fmla="*/ 539313 h 578266"/>
                    <a:gd name="connsiteX38" fmla="*/ 104242 w 295168"/>
                    <a:gd name="connsiteY38" fmla="*/ 539313 h 578266"/>
                    <a:gd name="connsiteX39" fmla="*/ 109728 w 295168"/>
                    <a:gd name="connsiteY39" fmla="*/ 545897 h 578266"/>
                    <a:gd name="connsiteX40" fmla="*/ 127833 w 295168"/>
                    <a:gd name="connsiteY40" fmla="*/ 548640 h 578266"/>
                    <a:gd name="connsiteX41" fmla="*/ 134965 w 295168"/>
                    <a:gd name="connsiteY41" fmla="*/ 559064 h 578266"/>
                    <a:gd name="connsiteX42" fmla="*/ 132771 w 295168"/>
                    <a:gd name="connsiteY42" fmla="*/ 570037 h 578266"/>
                    <a:gd name="connsiteX43" fmla="*/ 136063 w 295168"/>
                    <a:gd name="connsiteY43" fmla="*/ 578267 h 578266"/>
                    <a:gd name="connsiteX44" fmla="*/ 151973 w 295168"/>
                    <a:gd name="connsiteY44" fmla="*/ 567294 h 578266"/>
                    <a:gd name="connsiteX45" fmla="*/ 159106 w 295168"/>
                    <a:gd name="connsiteY45" fmla="*/ 568940 h 578266"/>
                    <a:gd name="connsiteX46" fmla="*/ 166786 w 295168"/>
                    <a:gd name="connsiteY46" fmla="*/ 567842 h 578266"/>
                    <a:gd name="connsiteX47" fmla="*/ 171724 w 295168"/>
                    <a:gd name="connsiteY47" fmla="*/ 559064 h 578266"/>
                    <a:gd name="connsiteX48" fmla="*/ 147584 w 295168"/>
                    <a:gd name="connsiteY48" fmla="*/ 532729 h 578266"/>
                    <a:gd name="connsiteX49" fmla="*/ 123993 w 295168"/>
                    <a:gd name="connsiteY49" fmla="*/ 529438 h 578266"/>
                    <a:gd name="connsiteX50" fmla="*/ 111374 w 295168"/>
                    <a:gd name="connsiteY50" fmla="*/ 516270 h 578266"/>
                    <a:gd name="connsiteX51" fmla="*/ 103693 w 295168"/>
                    <a:gd name="connsiteY51" fmla="*/ 485546 h 578266"/>
                    <a:gd name="connsiteX52" fmla="*/ 93269 w 295168"/>
                    <a:gd name="connsiteY52" fmla="*/ 472379 h 578266"/>
                    <a:gd name="connsiteX53" fmla="*/ 88880 w 295168"/>
                    <a:gd name="connsiteY53" fmla="*/ 451531 h 578266"/>
                    <a:gd name="connsiteX54" fmla="*/ 85039 w 295168"/>
                    <a:gd name="connsiteY54" fmla="*/ 444398 h 578266"/>
                    <a:gd name="connsiteX55" fmla="*/ 78455 w 295168"/>
                    <a:gd name="connsiteY55" fmla="*/ 442204 h 578266"/>
                    <a:gd name="connsiteX56" fmla="*/ 69677 w 295168"/>
                    <a:gd name="connsiteY56" fmla="*/ 446044 h 578266"/>
                    <a:gd name="connsiteX57" fmla="*/ 63094 w 295168"/>
                    <a:gd name="connsiteY57" fmla="*/ 444398 h 578266"/>
                    <a:gd name="connsiteX58" fmla="*/ 58156 w 295168"/>
                    <a:gd name="connsiteY58" fmla="*/ 405994 h 578266"/>
                    <a:gd name="connsiteX59" fmla="*/ 63094 w 295168"/>
                    <a:gd name="connsiteY59" fmla="*/ 395569 h 578266"/>
                    <a:gd name="connsiteX60" fmla="*/ 63642 w 295168"/>
                    <a:gd name="connsiteY60" fmla="*/ 388437 h 578266"/>
                    <a:gd name="connsiteX61" fmla="*/ 66934 w 295168"/>
                    <a:gd name="connsiteY61" fmla="*/ 385694 h 578266"/>
                    <a:gd name="connsiteX62" fmla="*/ 70774 w 295168"/>
                    <a:gd name="connsiteY62" fmla="*/ 378562 h 578266"/>
                    <a:gd name="connsiteX63" fmla="*/ 70774 w 295168"/>
                    <a:gd name="connsiteY63" fmla="*/ 370881 h 578266"/>
                    <a:gd name="connsiteX64" fmla="*/ 87234 w 295168"/>
                    <a:gd name="connsiteY64" fmla="*/ 333573 h 578266"/>
                    <a:gd name="connsiteX65" fmla="*/ 91623 w 295168"/>
                    <a:gd name="connsiteY65" fmla="*/ 300106 h 578266"/>
                    <a:gd name="connsiteX66" fmla="*/ 88880 w 295168"/>
                    <a:gd name="connsiteY66" fmla="*/ 284195 h 578266"/>
                    <a:gd name="connsiteX67" fmla="*/ 97658 w 295168"/>
                    <a:gd name="connsiteY67" fmla="*/ 280904 h 578266"/>
                    <a:gd name="connsiteX68" fmla="*/ 110277 w 295168"/>
                    <a:gd name="connsiteY68" fmla="*/ 280355 h 578266"/>
                    <a:gd name="connsiteX69" fmla="*/ 122895 w 295168"/>
                    <a:gd name="connsiteY69" fmla="*/ 283098 h 578266"/>
                    <a:gd name="connsiteX70" fmla="*/ 124541 w 295168"/>
                    <a:gd name="connsiteY70" fmla="*/ 286390 h 578266"/>
                    <a:gd name="connsiteX71" fmla="*/ 122895 w 295168"/>
                    <a:gd name="connsiteY71" fmla="*/ 311079 h 578266"/>
                    <a:gd name="connsiteX72" fmla="*/ 125090 w 295168"/>
                    <a:gd name="connsiteY72" fmla="*/ 316017 h 578266"/>
                    <a:gd name="connsiteX73" fmla="*/ 127833 w 295168"/>
                    <a:gd name="connsiteY73" fmla="*/ 316565 h 578266"/>
                    <a:gd name="connsiteX74" fmla="*/ 126187 w 295168"/>
                    <a:gd name="connsiteY74" fmla="*/ 313822 h 578266"/>
                    <a:gd name="connsiteX75" fmla="*/ 159654 w 295168"/>
                    <a:gd name="connsiteY75" fmla="*/ 314920 h 578266"/>
                    <a:gd name="connsiteX76" fmla="*/ 176113 w 295168"/>
                    <a:gd name="connsiteY76" fmla="*/ 331379 h 578266"/>
                    <a:gd name="connsiteX77" fmla="*/ 184892 w 295168"/>
                    <a:gd name="connsiteY77" fmla="*/ 336865 h 578266"/>
                    <a:gd name="connsiteX78" fmla="*/ 185989 w 295168"/>
                    <a:gd name="connsiteY78" fmla="*/ 335219 h 578266"/>
                    <a:gd name="connsiteX79" fmla="*/ 189829 w 295168"/>
                    <a:gd name="connsiteY79" fmla="*/ 336865 h 578266"/>
                    <a:gd name="connsiteX80" fmla="*/ 194767 w 295168"/>
                    <a:gd name="connsiteY80" fmla="*/ 350032 h 578266"/>
                    <a:gd name="connsiteX81" fmla="*/ 199156 w 295168"/>
                    <a:gd name="connsiteY81" fmla="*/ 353324 h 578266"/>
                    <a:gd name="connsiteX82" fmla="*/ 200802 w 295168"/>
                    <a:gd name="connsiteY82" fmla="*/ 348935 h 578266"/>
                    <a:gd name="connsiteX83" fmla="*/ 200254 w 295168"/>
                    <a:gd name="connsiteY83" fmla="*/ 343449 h 578266"/>
                    <a:gd name="connsiteX84" fmla="*/ 191475 w 295168"/>
                    <a:gd name="connsiteY84" fmla="*/ 324246 h 578266"/>
                    <a:gd name="connsiteX85" fmla="*/ 182149 w 295168"/>
                    <a:gd name="connsiteY85" fmla="*/ 316017 h 578266"/>
                    <a:gd name="connsiteX86" fmla="*/ 175565 w 295168"/>
                    <a:gd name="connsiteY86" fmla="*/ 293522 h 578266"/>
                    <a:gd name="connsiteX87" fmla="*/ 177211 w 295168"/>
                    <a:gd name="connsiteY87" fmla="*/ 281452 h 578266"/>
                    <a:gd name="connsiteX88" fmla="*/ 181600 w 295168"/>
                    <a:gd name="connsiteY88" fmla="*/ 278161 h 578266"/>
                    <a:gd name="connsiteX89" fmla="*/ 185440 w 295168"/>
                    <a:gd name="connsiteY89" fmla="*/ 271028 h 578266"/>
                    <a:gd name="connsiteX90" fmla="*/ 190378 w 295168"/>
                    <a:gd name="connsiteY90" fmla="*/ 268285 h 578266"/>
                    <a:gd name="connsiteX91" fmla="*/ 204643 w 295168"/>
                    <a:gd name="connsiteY91" fmla="*/ 250180 h 578266"/>
                    <a:gd name="connsiteX92" fmla="*/ 210129 w 295168"/>
                    <a:gd name="connsiteY92" fmla="*/ 247985 h 578266"/>
                    <a:gd name="connsiteX93" fmla="*/ 271028 w 295168"/>
                    <a:gd name="connsiteY93" fmla="*/ 249083 h 578266"/>
                    <a:gd name="connsiteX94" fmla="*/ 277612 w 295168"/>
                    <a:gd name="connsiteY94" fmla="*/ 255666 h 578266"/>
                    <a:gd name="connsiteX95" fmla="*/ 284744 w 295168"/>
                    <a:gd name="connsiteY95" fmla="*/ 252374 h 578266"/>
                    <a:gd name="connsiteX96" fmla="*/ 284744 w 295168"/>
                    <a:gd name="connsiteY96" fmla="*/ 249631 h 578266"/>
                    <a:gd name="connsiteX97" fmla="*/ 287487 w 295168"/>
                    <a:gd name="connsiteY97" fmla="*/ 249631 h 578266"/>
                    <a:gd name="connsiteX98" fmla="*/ 292974 w 295168"/>
                    <a:gd name="connsiteY98" fmla="*/ 242499 h 578266"/>
                    <a:gd name="connsiteX99" fmla="*/ 292974 w 295168"/>
                    <a:gd name="connsiteY99" fmla="*/ 213421 h 578266"/>
                    <a:gd name="connsiteX100" fmla="*/ 295168 w 295168"/>
                    <a:gd name="connsiteY100" fmla="*/ 206837 h 578266"/>
                    <a:gd name="connsiteX101" fmla="*/ 294620 w 295168"/>
                    <a:gd name="connsiteY101" fmla="*/ 199705 h 578266"/>
                    <a:gd name="connsiteX102" fmla="*/ 293522 w 295168"/>
                    <a:gd name="connsiteY102" fmla="*/ 195865 h 578266"/>
                    <a:gd name="connsiteX103" fmla="*/ 290230 w 295168"/>
                    <a:gd name="connsiteY103" fmla="*/ 192024 h 578266"/>
                    <a:gd name="connsiteX104" fmla="*/ 284744 w 295168"/>
                    <a:gd name="connsiteY104" fmla="*/ 188183 h 578266"/>
                    <a:gd name="connsiteX105" fmla="*/ 283098 w 295168"/>
                    <a:gd name="connsiteY105" fmla="*/ 183794 h 578266"/>
                    <a:gd name="connsiteX106" fmla="*/ 277063 w 295168"/>
                    <a:gd name="connsiteY106" fmla="*/ 182697 h 578266"/>
                    <a:gd name="connsiteX107" fmla="*/ 271577 w 295168"/>
                    <a:gd name="connsiteY107" fmla="*/ 178857 h 578266"/>
                    <a:gd name="connsiteX108" fmla="*/ 266639 w 295168"/>
                    <a:gd name="connsiteY108" fmla="*/ 172822 h 578266"/>
                    <a:gd name="connsiteX109" fmla="*/ 264445 w 295168"/>
                    <a:gd name="connsiteY109" fmla="*/ 164592 h 578266"/>
                    <a:gd name="connsiteX110" fmla="*/ 264445 w 295168"/>
                    <a:gd name="connsiteY110" fmla="*/ 138806 h 578266"/>
                    <a:gd name="connsiteX111" fmla="*/ 258409 w 295168"/>
                    <a:gd name="connsiteY111" fmla="*/ 123444 h 578266"/>
                    <a:gd name="connsiteX112" fmla="*/ 254020 w 295168"/>
                    <a:gd name="connsiteY112" fmla="*/ 120701 h 578266"/>
                    <a:gd name="connsiteX113" fmla="*/ 251826 w 295168"/>
                    <a:gd name="connsiteY113" fmla="*/ 115763 h 578266"/>
                    <a:gd name="connsiteX114" fmla="*/ 241402 w 295168"/>
                    <a:gd name="connsiteY114" fmla="*/ 108082 h 578266"/>
                    <a:gd name="connsiteX115" fmla="*/ 229880 w 295168"/>
                    <a:gd name="connsiteY115" fmla="*/ 92171 h 578266"/>
                    <a:gd name="connsiteX116" fmla="*/ 206289 w 295168"/>
                    <a:gd name="connsiteY116" fmla="*/ 93817 h 578266"/>
                    <a:gd name="connsiteX117" fmla="*/ 203545 w 295168"/>
                    <a:gd name="connsiteY117" fmla="*/ 101498 h 578266"/>
                    <a:gd name="connsiteX118" fmla="*/ 200802 w 295168"/>
                    <a:gd name="connsiteY118" fmla="*/ 104790 h 578266"/>
                    <a:gd name="connsiteX119" fmla="*/ 186538 w 295168"/>
                    <a:gd name="connsiteY119" fmla="*/ 110825 h 578266"/>
                    <a:gd name="connsiteX120" fmla="*/ 181600 w 295168"/>
                    <a:gd name="connsiteY120" fmla="*/ 110825 h 578266"/>
                    <a:gd name="connsiteX121" fmla="*/ 175565 w 295168"/>
                    <a:gd name="connsiteY121" fmla="*/ 106985 h 578266"/>
                    <a:gd name="connsiteX122" fmla="*/ 171176 w 295168"/>
                    <a:gd name="connsiteY122" fmla="*/ 99853 h 578266"/>
                    <a:gd name="connsiteX123" fmla="*/ 165689 w 295168"/>
                    <a:gd name="connsiteY123" fmla="*/ 98755 h 578266"/>
                    <a:gd name="connsiteX124" fmla="*/ 150327 w 295168"/>
                    <a:gd name="connsiteY124" fmla="*/ 103144 h 578266"/>
                    <a:gd name="connsiteX125" fmla="*/ 142098 w 295168"/>
                    <a:gd name="connsiteY125" fmla="*/ 111923 h 578266"/>
                    <a:gd name="connsiteX126" fmla="*/ 133868 w 295168"/>
                    <a:gd name="connsiteY126" fmla="*/ 115763 h 578266"/>
                    <a:gd name="connsiteX127" fmla="*/ 128930 w 295168"/>
                    <a:gd name="connsiteY127" fmla="*/ 121798 h 578266"/>
                    <a:gd name="connsiteX128" fmla="*/ 125090 w 295168"/>
                    <a:gd name="connsiteY128" fmla="*/ 123993 h 578266"/>
                    <a:gd name="connsiteX129" fmla="*/ 126187 w 295168"/>
                    <a:gd name="connsiteY129" fmla="*/ 120701 h 578266"/>
                    <a:gd name="connsiteX130" fmla="*/ 123444 w 295168"/>
                    <a:gd name="connsiteY130" fmla="*/ 111923 h 578266"/>
                    <a:gd name="connsiteX131" fmla="*/ 132771 w 295168"/>
                    <a:gd name="connsiteY131" fmla="*/ 66385 h 578266"/>
                    <a:gd name="connsiteX132" fmla="*/ 130028 w 295168"/>
                    <a:gd name="connsiteY132" fmla="*/ 55413 h 578266"/>
                    <a:gd name="connsiteX133" fmla="*/ 132771 w 295168"/>
                    <a:gd name="connsiteY133" fmla="*/ 43343 h 578266"/>
                    <a:gd name="connsiteX134" fmla="*/ 130028 w 295168"/>
                    <a:gd name="connsiteY134" fmla="*/ 41148 h 578266"/>
                    <a:gd name="connsiteX135" fmla="*/ 111922 w 295168"/>
                    <a:gd name="connsiteY135" fmla="*/ 40599 h 578266"/>
                    <a:gd name="connsiteX136" fmla="*/ 110277 w 295168"/>
                    <a:gd name="connsiteY136" fmla="*/ 39502 h 578266"/>
                    <a:gd name="connsiteX137" fmla="*/ 108631 w 295168"/>
                    <a:gd name="connsiteY137" fmla="*/ 17008 h 578266"/>
                    <a:gd name="connsiteX138" fmla="*/ 101498 w 295168"/>
                    <a:gd name="connsiteY138" fmla="*/ 7681 h 578266"/>
                    <a:gd name="connsiteX139" fmla="*/ 97658 w 295168"/>
                    <a:gd name="connsiteY139" fmla="*/ 8778 h 578266"/>
                    <a:gd name="connsiteX140" fmla="*/ 96012 w 295168"/>
                    <a:gd name="connsiteY140" fmla="*/ 4938 h 578266"/>
                    <a:gd name="connsiteX141" fmla="*/ 96561 w 295168"/>
                    <a:gd name="connsiteY141" fmla="*/ 0 h 578266"/>
                    <a:gd name="connsiteX142" fmla="*/ 98206 w 295168"/>
                    <a:gd name="connsiteY142" fmla="*/ 0 h 5782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</a:cxnLst>
                  <a:rect l="l" t="t" r="r" b="b"/>
                  <a:pathLst>
                    <a:path w="295168" h="578266">
                      <a:moveTo>
                        <a:pt x="98206" y="0"/>
                      </a:moveTo>
                      <a:lnTo>
                        <a:pt x="94366" y="1646"/>
                      </a:lnTo>
                      <a:lnTo>
                        <a:pt x="86137" y="16459"/>
                      </a:lnTo>
                      <a:lnTo>
                        <a:pt x="76261" y="18105"/>
                      </a:lnTo>
                      <a:lnTo>
                        <a:pt x="45537" y="41148"/>
                      </a:lnTo>
                      <a:lnTo>
                        <a:pt x="16459" y="45537"/>
                      </a:lnTo>
                      <a:lnTo>
                        <a:pt x="4938" y="80650"/>
                      </a:lnTo>
                      <a:lnTo>
                        <a:pt x="6035" y="87782"/>
                      </a:lnTo>
                      <a:lnTo>
                        <a:pt x="0" y="92171"/>
                      </a:lnTo>
                      <a:lnTo>
                        <a:pt x="12070" y="123993"/>
                      </a:lnTo>
                      <a:lnTo>
                        <a:pt x="27981" y="136063"/>
                      </a:lnTo>
                      <a:lnTo>
                        <a:pt x="32918" y="142646"/>
                      </a:lnTo>
                      <a:lnTo>
                        <a:pt x="35113" y="172822"/>
                      </a:lnTo>
                      <a:lnTo>
                        <a:pt x="42245" y="173370"/>
                      </a:lnTo>
                      <a:lnTo>
                        <a:pt x="44440" y="179954"/>
                      </a:lnTo>
                      <a:lnTo>
                        <a:pt x="40599" y="183794"/>
                      </a:lnTo>
                      <a:lnTo>
                        <a:pt x="35113" y="199156"/>
                      </a:lnTo>
                      <a:lnTo>
                        <a:pt x="34564" y="207386"/>
                      </a:lnTo>
                      <a:lnTo>
                        <a:pt x="26335" y="215615"/>
                      </a:lnTo>
                      <a:lnTo>
                        <a:pt x="23591" y="221102"/>
                      </a:lnTo>
                      <a:lnTo>
                        <a:pt x="22494" y="230429"/>
                      </a:lnTo>
                      <a:lnTo>
                        <a:pt x="26883" y="241950"/>
                      </a:lnTo>
                      <a:lnTo>
                        <a:pt x="52669" y="264445"/>
                      </a:lnTo>
                      <a:lnTo>
                        <a:pt x="60899" y="309433"/>
                      </a:lnTo>
                      <a:lnTo>
                        <a:pt x="61996" y="309982"/>
                      </a:lnTo>
                      <a:lnTo>
                        <a:pt x="76261" y="343997"/>
                      </a:lnTo>
                      <a:lnTo>
                        <a:pt x="75164" y="348935"/>
                      </a:lnTo>
                      <a:lnTo>
                        <a:pt x="61996" y="368686"/>
                      </a:lnTo>
                      <a:lnTo>
                        <a:pt x="54864" y="374721"/>
                      </a:lnTo>
                      <a:lnTo>
                        <a:pt x="25786" y="476219"/>
                      </a:lnTo>
                      <a:lnTo>
                        <a:pt x="27981" y="482803"/>
                      </a:lnTo>
                      <a:lnTo>
                        <a:pt x="41148" y="481706"/>
                      </a:lnTo>
                      <a:lnTo>
                        <a:pt x="54864" y="496519"/>
                      </a:lnTo>
                      <a:lnTo>
                        <a:pt x="58705" y="498714"/>
                      </a:lnTo>
                      <a:lnTo>
                        <a:pt x="76810" y="520111"/>
                      </a:lnTo>
                      <a:lnTo>
                        <a:pt x="80650" y="529986"/>
                      </a:lnTo>
                      <a:lnTo>
                        <a:pt x="99304" y="549737"/>
                      </a:lnTo>
                      <a:lnTo>
                        <a:pt x="96012" y="539313"/>
                      </a:lnTo>
                      <a:lnTo>
                        <a:pt x="104242" y="539313"/>
                      </a:lnTo>
                      <a:lnTo>
                        <a:pt x="109728" y="545897"/>
                      </a:lnTo>
                      <a:lnTo>
                        <a:pt x="127833" y="548640"/>
                      </a:lnTo>
                      <a:lnTo>
                        <a:pt x="134965" y="559064"/>
                      </a:lnTo>
                      <a:lnTo>
                        <a:pt x="132771" y="570037"/>
                      </a:lnTo>
                      <a:lnTo>
                        <a:pt x="136063" y="578267"/>
                      </a:lnTo>
                      <a:lnTo>
                        <a:pt x="151973" y="567294"/>
                      </a:lnTo>
                      <a:lnTo>
                        <a:pt x="159106" y="568940"/>
                      </a:lnTo>
                      <a:lnTo>
                        <a:pt x="166786" y="567842"/>
                      </a:lnTo>
                      <a:lnTo>
                        <a:pt x="171724" y="559064"/>
                      </a:lnTo>
                      <a:lnTo>
                        <a:pt x="147584" y="532729"/>
                      </a:lnTo>
                      <a:lnTo>
                        <a:pt x="123993" y="529438"/>
                      </a:lnTo>
                      <a:lnTo>
                        <a:pt x="111374" y="516270"/>
                      </a:lnTo>
                      <a:lnTo>
                        <a:pt x="103693" y="485546"/>
                      </a:lnTo>
                      <a:lnTo>
                        <a:pt x="93269" y="472379"/>
                      </a:lnTo>
                      <a:lnTo>
                        <a:pt x="88880" y="451531"/>
                      </a:lnTo>
                      <a:lnTo>
                        <a:pt x="85039" y="444398"/>
                      </a:lnTo>
                      <a:lnTo>
                        <a:pt x="78455" y="442204"/>
                      </a:lnTo>
                      <a:lnTo>
                        <a:pt x="69677" y="446044"/>
                      </a:lnTo>
                      <a:lnTo>
                        <a:pt x="63094" y="444398"/>
                      </a:lnTo>
                      <a:lnTo>
                        <a:pt x="58156" y="405994"/>
                      </a:lnTo>
                      <a:lnTo>
                        <a:pt x="63094" y="395569"/>
                      </a:lnTo>
                      <a:lnTo>
                        <a:pt x="63642" y="388437"/>
                      </a:lnTo>
                      <a:lnTo>
                        <a:pt x="66934" y="385694"/>
                      </a:lnTo>
                      <a:lnTo>
                        <a:pt x="70774" y="378562"/>
                      </a:lnTo>
                      <a:lnTo>
                        <a:pt x="70774" y="370881"/>
                      </a:lnTo>
                      <a:lnTo>
                        <a:pt x="87234" y="333573"/>
                      </a:lnTo>
                      <a:lnTo>
                        <a:pt x="91623" y="300106"/>
                      </a:lnTo>
                      <a:lnTo>
                        <a:pt x="88880" y="284195"/>
                      </a:lnTo>
                      <a:lnTo>
                        <a:pt x="97658" y="280904"/>
                      </a:lnTo>
                      <a:lnTo>
                        <a:pt x="110277" y="280355"/>
                      </a:lnTo>
                      <a:lnTo>
                        <a:pt x="122895" y="283098"/>
                      </a:lnTo>
                      <a:lnTo>
                        <a:pt x="124541" y="286390"/>
                      </a:lnTo>
                      <a:lnTo>
                        <a:pt x="122895" y="311079"/>
                      </a:lnTo>
                      <a:lnTo>
                        <a:pt x="125090" y="316017"/>
                      </a:lnTo>
                      <a:lnTo>
                        <a:pt x="127833" y="316565"/>
                      </a:lnTo>
                      <a:lnTo>
                        <a:pt x="126187" y="313822"/>
                      </a:lnTo>
                      <a:lnTo>
                        <a:pt x="159654" y="314920"/>
                      </a:lnTo>
                      <a:lnTo>
                        <a:pt x="176113" y="331379"/>
                      </a:lnTo>
                      <a:lnTo>
                        <a:pt x="184892" y="336865"/>
                      </a:lnTo>
                      <a:lnTo>
                        <a:pt x="185989" y="335219"/>
                      </a:lnTo>
                      <a:lnTo>
                        <a:pt x="189829" y="336865"/>
                      </a:lnTo>
                      <a:lnTo>
                        <a:pt x="194767" y="350032"/>
                      </a:lnTo>
                      <a:lnTo>
                        <a:pt x="199156" y="353324"/>
                      </a:lnTo>
                      <a:lnTo>
                        <a:pt x="200802" y="348935"/>
                      </a:lnTo>
                      <a:lnTo>
                        <a:pt x="200254" y="343449"/>
                      </a:lnTo>
                      <a:lnTo>
                        <a:pt x="191475" y="324246"/>
                      </a:lnTo>
                      <a:lnTo>
                        <a:pt x="182149" y="316017"/>
                      </a:lnTo>
                      <a:lnTo>
                        <a:pt x="175565" y="293522"/>
                      </a:lnTo>
                      <a:lnTo>
                        <a:pt x="177211" y="281452"/>
                      </a:lnTo>
                      <a:lnTo>
                        <a:pt x="181600" y="278161"/>
                      </a:lnTo>
                      <a:lnTo>
                        <a:pt x="185440" y="271028"/>
                      </a:lnTo>
                      <a:lnTo>
                        <a:pt x="190378" y="268285"/>
                      </a:lnTo>
                      <a:lnTo>
                        <a:pt x="204643" y="250180"/>
                      </a:lnTo>
                      <a:lnTo>
                        <a:pt x="210129" y="247985"/>
                      </a:lnTo>
                      <a:lnTo>
                        <a:pt x="271028" y="249083"/>
                      </a:lnTo>
                      <a:lnTo>
                        <a:pt x="277612" y="255666"/>
                      </a:lnTo>
                      <a:lnTo>
                        <a:pt x="284744" y="252374"/>
                      </a:lnTo>
                      <a:lnTo>
                        <a:pt x="284744" y="249631"/>
                      </a:lnTo>
                      <a:lnTo>
                        <a:pt x="287487" y="249631"/>
                      </a:lnTo>
                      <a:lnTo>
                        <a:pt x="292974" y="242499"/>
                      </a:lnTo>
                      <a:lnTo>
                        <a:pt x="292974" y="213421"/>
                      </a:lnTo>
                      <a:lnTo>
                        <a:pt x="295168" y="206837"/>
                      </a:lnTo>
                      <a:lnTo>
                        <a:pt x="294620" y="199705"/>
                      </a:lnTo>
                      <a:lnTo>
                        <a:pt x="293522" y="195865"/>
                      </a:lnTo>
                      <a:lnTo>
                        <a:pt x="290230" y="192024"/>
                      </a:lnTo>
                      <a:lnTo>
                        <a:pt x="284744" y="188183"/>
                      </a:lnTo>
                      <a:lnTo>
                        <a:pt x="283098" y="183794"/>
                      </a:lnTo>
                      <a:lnTo>
                        <a:pt x="277063" y="182697"/>
                      </a:lnTo>
                      <a:lnTo>
                        <a:pt x="271577" y="178857"/>
                      </a:lnTo>
                      <a:lnTo>
                        <a:pt x="266639" y="172822"/>
                      </a:lnTo>
                      <a:lnTo>
                        <a:pt x="264445" y="164592"/>
                      </a:lnTo>
                      <a:lnTo>
                        <a:pt x="264445" y="138806"/>
                      </a:lnTo>
                      <a:lnTo>
                        <a:pt x="258409" y="123444"/>
                      </a:lnTo>
                      <a:lnTo>
                        <a:pt x="254020" y="120701"/>
                      </a:lnTo>
                      <a:lnTo>
                        <a:pt x="251826" y="115763"/>
                      </a:lnTo>
                      <a:lnTo>
                        <a:pt x="241402" y="108082"/>
                      </a:lnTo>
                      <a:lnTo>
                        <a:pt x="229880" y="92171"/>
                      </a:lnTo>
                      <a:lnTo>
                        <a:pt x="206289" y="93817"/>
                      </a:lnTo>
                      <a:lnTo>
                        <a:pt x="203545" y="101498"/>
                      </a:lnTo>
                      <a:lnTo>
                        <a:pt x="200802" y="104790"/>
                      </a:lnTo>
                      <a:lnTo>
                        <a:pt x="186538" y="110825"/>
                      </a:lnTo>
                      <a:lnTo>
                        <a:pt x="181600" y="110825"/>
                      </a:lnTo>
                      <a:lnTo>
                        <a:pt x="175565" y="106985"/>
                      </a:lnTo>
                      <a:lnTo>
                        <a:pt x="171176" y="99853"/>
                      </a:lnTo>
                      <a:lnTo>
                        <a:pt x="165689" y="98755"/>
                      </a:lnTo>
                      <a:lnTo>
                        <a:pt x="150327" y="103144"/>
                      </a:lnTo>
                      <a:lnTo>
                        <a:pt x="142098" y="111923"/>
                      </a:lnTo>
                      <a:lnTo>
                        <a:pt x="133868" y="115763"/>
                      </a:lnTo>
                      <a:lnTo>
                        <a:pt x="128930" y="121798"/>
                      </a:lnTo>
                      <a:lnTo>
                        <a:pt x="125090" y="123993"/>
                      </a:lnTo>
                      <a:lnTo>
                        <a:pt x="126187" y="120701"/>
                      </a:lnTo>
                      <a:lnTo>
                        <a:pt x="123444" y="111923"/>
                      </a:lnTo>
                      <a:lnTo>
                        <a:pt x="132771" y="66385"/>
                      </a:lnTo>
                      <a:lnTo>
                        <a:pt x="130028" y="55413"/>
                      </a:lnTo>
                      <a:lnTo>
                        <a:pt x="132771" y="43343"/>
                      </a:lnTo>
                      <a:lnTo>
                        <a:pt x="130028" y="41148"/>
                      </a:lnTo>
                      <a:lnTo>
                        <a:pt x="111922" y="40599"/>
                      </a:lnTo>
                      <a:lnTo>
                        <a:pt x="110277" y="39502"/>
                      </a:lnTo>
                      <a:lnTo>
                        <a:pt x="108631" y="17008"/>
                      </a:lnTo>
                      <a:lnTo>
                        <a:pt x="101498" y="7681"/>
                      </a:lnTo>
                      <a:lnTo>
                        <a:pt x="97658" y="8778"/>
                      </a:lnTo>
                      <a:lnTo>
                        <a:pt x="96012" y="4938"/>
                      </a:lnTo>
                      <a:lnTo>
                        <a:pt x="96561" y="0"/>
                      </a:lnTo>
                      <a:lnTo>
                        <a:pt x="98206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53" name="Graphic 7">
                  <a:extLst>
                    <a:ext uri="{FF2B5EF4-FFF2-40B4-BE49-F238E27FC236}">
                      <a16:creationId xmlns:a16="http://schemas.microsoft.com/office/drawing/2014/main" id="{F38F6677-349B-787A-79FD-F37FAAC509CC}"/>
                    </a:ext>
                  </a:extLst>
                </p:cNvPr>
                <p:cNvSpPr/>
                <p:nvPr/>
              </p:nvSpPr>
              <p:spPr>
                <a:xfrm>
                  <a:off x="8878248" y="4739260"/>
                  <a:ext cx="12001" cy="9430"/>
                </a:xfrm>
                <a:custGeom>
                  <a:avLst/>
                  <a:gdLst>
                    <a:gd name="connsiteX0" fmla="*/ 0 w 15361"/>
                    <a:gd name="connsiteY0" fmla="*/ 6584 h 12070"/>
                    <a:gd name="connsiteX1" fmla="*/ 15362 w 15361"/>
                    <a:gd name="connsiteY1" fmla="*/ 0 h 12070"/>
                    <a:gd name="connsiteX2" fmla="*/ 15362 w 15361"/>
                    <a:gd name="connsiteY2" fmla="*/ 549 h 12070"/>
                    <a:gd name="connsiteX3" fmla="*/ 14813 w 15361"/>
                    <a:gd name="connsiteY3" fmla="*/ 1097 h 12070"/>
                    <a:gd name="connsiteX4" fmla="*/ 14813 w 15361"/>
                    <a:gd name="connsiteY4" fmla="*/ 2195 h 12070"/>
                    <a:gd name="connsiteX5" fmla="*/ 14813 w 15361"/>
                    <a:gd name="connsiteY5" fmla="*/ 2195 h 12070"/>
                    <a:gd name="connsiteX6" fmla="*/ 14265 w 15361"/>
                    <a:gd name="connsiteY6" fmla="*/ 2743 h 12070"/>
                    <a:gd name="connsiteX7" fmla="*/ 14813 w 15361"/>
                    <a:gd name="connsiteY7" fmla="*/ 3841 h 12070"/>
                    <a:gd name="connsiteX8" fmla="*/ 14265 w 15361"/>
                    <a:gd name="connsiteY8" fmla="*/ 3841 h 12070"/>
                    <a:gd name="connsiteX9" fmla="*/ 14265 w 15361"/>
                    <a:gd name="connsiteY9" fmla="*/ 3841 h 12070"/>
                    <a:gd name="connsiteX10" fmla="*/ 14265 w 15361"/>
                    <a:gd name="connsiteY10" fmla="*/ 3841 h 12070"/>
                    <a:gd name="connsiteX11" fmla="*/ 14265 w 15361"/>
                    <a:gd name="connsiteY11" fmla="*/ 4938 h 12070"/>
                    <a:gd name="connsiteX12" fmla="*/ 13716 w 15361"/>
                    <a:gd name="connsiteY12" fmla="*/ 5486 h 12070"/>
                    <a:gd name="connsiteX13" fmla="*/ 12619 w 15361"/>
                    <a:gd name="connsiteY13" fmla="*/ 5486 h 12070"/>
                    <a:gd name="connsiteX14" fmla="*/ 12619 w 15361"/>
                    <a:gd name="connsiteY14" fmla="*/ 6035 h 12070"/>
                    <a:gd name="connsiteX15" fmla="*/ 12070 w 15361"/>
                    <a:gd name="connsiteY15" fmla="*/ 6584 h 12070"/>
                    <a:gd name="connsiteX16" fmla="*/ 12070 w 15361"/>
                    <a:gd name="connsiteY16" fmla="*/ 7132 h 12070"/>
                    <a:gd name="connsiteX17" fmla="*/ 11521 w 15361"/>
                    <a:gd name="connsiteY17" fmla="*/ 7681 h 12070"/>
                    <a:gd name="connsiteX18" fmla="*/ 11521 w 15361"/>
                    <a:gd name="connsiteY18" fmla="*/ 7681 h 12070"/>
                    <a:gd name="connsiteX19" fmla="*/ 10973 w 15361"/>
                    <a:gd name="connsiteY19" fmla="*/ 7681 h 12070"/>
                    <a:gd name="connsiteX20" fmla="*/ 11521 w 15361"/>
                    <a:gd name="connsiteY20" fmla="*/ 8230 h 12070"/>
                    <a:gd name="connsiteX21" fmla="*/ 10973 w 15361"/>
                    <a:gd name="connsiteY21" fmla="*/ 8230 h 12070"/>
                    <a:gd name="connsiteX22" fmla="*/ 10424 w 15361"/>
                    <a:gd name="connsiteY22" fmla="*/ 8230 h 12070"/>
                    <a:gd name="connsiteX23" fmla="*/ 10424 w 15361"/>
                    <a:gd name="connsiteY23" fmla="*/ 8778 h 12070"/>
                    <a:gd name="connsiteX24" fmla="*/ 10424 w 15361"/>
                    <a:gd name="connsiteY24" fmla="*/ 9327 h 12070"/>
                    <a:gd name="connsiteX25" fmla="*/ 10973 w 15361"/>
                    <a:gd name="connsiteY25" fmla="*/ 9327 h 12070"/>
                    <a:gd name="connsiteX26" fmla="*/ 10973 w 15361"/>
                    <a:gd name="connsiteY26" fmla="*/ 10424 h 12070"/>
                    <a:gd name="connsiteX27" fmla="*/ 10424 w 15361"/>
                    <a:gd name="connsiteY27" fmla="*/ 10424 h 12070"/>
                    <a:gd name="connsiteX28" fmla="*/ 10424 w 15361"/>
                    <a:gd name="connsiteY28" fmla="*/ 10973 h 12070"/>
                    <a:gd name="connsiteX29" fmla="*/ 9875 w 15361"/>
                    <a:gd name="connsiteY29" fmla="*/ 10973 h 12070"/>
                    <a:gd name="connsiteX30" fmla="*/ 9327 w 15361"/>
                    <a:gd name="connsiteY30" fmla="*/ 11522 h 12070"/>
                    <a:gd name="connsiteX31" fmla="*/ 8778 w 15361"/>
                    <a:gd name="connsiteY31" fmla="*/ 11522 h 12070"/>
                    <a:gd name="connsiteX32" fmla="*/ 8230 w 15361"/>
                    <a:gd name="connsiteY32" fmla="*/ 11522 h 12070"/>
                    <a:gd name="connsiteX33" fmla="*/ 8230 w 15361"/>
                    <a:gd name="connsiteY33" fmla="*/ 12070 h 12070"/>
                    <a:gd name="connsiteX34" fmla="*/ 7681 w 15361"/>
                    <a:gd name="connsiteY34" fmla="*/ 12070 h 12070"/>
                    <a:gd name="connsiteX35" fmla="*/ 7681 w 15361"/>
                    <a:gd name="connsiteY35" fmla="*/ 11522 h 12070"/>
                    <a:gd name="connsiteX36" fmla="*/ 7681 w 15361"/>
                    <a:gd name="connsiteY36" fmla="*/ 10424 h 12070"/>
                    <a:gd name="connsiteX37" fmla="*/ 7681 w 15361"/>
                    <a:gd name="connsiteY37" fmla="*/ 9875 h 12070"/>
                    <a:gd name="connsiteX38" fmla="*/ 7681 w 15361"/>
                    <a:gd name="connsiteY38" fmla="*/ 9875 h 12070"/>
                    <a:gd name="connsiteX39" fmla="*/ 7132 w 15361"/>
                    <a:gd name="connsiteY39" fmla="*/ 8778 h 12070"/>
                    <a:gd name="connsiteX40" fmla="*/ 7132 w 15361"/>
                    <a:gd name="connsiteY40" fmla="*/ 8778 h 12070"/>
                    <a:gd name="connsiteX41" fmla="*/ 7132 w 15361"/>
                    <a:gd name="connsiteY41" fmla="*/ 8230 h 12070"/>
                    <a:gd name="connsiteX42" fmla="*/ 6584 w 15361"/>
                    <a:gd name="connsiteY42" fmla="*/ 8230 h 12070"/>
                    <a:gd name="connsiteX43" fmla="*/ 6584 w 15361"/>
                    <a:gd name="connsiteY43" fmla="*/ 7681 h 12070"/>
                    <a:gd name="connsiteX44" fmla="*/ 5486 w 15361"/>
                    <a:gd name="connsiteY44" fmla="*/ 7132 h 12070"/>
                    <a:gd name="connsiteX45" fmla="*/ 5486 w 15361"/>
                    <a:gd name="connsiteY45" fmla="*/ 7132 h 12070"/>
                    <a:gd name="connsiteX46" fmla="*/ 4938 w 15361"/>
                    <a:gd name="connsiteY46" fmla="*/ 7681 h 12070"/>
                    <a:gd name="connsiteX47" fmla="*/ 4389 w 15361"/>
                    <a:gd name="connsiteY47" fmla="*/ 7681 h 12070"/>
                    <a:gd name="connsiteX48" fmla="*/ 3841 w 15361"/>
                    <a:gd name="connsiteY48" fmla="*/ 8230 h 12070"/>
                    <a:gd name="connsiteX49" fmla="*/ 3841 w 15361"/>
                    <a:gd name="connsiteY49" fmla="*/ 8778 h 12070"/>
                    <a:gd name="connsiteX50" fmla="*/ 2743 w 15361"/>
                    <a:gd name="connsiteY50" fmla="*/ 9327 h 12070"/>
                    <a:gd name="connsiteX51" fmla="*/ 2195 w 15361"/>
                    <a:gd name="connsiteY51" fmla="*/ 9327 h 12070"/>
                    <a:gd name="connsiteX52" fmla="*/ 2195 w 15361"/>
                    <a:gd name="connsiteY52" fmla="*/ 8778 h 12070"/>
                    <a:gd name="connsiteX53" fmla="*/ 1097 w 15361"/>
                    <a:gd name="connsiteY53" fmla="*/ 8778 h 12070"/>
                    <a:gd name="connsiteX54" fmla="*/ 549 w 15361"/>
                    <a:gd name="connsiteY54" fmla="*/ 7681 h 12070"/>
                    <a:gd name="connsiteX55" fmla="*/ 0 w 15361"/>
                    <a:gd name="connsiteY55" fmla="*/ 6584 h 120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</a:cxnLst>
                  <a:rect l="l" t="t" r="r" b="b"/>
                  <a:pathLst>
                    <a:path w="15361" h="12070">
                      <a:moveTo>
                        <a:pt x="0" y="6584"/>
                      </a:moveTo>
                      <a:lnTo>
                        <a:pt x="15362" y="0"/>
                      </a:lnTo>
                      <a:lnTo>
                        <a:pt x="15362" y="549"/>
                      </a:lnTo>
                      <a:lnTo>
                        <a:pt x="14813" y="1097"/>
                      </a:lnTo>
                      <a:lnTo>
                        <a:pt x="14813" y="2195"/>
                      </a:lnTo>
                      <a:lnTo>
                        <a:pt x="14813" y="2195"/>
                      </a:lnTo>
                      <a:lnTo>
                        <a:pt x="14265" y="2743"/>
                      </a:lnTo>
                      <a:lnTo>
                        <a:pt x="14813" y="3841"/>
                      </a:lnTo>
                      <a:lnTo>
                        <a:pt x="14265" y="3841"/>
                      </a:lnTo>
                      <a:lnTo>
                        <a:pt x="14265" y="3841"/>
                      </a:lnTo>
                      <a:lnTo>
                        <a:pt x="14265" y="3841"/>
                      </a:lnTo>
                      <a:lnTo>
                        <a:pt x="14265" y="4938"/>
                      </a:lnTo>
                      <a:lnTo>
                        <a:pt x="13716" y="5486"/>
                      </a:lnTo>
                      <a:lnTo>
                        <a:pt x="12619" y="5486"/>
                      </a:lnTo>
                      <a:lnTo>
                        <a:pt x="12619" y="6035"/>
                      </a:lnTo>
                      <a:lnTo>
                        <a:pt x="12070" y="6584"/>
                      </a:lnTo>
                      <a:lnTo>
                        <a:pt x="12070" y="7132"/>
                      </a:lnTo>
                      <a:lnTo>
                        <a:pt x="11521" y="7681"/>
                      </a:lnTo>
                      <a:lnTo>
                        <a:pt x="11521" y="7681"/>
                      </a:lnTo>
                      <a:lnTo>
                        <a:pt x="10973" y="7681"/>
                      </a:lnTo>
                      <a:lnTo>
                        <a:pt x="11521" y="8230"/>
                      </a:lnTo>
                      <a:lnTo>
                        <a:pt x="10973" y="8230"/>
                      </a:lnTo>
                      <a:lnTo>
                        <a:pt x="10424" y="8230"/>
                      </a:lnTo>
                      <a:lnTo>
                        <a:pt x="10424" y="8778"/>
                      </a:lnTo>
                      <a:lnTo>
                        <a:pt x="10424" y="9327"/>
                      </a:lnTo>
                      <a:lnTo>
                        <a:pt x="10973" y="9327"/>
                      </a:lnTo>
                      <a:lnTo>
                        <a:pt x="10973" y="10424"/>
                      </a:lnTo>
                      <a:lnTo>
                        <a:pt x="10424" y="10424"/>
                      </a:lnTo>
                      <a:lnTo>
                        <a:pt x="10424" y="10973"/>
                      </a:lnTo>
                      <a:lnTo>
                        <a:pt x="9875" y="10973"/>
                      </a:lnTo>
                      <a:lnTo>
                        <a:pt x="9327" y="11522"/>
                      </a:lnTo>
                      <a:lnTo>
                        <a:pt x="8778" y="11522"/>
                      </a:lnTo>
                      <a:lnTo>
                        <a:pt x="8230" y="11522"/>
                      </a:lnTo>
                      <a:lnTo>
                        <a:pt x="8230" y="12070"/>
                      </a:lnTo>
                      <a:lnTo>
                        <a:pt x="7681" y="12070"/>
                      </a:lnTo>
                      <a:lnTo>
                        <a:pt x="7681" y="11522"/>
                      </a:lnTo>
                      <a:lnTo>
                        <a:pt x="7681" y="10424"/>
                      </a:lnTo>
                      <a:lnTo>
                        <a:pt x="7681" y="9875"/>
                      </a:lnTo>
                      <a:lnTo>
                        <a:pt x="7681" y="9875"/>
                      </a:lnTo>
                      <a:lnTo>
                        <a:pt x="7132" y="8778"/>
                      </a:lnTo>
                      <a:lnTo>
                        <a:pt x="7132" y="8778"/>
                      </a:lnTo>
                      <a:lnTo>
                        <a:pt x="7132" y="8230"/>
                      </a:lnTo>
                      <a:lnTo>
                        <a:pt x="6584" y="8230"/>
                      </a:lnTo>
                      <a:lnTo>
                        <a:pt x="6584" y="7681"/>
                      </a:lnTo>
                      <a:lnTo>
                        <a:pt x="5486" y="7132"/>
                      </a:lnTo>
                      <a:lnTo>
                        <a:pt x="5486" y="7132"/>
                      </a:lnTo>
                      <a:lnTo>
                        <a:pt x="4938" y="7681"/>
                      </a:lnTo>
                      <a:lnTo>
                        <a:pt x="4389" y="7681"/>
                      </a:lnTo>
                      <a:lnTo>
                        <a:pt x="3841" y="8230"/>
                      </a:lnTo>
                      <a:lnTo>
                        <a:pt x="3841" y="8778"/>
                      </a:lnTo>
                      <a:lnTo>
                        <a:pt x="2743" y="9327"/>
                      </a:lnTo>
                      <a:lnTo>
                        <a:pt x="2195" y="9327"/>
                      </a:lnTo>
                      <a:lnTo>
                        <a:pt x="2195" y="8778"/>
                      </a:lnTo>
                      <a:lnTo>
                        <a:pt x="1097" y="8778"/>
                      </a:lnTo>
                      <a:lnTo>
                        <a:pt x="549" y="7681"/>
                      </a:lnTo>
                      <a:lnTo>
                        <a:pt x="0" y="6584"/>
                      </a:lnTo>
                      <a:close/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54" name="Graphic 7">
                  <a:extLst>
                    <a:ext uri="{FF2B5EF4-FFF2-40B4-BE49-F238E27FC236}">
                      <a16:creationId xmlns:a16="http://schemas.microsoft.com/office/drawing/2014/main" id="{5FDCE2BD-B25A-504F-1595-35AC10031473}"/>
                    </a:ext>
                  </a:extLst>
                </p:cNvPr>
                <p:cNvSpPr/>
                <p:nvPr/>
              </p:nvSpPr>
              <p:spPr>
                <a:xfrm>
                  <a:off x="8903966" y="4714828"/>
                  <a:ext cx="67296" cy="33434"/>
                </a:xfrm>
                <a:custGeom>
                  <a:avLst/>
                  <a:gdLst>
                    <a:gd name="connsiteX0" fmla="*/ 6583 w 86136"/>
                    <a:gd name="connsiteY0" fmla="*/ 42794 h 42794"/>
                    <a:gd name="connsiteX1" fmla="*/ 6035 w 86136"/>
                    <a:gd name="connsiteY1" fmla="*/ 42245 h 42794"/>
                    <a:gd name="connsiteX2" fmla="*/ 5486 w 86136"/>
                    <a:gd name="connsiteY2" fmla="*/ 40599 h 42794"/>
                    <a:gd name="connsiteX3" fmla="*/ 4938 w 86136"/>
                    <a:gd name="connsiteY3" fmla="*/ 39502 h 42794"/>
                    <a:gd name="connsiteX4" fmla="*/ 4938 w 86136"/>
                    <a:gd name="connsiteY4" fmla="*/ 38405 h 42794"/>
                    <a:gd name="connsiteX5" fmla="*/ 4389 w 86136"/>
                    <a:gd name="connsiteY5" fmla="*/ 38405 h 42794"/>
                    <a:gd name="connsiteX6" fmla="*/ 3841 w 86136"/>
                    <a:gd name="connsiteY6" fmla="*/ 37856 h 42794"/>
                    <a:gd name="connsiteX7" fmla="*/ 3841 w 86136"/>
                    <a:gd name="connsiteY7" fmla="*/ 36759 h 42794"/>
                    <a:gd name="connsiteX8" fmla="*/ 3841 w 86136"/>
                    <a:gd name="connsiteY8" fmla="*/ 36210 h 42794"/>
                    <a:gd name="connsiteX9" fmla="*/ 2743 w 86136"/>
                    <a:gd name="connsiteY9" fmla="*/ 36210 h 42794"/>
                    <a:gd name="connsiteX10" fmla="*/ 2195 w 86136"/>
                    <a:gd name="connsiteY10" fmla="*/ 34565 h 42794"/>
                    <a:gd name="connsiteX11" fmla="*/ 1646 w 86136"/>
                    <a:gd name="connsiteY11" fmla="*/ 34565 h 42794"/>
                    <a:gd name="connsiteX12" fmla="*/ 1646 w 86136"/>
                    <a:gd name="connsiteY12" fmla="*/ 34565 h 42794"/>
                    <a:gd name="connsiteX13" fmla="*/ 1646 w 86136"/>
                    <a:gd name="connsiteY13" fmla="*/ 34016 h 42794"/>
                    <a:gd name="connsiteX14" fmla="*/ 1646 w 86136"/>
                    <a:gd name="connsiteY14" fmla="*/ 34016 h 42794"/>
                    <a:gd name="connsiteX15" fmla="*/ 1646 w 86136"/>
                    <a:gd name="connsiteY15" fmla="*/ 33467 h 42794"/>
                    <a:gd name="connsiteX16" fmla="*/ 1097 w 86136"/>
                    <a:gd name="connsiteY16" fmla="*/ 31273 h 42794"/>
                    <a:gd name="connsiteX17" fmla="*/ 2743 w 86136"/>
                    <a:gd name="connsiteY17" fmla="*/ 30724 h 42794"/>
                    <a:gd name="connsiteX18" fmla="*/ 3292 w 86136"/>
                    <a:gd name="connsiteY18" fmla="*/ 30724 h 42794"/>
                    <a:gd name="connsiteX19" fmla="*/ 3841 w 86136"/>
                    <a:gd name="connsiteY19" fmla="*/ 30724 h 42794"/>
                    <a:gd name="connsiteX20" fmla="*/ 4938 w 86136"/>
                    <a:gd name="connsiteY20" fmla="*/ 31273 h 42794"/>
                    <a:gd name="connsiteX21" fmla="*/ 5486 w 86136"/>
                    <a:gd name="connsiteY21" fmla="*/ 31821 h 42794"/>
                    <a:gd name="connsiteX22" fmla="*/ 6035 w 86136"/>
                    <a:gd name="connsiteY22" fmla="*/ 31821 h 42794"/>
                    <a:gd name="connsiteX23" fmla="*/ 6583 w 86136"/>
                    <a:gd name="connsiteY23" fmla="*/ 31273 h 42794"/>
                    <a:gd name="connsiteX24" fmla="*/ 7133 w 86136"/>
                    <a:gd name="connsiteY24" fmla="*/ 30724 h 42794"/>
                    <a:gd name="connsiteX25" fmla="*/ 8230 w 86136"/>
                    <a:gd name="connsiteY25" fmla="*/ 30724 h 42794"/>
                    <a:gd name="connsiteX26" fmla="*/ 8778 w 86136"/>
                    <a:gd name="connsiteY26" fmla="*/ 30175 h 42794"/>
                    <a:gd name="connsiteX27" fmla="*/ 8778 w 86136"/>
                    <a:gd name="connsiteY27" fmla="*/ 29627 h 42794"/>
                    <a:gd name="connsiteX28" fmla="*/ 8778 w 86136"/>
                    <a:gd name="connsiteY28" fmla="*/ 29627 h 42794"/>
                    <a:gd name="connsiteX29" fmla="*/ 8778 w 86136"/>
                    <a:gd name="connsiteY29" fmla="*/ 28529 h 42794"/>
                    <a:gd name="connsiteX30" fmla="*/ 8778 w 86136"/>
                    <a:gd name="connsiteY30" fmla="*/ 28529 h 42794"/>
                    <a:gd name="connsiteX31" fmla="*/ 8778 w 86136"/>
                    <a:gd name="connsiteY31" fmla="*/ 28529 h 42794"/>
                    <a:gd name="connsiteX32" fmla="*/ 8778 w 86136"/>
                    <a:gd name="connsiteY32" fmla="*/ 27981 h 42794"/>
                    <a:gd name="connsiteX33" fmla="*/ 9327 w 86136"/>
                    <a:gd name="connsiteY33" fmla="*/ 26883 h 42794"/>
                    <a:gd name="connsiteX34" fmla="*/ 9327 w 86136"/>
                    <a:gd name="connsiteY34" fmla="*/ 26335 h 42794"/>
                    <a:gd name="connsiteX35" fmla="*/ 9327 w 86136"/>
                    <a:gd name="connsiteY35" fmla="*/ 25786 h 42794"/>
                    <a:gd name="connsiteX36" fmla="*/ 9327 w 86136"/>
                    <a:gd name="connsiteY36" fmla="*/ 25238 h 42794"/>
                    <a:gd name="connsiteX37" fmla="*/ 7681 w 86136"/>
                    <a:gd name="connsiteY37" fmla="*/ 24140 h 42794"/>
                    <a:gd name="connsiteX38" fmla="*/ 7133 w 86136"/>
                    <a:gd name="connsiteY38" fmla="*/ 24140 h 42794"/>
                    <a:gd name="connsiteX39" fmla="*/ 6035 w 86136"/>
                    <a:gd name="connsiteY39" fmla="*/ 23043 h 42794"/>
                    <a:gd name="connsiteX40" fmla="*/ 6035 w 86136"/>
                    <a:gd name="connsiteY40" fmla="*/ 23592 h 42794"/>
                    <a:gd name="connsiteX41" fmla="*/ 6035 w 86136"/>
                    <a:gd name="connsiteY41" fmla="*/ 23592 h 42794"/>
                    <a:gd name="connsiteX42" fmla="*/ 5486 w 86136"/>
                    <a:gd name="connsiteY42" fmla="*/ 24140 h 42794"/>
                    <a:gd name="connsiteX43" fmla="*/ 5486 w 86136"/>
                    <a:gd name="connsiteY43" fmla="*/ 24689 h 42794"/>
                    <a:gd name="connsiteX44" fmla="*/ 4389 w 86136"/>
                    <a:gd name="connsiteY44" fmla="*/ 25238 h 42794"/>
                    <a:gd name="connsiteX45" fmla="*/ 3841 w 86136"/>
                    <a:gd name="connsiteY45" fmla="*/ 25238 h 42794"/>
                    <a:gd name="connsiteX46" fmla="*/ 2195 w 86136"/>
                    <a:gd name="connsiteY46" fmla="*/ 26883 h 42794"/>
                    <a:gd name="connsiteX47" fmla="*/ 1097 w 86136"/>
                    <a:gd name="connsiteY47" fmla="*/ 26335 h 42794"/>
                    <a:gd name="connsiteX48" fmla="*/ 549 w 86136"/>
                    <a:gd name="connsiteY48" fmla="*/ 26335 h 42794"/>
                    <a:gd name="connsiteX49" fmla="*/ 0 w 86136"/>
                    <a:gd name="connsiteY49" fmla="*/ 25786 h 42794"/>
                    <a:gd name="connsiteX50" fmla="*/ 0 w 86136"/>
                    <a:gd name="connsiteY50" fmla="*/ 23592 h 42794"/>
                    <a:gd name="connsiteX51" fmla="*/ 549 w 86136"/>
                    <a:gd name="connsiteY51" fmla="*/ 23043 h 42794"/>
                    <a:gd name="connsiteX52" fmla="*/ 549 w 86136"/>
                    <a:gd name="connsiteY52" fmla="*/ 22494 h 42794"/>
                    <a:gd name="connsiteX53" fmla="*/ 6583 w 86136"/>
                    <a:gd name="connsiteY53" fmla="*/ 11522 h 42794"/>
                    <a:gd name="connsiteX54" fmla="*/ 32370 w 86136"/>
                    <a:gd name="connsiteY54" fmla="*/ 7681 h 42794"/>
                    <a:gd name="connsiteX55" fmla="*/ 36210 w 86136"/>
                    <a:gd name="connsiteY55" fmla="*/ 5486 h 42794"/>
                    <a:gd name="connsiteX56" fmla="*/ 74615 w 86136"/>
                    <a:gd name="connsiteY56" fmla="*/ 2195 h 42794"/>
                    <a:gd name="connsiteX57" fmla="*/ 79004 w 86136"/>
                    <a:gd name="connsiteY57" fmla="*/ 0 h 42794"/>
                    <a:gd name="connsiteX58" fmla="*/ 85039 w 86136"/>
                    <a:gd name="connsiteY58" fmla="*/ 2195 h 42794"/>
                    <a:gd name="connsiteX59" fmla="*/ 86136 w 86136"/>
                    <a:gd name="connsiteY59" fmla="*/ 4938 h 42794"/>
                    <a:gd name="connsiteX60" fmla="*/ 82296 w 86136"/>
                    <a:gd name="connsiteY60" fmla="*/ 13167 h 42794"/>
                    <a:gd name="connsiteX61" fmla="*/ 9876 w 86136"/>
                    <a:gd name="connsiteY61" fmla="*/ 42794 h 42794"/>
                    <a:gd name="connsiteX62" fmla="*/ 6583 w 86136"/>
                    <a:gd name="connsiteY62" fmla="*/ 42794 h 427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</a:cxnLst>
                  <a:rect l="l" t="t" r="r" b="b"/>
                  <a:pathLst>
                    <a:path w="86136" h="42794">
                      <a:moveTo>
                        <a:pt x="6583" y="42794"/>
                      </a:moveTo>
                      <a:lnTo>
                        <a:pt x="6035" y="42245"/>
                      </a:lnTo>
                      <a:lnTo>
                        <a:pt x="5486" y="40599"/>
                      </a:lnTo>
                      <a:lnTo>
                        <a:pt x="4938" y="39502"/>
                      </a:lnTo>
                      <a:lnTo>
                        <a:pt x="4938" y="38405"/>
                      </a:lnTo>
                      <a:lnTo>
                        <a:pt x="4389" y="38405"/>
                      </a:lnTo>
                      <a:lnTo>
                        <a:pt x="3841" y="37856"/>
                      </a:lnTo>
                      <a:lnTo>
                        <a:pt x="3841" y="36759"/>
                      </a:lnTo>
                      <a:lnTo>
                        <a:pt x="3841" y="36210"/>
                      </a:lnTo>
                      <a:lnTo>
                        <a:pt x="2743" y="36210"/>
                      </a:lnTo>
                      <a:lnTo>
                        <a:pt x="2195" y="34565"/>
                      </a:lnTo>
                      <a:lnTo>
                        <a:pt x="1646" y="34565"/>
                      </a:lnTo>
                      <a:lnTo>
                        <a:pt x="1646" y="34565"/>
                      </a:lnTo>
                      <a:lnTo>
                        <a:pt x="1646" y="34016"/>
                      </a:lnTo>
                      <a:lnTo>
                        <a:pt x="1646" y="34016"/>
                      </a:lnTo>
                      <a:lnTo>
                        <a:pt x="1646" y="33467"/>
                      </a:lnTo>
                      <a:lnTo>
                        <a:pt x="1097" y="31273"/>
                      </a:lnTo>
                      <a:lnTo>
                        <a:pt x="2743" y="30724"/>
                      </a:lnTo>
                      <a:lnTo>
                        <a:pt x="3292" y="30724"/>
                      </a:lnTo>
                      <a:lnTo>
                        <a:pt x="3841" y="30724"/>
                      </a:lnTo>
                      <a:lnTo>
                        <a:pt x="4938" y="31273"/>
                      </a:lnTo>
                      <a:lnTo>
                        <a:pt x="5486" y="31821"/>
                      </a:lnTo>
                      <a:lnTo>
                        <a:pt x="6035" y="31821"/>
                      </a:lnTo>
                      <a:lnTo>
                        <a:pt x="6583" y="31273"/>
                      </a:lnTo>
                      <a:lnTo>
                        <a:pt x="7133" y="30724"/>
                      </a:lnTo>
                      <a:lnTo>
                        <a:pt x="8230" y="30724"/>
                      </a:lnTo>
                      <a:lnTo>
                        <a:pt x="8778" y="30175"/>
                      </a:lnTo>
                      <a:lnTo>
                        <a:pt x="8778" y="29627"/>
                      </a:lnTo>
                      <a:lnTo>
                        <a:pt x="8778" y="29627"/>
                      </a:lnTo>
                      <a:lnTo>
                        <a:pt x="8778" y="28529"/>
                      </a:lnTo>
                      <a:lnTo>
                        <a:pt x="8778" y="28529"/>
                      </a:lnTo>
                      <a:lnTo>
                        <a:pt x="8778" y="28529"/>
                      </a:lnTo>
                      <a:lnTo>
                        <a:pt x="8778" y="27981"/>
                      </a:lnTo>
                      <a:lnTo>
                        <a:pt x="9327" y="26883"/>
                      </a:lnTo>
                      <a:lnTo>
                        <a:pt x="9327" y="26335"/>
                      </a:lnTo>
                      <a:lnTo>
                        <a:pt x="9327" y="25786"/>
                      </a:lnTo>
                      <a:lnTo>
                        <a:pt x="9327" y="25238"/>
                      </a:lnTo>
                      <a:lnTo>
                        <a:pt x="7681" y="24140"/>
                      </a:lnTo>
                      <a:lnTo>
                        <a:pt x="7133" y="24140"/>
                      </a:lnTo>
                      <a:lnTo>
                        <a:pt x="6035" y="23043"/>
                      </a:lnTo>
                      <a:lnTo>
                        <a:pt x="6035" y="23592"/>
                      </a:lnTo>
                      <a:lnTo>
                        <a:pt x="6035" y="23592"/>
                      </a:lnTo>
                      <a:lnTo>
                        <a:pt x="5486" y="24140"/>
                      </a:lnTo>
                      <a:lnTo>
                        <a:pt x="5486" y="24689"/>
                      </a:lnTo>
                      <a:lnTo>
                        <a:pt x="4389" y="25238"/>
                      </a:lnTo>
                      <a:lnTo>
                        <a:pt x="3841" y="25238"/>
                      </a:lnTo>
                      <a:lnTo>
                        <a:pt x="2195" y="26883"/>
                      </a:lnTo>
                      <a:lnTo>
                        <a:pt x="1097" y="26335"/>
                      </a:lnTo>
                      <a:lnTo>
                        <a:pt x="549" y="26335"/>
                      </a:lnTo>
                      <a:lnTo>
                        <a:pt x="0" y="25786"/>
                      </a:lnTo>
                      <a:lnTo>
                        <a:pt x="0" y="23592"/>
                      </a:lnTo>
                      <a:lnTo>
                        <a:pt x="549" y="23043"/>
                      </a:lnTo>
                      <a:lnTo>
                        <a:pt x="549" y="22494"/>
                      </a:lnTo>
                      <a:lnTo>
                        <a:pt x="6583" y="11522"/>
                      </a:lnTo>
                      <a:lnTo>
                        <a:pt x="32370" y="7681"/>
                      </a:lnTo>
                      <a:lnTo>
                        <a:pt x="36210" y="5486"/>
                      </a:lnTo>
                      <a:lnTo>
                        <a:pt x="74615" y="2195"/>
                      </a:lnTo>
                      <a:lnTo>
                        <a:pt x="79004" y="0"/>
                      </a:lnTo>
                      <a:lnTo>
                        <a:pt x="85039" y="2195"/>
                      </a:lnTo>
                      <a:lnTo>
                        <a:pt x="86136" y="4938"/>
                      </a:lnTo>
                      <a:lnTo>
                        <a:pt x="82296" y="13167"/>
                      </a:lnTo>
                      <a:lnTo>
                        <a:pt x="9876" y="42794"/>
                      </a:lnTo>
                      <a:lnTo>
                        <a:pt x="6583" y="42794"/>
                      </a:lnTo>
                      <a:close/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55" name="Graphic 7">
                  <a:extLst>
                    <a:ext uri="{FF2B5EF4-FFF2-40B4-BE49-F238E27FC236}">
                      <a16:creationId xmlns:a16="http://schemas.microsoft.com/office/drawing/2014/main" id="{92ADF58E-E405-7558-5775-B29E0E873CF3}"/>
                    </a:ext>
                  </a:extLst>
                </p:cNvPr>
                <p:cNvSpPr/>
                <p:nvPr/>
              </p:nvSpPr>
              <p:spPr>
                <a:xfrm>
                  <a:off x="7897086" y="3789389"/>
                  <a:ext cx="7286" cy="14573"/>
                </a:xfrm>
                <a:custGeom>
                  <a:avLst/>
                  <a:gdLst>
                    <a:gd name="connsiteX0" fmla="*/ 0 w 9326"/>
                    <a:gd name="connsiteY0" fmla="*/ 2194 h 18653"/>
                    <a:gd name="connsiteX1" fmla="*/ 0 w 9326"/>
                    <a:gd name="connsiteY1" fmla="*/ 17008 h 18653"/>
                    <a:gd name="connsiteX2" fmla="*/ 5486 w 9326"/>
                    <a:gd name="connsiteY2" fmla="*/ 18654 h 18653"/>
                    <a:gd name="connsiteX3" fmla="*/ 9327 w 9326"/>
                    <a:gd name="connsiteY3" fmla="*/ 13716 h 18653"/>
                    <a:gd name="connsiteX4" fmla="*/ 9327 w 9326"/>
                    <a:gd name="connsiteY4" fmla="*/ 8230 h 18653"/>
                    <a:gd name="connsiteX5" fmla="*/ 5486 w 9326"/>
                    <a:gd name="connsiteY5" fmla="*/ 1097 h 18653"/>
                    <a:gd name="connsiteX6" fmla="*/ 2743 w 9326"/>
                    <a:gd name="connsiteY6" fmla="*/ 0 h 18653"/>
                    <a:gd name="connsiteX7" fmla="*/ 0 w 9326"/>
                    <a:gd name="connsiteY7" fmla="*/ 2194 h 186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9326" h="18653">
                      <a:moveTo>
                        <a:pt x="0" y="2194"/>
                      </a:moveTo>
                      <a:lnTo>
                        <a:pt x="0" y="17008"/>
                      </a:lnTo>
                      <a:lnTo>
                        <a:pt x="5486" y="18654"/>
                      </a:lnTo>
                      <a:lnTo>
                        <a:pt x="9327" y="13716"/>
                      </a:lnTo>
                      <a:lnTo>
                        <a:pt x="9327" y="8230"/>
                      </a:lnTo>
                      <a:lnTo>
                        <a:pt x="5486" y="1097"/>
                      </a:lnTo>
                      <a:lnTo>
                        <a:pt x="2743" y="0"/>
                      </a:lnTo>
                      <a:lnTo>
                        <a:pt x="0" y="2194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56" name="Graphic 7">
                  <a:extLst>
                    <a:ext uri="{FF2B5EF4-FFF2-40B4-BE49-F238E27FC236}">
                      <a16:creationId xmlns:a16="http://schemas.microsoft.com/office/drawing/2014/main" id="{79D283D3-C84E-BE57-D820-5D3DC8D29035}"/>
                    </a:ext>
                  </a:extLst>
                </p:cNvPr>
                <p:cNvSpPr/>
                <p:nvPr/>
              </p:nvSpPr>
              <p:spPr>
                <a:xfrm>
                  <a:off x="7587607" y="3542920"/>
                  <a:ext cx="236181" cy="130307"/>
                </a:xfrm>
                <a:custGeom>
                  <a:avLst/>
                  <a:gdLst>
                    <a:gd name="connsiteX0" fmla="*/ 301203 w 302300"/>
                    <a:gd name="connsiteY0" fmla="*/ 103144 h 166786"/>
                    <a:gd name="connsiteX1" fmla="*/ 298460 w 302300"/>
                    <a:gd name="connsiteY1" fmla="*/ 108082 h 166786"/>
                    <a:gd name="connsiteX2" fmla="*/ 295717 w 302300"/>
                    <a:gd name="connsiteY2" fmla="*/ 135514 h 166786"/>
                    <a:gd name="connsiteX3" fmla="*/ 292974 w 302300"/>
                    <a:gd name="connsiteY3" fmla="*/ 139354 h 166786"/>
                    <a:gd name="connsiteX4" fmla="*/ 292974 w 302300"/>
                    <a:gd name="connsiteY4" fmla="*/ 141549 h 166786"/>
                    <a:gd name="connsiteX5" fmla="*/ 298460 w 302300"/>
                    <a:gd name="connsiteY5" fmla="*/ 144841 h 166786"/>
                    <a:gd name="connsiteX6" fmla="*/ 302301 w 302300"/>
                    <a:gd name="connsiteY6" fmla="*/ 150876 h 166786"/>
                    <a:gd name="connsiteX7" fmla="*/ 301752 w 302300"/>
                    <a:gd name="connsiteY7" fmla="*/ 156362 h 166786"/>
                    <a:gd name="connsiteX8" fmla="*/ 297363 w 302300"/>
                    <a:gd name="connsiteY8" fmla="*/ 163495 h 166786"/>
                    <a:gd name="connsiteX9" fmla="*/ 297363 w 302300"/>
                    <a:gd name="connsiteY9" fmla="*/ 165141 h 166786"/>
                    <a:gd name="connsiteX10" fmla="*/ 289133 w 302300"/>
                    <a:gd name="connsiteY10" fmla="*/ 164592 h 166786"/>
                    <a:gd name="connsiteX11" fmla="*/ 282001 w 302300"/>
                    <a:gd name="connsiteY11" fmla="*/ 166238 h 166786"/>
                    <a:gd name="connsiteX12" fmla="*/ 271577 w 302300"/>
                    <a:gd name="connsiteY12" fmla="*/ 165141 h 166786"/>
                    <a:gd name="connsiteX13" fmla="*/ 265542 w 302300"/>
                    <a:gd name="connsiteY13" fmla="*/ 166786 h 166786"/>
                    <a:gd name="connsiteX14" fmla="*/ 258958 w 302300"/>
                    <a:gd name="connsiteY14" fmla="*/ 163495 h 166786"/>
                    <a:gd name="connsiteX15" fmla="*/ 215615 w 302300"/>
                    <a:gd name="connsiteY15" fmla="*/ 157460 h 166786"/>
                    <a:gd name="connsiteX16" fmla="*/ 211226 w 302300"/>
                    <a:gd name="connsiteY16" fmla="*/ 153070 h 166786"/>
                    <a:gd name="connsiteX17" fmla="*/ 183246 w 302300"/>
                    <a:gd name="connsiteY17" fmla="*/ 149230 h 166786"/>
                    <a:gd name="connsiteX18" fmla="*/ 170078 w 302300"/>
                    <a:gd name="connsiteY18" fmla="*/ 139903 h 166786"/>
                    <a:gd name="connsiteX19" fmla="*/ 163495 w 302300"/>
                    <a:gd name="connsiteY19" fmla="*/ 130576 h 166786"/>
                    <a:gd name="connsiteX20" fmla="*/ 159106 w 302300"/>
                    <a:gd name="connsiteY20" fmla="*/ 127833 h 166786"/>
                    <a:gd name="connsiteX21" fmla="*/ 143743 w 302300"/>
                    <a:gd name="connsiteY21" fmla="*/ 126187 h 166786"/>
                    <a:gd name="connsiteX22" fmla="*/ 142646 w 302300"/>
                    <a:gd name="connsiteY22" fmla="*/ 127833 h 166786"/>
                    <a:gd name="connsiteX23" fmla="*/ 125090 w 302300"/>
                    <a:gd name="connsiteY23" fmla="*/ 124541 h 166786"/>
                    <a:gd name="connsiteX24" fmla="*/ 118506 w 302300"/>
                    <a:gd name="connsiteY24" fmla="*/ 127833 h 166786"/>
                    <a:gd name="connsiteX25" fmla="*/ 102047 w 302300"/>
                    <a:gd name="connsiteY25" fmla="*/ 124541 h 166786"/>
                    <a:gd name="connsiteX26" fmla="*/ 94915 w 302300"/>
                    <a:gd name="connsiteY26" fmla="*/ 116312 h 166786"/>
                    <a:gd name="connsiteX27" fmla="*/ 92720 w 302300"/>
                    <a:gd name="connsiteY27" fmla="*/ 115214 h 166786"/>
                    <a:gd name="connsiteX28" fmla="*/ 84490 w 302300"/>
                    <a:gd name="connsiteY28" fmla="*/ 114117 h 166786"/>
                    <a:gd name="connsiteX29" fmla="*/ 78455 w 302300"/>
                    <a:gd name="connsiteY29" fmla="*/ 108631 h 166786"/>
                    <a:gd name="connsiteX30" fmla="*/ 70774 w 302300"/>
                    <a:gd name="connsiteY30" fmla="*/ 105339 h 166786"/>
                    <a:gd name="connsiteX31" fmla="*/ 63642 w 302300"/>
                    <a:gd name="connsiteY31" fmla="*/ 104790 h 166786"/>
                    <a:gd name="connsiteX32" fmla="*/ 53218 w 302300"/>
                    <a:gd name="connsiteY32" fmla="*/ 98755 h 166786"/>
                    <a:gd name="connsiteX33" fmla="*/ 44988 w 302300"/>
                    <a:gd name="connsiteY33" fmla="*/ 88880 h 166786"/>
                    <a:gd name="connsiteX34" fmla="*/ 33467 w 302300"/>
                    <a:gd name="connsiteY34" fmla="*/ 82296 h 166786"/>
                    <a:gd name="connsiteX35" fmla="*/ 30724 w 302300"/>
                    <a:gd name="connsiteY35" fmla="*/ 79004 h 166786"/>
                    <a:gd name="connsiteX36" fmla="*/ 21397 w 302300"/>
                    <a:gd name="connsiteY36" fmla="*/ 74066 h 166786"/>
                    <a:gd name="connsiteX37" fmla="*/ 19751 w 302300"/>
                    <a:gd name="connsiteY37" fmla="*/ 74066 h 166786"/>
                    <a:gd name="connsiteX38" fmla="*/ 18654 w 302300"/>
                    <a:gd name="connsiteY38" fmla="*/ 77358 h 166786"/>
                    <a:gd name="connsiteX39" fmla="*/ 15910 w 302300"/>
                    <a:gd name="connsiteY39" fmla="*/ 77358 h 166786"/>
                    <a:gd name="connsiteX40" fmla="*/ 12619 w 302300"/>
                    <a:gd name="connsiteY40" fmla="*/ 74066 h 166786"/>
                    <a:gd name="connsiteX41" fmla="*/ 11521 w 302300"/>
                    <a:gd name="connsiteY41" fmla="*/ 70774 h 166786"/>
                    <a:gd name="connsiteX42" fmla="*/ 8230 w 302300"/>
                    <a:gd name="connsiteY42" fmla="*/ 66934 h 166786"/>
                    <a:gd name="connsiteX43" fmla="*/ 549 w 302300"/>
                    <a:gd name="connsiteY43" fmla="*/ 65837 h 166786"/>
                    <a:gd name="connsiteX44" fmla="*/ 0 w 302300"/>
                    <a:gd name="connsiteY44" fmla="*/ 64191 h 166786"/>
                    <a:gd name="connsiteX45" fmla="*/ 549 w 302300"/>
                    <a:gd name="connsiteY45" fmla="*/ 59253 h 166786"/>
                    <a:gd name="connsiteX46" fmla="*/ 3840 w 302300"/>
                    <a:gd name="connsiteY46" fmla="*/ 54315 h 166786"/>
                    <a:gd name="connsiteX47" fmla="*/ 6583 w 302300"/>
                    <a:gd name="connsiteY47" fmla="*/ 53218 h 166786"/>
                    <a:gd name="connsiteX48" fmla="*/ 7132 w 302300"/>
                    <a:gd name="connsiteY48" fmla="*/ 48829 h 166786"/>
                    <a:gd name="connsiteX49" fmla="*/ 9875 w 302300"/>
                    <a:gd name="connsiteY49" fmla="*/ 45537 h 166786"/>
                    <a:gd name="connsiteX50" fmla="*/ 7681 w 302300"/>
                    <a:gd name="connsiteY50" fmla="*/ 40051 h 166786"/>
                    <a:gd name="connsiteX51" fmla="*/ 9875 w 302300"/>
                    <a:gd name="connsiteY51" fmla="*/ 34564 h 166786"/>
                    <a:gd name="connsiteX52" fmla="*/ 13167 w 302300"/>
                    <a:gd name="connsiteY52" fmla="*/ 30724 h 166786"/>
                    <a:gd name="connsiteX53" fmla="*/ 11521 w 302300"/>
                    <a:gd name="connsiteY53" fmla="*/ 25786 h 166786"/>
                    <a:gd name="connsiteX54" fmla="*/ 11521 w 302300"/>
                    <a:gd name="connsiteY54" fmla="*/ 23043 h 166786"/>
                    <a:gd name="connsiteX55" fmla="*/ 14265 w 302300"/>
                    <a:gd name="connsiteY55" fmla="*/ 20300 h 166786"/>
                    <a:gd name="connsiteX56" fmla="*/ 18105 w 302300"/>
                    <a:gd name="connsiteY56" fmla="*/ 19202 h 166786"/>
                    <a:gd name="connsiteX57" fmla="*/ 20299 w 302300"/>
                    <a:gd name="connsiteY57" fmla="*/ 14813 h 166786"/>
                    <a:gd name="connsiteX58" fmla="*/ 25237 w 302300"/>
                    <a:gd name="connsiteY58" fmla="*/ 10973 h 166786"/>
                    <a:gd name="connsiteX59" fmla="*/ 28529 w 302300"/>
                    <a:gd name="connsiteY59" fmla="*/ 7681 h 166786"/>
                    <a:gd name="connsiteX60" fmla="*/ 29626 w 302300"/>
                    <a:gd name="connsiteY60" fmla="*/ 3841 h 166786"/>
                    <a:gd name="connsiteX61" fmla="*/ 30724 w 302300"/>
                    <a:gd name="connsiteY61" fmla="*/ 3292 h 166786"/>
                    <a:gd name="connsiteX62" fmla="*/ 32918 w 302300"/>
                    <a:gd name="connsiteY62" fmla="*/ 4389 h 166786"/>
                    <a:gd name="connsiteX63" fmla="*/ 36759 w 302300"/>
                    <a:gd name="connsiteY63" fmla="*/ 3292 h 166786"/>
                    <a:gd name="connsiteX64" fmla="*/ 37856 w 302300"/>
                    <a:gd name="connsiteY64" fmla="*/ 3841 h 166786"/>
                    <a:gd name="connsiteX65" fmla="*/ 40599 w 302300"/>
                    <a:gd name="connsiteY65" fmla="*/ 7681 h 166786"/>
                    <a:gd name="connsiteX66" fmla="*/ 46086 w 302300"/>
                    <a:gd name="connsiteY66" fmla="*/ 12070 h 166786"/>
                    <a:gd name="connsiteX67" fmla="*/ 46634 w 302300"/>
                    <a:gd name="connsiteY67" fmla="*/ 9875 h 166786"/>
                    <a:gd name="connsiteX68" fmla="*/ 46086 w 302300"/>
                    <a:gd name="connsiteY68" fmla="*/ 8230 h 166786"/>
                    <a:gd name="connsiteX69" fmla="*/ 48280 w 302300"/>
                    <a:gd name="connsiteY69" fmla="*/ 4938 h 166786"/>
                    <a:gd name="connsiteX70" fmla="*/ 48280 w 302300"/>
                    <a:gd name="connsiteY70" fmla="*/ 1646 h 166786"/>
                    <a:gd name="connsiteX71" fmla="*/ 48829 w 302300"/>
                    <a:gd name="connsiteY71" fmla="*/ 0 h 166786"/>
                    <a:gd name="connsiteX72" fmla="*/ 60899 w 302300"/>
                    <a:gd name="connsiteY72" fmla="*/ 1097 h 166786"/>
                    <a:gd name="connsiteX73" fmla="*/ 62545 w 302300"/>
                    <a:gd name="connsiteY73" fmla="*/ 2194 h 166786"/>
                    <a:gd name="connsiteX74" fmla="*/ 88879 w 302300"/>
                    <a:gd name="connsiteY74" fmla="*/ 8778 h 166786"/>
                    <a:gd name="connsiteX75" fmla="*/ 91623 w 302300"/>
                    <a:gd name="connsiteY75" fmla="*/ 10424 h 166786"/>
                    <a:gd name="connsiteX76" fmla="*/ 102595 w 302300"/>
                    <a:gd name="connsiteY76" fmla="*/ 21946 h 166786"/>
                    <a:gd name="connsiteX77" fmla="*/ 111922 w 302300"/>
                    <a:gd name="connsiteY77" fmla="*/ 25237 h 166786"/>
                    <a:gd name="connsiteX78" fmla="*/ 123993 w 302300"/>
                    <a:gd name="connsiteY78" fmla="*/ 37856 h 166786"/>
                    <a:gd name="connsiteX79" fmla="*/ 125638 w 302300"/>
                    <a:gd name="connsiteY79" fmla="*/ 49378 h 166786"/>
                    <a:gd name="connsiteX80" fmla="*/ 127833 w 302300"/>
                    <a:gd name="connsiteY80" fmla="*/ 52121 h 166786"/>
                    <a:gd name="connsiteX81" fmla="*/ 133868 w 302300"/>
                    <a:gd name="connsiteY81" fmla="*/ 54315 h 166786"/>
                    <a:gd name="connsiteX82" fmla="*/ 137160 w 302300"/>
                    <a:gd name="connsiteY82" fmla="*/ 50475 h 166786"/>
                    <a:gd name="connsiteX83" fmla="*/ 139354 w 302300"/>
                    <a:gd name="connsiteY83" fmla="*/ 50475 h 166786"/>
                    <a:gd name="connsiteX84" fmla="*/ 142098 w 302300"/>
                    <a:gd name="connsiteY84" fmla="*/ 47732 h 166786"/>
                    <a:gd name="connsiteX85" fmla="*/ 142098 w 302300"/>
                    <a:gd name="connsiteY85" fmla="*/ 46086 h 166786"/>
                    <a:gd name="connsiteX86" fmla="*/ 144292 w 302300"/>
                    <a:gd name="connsiteY86" fmla="*/ 43342 h 166786"/>
                    <a:gd name="connsiteX87" fmla="*/ 147035 w 302300"/>
                    <a:gd name="connsiteY87" fmla="*/ 43891 h 166786"/>
                    <a:gd name="connsiteX88" fmla="*/ 150876 w 302300"/>
                    <a:gd name="connsiteY88" fmla="*/ 43342 h 166786"/>
                    <a:gd name="connsiteX89" fmla="*/ 155265 w 302300"/>
                    <a:gd name="connsiteY89" fmla="*/ 44440 h 166786"/>
                    <a:gd name="connsiteX90" fmla="*/ 156911 w 302300"/>
                    <a:gd name="connsiteY90" fmla="*/ 46086 h 166786"/>
                    <a:gd name="connsiteX91" fmla="*/ 154168 w 302300"/>
                    <a:gd name="connsiteY91" fmla="*/ 49926 h 166786"/>
                    <a:gd name="connsiteX92" fmla="*/ 155265 w 302300"/>
                    <a:gd name="connsiteY92" fmla="*/ 54315 h 166786"/>
                    <a:gd name="connsiteX93" fmla="*/ 153619 w 302300"/>
                    <a:gd name="connsiteY93" fmla="*/ 63094 h 166786"/>
                    <a:gd name="connsiteX94" fmla="*/ 154168 w 302300"/>
                    <a:gd name="connsiteY94" fmla="*/ 65288 h 166786"/>
                    <a:gd name="connsiteX95" fmla="*/ 158008 w 302300"/>
                    <a:gd name="connsiteY95" fmla="*/ 63642 h 166786"/>
                    <a:gd name="connsiteX96" fmla="*/ 159654 w 302300"/>
                    <a:gd name="connsiteY96" fmla="*/ 66934 h 166786"/>
                    <a:gd name="connsiteX97" fmla="*/ 161849 w 302300"/>
                    <a:gd name="connsiteY97" fmla="*/ 69129 h 166786"/>
                    <a:gd name="connsiteX98" fmla="*/ 164592 w 302300"/>
                    <a:gd name="connsiteY98" fmla="*/ 69677 h 166786"/>
                    <a:gd name="connsiteX99" fmla="*/ 168432 w 302300"/>
                    <a:gd name="connsiteY99" fmla="*/ 71872 h 166786"/>
                    <a:gd name="connsiteX100" fmla="*/ 172822 w 302300"/>
                    <a:gd name="connsiteY100" fmla="*/ 71323 h 166786"/>
                    <a:gd name="connsiteX101" fmla="*/ 177211 w 302300"/>
                    <a:gd name="connsiteY101" fmla="*/ 72969 h 166786"/>
                    <a:gd name="connsiteX102" fmla="*/ 183246 w 302300"/>
                    <a:gd name="connsiteY102" fmla="*/ 74066 h 166786"/>
                    <a:gd name="connsiteX103" fmla="*/ 186538 w 302300"/>
                    <a:gd name="connsiteY103" fmla="*/ 72969 h 166786"/>
                    <a:gd name="connsiteX104" fmla="*/ 189829 w 302300"/>
                    <a:gd name="connsiteY104" fmla="*/ 70774 h 166786"/>
                    <a:gd name="connsiteX105" fmla="*/ 191475 w 302300"/>
                    <a:gd name="connsiteY105" fmla="*/ 71323 h 166786"/>
                    <a:gd name="connsiteX106" fmla="*/ 189829 w 302300"/>
                    <a:gd name="connsiteY106" fmla="*/ 80650 h 166786"/>
                    <a:gd name="connsiteX107" fmla="*/ 190927 w 302300"/>
                    <a:gd name="connsiteY107" fmla="*/ 85039 h 166786"/>
                    <a:gd name="connsiteX108" fmla="*/ 200802 w 302300"/>
                    <a:gd name="connsiteY108" fmla="*/ 91074 h 166786"/>
                    <a:gd name="connsiteX109" fmla="*/ 205740 w 302300"/>
                    <a:gd name="connsiteY109" fmla="*/ 89428 h 166786"/>
                    <a:gd name="connsiteX110" fmla="*/ 211226 w 302300"/>
                    <a:gd name="connsiteY110" fmla="*/ 90526 h 166786"/>
                    <a:gd name="connsiteX111" fmla="*/ 215067 w 302300"/>
                    <a:gd name="connsiteY111" fmla="*/ 94915 h 166786"/>
                    <a:gd name="connsiteX112" fmla="*/ 215615 w 302300"/>
                    <a:gd name="connsiteY112" fmla="*/ 97658 h 166786"/>
                    <a:gd name="connsiteX113" fmla="*/ 218359 w 302300"/>
                    <a:gd name="connsiteY113" fmla="*/ 101498 h 166786"/>
                    <a:gd name="connsiteX114" fmla="*/ 221102 w 302300"/>
                    <a:gd name="connsiteY114" fmla="*/ 103144 h 166786"/>
                    <a:gd name="connsiteX115" fmla="*/ 224942 w 302300"/>
                    <a:gd name="connsiteY115" fmla="*/ 102047 h 166786"/>
                    <a:gd name="connsiteX116" fmla="*/ 227686 w 302300"/>
                    <a:gd name="connsiteY116" fmla="*/ 99853 h 166786"/>
                    <a:gd name="connsiteX117" fmla="*/ 232075 w 302300"/>
                    <a:gd name="connsiteY117" fmla="*/ 103144 h 166786"/>
                    <a:gd name="connsiteX118" fmla="*/ 235366 w 302300"/>
                    <a:gd name="connsiteY118" fmla="*/ 102047 h 166786"/>
                    <a:gd name="connsiteX119" fmla="*/ 239755 w 302300"/>
                    <a:gd name="connsiteY119" fmla="*/ 103693 h 166786"/>
                    <a:gd name="connsiteX120" fmla="*/ 241402 w 302300"/>
                    <a:gd name="connsiteY120" fmla="*/ 103144 h 166786"/>
                    <a:gd name="connsiteX121" fmla="*/ 244145 w 302300"/>
                    <a:gd name="connsiteY121" fmla="*/ 98755 h 166786"/>
                    <a:gd name="connsiteX122" fmla="*/ 246888 w 302300"/>
                    <a:gd name="connsiteY122" fmla="*/ 97658 h 166786"/>
                    <a:gd name="connsiteX123" fmla="*/ 253471 w 302300"/>
                    <a:gd name="connsiteY123" fmla="*/ 98206 h 166786"/>
                    <a:gd name="connsiteX124" fmla="*/ 258409 w 302300"/>
                    <a:gd name="connsiteY124" fmla="*/ 102596 h 166786"/>
                    <a:gd name="connsiteX125" fmla="*/ 272125 w 302300"/>
                    <a:gd name="connsiteY125" fmla="*/ 108082 h 166786"/>
                    <a:gd name="connsiteX126" fmla="*/ 277612 w 302300"/>
                    <a:gd name="connsiteY126" fmla="*/ 106436 h 166786"/>
                    <a:gd name="connsiteX127" fmla="*/ 289133 w 302300"/>
                    <a:gd name="connsiteY127" fmla="*/ 109179 h 166786"/>
                    <a:gd name="connsiteX128" fmla="*/ 292974 w 302300"/>
                    <a:gd name="connsiteY128" fmla="*/ 103144 h 166786"/>
                    <a:gd name="connsiteX129" fmla="*/ 298460 w 302300"/>
                    <a:gd name="connsiteY129" fmla="*/ 102047 h 166786"/>
                    <a:gd name="connsiteX130" fmla="*/ 301203 w 302300"/>
                    <a:gd name="connsiteY130" fmla="*/ 103144 h 1667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</a:cxnLst>
                  <a:rect l="l" t="t" r="r" b="b"/>
                  <a:pathLst>
                    <a:path w="302300" h="166786">
                      <a:moveTo>
                        <a:pt x="301203" y="103144"/>
                      </a:moveTo>
                      <a:lnTo>
                        <a:pt x="298460" y="108082"/>
                      </a:lnTo>
                      <a:lnTo>
                        <a:pt x="295717" y="135514"/>
                      </a:lnTo>
                      <a:lnTo>
                        <a:pt x="292974" y="139354"/>
                      </a:lnTo>
                      <a:lnTo>
                        <a:pt x="292974" y="141549"/>
                      </a:lnTo>
                      <a:lnTo>
                        <a:pt x="298460" y="144841"/>
                      </a:lnTo>
                      <a:lnTo>
                        <a:pt x="302301" y="150876"/>
                      </a:lnTo>
                      <a:lnTo>
                        <a:pt x="301752" y="156362"/>
                      </a:lnTo>
                      <a:lnTo>
                        <a:pt x="297363" y="163495"/>
                      </a:lnTo>
                      <a:lnTo>
                        <a:pt x="297363" y="165141"/>
                      </a:lnTo>
                      <a:lnTo>
                        <a:pt x="289133" y="164592"/>
                      </a:lnTo>
                      <a:lnTo>
                        <a:pt x="282001" y="166238"/>
                      </a:lnTo>
                      <a:lnTo>
                        <a:pt x="271577" y="165141"/>
                      </a:lnTo>
                      <a:lnTo>
                        <a:pt x="265542" y="166786"/>
                      </a:lnTo>
                      <a:lnTo>
                        <a:pt x="258958" y="163495"/>
                      </a:lnTo>
                      <a:lnTo>
                        <a:pt x="215615" y="157460"/>
                      </a:lnTo>
                      <a:lnTo>
                        <a:pt x="211226" y="153070"/>
                      </a:lnTo>
                      <a:lnTo>
                        <a:pt x="183246" y="149230"/>
                      </a:lnTo>
                      <a:lnTo>
                        <a:pt x="170078" y="139903"/>
                      </a:lnTo>
                      <a:lnTo>
                        <a:pt x="163495" y="130576"/>
                      </a:lnTo>
                      <a:lnTo>
                        <a:pt x="159106" y="127833"/>
                      </a:lnTo>
                      <a:lnTo>
                        <a:pt x="143743" y="126187"/>
                      </a:lnTo>
                      <a:lnTo>
                        <a:pt x="142646" y="127833"/>
                      </a:lnTo>
                      <a:lnTo>
                        <a:pt x="125090" y="124541"/>
                      </a:lnTo>
                      <a:lnTo>
                        <a:pt x="118506" y="127833"/>
                      </a:lnTo>
                      <a:lnTo>
                        <a:pt x="102047" y="124541"/>
                      </a:lnTo>
                      <a:lnTo>
                        <a:pt x="94915" y="116312"/>
                      </a:lnTo>
                      <a:lnTo>
                        <a:pt x="92720" y="115214"/>
                      </a:lnTo>
                      <a:lnTo>
                        <a:pt x="84490" y="114117"/>
                      </a:lnTo>
                      <a:lnTo>
                        <a:pt x="78455" y="108631"/>
                      </a:lnTo>
                      <a:lnTo>
                        <a:pt x="70774" y="105339"/>
                      </a:lnTo>
                      <a:lnTo>
                        <a:pt x="63642" y="104790"/>
                      </a:lnTo>
                      <a:lnTo>
                        <a:pt x="53218" y="98755"/>
                      </a:lnTo>
                      <a:lnTo>
                        <a:pt x="44988" y="88880"/>
                      </a:lnTo>
                      <a:lnTo>
                        <a:pt x="33467" y="82296"/>
                      </a:lnTo>
                      <a:lnTo>
                        <a:pt x="30724" y="79004"/>
                      </a:lnTo>
                      <a:lnTo>
                        <a:pt x="21397" y="74066"/>
                      </a:lnTo>
                      <a:lnTo>
                        <a:pt x="19751" y="74066"/>
                      </a:lnTo>
                      <a:lnTo>
                        <a:pt x="18654" y="77358"/>
                      </a:lnTo>
                      <a:lnTo>
                        <a:pt x="15910" y="77358"/>
                      </a:lnTo>
                      <a:lnTo>
                        <a:pt x="12619" y="74066"/>
                      </a:lnTo>
                      <a:lnTo>
                        <a:pt x="11521" y="70774"/>
                      </a:lnTo>
                      <a:lnTo>
                        <a:pt x="8230" y="66934"/>
                      </a:lnTo>
                      <a:lnTo>
                        <a:pt x="549" y="65837"/>
                      </a:lnTo>
                      <a:lnTo>
                        <a:pt x="0" y="64191"/>
                      </a:lnTo>
                      <a:lnTo>
                        <a:pt x="549" y="59253"/>
                      </a:lnTo>
                      <a:lnTo>
                        <a:pt x="3840" y="54315"/>
                      </a:lnTo>
                      <a:lnTo>
                        <a:pt x="6583" y="53218"/>
                      </a:lnTo>
                      <a:lnTo>
                        <a:pt x="7132" y="48829"/>
                      </a:lnTo>
                      <a:lnTo>
                        <a:pt x="9875" y="45537"/>
                      </a:lnTo>
                      <a:lnTo>
                        <a:pt x="7681" y="40051"/>
                      </a:lnTo>
                      <a:lnTo>
                        <a:pt x="9875" y="34564"/>
                      </a:lnTo>
                      <a:lnTo>
                        <a:pt x="13167" y="30724"/>
                      </a:lnTo>
                      <a:lnTo>
                        <a:pt x="11521" y="25786"/>
                      </a:lnTo>
                      <a:lnTo>
                        <a:pt x="11521" y="23043"/>
                      </a:lnTo>
                      <a:lnTo>
                        <a:pt x="14265" y="20300"/>
                      </a:lnTo>
                      <a:lnTo>
                        <a:pt x="18105" y="19202"/>
                      </a:lnTo>
                      <a:lnTo>
                        <a:pt x="20299" y="14813"/>
                      </a:lnTo>
                      <a:lnTo>
                        <a:pt x="25237" y="10973"/>
                      </a:lnTo>
                      <a:lnTo>
                        <a:pt x="28529" y="7681"/>
                      </a:lnTo>
                      <a:lnTo>
                        <a:pt x="29626" y="3841"/>
                      </a:lnTo>
                      <a:lnTo>
                        <a:pt x="30724" y="3292"/>
                      </a:lnTo>
                      <a:lnTo>
                        <a:pt x="32918" y="4389"/>
                      </a:lnTo>
                      <a:lnTo>
                        <a:pt x="36759" y="3292"/>
                      </a:lnTo>
                      <a:lnTo>
                        <a:pt x="37856" y="3841"/>
                      </a:lnTo>
                      <a:lnTo>
                        <a:pt x="40599" y="7681"/>
                      </a:lnTo>
                      <a:lnTo>
                        <a:pt x="46086" y="12070"/>
                      </a:lnTo>
                      <a:lnTo>
                        <a:pt x="46634" y="9875"/>
                      </a:lnTo>
                      <a:lnTo>
                        <a:pt x="46086" y="8230"/>
                      </a:lnTo>
                      <a:lnTo>
                        <a:pt x="48280" y="4938"/>
                      </a:lnTo>
                      <a:lnTo>
                        <a:pt x="48280" y="1646"/>
                      </a:lnTo>
                      <a:lnTo>
                        <a:pt x="48829" y="0"/>
                      </a:lnTo>
                      <a:lnTo>
                        <a:pt x="60899" y="1097"/>
                      </a:lnTo>
                      <a:lnTo>
                        <a:pt x="62545" y="2194"/>
                      </a:lnTo>
                      <a:lnTo>
                        <a:pt x="88879" y="8778"/>
                      </a:lnTo>
                      <a:lnTo>
                        <a:pt x="91623" y="10424"/>
                      </a:lnTo>
                      <a:lnTo>
                        <a:pt x="102595" y="21946"/>
                      </a:lnTo>
                      <a:lnTo>
                        <a:pt x="111922" y="25237"/>
                      </a:lnTo>
                      <a:lnTo>
                        <a:pt x="123993" y="37856"/>
                      </a:lnTo>
                      <a:lnTo>
                        <a:pt x="125638" y="49378"/>
                      </a:lnTo>
                      <a:lnTo>
                        <a:pt x="127833" y="52121"/>
                      </a:lnTo>
                      <a:lnTo>
                        <a:pt x="133868" y="54315"/>
                      </a:lnTo>
                      <a:lnTo>
                        <a:pt x="137160" y="50475"/>
                      </a:lnTo>
                      <a:lnTo>
                        <a:pt x="139354" y="50475"/>
                      </a:lnTo>
                      <a:lnTo>
                        <a:pt x="142098" y="47732"/>
                      </a:lnTo>
                      <a:lnTo>
                        <a:pt x="142098" y="46086"/>
                      </a:lnTo>
                      <a:lnTo>
                        <a:pt x="144292" y="43342"/>
                      </a:lnTo>
                      <a:lnTo>
                        <a:pt x="147035" y="43891"/>
                      </a:lnTo>
                      <a:lnTo>
                        <a:pt x="150876" y="43342"/>
                      </a:lnTo>
                      <a:lnTo>
                        <a:pt x="155265" y="44440"/>
                      </a:lnTo>
                      <a:lnTo>
                        <a:pt x="156911" y="46086"/>
                      </a:lnTo>
                      <a:lnTo>
                        <a:pt x="154168" y="49926"/>
                      </a:lnTo>
                      <a:lnTo>
                        <a:pt x="155265" y="54315"/>
                      </a:lnTo>
                      <a:lnTo>
                        <a:pt x="153619" y="63094"/>
                      </a:lnTo>
                      <a:lnTo>
                        <a:pt x="154168" y="65288"/>
                      </a:lnTo>
                      <a:lnTo>
                        <a:pt x="158008" y="63642"/>
                      </a:lnTo>
                      <a:lnTo>
                        <a:pt x="159654" y="66934"/>
                      </a:lnTo>
                      <a:lnTo>
                        <a:pt x="161849" y="69129"/>
                      </a:lnTo>
                      <a:lnTo>
                        <a:pt x="164592" y="69677"/>
                      </a:lnTo>
                      <a:lnTo>
                        <a:pt x="168432" y="71872"/>
                      </a:lnTo>
                      <a:lnTo>
                        <a:pt x="172822" y="71323"/>
                      </a:lnTo>
                      <a:lnTo>
                        <a:pt x="177211" y="72969"/>
                      </a:lnTo>
                      <a:lnTo>
                        <a:pt x="183246" y="74066"/>
                      </a:lnTo>
                      <a:lnTo>
                        <a:pt x="186538" y="72969"/>
                      </a:lnTo>
                      <a:lnTo>
                        <a:pt x="189829" y="70774"/>
                      </a:lnTo>
                      <a:lnTo>
                        <a:pt x="191475" y="71323"/>
                      </a:lnTo>
                      <a:lnTo>
                        <a:pt x="189829" y="80650"/>
                      </a:lnTo>
                      <a:lnTo>
                        <a:pt x="190927" y="85039"/>
                      </a:lnTo>
                      <a:lnTo>
                        <a:pt x="200802" y="91074"/>
                      </a:lnTo>
                      <a:lnTo>
                        <a:pt x="205740" y="89428"/>
                      </a:lnTo>
                      <a:lnTo>
                        <a:pt x="211226" y="90526"/>
                      </a:lnTo>
                      <a:lnTo>
                        <a:pt x="215067" y="94915"/>
                      </a:lnTo>
                      <a:lnTo>
                        <a:pt x="215615" y="97658"/>
                      </a:lnTo>
                      <a:lnTo>
                        <a:pt x="218359" y="101498"/>
                      </a:lnTo>
                      <a:lnTo>
                        <a:pt x="221102" y="103144"/>
                      </a:lnTo>
                      <a:lnTo>
                        <a:pt x="224942" y="102047"/>
                      </a:lnTo>
                      <a:lnTo>
                        <a:pt x="227686" y="99853"/>
                      </a:lnTo>
                      <a:lnTo>
                        <a:pt x="232075" y="103144"/>
                      </a:lnTo>
                      <a:lnTo>
                        <a:pt x="235366" y="102047"/>
                      </a:lnTo>
                      <a:lnTo>
                        <a:pt x="239755" y="103693"/>
                      </a:lnTo>
                      <a:lnTo>
                        <a:pt x="241402" y="103144"/>
                      </a:lnTo>
                      <a:lnTo>
                        <a:pt x="244145" y="98755"/>
                      </a:lnTo>
                      <a:lnTo>
                        <a:pt x="246888" y="97658"/>
                      </a:lnTo>
                      <a:lnTo>
                        <a:pt x="253471" y="98206"/>
                      </a:lnTo>
                      <a:lnTo>
                        <a:pt x="258409" y="102596"/>
                      </a:lnTo>
                      <a:lnTo>
                        <a:pt x="272125" y="108082"/>
                      </a:lnTo>
                      <a:lnTo>
                        <a:pt x="277612" y="106436"/>
                      </a:lnTo>
                      <a:lnTo>
                        <a:pt x="289133" y="109179"/>
                      </a:lnTo>
                      <a:lnTo>
                        <a:pt x="292974" y="103144"/>
                      </a:lnTo>
                      <a:lnTo>
                        <a:pt x="298460" y="102047"/>
                      </a:lnTo>
                      <a:lnTo>
                        <a:pt x="301203" y="103144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57" name="Graphic 7">
                  <a:extLst>
                    <a:ext uri="{FF2B5EF4-FFF2-40B4-BE49-F238E27FC236}">
                      <a16:creationId xmlns:a16="http://schemas.microsoft.com/office/drawing/2014/main" id="{C5402805-8517-1210-0E87-A3836D652D14}"/>
                    </a:ext>
                  </a:extLst>
                </p:cNvPr>
                <p:cNvSpPr/>
                <p:nvPr/>
              </p:nvSpPr>
              <p:spPr>
                <a:xfrm>
                  <a:off x="7815645" y="3668511"/>
                  <a:ext cx="140166" cy="180029"/>
                </a:xfrm>
                <a:custGeom>
                  <a:avLst/>
                  <a:gdLst>
                    <a:gd name="connsiteX0" fmla="*/ 166238 w 179405"/>
                    <a:gd name="connsiteY0" fmla="*/ 229331 h 230428"/>
                    <a:gd name="connsiteX1" fmla="*/ 164592 w 179405"/>
                    <a:gd name="connsiteY1" fmla="*/ 230429 h 230428"/>
                    <a:gd name="connsiteX2" fmla="*/ 151425 w 179405"/>
                    <a:gd name="connsiteY2" fmla="*/ 175016 h 230428"/>
                    <a:gd name="connsiteX3" fmla="*/ 139903 w 179405"/>
                    <a:gd name="connsiteY3" fmla="*/ 156362 h 230428"/>
                    <a:gd name="connsiteX4" fmla="*/ 134966 w 179405"/>
                    <a:gd name="connsiteY4" fmla="*/ 153071 h 230428"/>
                    <a:gd name="connsiteX5" fmla="*/ 119055 w 179405"/>
                    <a:gd name="connsiteY5" fmla="*/ 156362 h 230428"/>
                    <a:gd name="connsiteX6" fmla="*/ 113569 w 179405"/>
                    <a:gd name="connsiteY6" fmla="*/ 153619 h 230428"/>
                    <a:gd name="connsiteX7" fmla="*/ 109728 w 179405"/>
                    <a:gd name="connsiteY7" fmla="*/ 146487 h 230428"/>
                    <a:gd name="connsiteX8" fmla="*/ 106985 w 179405"/>
                    <a:gd name="connsiteY8" fmla="*/ 148133 h 230428"/>
                    <a:gd name="connsiteX9" fmla="*/ 104242 w 179405"/>
                    <a:gd name="connsiteY9" fmla="*/ 155265 h 230428"/>
                    <a:gd name="connsiteX10" fmla="*/ 99304 w 179405"/>
                    <a:gd name="connsiteY10" fmla="*/ 159106 h 230428"/>
                    <a:gd name="connsiteX11" fmla="*/ 102047 w 179405"/>
                    <a:gd name="connsiteY11" fmla="*/ 175016 h 230428"/>
                    <a:gd name="connsiteX12" fmla="*/ 88331 w 179405"/>
                    <a:gd name="connsiteY12" fmla="*/ 192573 h 230428"/>
                    <a:gd name="connsiteX13" fmla="*/ 85588 w 179405"/>
                    <a:gd name="connsiteY13" fmla="*/ 190927 h 230428"/>
                    <a:gd name="connsiteX14" fmla="*/ 78456 w 179405"/>
                    <a:gd name="connsiteY14" fmla="*/ 182149 h 230428"/>
                    <a:gd name="connsiteX15" fmla="*/ 75713 w 179405"/>
                    <a:gd name="connsiteY15" fmla="*/ 186538 h 230428"/>
                    <a:gd name="connsiteX16" fmla="*/ 74066 w 179405"/>
                    <a:gd name="connsiteY16" fmla="*/ 190378 h 230428"/>
                    <a:gd name="connsiteX17" fmla="*/ 67483 w 179405"/>
                    <a:gd name="connsiteY17" fmla="*/ 195865 h 230428"/>
                    <a:gd name="connsiteX18" fmla="*/ 65837 w 179405"/>
                    <a:gd name="connsiteY18" fmla="*/ 190927 h 230428"/>
                    <a:gd name="connsiteX19" fmla="*/ 61997 w 179405"/>
                    <a:gd name="connsiteY19" fmla="*/ 194219 h 230428"/>
                    <a:gd name="connsiteX20" fmla="*/ 54315 w 179405"/>
                    <a:gd name="connsiteY20" fmla="*/ 193670 h 230428"/>
                    <a:gd name="connsiteX21" fmla="*/ 53767 w 179405"/>
                    <a:gd name="connsiteY21" fmla="*/ 196962 h 230428"/>
                    <a:gd name="connsiteX22" fmla="*/ 51572 w 179405"/>
                    <a:gd name="connsiteY22" fmla="*/ 195316 h 230428"/>
                    <a:gd name="connsiteX23" fmla="*/ 48829 w 179405"/>
                    <a:gd name="connsiteY23" fmla="*/ 195865 h 230428"/>
                    <a:gd name="connsiteX24" fmla="*/ 47183 w 179405"/>
                    <a:gd name="connsiteY24" fmla="*/ 199156 h 230428"/>
                    <a:gd name="connsiteX25" fmla="*/ 43891 w 179405"/>
                    <a:gd name="connsiteY25" fmla="*/ 200802 h 230428"/>
                    <a:gd name="connsiteX26" fmla="*/ 39502 w 179405"/>
                    <a:gd name="connsiteY26" fmla="*/ 199705 h 230428"/>
                    <a:gd name="connsiteX27" fmla="*/ 35113 w 179405"/>
                    <a:gd name="connsiteY27" fmla="*/ 189829 h 230428"/>
                    <a:gd name="connsiteX28" fmla="*/ 36210 w 179405"/>
                    <a:gd name="connsiteY28" fmla="*/ 186538 h 230428"/>
                    <a:gd name="connsiteX29" fmla="*/ 33467 w 179405"/>
                    <a:gd name="connsiteY29" fmla="*/ 176113 h 230428"/>
                    <a:gd name="connsiteX30" fmla="*/ 34016 w 179405"/>
                    <a:gd name="connsiteY30" fmla="*/ 170627 h 230428"/>
                    <a:gd name="connsiteX31" fmla="*/ 32918 w 179405"/>
                    <a:gd name="connsiteY31" fmla="*/ 164592 h 230428"/>
                    <a:gd name="connsiteX32" fmla="*/ 29627 w 179405"/>
                    <a:gd name="connsiteY32" fmla="*/ 160751 h 230428"/>
                    <a:gd name="connsiteX33" fmla="*/ 27432 w 179405"/>
                    <a:gd name="connsiteY33" fmla="*/ 155265 h 230428"/>
                    <a:gd name="connsiteX34" fmla="*/ 27432 w 179405"/>
                    <a:gd name="connsiteY34" fmla="*/ 148133 h 230428"/>
                    <a:gd name="connsiteX35" fmla="*/ 28529 w 179405"/>
                    <a:gd name="connsiteY35" fmla="*/ 147035 h 230428"/>
                    <a:gd name="connsiteX36" fmla="*/ 29627 w 179405"/>
                    <a:gd name="connsiteY36" fmla="*/ 136063 h 230428"/>
                    <a:gd name="connsiteX37" fmla="*/ 28529 w 179405"/>
                    <a:gd name="connsiteY37" fmla="*/ 133319 h 230428"/>
                    <a:gd name="connsiteX38" fmla="*/ 26335 w 179405"/>
                    <a:gd name="connsiteY38" fmla="*/ 132222 h 230428"/>
                    <a:gd name="connsiteX39" fmla="*/ 26335 w 179405"/>
                    <a:gd name="connsiteY39" fmla="*/ 122347 h 230428"/>
                    <a:gd name="connsiteX40" fmla="*/ 21946 w 179405"/>
                    <a:gd name="connsiteY40" fmla="*/ 117958 h 230428"/>
                    <a:gd name="connsiteX41" fmla="*/ 24140 w 179405"/>
                    <a:gd name="connsiteY41" fmla="*/ 89977 h 230428"/>
                    <a:gd name="connsiteX42" fmla="*/ 14265 w 179405"/>
                    <a:gd name="connsiteY42" fmla="*/ 80650 h 230428"/>
                    <a:gd name="connsiteX43" fmla="*/ 1097 w 179405"/>
                    <a:gd name="connsiteY43" fmla="*/ 74066 h 230428"/>
                    <a:gd name="connsiteX44" fmla="*/ 0 w 179405"/>
                    <a:gd name="connsiteY44" fmla="*/ 70226 h 230428"/>
                    <a:gd name="connsiteX45" fmla="*/ 1097 w 179405"/>
                    <a:gd name="connsiteY45" fmla="*/ 66385 h 230428"/>
                    <a:gd name="connsiteX46" fmla="*/ 3841 w 179405"/>
                    <a:gd name="connsiteY46" fmla="*/ 60899 h 230428"/>
                    <a:gd name="connsiteX47" fmla="*/ 9327 w 179405"/>
                    <a:gd name="connsiteY47" fmla="*/ 59802 h 230428"/>
                    <a:gd name="connsiteX48" fmla="*/ 13167 w 179405"/>
                    <a:gd name="connsiteY48" fmla="*/ 57607 h 230428"/>
                    <a:gd name="connsiteX49" fmla="*/ 14813 w 179405"/>
                    <a:gd name="connsiteY49" fmla="*/ 52669 h 230428"/>
                    <a:gd name="connsiteX50" fmla="*/ 28529 w 179405"/>
                    <a:gd name="connsiteY50" fmla="*/ 51572 h 230428"/>
                    <a:gd name="connsiteX51" fmla="*/ 28529 w 179405"/>
                    <a:gd name="connsiteY51" fmla="*/ 45537 h 230428"/>
                    <a:gd name="connsiteX52" fmla="*/ 26335 w 179405"/>
                    <a:gd name="connsiteY52" fmla="*/ 43891 h 230428"/>
                    <a:gd name="connsiteX53" fmla="*/ 26883 w 179405"/>
                    <a:gd name="connsiteY53" fmla="*/ 40599 h 230428"/>
                    <a:gd name="connsiteX54" fmla="*/ 16459 w 179405"/>
                    <a:gd name="connsiteY54" fmla="*/ 41148 h 230428"/>
                    <a:gd name="connsiteX55" fmla="*/ 11522 w 179405"/>
                    <a:gd name="connsiteY55" fmla="*/ 37856 h 230428"/>
                    <a:gd name="connsiteX56" fmla="*/ 9876 w 179405"/>
                    <a:gd name="connsiteY56" fmla="*/ 29078 h 230428"/>
                    <a:gd name="connsiteX57" fmla="*/ 7133 w 179405"/>
                    <a:gd name="connsiteY57" fmla="*/ 26335 h 230428"/>
                    <a:gd name="connsiteX58" fmla="*/ 17008 w 179405"/>
                    <a:gd name="connsiteY58" fmla="*/ 9875 h 230428"/>
                    <a:gd name="connsiteX59" fmla="*/ 18654 w 179405"/>
                    <a:gd name="connsiteY59" fmla="*/ 1646 h 230428"/>
                    <a:gd name="connsiteX60" fmla="*/ 21946 w 179405"/>
                    <a:gd name="connsiteY60" fmla="*/ 0 h 230428"/>
                    <a:gd name="connsiteX61" fmla="*/ 32918 w 179405"/>
                    <a:gd name="connsiteY61" fmla="*/ 16459 h 230428"/>
                    <a:gd name="connsiteX62" fmla="*/ 35662 w 179405"/>
                    <a:gd name="connsiteY62" fmla="*/ 2743 h 230428"/>
                    <a:gd name="connsiteX63" fmla="*/ 39502 w 179405"/>
                    <a:gd name="connsiteY63" fmla="*/ 4389 h 230428"/>
                    <a:gd name="connsiteX64" fmla="*/ 41697 w 179405"/>
                    <a:gd name="connsiteY64" fmla="*/ 14813 h 230428"/>
                    <a:gd name="connsiteX65" fmla="*/ 47183 w 179405"/>
                    <a:gd name="connsiteY65" fmla="*/ 20848 h 230428"/>
                    <a:gd name="connsiteX66" fmla="*/ 50475 w 179405"/>
                    <a:gd name="connsiteY66" fmla="*/ 18105 h 230428"/>
                    <a:gd name="connsiteX67" fmla="*/ 56510 w 179405"/>
                    <a:gd name="connsiteY67" fmla="*/ 21946 h 230428"/>
                    <a:gd name="connsiteX68" fmla="*/ 61997 w 179405"/>
                    <a:gd name="connsiteY68" fmla="*/ 12070 h 230428"/>
                    <a:gd name="connsiteX69" fmla="*/ 68580 w 179405"/>
                    <a:gd name="connsiteY69" fmla="*/ 41148 h 230428"/>
                    <a:gd name="connsiteX70" fmla="*/ 73518 w 179405"/>
                    <a:gd name="connsiteY70" fmla="*/ 47183 h 230428"/>
                    <a:gd name="connsiteX71" fmla="*/ 81199 w 179405"/>
                    <a:gd name="connsiteY71" fmla="*/ 50475 h 230428"/>
                    <a:gd name="connsiteX72" fmla="*/ 110825 w 179405"/>
                    <a:gd name="connsiteY72" fmla="*/ 53218 h 230428"/>
                    <a:gd name="connsiteX73" fmla="*/ 113569 w 179405"/>
                    <a:gd name="connsiteY73" fmla="*/ 51572 h 230428"/>
                    <a:gd name="connsiteX74" fmla="*/ 138806 w 179405"/>
                    <a:gd name="connsiteY74" fmla="*/ 51572 h 230428"/>
                    <a:gd name="connsiteX75" fmla="*/ 165689 w 179405"/>
                    <a:gd name="connsiteY75" fmla="*/ 58705 h 230428"/>
                    <a:gd name="connsiteX76" fmla="*/ 164044 w 179405"/>
                    <a:gd name="connsiteY76" fmla="*/ 61996 h 230428"/>
                    <a:gd name="connsiteX77" fmla="*/ 157460 w 179405"/>
                    <a:gd name="connsiteY77" fmla="*/ 65288 h 230428"/>
                    <a:gd name="connsiteX78" fmla="*/ 154717 w 179405"/>
                    <a:gd name="connsiteY78" fmla="*/ 74066 h 230428"/>
                    <a:gd name="connsiteX79" fmla="*/ 138806 w 179405"/>
                    <a:gd name="connsiteY79" fmla="*/ 91074 h 230428"/>
                    <a:gd name="connsiteX80" fmla="*/ 121798 w 179405"/>
                    <a:gd name="connsiteY80" fmla="*/ 101498 h 230428"/>
                    <a:gd name="connsiteX81" fmla="*/ 120152 w 179405"/>
                    <a:gd name="connsiteY81" fmla="*/ 106985 h 230428"/>
                    <a:gd name="connsiteX82" fmla="*/ 125639 w 179405"/>
                    <a:gd name="connsiteY82" fmla="*/ 131125 h 230428"/>
                    <a:gd name="connsiteX83" fmla="*/ 132771 w 179405"/>
                    <a:gd name="connsiteY83" fmla="*/ 132771 h 230428"/>
                    <a:gd name="connsiteX84" fmla="*/ 136612 w 179405"/>
                    <a:gd name="connsiteY84" fmla="*/ 138806 h 230428"/>
                    <a:gd name="connsiteX85" fmla="*/ 141549 w 179405"/>
                    <a:gd name="connsiteY85" fmla="*/ 143195 h 230428"/>
                    <a:gd name="connsiteX86" fmla="*/ 148682 w 179405"/>
                    <a:gd name="connsiteY86" fmla="*/ 122895 h 230428"/>
                    <a:gd name="connsiteX87" fmla="*/ 156362 w 179405"/>
                    <a:gd name="connsiteY87" fmla="*/ 113020 h 230428"/>
                    <a:gd name="connsiteX88" fmla="*/ 160203 w 179405"/>
                    <a:gd name="connsiteY88" fmla="*/ 113569 h 230428"/>
                    <a:gd name="connsiteX89" fmla="*/ 178857 w 179405"/>
                    <a:gd name="connsiteY89" fmla="*/ 188732 h 230428"/>
                    <a:gd name="connsiteX90" fmla="*/ 177760 w 179405"/>
                    <a:gd name="connsiteY90" fmla="*/ 190378 h 230428"/>
                    <a:gd name="connsiteX91" fmla="*/ 179405 w 179405"/>
                    <a:gd name="connsiteY91" fmla="*/ 210678 h 230428"/>
                    <a:gd name="connsiteX92" fmla="*/ 171176 w 179405"/>
                    <a:gd name="connsiteY92" fmla="*/ 208483 h 230428"/>
                    <a:gd name="connsiteX93" fmla="*/ 167335 w 179405"/>
                    <a:gd name="connsiteY93" fmla="*/ 211226 h 230428"/>
                    <a:gd name="connsiteX94" fmla="*/ 166238 w 179405"/>
                    <a:gd name="connsiteY94" fmla="*/ 229331 h 2304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</a:cxnLst>
                  <a:rect l="l" t="t" r="r" b="b"/>
                  <a:pathLst>
                    <a:path w="179405" h="230428">
                      <a:moveTo>
                        <a:pt x="166238" y="229331"/>
                      </a:moveTo>
                      <a:lnTo>
                        <a:pt x="164592" y="230429"/>
                      </a:lnTo>
                      <a:lnTo>
                        <a:pt x="151425" y="175016"/>
                      </a:lnTo>
                      <a:lnTo>
                        <a:pt x="139903" y="156362"/>
                      </a:lnTo>
                      <a:lnTo>
                        <a:pt x="134966" y="153071"/>
                      </a:lnTo>
                      <a:lnTo>
                        <a:pt x="119055" y="156362"/>
                      </a:lnTo>
                      <a:lnTo>
                        <a:pt x="113569" y="153619"/>
                      </a:lnTo>
                      <a:lnTo>
                        <a:pt x="109728" y="146487"/>
                      </a:lnTo>
                      <a:lnTo>
                        <a:pt x="106985" y="148133"/>
                      </a:lnTo>
                      <a:lnTo>
                        <a:pt x="104242" y="155265"/>
                      </a:lnTo>
                      <a:lnTo>
                        <a:pt x="99304" y="159106"/>
                      </a:lnTo>
                      <a:lnTo>
                        <a:pt x="102047" y="175016"/>
                      </a:lnTo>
                      <a:lnTo>
                        <a:pt x="88331" y="192573"/>
                      </a:lnTo>
                      <a:lnTo>
                        <a:pt x="85588" y="190927"/>
                      </a:lnTo>
                      <a:lnTo>
                        <a:pt x="78456" y="182149"/>
                      </a:lnTo>
                      <a:lnTo>
                        <a:pt x="75713" y="186538"/>
                      </a:lnTo>
                      <a:lnTo>
                        <a:pt x="74066" y="190378"/>
                      </a:lnTo>
                      <a:lnTo>
                        <a:pt x="67483" y="195865"/>
                      </a:lnTo>
                      <a:lnTo>
                        <a:pt x="65837" y="190927"/>
                      </a:lnTo>
                      <a:lnTo>
                        <a:pt x="61997" y="194219"/>
                      </a:lnTo>
                      <a:lnTo>
                        <a:pt x="54315" y="193670"/>
                      </a:lnTo>
                      <a:lnTo>
                        <a:pt x="53767" y="196962"/>
                      </a:lnTo>
                      <a:lnTo>
                        <a:pt x="51572" y="195316"/>
                      </a:lnTo>
                      <a:lnTo>
                        <a:pt x="48829" y="195865"/>
                      </a:lnTo>
                      <a:lnTo>
                        <a:pt x="47183" y="199156"/>
                      </a:lnTo>
                      <a:lnTo>
                        <a:pt x="43891" y="200802"/>
                      </a:lnTo>
                      <a:lnTo>
                        <a:pt x="39502" y="199705"/>
                      </a:lnTo>
                      <a:lnTo>
                        <a:pt x="35113" y="189829"/>
                      </a:lnTo>
                      <a:lnTo>
                        <a:pt x="36210" y="186538"/>
                      </a:lnTo>
                      <a:lnTo>
                        <a:pt x="33467" y="176113"/>
                      </a:lnTo>
                      <a:lnTo>
                        <a:pt x="34016" y="170627"/>
                      </a:lnTo>
                      <a:lnTo>
                        <a:pt x="32918" y="164592"/>
                      </a:lnTo>
                      <a:lnTo>
                        <a:pt x="29627" y="160751"/>
                      </a:lnTo>
                      <a:lnTo>
                        <a:pt x="27432" y="155265"/>
                      </a:lnTo>
                      <a:lnTo>
                        <a:pt x="27432" y="148133"/>
                      </a:lnTo>
                      <a:lnTo>
                        <a:pt x="28529" y="147035"/>
                      </a:lnTo>
                      <a:lnTo>
                        <a:pt x="29627" y="136063"/>
                      </a:lnTo>
                      <a:lnTo>
                        <a:pt x="28529" y="133319"/>
                      </a:lnTo>
                      <a:lnTo>
                        <a:pt x="26335" y="132222"/>
                      </a:lnTo>
                      <a:lnTo>
                        <a:pt x="26335" y="122347"/>
                      </a:lnTo>
                      <a:lnTo>
                        <a:pt x="21946" y="117958"/>
                      </a:lnTo>
                      <a:lnTo>
                        <a:pt x="24140" y="89977"/>
                      </a:lnTo>
                      <a:lnTo>
                        <a:pt x="14265" y="80650"/>
                      </a:lnTo>
                      <a:lnTo>
                        <a:pt x="1097" y="74066"/>
                      </a:lnTo>
                      <a:lnTo>
                        <a:pt x="0" y="70226"/>
                      </a:lnTo>
                      <a:lnTo>
                        <a:pt x="1097" y="66385"/>
                      </a:lnTo>
                      <a:lnTo>
                        <a:pt x="3841" y="60899"/>
                      </a:lnTo>
                      <a:lnTo>
                        <a:pt x="9327" y="59802"/>
                      </a:lnTo>
                      <a:lnTo>
                        <a:pt x="13167" y="57607"/>
                      </a:lnTo>
                      <a:lnTo>
                        <a:pt x="14813" y="52669"/>
                      </a:lnTo>
                      <a:lnTo>
                        <a:pt x="28529" y="51572"/>
                      </a:lnTo>
                      <a:lnTo>
                        <a:pt x="28529" y="45537"/>
                      </a:lnTo>
                      <a:lnTo>
                        <a:pt x="26335" y="43891"/>
                      </a:lnTo>
                      <a:lnTo>
                        <a:pt x="26883" y="40599"/>
                      </a:lnTo>
                      <a:lnTo>
                        <a:pt x="16459" y="41148"/>
                      </a:lnTo>
                      <a:lnTo>
                        <a:pt x="11522" y="37856"/>
                      </a:lnTo>
                      <a:lnTo>
                        <a:pt x="9876" y="29078"/>
                      </a:lnTo>
                      <a:lnTo>
                        <a:pt x="7133" y="26335"/>
                      </a:lnTo>
                      <a:lnTo>
                        <a:pt x="17008" y="9875"/>
                      </a:lnTo>
                      <a:lnTo>
                        <a:pt x="18654" y="1646"/>
                      </a:lnTo>
                      <a:lnTo>
                        <a:pt x="21946" y="0"/>
                      </a:lnTo>
                      <a:lnTo>
                        <a:pt x="32918" y="16459"/>
                      </a:lnTo>
                      <a:lnTo>
                        <a:pt x="35662" y="2743"/>
                      </a:lnTo>
                      <a:lnTo>
                        <a:pt x="39502" y="4389"/>
                      </a:lnTo>
                      <a:lnTo>
                        <a:pt x="41697" y="14813"/>
                      </a:lnTo>
                      <a:lnTo>
                        <a:pt x="47183" y="20848"/>
                      </a:lnTo>
                      <a:lnTo>
                        <a:pt x="50475" y="18105"/>
                      </a:lnTo>
                      <a:lnTo>
                        <a:pt x="56510" y="21946"/>
                      </a:lnTo>
                      <a:lnTo>
                        <a:pt x="61997" y="12070"/>
                      </a:lnTo>
                      <a:lnTo>
                        <a:pt x="68580" y="41148"/>
                      </a:lnTo>
                      <a:lnTo>
                        <a:pt x="73518" y="47183"/>
                      </a:lnTo>
                      <a:lnTo>
                        <a:pt x="81199" y="50475"/>
                      </a:lnTo>
                      <a:lnTo>
                        <a:pt x="110825" y="53218"/>
                      </a:lnTo>
                      <a:lnTo>
                        <a:pt x="113569" y="51572"/>
                      </a:lnTo>
                      <a:lnTo>
                        <a:pt x="138806" y="51572"/>
                      </a:lnTo>
                      <a:lnTo>
                        <a:pt x="165689" y="58705"/>
                      </a:lnTo>
                      <a:lnTo>
                        <a:pt x="164044" y="61996"/>
                      </a:lnTo>
                      <a:lnTo>
                        <a:pt x="157460" y="65288"/>
                      </a:lnTo>
                      <a:lnTo>
                        <a:pt x="154717" y="74066"/>
                      </a:lnTo>
                      <a:lnTo>
                        <a:pt x="138806" y="91074"/>
                      </a:lnTo>
                      <a:lnTo>
                        <a:pt x="121798" y="101498"/>
                      </a:lnTo>
                      <a:lnTo>
                        <a:pt x="120152" y="106985"/>
                      </a:lnTo>
                      <a:lnTo>
                        <a:pt x="125639" y="131125"/>
                      </a:lnTo>
                      <a:lnTo>
                        <a:pt x="132771" y="132771"/>
                      </a:lnTo>
                      <a:lnTo>
                        <a:pt x="136612" y="138806"/>
                      </a:lnTo>
                      <a:lnTo>
                        <a:pt x="141549" y="143195"/>
                      </a:lnTo>
                      <a:lnTo>
                        <a:pt x="148682" y="122895"/>
                      </a:lnTo>
                      <a:lnTo>
                        <a:pt x="156362" y="113020"/>
                      </a:lnTo>
                      <a:lnTo>
                        <a:pt x="160203" y="113569"/>
                      </a:lnTo>
                      <a:lnTo>
                        <a:pt x="178857" y="188732"/>
                      </a:lnTo>
                      <a:lnTo>
                        <a:pt x="177760" y="190378"/>
                      </a:lnTo>
                      <a:lnTo>
                        <a:pt x="179405" y="210678"/>
                      </a:lnTo>
                      <a:lnTo>
                        <a:pt x="171176" y="208483"/>
                      </a:lnTo>
                      <a:lnTo>
                        <a:pt x="167335" y="211226"/>
                      </a:lnTo>
                      <a:lnTo>
                        <a:pt x="166238" y="229331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58" name="Graphic 7">
                  <a:extLst>
                    <a:ext uri="{FF2B5EF4-FFF2-40B4-BE49-F238E27FC236}">
                      <a16:creationId xmlns:a16="http://schemas.microsoft.com/office/drawing/2014/main" id="{34157B51-9025-D54B-4885-471102AB430D}"/>
                    </a:ext>
                  </a:extLst>
                </p:cNvPr>
                <p:cNvSpPr/>
                <p:nvPr/>
              </p:nvSpPr>
              <p:spPr>
                <a:xfrm>
                  <a:off x="8302153" y="4434924"/>
                  <a:ext cx="9858" cy="9858"/>
                </a:xfrm>
                <a:custGeom>
                  <a:avLst/>
                  <a:gdLst>
                    <a:gd name="connsiteX0" fmla="*/ 8778 w 12618"/>
                    <a:gd name="connsiteY0" fmla="*/ 1646 h 12618"/>
                    <a:gd name="connsiteX1" fmla="*/ 12070 w 12618"/>
                    <a:gd name="connsiteY1" fmla="*/ 3841 h 12618"/>
                    <a:gd name="connsiteX2" fmla="*/ 12619 w 12618"/>
                    <a:gd name="connsiteY2" fmla="*/ 8230 h 12618"/>
                    <a:gd name="connsiteX3" fmla="*/ 11522 w 12618"/>
                    <a:gd name="connsiteY3" fmla="*/ 12070 h 12618"/>
                    <a:gd name="connsiteX4" fmla="*/ 8230 w 12618"/>
                    <a:gd name="connsiteY4" fmla="*/ 12619 h 12618"/>
                    <a:gd name="connsiteX5" fmla="*/ 4389 w 12618"/>
                    <a:gd name="connsiteY5" fmla="*/ 5486 h 12618"/>
                    <a:gd name="connsiteX6" fmla="*/ 1097 w 12618"/>
                    <a:gd name="connsiteY6" fmla="*/ 5486 h 12618"/>
                    <a:gd name="connsiteX7" fmla="*/ 0 w 12618"/>
                    <a:gd name="connsiteY7" fmla="*/ 1646 h 12618"/>
                    <a:gd name="connsiteX8" fmla="*/ 549 w 12618"/>
                    <a:gd name="connsiteY8" fmla="*/ 549 h 12618"/>
                    <a:gd name="connsiteX9" fmla="*/ 3841 w 12618"/>
                    <a:gd name="connsiteY9" fmla="*/ 0 h 12618"/>
                    <a:gd name="connsiteX10" fmla="*/ 7133 w 12618"/>
                    <a:gd name="connsiteY10" fmla="*/ 549 h 12618"/>
                    <a:gd name="connsiteX11" fmla="*/ 8778 w 12618"/>
                    <a:gd name="connsiteY11" fmla="*/ 1646 h 126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2618" h="12618">
                      <a:moveTo>
                        <a:pt x="8778" y="1646"/>
                      </a:moveTo>
                      <a:lnTo>
                        <a:pt x="12070" y="3841"/>
                      </a:lnTo>
                      <a:lnTo>
                        <a:pt x="12619" y="8230"/>
                      </a:lnTo>
                      <a:lnTo>
                        <a:pt x="11522" y="12070"/>
                      </a:lnTo>
                      <a:lnTo>
                        <a:pt x="8230" y="12619"/>
                      </a:lnTo>
                      <a:lnTo>
                        <a:pt x="4389" y="5486"/>
                      </a:lnTo>
                      <a:lnTo>
                        <a:pt x="1097" y="5486"/>
                      </a:lnTo>
                      <a:lnTo>
                        <a:pt x="0" y="1646"/>
                      </a:lnTo>
                      <a:lnTo>
                        <a:pt x="549" y="549"/>
                      </a:lnTo>
                      <a:lnTo>
                        <a:pt x="3841" y="0"/>
                      </a:lnTo>
                      <a:lnTo>
                        <a:pt x="7133" y="549"/>
                      </a:lnTo>
                      <a:lnTo>
                        <a:pt x="8778" y="1646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59" name="Graphic 7">
                  <a:extLst>
                    <a:ext uri="{FF2B5EF4-FFF2-40B4-BE49-F238E27FC236}">
                      <a16:creationId xmlns:a16="http://schemas.microsoft.com/office/drawing/2014/main" id="{114EC3AC-0033-EEDF-C4D3-31B9C5F54730}"/>
                    </a:ext>
                  </a:extLst>
                </p:cNvPr>
                <p:cNvSpPr/>
                <p:nvPr/>
              </p:nvSpPr>
              <p:spPr>
                <a:xfrm>
                  <a:off x="8035109" y="4306331"/>
                  <a:ext cx="317624" cy="335198"/>
                </a:xfrm>
                <a:custGeom>
                  <a:avLst/>
                  <a:gdLst>
                    <a:gd name="connsiteX0" fmla="*/ 0 w 406542"/>
                    <a:gd name="connsiteY0" fmla="*/ 549 h 429036"/>
                    <a:gd name="connsiteX1" fmla="*/ 4389 w 406542"/>
                    <a:gd name="connsiteY1" fmla="*/ 549 h 429036"/>
                    <a:gd name="connsiteX2" fmla="*/ 6584 w 406542"/>
                    <a:gd name="connsiteY2" fmla="*/ 0 h 429036"/>
                    <a:gd name="connsiteX3" fmla="*/ 19202 w 406542"/>
                    <a:gd name="connsiteY3" fmla="*/ 549 h 429036"/>
                    <a:gd name="connsiteX4" fmla="*/ 23043 w 406542"/>
                    <a:gd name="connsiteY4" fmla="*/ 2743 h 429036"/>
                    <a:gd name="connsiteX5" fmla="*/ 28529 w 406542"/>
                    <a:gd name="connsiteY5" fmla="*/ 10424 h 429036"/>
                    <a:gd name="connsiteX6" fmla="*/ 37307 w 406542"/>
                    <a:gd name="connsiteY6" fmla="*/ 11522 h 429036"/>
                    <a:gd name="connsiteX7" fmla="*/ 41697 w 406542"/>
                    <a:gd name="connsiteY7" fmla="*/ 13716 h 429036"/>
                    <a:gd name="connsiteX8" fmla="*/ 68031 w 406542"/>
                    <a:gd name="connsiteY8" fmla="*/ 13167 h 429036"/>
                    <a:gd name="connsiteX9" fmla="*/ 75164 w 406542"/>
                    <a:gd name="connsiteY9" fmla="*/ 16459 h 429036"/>
                    <a:gd name="connsiteX10" fmla="*/ 83393 w 406542"/>
                    <a:gd name="connsiteY10" fmla="*/ 15911 h 429036"/>
                    <a:gd name="connsiteX11" fmla="*/ 88880 w 406542"/>
                    <a:gd name="connsiteY11" fmla="*/ 17008 h 429036"/>
                    <a:gd name="connsiteX12" fmla="*/ 99853 w 406542"/>
                    <a:gd name="connsiteY12" fmla="*/ 25786 h 429036"/>
                    <a:gd name="connsiteX13" fmla="*/ 102596 w 406542"/>
                    <a:gd name="connsiteY13" fmla="*/ 30724 h 429036"/>
                    <a:gd name="connsiteX14" fmla="*/ 103144 w 406542"/>
                    <a:gd name="connsiteY14" fmla="*/ 35113 h 429036"/>
                    <a:gd name="connsiteX15" fmla="*/ 105339 w 406542"/>
                    <a:gd name="connsiteY15" fmla="*/ 38405 h 429036"/>
                    <a:gd name="connsiteX16" fmla="*/ 110277 w 406542"/>
                    <a:gd name="connsiteY16" fmla="*/ 41697 h 429036"/>
                    <a:gd name="connsiteX17" fmla="*/ 116860 w 406542"/>
                    <a:gd name="connsiteY17" fmla="*/ 54315 h 429036"/>
                    <a:gd name="connsiteX18" fmla="*/ 133319 w 406542"/>
                    <a:gd name="connsiteY18" fmla="*/ 70226 h 429036"/>
                    <a:gd name="connsiteX19" fmla="*/ 157460 w 406542"/>
                    <a:gd name="connsiteY19" fmla="*/ 80650 h 429036"/>
                    <a:gd name="connsiteX20" fmla="*/ 177760 w 406542"/>
                    <a:gd name="connsiteY20" fmla="*/ 99853 h 429036"/>
                    <a:gd name="connsiteX21" fmla="*/ 179405 w 406542"/>
                    <a:gd name="connsiteY21" fmla="*/ 106985 h 429036"/>
                    <a:gd name="connsiteX22" fmla="*/ 188732 w 406542"/>
                    <a:gd name="connsiteY22" fmla="*/ 109728 h 429036"/>
                    <a:gd name="connsiteX23" fmla="*/ 193121 w 406542"/>
                    <a:gd name="connsiteY23" fmla="*/ 117958 h 429036"/>
                    <a:gd name="connsiteX24" fmla="*/ 206837 w 406542"/>
                    <a:gd name="connsiteY24" fmla="*/ 130576 h 429036"/>
                    <a:gd name="connsiteX25" fmla="*/ 210129 w 406542"/>
                    <a:gd name="connsiteY25" fmla="*/ 132222 h 429036"/>
                    <a:gd name="connsiteX26" fmla="*/ 210678 w 406542"/>
                    <a:gd name="connsiteY26" fmla="*/ 129479 h 429036"/>
                    <a:gd name="connsiteX27" fmla="*/ 212324 w 406542"/>
                    <a:gd name="connsiteY27" fmla="*/ 126187 h 429036"/>
                    <a:gd name="connsiteX28" fmla="*/ 218908 w 406542"/>
                    <a:gd name="connsiteY28" fmla="*/ 126187 h 429036"/>
                    <a:gd name="connsiteX29" fmla="*/ 223297 w 406542"/>
                    <a:gd name="connsiteY29" fmla="*/ 129479 h 429036"/>
                    <a:gd name="connsiteX30" fmla="*/ 230978 w 406542"/>
                    <a:gd name="connsiteY30" fmla="*/ 144292 h 429036"/>
                    <a:gd name="connsiteX31" fmla="*/ 239207 w 406542"/>
                    <a:gd name="connsiteY31" fmla="*/ 148133 h 429036"/>
                    <a:gd name="connsiteX32" fmla="*/ 243047 w 406542"/>
                    <a:gd name="connsiteY32" fmla="*/ 148682 h 429036"/>
                    <a:gd name="connsiteX33" fmla="*/ 254020 w 406542"/>
                    <a:gd name="connsiteY33" fmla="*/ 154717 h 429036"/>
                    <a:gd name="connsiteX34" fmla="*/ 261701 w 406542"/>
                    <a:gd name="connsiteY34" fmla="*/ 165141 h 429036"/>
                    <a:gd name="connsiteX35" fmla="*/ 264445 w 406542"/>
                    <a:gd name="connsiteY35" fmla="*/ 166787 h 429036"/>
                    <a:gd name="connsiteX36" fmla="*/ 264445 w 406542"/>
                    <a:gd name="connsiteY36" fmla="*/ 159654 h 429036"/>
                    <a:gd name="connsiteX37" fmla="*/ 267736 w 406542"/>
                    <a:gd name="connsiteY37" fmla="*/ 161300 h 429036"/>
                    <a:gd name="connsiteX38" fmla="*/ 271028 w 406542"/>
                    <a:gd name="connsiteY38" fmla="*/ 166238 h 429036"/>
                    <a:gd name="connsiteX39" fmla="*/ 275966 w 406542"/>
                    <a:gd name="connsiteY39" fmla="*/ 169530 h 429036"/>
                    <a:gd name="connsiteX40" fmla="*/ 289133 w 406542"/>
                    <a:gd name="connsiteY40" fmla="*/ 168981 h 429036"/>
                    <a:gd name="connsiteX41" fmla="*/ 294620 w 406542"/>
                    <a:gd name="connsiteY41" fmla="*/ 171724 h 429036"/>
                    <a:gd name="connsiteX42" fmla="*/ 296266 w 406542"/>
                    <a:gd name="connsiteY42" fmla="*/ 173919 h 429036"/>
                    <a:gd name="connsiteX43" fmla="*/ 294620 w 406542"/>
                    <a:gd name="connsiteY43" fmla="*/ 177760 h 429036"/>
                    <a:gd name="connsiteX44" fmla="*/ 292974 w 406542"/>
                    <a:gd name="connsiteY44" fmla="*/ 179954 h 429036"/>
                    <a:gd name="connsiteX45" fmla="*/ 289682 w 406542"/>
                    <a:gd name="connsiteY45" fmla="*/ 179954 h 429036"/>
                    <a:gd name="connsiteX46" fmla="*/ 290779 w 406542"/>
                    <a:gd name="connsiteY46" fmla="*/ 184892 h 429036"/>
                    <a:gd name="connsiteX47" fmla="*/ 292974 w 406542"/>
                    <a:gd name="connsiteY47" fmla="*/ 189281 h 429036"/>
                    <a:gd name="connsiteX48" fmla="*/ 292974 w 406542"/>
                    <a:gd name="connsiteY48" fmla="*/ 193670 h 429036"/>
                    <a:gd name="connsiteX49" fmla="*/ 284744 w 406542"/>
                    <a:gd name="connsiteY49" fmla="*/ 198608 h 429036"/>
                    <a:gd name="connsiteX50" fmla="*/ 284195 w 406542"/>
                    <a:gd name="connsiteY50" fmla="*/ 200254 h 429036"/>
                    <a:gd name="connsiteX51" fmla="*/ 285293 w 406542"/>
                    <a:gd name="connsiteY51" fmla="*/ 201351 h 429036"/>
                    <a:gd name="connsiteX52" fmla="*/ 307238 w 406542"/>
                    <a:gd name="connsiteY52" fmla="*/ 190378 h 429036"/>
                    <a:gd name="connsiteX53" fmla="*/ 310530 w 406542"/>
                    <a:gd name="connsiteY53" fmla="*/ 192573 h 429036"/>
                    <a:gd name="connsiteX54" fmla="*/ 316017 w 406542"/>
                    <a:gd name="connsiteY54" fmla="*/ 198059 h 429036"/>
                    <a:gd name="connsiteX55" fmla="*/ 318760 w 406542"/>
                    <a:gd name="connsiteY55" fmla="*/ 203546 h 429036"/>
                    <a:gd name="connsiteX56" fmla="*/ 319857 w 406542"/>
                    <a:gd name="connsiteY56" fmla="*/ 207386 h 429036"/>
                    <a:gd name="connsiteX57" fmla="*/ 310530 w 406542"/>
                    <a:gd name="connsiteY57" fmla="*/ 216713 h 429036"/>
                    <a:gd name="connsiteX58" fmla="*/ 312725 w 406542"/>
                    <a:gd name="connsiteY58" fmla="*/ 218359 h 429036"/>
                    <a:gd name="connsiteX59" fmla="*/ 317114 w 406542"/>
                    <a:gd name="connsiteY59" fmla="*/ 219456 h 429036"/>
                    <a:gd name="connsiteX60" fmla="*/ 315468 w 406542"/>
                    <a:gd name="connsiteY60" fmla="*/ 224394 h 429036"/>
                    <a:gd name="connsiteX61" fmla="*/ 310530 w 406542"/>
                    <a:gd name="connsiteY61" fmla="*/ 228234 h 429036"/>
                    <a:gd name="connsiteX62" fmla="*/ 308336 w 406542"/>
                    <a:gd name="connsiteY62" fmla="*/ 235367 h 429036"/>
                    <a:gd name="connsiteX63" fmla="*/ 311627 w 406542"/>
                    <a:gd name="connsiteY63" fmla="*/ 240304 h 429036"/>
                    <a:gd name="connsiteX64" fmla="*/ 324246 w 406542"/>
                    <a:gd name="connsiteY64" fmla="*/ 247437 h 429036"/>
                    <a:gd name="connsiteX65" fmla="*/ 329733 w 406542"/>
                    <a:gd name="connsiteY65" fmla="*/ 247437 h 429036"/>
                    <a:gd name="connsiteX66" fmla="*/ 333025 w 406542"/>
                    <a:gd name="connsiteY66" fmla="*/ 249631 h 429036"/>
                    <a:gd name="connsiteX67" fmla="*/ 342900 w 406542"/>
                    <a:gd name="connsiteY67" fmla="*/ 249631 h 429036"/>
                    <a:gd name="connsiteX68" fmla="*/ 350581 w 406542"/>
                    <a:gd name="connsiteY68" fmla="*/ 274869 h 429036"/>
                    <a:gd name="connsiteX69" fmla="*/ 348935 w 406542"/>
                    <a:gd name="connsiteY69" fmla="*/ 280355 h 429036"/>
                    <a:gd name="connsiteX70" fmla="*/ 353324 w 406542"/>
                    <a:gd name="connsiteY70" fmla="*/ 280355 h 429036"/>
                    <a:gd name="connsiteX71" fmla="*/ 359359 w 406542"/>
                    <a:gd name="connsiteY71" fmla="*/ 283647 h 429036"/>
                    <a:gd name="connsiteX72" fmla="*/ 363748 w 406542"/>
                    <a:gd name="connsiteY72" fmla="*/ 288036 h 429036"/>
                    <a:gd name="connsiteX73" fmla="*/ 359359 w 406542"/>
                    <a:gd name="connsiteY73" fmla="*/ 297911 h 429036"/>
                    <a:gd name="connsiteX74" fmla="*/ 383500 w 406542"/>
                    <a:gd name="connsiteY74" fmla="*/ 298460 h 429036"/>
                    <a:gd name="connsiteX75" fmla="*/ 390632 w 406542"/>
                    <a:gd name="connsiteY75" fmla="*/ 300655 h 429036"/>
                    <a:gd name="connsiteX76" fmla="*/ 399959 w 406542"/>
                    <a:gd name="connsiteY76" fmla="*/ 316565 h 429036"/>
                    <a:gd name="connsiteX77" fmla="*/ 404896 w 406542"/>
                    <a:gd name="connsiteY77" fmla="*/ 320954 h 429036"/>
                    <a:gd name="connsiteX78" fmla="*/ 406542 w 406542"/>
                    <a:gd name="connsiteY78" fmla="*/ 327538 h 429036"/>
                    <a:gd name="connsiteX79" fmla="*/ 399959 w 406542"/>
                    <a:gd name="connsiteY79" fmla="*/ 349484 h 429036"/>
                    <a:gd name="connsiteX80" fmla="*/ 401605 w 406542"/>
                    <a:gd name="connsiteY80" fmla="*/ 351130 h 429036"/>
                    <a:gd name="connsiteX81" fmla="*/ 402702 w 406542"/>
                    <a:gd name="connsiteY81" fmla="*/ 354970 h 429036"/>
                    <a:gd name="connsiteX82" fmla="*/ 396667 w 406542"/>
                    <a:gd name="connsiteY82" fmla="*/ 426293 h 429036"/>
                    <a:gd name="connsiteX83" fmla="*/ 392826 w 406542"/>
                    <a:gd name="connsiteY83" fmla="*/ 426293 h 429036"/>
                    <a:gd name="connsiteX84" fmla="*/ 379659 w 406542"/>
                    <a:gd name="connsiteY84" fmla="*/ 415869 h 429036"/>
                    <a:gd name="connsiteX85" fmla="*/ 377464 w 406542"/>
                    <a:gd name="connsiteY85" fmla="*/ 418064 h 429036"/>
                    <a:gd name="connsiteX86" fmla="*/ 376367 w 406542"/>
                    <a:gd name="connsiteY86" fmla="*/ 424099 h 429036"/>
                    <a:gd name="connsiteX87" fmla="*/ 371429 w 406542"/>
                    <a:gd name="connsiteY87" fmla="*/ 425196 h 429036"/>
                    <a:gd name="connsiteX88" fmla="*/ 358262 w 406542"/>
                    <a:gd name="connsiteY88" fmla="*/ 415869 h 429036"/>
                    <a:gd name="connsiteX89" fmla="*/ 353324 w 406542"/>
                    <a:gd name="connsiteY89" fmla="*/ 416418 h 429036"/>
                    <a:gd name="connsiteX90" fmla="*/ 358262 w 406542"/>
                    <a:gd name="connsiteY90" fmla="*/ 427391 h 429036"/>
                    <a:gd name="connsiteX91" fmla="*/ 354970 w 406542"/>
                    <a:gd name="connsiteY91" fmla="*/ 429037 h 429036"/>
                    <a:gd name="connsiteX92" fmla="*/ 322052 w 406542"/>
                    <a:gd name="connsiteY92" fmla="*/ 395570 h 429036"/>
                    <a:gd name="connsiteX93" fmla="*/ 315468 w 406542"/>
                    <a:gd name="connsiteY93" fmla="*/ 391729 h 429036"/>
                    <a:gd name="connsiteX94" fmla="*/ 311079 w 406542"/>
                    <a:gd name="connsiteY94" fmla="*/ 391180 h 429036"/>
                    <a:gd name="connsiteX95" fmla="*/ 280355 w 406542"/>
                    <a:gd name="connsiteY95" fmla="*/ 366491 h 429036"/>
                    <a:gd name="connsiteX96" fmla="*/ 273223 w 406542"/>
                    <a:gd name="connsiteY96" fmla="*/ 363748 h 429036"/>
                    <a:gd name="connsiteX97" fmla="*/ 268285 w 406542"/>
                    <a:gd name="connsiteY97" fmla="*/ 357165 h 429036"/>
                    <a:gd name="connsiteX98" fmla="*/ 266090 w 406542"/>
                    <a:gd name="connsiteY98" fmla="*/ 348386 h 429036"/>
                    <a:gd name="connsiteX99" fmla="*/ 262250 w 406542"/>
                    <a:gd name="connsiteY99" fmla="*/ 343449 h 429036"/>
                    <a:gd name="connsiteX100" fmla="*/ 254020 w 406542"/>
                    <a:gd name="connsiteY100" fmla="*/ 338511 h 429036"/>
                    <a:gd name="connsiteX101" fmla="*/ 213421 w 406542"/>
                    <a:gd name="connsiteY101" fmla="*/ 292425 h 429036"/>
                    <a:gd name="connsiteX102" fmla="*/ 212324 w 406542"/>
                    <a:gd name="connsiteY102" fmla="*/ 280355 h 429036"/>
                    <a:gd name="connsiteX103" fmla="*/ 196962 w 406542"/>
                    <a:gd name="connsiteY103" fmla="*/ 250729 h 429036"/>
                    <a:gd name="connsiteX104" fmla="*/ 195865 w 406542"/>
                    <a:gd name="connsiteY104" fmla="*/ 242499 h 429036"/>
                    <a:gd name="connsiteX105" fmla="*/ 176662 w 406542"/>
                    <a:gd name="connsiteY105" fmla="*/ 221651 h 429036"/>
                    <a:gd name="connsiteX106" fmla="*/ 170627 w 406542"/>
                    <a:gd name="connsiteY106" fmla="*/ 209032 h 429036"/>
                    <a:gd name="connsiteX107" fmla="*/ 158557 w 406542"/>
                    <a:gd name="connsiteY107" fmla="*/ 200802 h 429036"/>
                    <a:gd name="connsiteX108" fmla="*/ 152522 w 406542"/>
                    <a:gd name="connsiteY108" fmla="*/ 200254 h 429036"/>
                    <a:gd name="connsiteX109" fmla="*/ 151425 w 406542"/>
                    <a:gd name="connsiteY109" fmla="*/ 199156 h 429036"/>
                    <a:gd name="connsiteX110" fmla="*/ 135514 w 406542"/>
                    <a:gd name="connsiteY110" fmla="*/ 154168 h 429036"/>
                    <a:gd name="connsiteX111" fmla="*/ 135514 w 406542"/>
                    <a:gd name="connsiteY111" fmla="*/ 147035 h 429036"/>
                    <a:gd name="connsiteX112" fmla="*/ 123444 w 406542"/>
                    <a:gd name="connsiteY112" fmla="*/ 133868 h 429036"/>
                    <a:gd name="connsiteX113" fmla="*/ 103693 w 406542"/>
                    <a:gd name="connsiteY113" fmla="*/ 124541 h 429036"/>
                    <a:gd name="connsiteX114" fmla="*/ 94915 w 406542"/>
                    <a:gd name="connsiteY114" fmla="*/ 122895 h 429036"/>
                    <a:gd name="connsiteX115" fmla="*/ 89428 w 406542"/>
                    <a:gd name="connsiteY115" fmla="*/ 102047 h 429036"/>
                    <a:gd name="connsiteX116" fmla="*/ 84491 w 406542"/>
                    <a:gd name="connsiteY116" fmla="*/ 99853 h 429036"/>
                    <a:gd name="connsiteX117" fmla="*/ 70775 w 406542"/>
                    <a:gd name="connsiteY117" fmla="*/ 80650 h 429036"/>
                    <a:gd name="connsiteX118" fmla="*/ 58705 w 406542"/>
                    <a:gd name="connsiteY118" fmla="*/ 70226 h 429036"/>
                    <a:gd name="connsiteX119" fmla="*/ 51572 w 406542"/>
                    <a:gd name="connsiteY119" fmla="*/ 70226 h 429036"/>
                    <a:gd name="connsiteX120" fmla="*/ 2195 w 406542"/>
                    <a:gd name="connsiteY120" fmla="*/ 14813 h 429036"/>
                    <a:gd name="connsiteX121" fmla="*/ 1646 w 406542"/>
                    <a:gd name="connsiteY121" fmla="*/ 2743 h 429036"/>
                    <a:gd name="connsiteX122" fmla="*/ 0 w 406542"/>
                    <a:gd name="connsiteY122" fmla="*/ 549 h 4290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</a:cxnLst>
                  <a:rect l="l" t="t" r="r" b="b"/>
                  <a:pathLst>
                    <a:path w="406542" h="429036">
                      <a:moveTo>
                        <a:pt x="0" y="549"/>
                      </a:moveTo>
                      <a:lnTo>
                        <a:pt x="4389" y="549"/>
                      </a:lnTo>
                      <a:lnTo>
                        <a:pt x="6584" y="0"/>
                      </a:lnTo>
                      <a:lnTo>
                        <a:pt x="19202" y="549"/>
                      </a:lnTo>
                      <a:lnTo>
                        <a:pt x="23043" y="2743"/>
                      </a:lnTo>
                      <a:lnTo>
                        <a:pt x="28529" y="10424"/>
                      </a:lnTo>
                      <a:lnTo>
                        <a:pt x="37307" y="11522"/>
                      </a:lnTo>
                      <a:lnTo>
                        <a:pt x="41697" y="13716"/>
                      </a:lnTo>
                      <a:lnTo>
                        <a:pt x="68031" y="13167"/>
                      </a:lnTo>
                      <a:lnTo>
                        <a:pt x="75164" y="16459"/>
                      </a:lnTo>
                      <a:lnTo>
                        <a:pt x="83393" y="15911"/>
                      </a:lnTo>
                      <a:lnTo>
                        <a:pt x="88880" y="17008"/>
                      </a:lnTo>
                      <a:lnTo>
                        <a:pt x="99853" y="25786"/>
                      </a:lnTo>
                      <a:lnTo>
                        <a:pt x="102596" y="30724"/>
                      </a:lnTo>
                      <a:lnTo>
                        <a:pt x="103144" y="35113"/>
                      </a:lnTo>
                      <a:lnTo>
                        <a:pt x="105339" y="38405"/>
                      </a:lnTo>
                      <a:lnTo>
                        <a:pt x="110277" y="41697"/>
                      </a:lnTo>
                      <a:lnTo>
                        <a:pt x="116860" y="54315"/>
                      </a:lnTo>
                      <a:lnTo>
                        <a:pt x="133319" y="70226"/>
                      </a:lnTo>
                      <a:lnTo>
                        <a:pt x="157460" y="80650"/>
                      </a:lnTo>
                      <a:lnTo>
                        <a:pt x="177760" y="99853"/>
                      </a:lnTo>
                      <a:lnTo>
                        <a:pt x="179405" y="106985"/>
                      </a:lnTo>
                      <a:lnTo>
                        <a:pt x="188732" y="109728"/>
                      </a:lnTo>
                      <a:lnTo>
                        <a:pt x="193121" y="117958"/>
                      </a:lnTo>
                      <a:lnTo>
                        <a:pt x="206837" y="130576"/>
                      </a:lnTo>
                      <a:lnTo>
                        <a:pt x="210129" y="132222"/>
                      </a:lnTo>
                      <a:lnTo>
                        <a:pt x="210678" y="129479"/>
                      </a:lnTo>
                      <a:lnTo>
                        <a:pt x="212324" y="126187"/>
                      </a:lnTo>
                      <a:lnTo>
                        <a:pt x="218908" y="126187"/>
                      </a:lnTo>
                      <a:lnTo>
                        <a:pt x="223297" y="129479"/>
                      </a:lnTo>
                      <a:lnTo>
                        <a:pt x="230978" y="144292"/>
                      </a:lnTo>
                      <a:lnTo>
                        <a:pt x="239207" y="148133"/>
                      </a:lnTo>
                      <a:lnTo>
                        <a:pt x="243047" y="148682"/>
                      </a:lnTo>
                      <a:lnTo>
                        <a:pt x="254020" y="154717"/>
                      </a:lnTo>
                      <a:lnTo>
                        <a:pt x="261701" y="165141"/>
                      </a:lnTo>
                      <a:lnTo>
                        <a:pt x="264445" y="166787"/>
                      </a:lnTo>
                      <a:lnTo>
                        <a:pt x="264445" y="159654"/>
                      </a:lnTo>
                      <a:lnTo>
                        <a:pt x="267736" y="161300"/>
                      </a:lnTo>
                      <a:lnTo>
                        <a:pt x="271028" y="166238"/>
                      </a:lnTo>
                      <a:lnTo>
                        <a:pt x="275966" y="169530"/>
                      </a:lnTo>
                      <a:lnTo>
                        <a:pt x="289133" y="168981"/>
                      </a:lnTo>
                      <a:lnTo>
                        <a:pt x="294620" y="171724"/>
                      </a:lnTo>
                      <a:lnTo>
                        <a:pt x="296266" y="173919"/>
                      </a:lnTo>
                      <a:lnTo>
                        <a:pt x="294620" y="177760"/>
                      </a:lnTo>
                      <a:lnTo>
                        <a:pt x="292974" y="179954"/>
                      </a:lnTo>
                      <a:lnTo>
                        <a:pt x="289682" y="179954"/>
                      </a:lnTo>
                      <a:lnTo>
                        <a:pt x="290779" y="184892"/>
                      </a:lnTo>
                      <a:lnTo>
                        <a:pt x="292974" y="189281"/>
                      </a:lnTo>
                      <a:lnTo>
                        <a:pt x="292974" y="193670"/>
                      </a:lnTo>
                      <a:lnTo>
                        <a:pt x="284744" y="198608"/>
                      </a:lnTo>
                      <a:lnTo>
                        <a:pt x="284195" y="200254"/>
                      </a:lnTo>
                      <a:lnTo>
                        <a:pt x="285293" y="201351"/>
                      </a:lnTo>
                      <a:lnTo>
                        <a:pt x="307238" y="190378"/>
                      </a:lnTo>
                      <a:lnTo>
                        <a:pt x="310530" y="192573"/>
                      </a:lnTo>
                      <a:lnTo>
                        <a:pt x="316017" y="198059"/>
                      </a:lnTo>
                      <a:lnTo>
                        <a:pt x="318760" y="203546"/>
                      </a:lnTo>
                      <a:lnTo>
                        <a:pt x="319857" y="207386"/>
                      </a:lnTo>
                      <a:lnTo>
                        <a:pt x="310530" y="216713"/>
                      </a:lnTo>
                      <a:lnTo>
                        <a:pt x="312725" y="218359"/>
                      </a:lnTo>
                      <a:lnTo>
                        <a:pt x="317114" y="219456"/>
                      </a:lnTo>
                      <a:lnTo>
                        <a:pt x="315468" y="224394"/>
                      </a:lnTo>
                      <a:lnTo>
                        <a:pt x="310530" y="228234"/>
                      </a:lnTo>
                      <a:lnTo>
                        <a:pt x="308336" y="235367"/>
                      </a:lnTo>
                      <a:lnTo>
                        <a:pt x="311627" y="240304"/>
                      </a:lnTo>
                      <a:lnTo>
                        <a:pt x="324246" y="247437"/>
                      </a:lnTo>
                      <a:lnTo>
                        <a:pt x="329733" y="247437"/>
                      </a:lnTo>
                      <a:lnTo>
                        <a:pt x="333025" y="249631"/>
                      </a:lnTo>
                      <a:lnTo>
                        <a:pt x="342900" y="249631"/>
                      </a:lnTo>
                      <a:lnTo>
                        <a:pt x="350581" y="274869"/>
                      </a:lnTo>
                      <a:lnTo>
                        <a:pt x="348935" y="280355"/>
                      </a:lnTo>
                      <a:lnTo>
                        <a:pt x="353324" y="280355"/>
                      </a:lnTo>
                      <a:lnTo>
                        <a:pt x="359359" y="283647"/>
                      </a:lnTo>
                      <a:lnTo>
                        <a:pt x="363748" y="288036"/>
                      </a:lnTo>
                      <a:lnTo>
                        <a:pt x="359359" y="297911"/>
                      </a:lnTo>
                      <a:lnTo>
                        <a:pt x="383500" y="298460"/>
                      </a:lnTo>
                      <a:lnTo>
                        <a:pt x="390632" y="300655"/>
                      </a:lnTo>
                      <a:lnTo>
                        <a:pt x="399959" y="316565"/>
                      </a:lnTo>
                      <a:lnTo>
                        <a:pt x="404896" y="320954"/>
                      </a:lnTo>
                      <a:lnTo>
                        <a:pt x="406542" y="327538"/>
                      </a:lnTo>
                      <a:lnTo>
                        <a:pt x="399959" y="349484"/>
                      </a:lnTo>
                      <a:lnTo>
                        <a:pt x="401605" y="351130"/>
                      </a:lnTo>
                      <a:lnTo>
                        <a:pt x="402702" y="354970"/>
                      </a:lnTo>
                      <a:lnTo>
                        <a:pt x="396667" y="426293"/>
                      </a:lnTo>
                      <a:lnTo>
                        <a:pt x="392826" y="426293"/>
                      </a:lnTo>
                      <a:lnTo>
                        <a:pt x="379659" y="415869"/>
                      </a:lnTo>
                      <a:lnTo>
                        <a:pt x="377464" y="418064"/>
                      </a:lnTo>
                      <a:lnTo>
                        <a:pt x="376367" y="424099"/>
                      </a:lnTo>
                      <a:lnTo>
                        <a:pt x="371429" y="425196"/>
                      </a:lnTo>
                      <a:lnTo>
                        <a:pt x="358262" y="415869"/>
                      </a:lnTo>
                      <a:lnTo>
                        <a:pt x="353324" y="416418"/>
                      </a:lnTo>
                      <a:lnTo>
                        <a:pt x="358262" y="427391"/>
                      </a:lnTo>
                      <a:lnTo>
                        <a:pt x="354970" y="429037"/>
                      </a:lnTo>
                      <a:lnTo>
                        <a:pt x="322052" y="395570"/>
                      </a:lnTo>
                      <a:lnTo>
                        <a:pt x="315468" y="391729"/>
                      </a:lnTo>
                      <a:lnTo>
                        <a:pt x="311079" y="391180"/>
                      </a:lnTo>
                      <a:lnTo>
                        <a:pt x="280355" y="366491"/>
                      </a:lnTo>
                      <a:lnTo>
                        <a:pt x="273223" y="363748"/>
                      </a:lnTo>
                      <a:lnTo>
                        <a:pt x="268285" y="357165"/>
                      </a:lnTo>
                      <a:lnTo>
                        <a:pt x="266090" y="348386"/>
                      </a:lnTo>
                      <a:lnTo>
                        <a:pt x="262250" y="343449"/>
                      </a:lnTo>
                      <a:lnTo>
                        <a:pt x="254020" y="338511"/>
                      </a:lnTo>
                      <a:lnTo>
                        <a:pt x="213421" y="292425"/>
                      </a:lnTo>
                      <a:lnTo>
                        <a:pt x="212324" y="280355"/>
                      </a:lnTo>
                      <a:lnTo>
                        <a:pt x="196962" y="250729"/>
                      </a:lnTo>
                      <a:lnTo>
                        <a:pt x="195865" y="242499"/>
                      </a:lnTo>
                      <a:lnTo>
                        <a:pt x="176662" y="221651"/>
                      </a:lnTo>
                      <a:lnTo>
                        <a:pt x="170627" y="209032"/>
                      </a:lnTo>
                      <a:lnTo>
                        <a:pt x="158557" y="200802"/>
                      </a:lnTo>
                      <a:lnTo>
                        <a:pt x="152522" y="200254"/>
                      </a:lnTo>
                      <a:lnTo>
                        <a:pt x="151425" y="199156"/>
                      </a:lnTo>
                      <a:lnTo>
                        <a:pt x="135514" y="154168"/>
                      </a:lnTo>
                      <a:lnTo>
                        <a:pt x="135514" y="147035"/>
                      </a:lnTo>
                      <a:lnTo>
                        <a:pt x="123444" y="133868"/>
                      </a:lnTo>
                      <a:lnTo>
                        <a:pt x="103693" y="124541"/>
                      </a:lnTo>
                      <a:lnTo>
                        <a:pt x="94915" y="122895"/>
                      </a:lnTo>
                      <a:lnTo>
                        <a:pt x="89428" y="102047"/>
                      </a:lnTo>
                      <a:lnTo>
                        <a:pt x="84491" y="99853"/>
                      </a:lnTo>
                      <a:lnTo>
                        <a:pt x="70775" y="80650"/>
                      </a:lnTo>
                      <a:lnTo>
                        <a:pt x="58705" y="70226"/>
                      </a:lnTo>
                      <a:lnTo>
                        <a:pt x="51572" y="70226"/>
                      </a:lnTo>
                      <a:lnTo>
                        <a:pt x="2195" y="14813"/>
                      </a:lnTo>
                      <a:lnTo>
                        <a:pt x="1646" y="2743"/>
                      </a:lnTo>
                      <a:lnTo>
                        <a:pt x="0" y="549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60" name="Graphic 7">
                  <a:extLst>
                    <a:ext uri="{FF2B5EF4-FFF2-40B4-BE49-F238E27FC236}">
                      <a16:creationId xmlns:a16="http://schemas.microsoft.com/office/drawing/2014/main" id="{4A27EECD-48F6-8C7D-F2C5-A7823640AF66}"/>
                    </a:ext>
                  </a:extLst>
                </p:cNvPr>
                <p:cNvSpPr/>
                <p:nvPr/>
              </p:nvSpPr>
              <p:spPr>
                <a:xfrm>
                  <a:off x="8050540" y="4385201"/>
                  <a:ext cx="20574" cy="16288"/>
                </a:xfrm>
                <a:custGeom>
                  <a:avLst/>
                  <a:gdLst>
                    <a:gd name="connsiteX0" fmla="*/ 549 w 26334"/>
                    <a:gd name="connsiteY0" fmla="*/ 4389 h 20848"/>
                    <a:gd name="connsiteX1" fmla="*/ 0 w 26334"/>
                    <a:gd name="connsiteY1" fmla="*/ 2194 h 20848"/>
                    <a:gd name="connsiteX2" fmla="*/ 2743 w 26334"/>
                    <a:gd name="connsiteY2" fmla="*/ 0 h 20848"/>
                    <a:gd name="connsiteX3" fmla="*/ 23591 w 26334"/>
                    <a:gd name="connsiteY3" fmla="*/ 14265 h 20848"/>
                    <a:gd name="connsiteX4" fmla="*/ 26335 w 26334"/>
                    <a:gd name="connsiteY4" fmla="*/ 20300 h 20848"/>
                    <a:gd name="connsiteX5" fmla="*/ 25786 w 26334"/>
                    <a:gd name="connsiteY5" fmla="*/ 20848 h 20848"/>
                    <a:gd name="connsiteX6" fmla="*/ 20848 w 26334"/>
                    <a:gd name="connsiteY6" fmla="*/ 17008 h 20848"/>
                    <a:gd name="connsiteX7" fmla="*/ 3840 w 26334"/>
                    <a:gd name="connsiteY7" fmla="*/ 8778 h 20848"/>
                    <a:gd name="connsiteX8" fmla="*/ 549 w 26334"/>
                    <a:gd name="connsiteY8" fmla="*/ 4389 h 208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6334" h="20848">
                      <a:moveTo>
                        <a:pt x="549" y="4389"/>
                      </a:moveTo>
                      <a:lnTo>
                        <a:pt x="0" y="2194"/>
                      </a:lnTo>
                      <a:lnTo>
                        <a:pt x="2743" y="0"/>
                      </a:lnTo>
                      <a:lnTo>
                        <a:pt x="23591" y="14265"/>
                      </a:lnTo>
                      <a:lnTo>
                        <a:pt x="26335" y="20300"/>
                      </a:lnTo>
                      <a:lnTo>
                        <a:pt x="25786" y="20848"/>
                      </a:lnTo>
                      <a:lnTo>
                        <a:pt x="20848" y="17008"/>
                      </a:lnTo>
                      <a:lnTo>
                        <a:pt x="3840" y="8778"/>
                      </a:lnTo>
                      <a:lnTo>
                        <a:pt x="549" y="4389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61" name="Graphic 7">
                  <a:extLst>
                    <a:ext uri="{FF2B5EF4-FFF2-40B4-BE49-F238E27FC236}">
                      <a16:creationId xmlns:a16="http://schemas.microsoft.com/office/drawing/2014/main" id="{CD729F28-5636-0AB7-8870-87C1E1B15ECC}"/>
                    </a:ext>
                  </a:extLst>
                </p:cNvPr>
                <p:cNvSpPr/>
                <p:nvPr/>
              </p:nvSpPr>
              <p:spPr>
                <a:xfrm>
                  <a:off x="8092975" y="4425493"/>
                  <a:ext cx="22289" cy="27004"/>
                </a:xfrm>
                <a:custGeom>
                  <a:avLst/>
                  <a:gdLst>
                    <a:gd name="connsiteX0" fmla="*/ 549 w 28529"/>
                    <a:gd name="connsiteY0" fmla="*/ 5486 h 34564"/>
                    <a:gd name="connsiteX1" fmla="*/ 0 w 28529"/>
                    <a:gd name="connsiteY1" fmla="*/ 3292 h 34564"/>
                    <a:gd name="connsiteX2" fmla="*/ 7681 w 28529"/>
                    <a:gd name="connsiteY2" fmla="*/ 0 h 34564"/>
                    <a:gd name="connsiteX3" fmla="*/ 27432 w 28529"/>
                    <a:gd name="connsiteY3" fmla="*/ 19202 h 34564"/>
                    <a:gd name="connsiteX4" fmla="*/ 28529 w 28529"/>
                    <a:gd name="connsiteY4" fmla="*/ 31821 h 34564"/>
                    <a:gd name="connsiteX5" fmla="*/ 26883 w 28529"/>
                    <a:gd name="connsiteY5" fmla="*/ 34565 h 34564"/>
                    <a:gd name="connsiteX6" fmla="*/ 23043 w 28529"/>
                    <a:gd name="connsiteY6" fmla="*/ 34565 h 34564"/>
                    <a:gd name="connsiteX7" fmla="*/ 549 w 28529"/>
                    <a:gd name="connsiteY7" fmla="*/ 5486 h 345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8529" h="34564">
                      <a:moveTo>
                        <a:pt x="549" y="5486"/>
                      </a:moveTo>
                      <a:lnTo>
                        <a:pt x="0" y="3292"/>
                      </a:lnTo>
                      <a:lnTo>
                        <a:pt x="7681" y="0"/>
                      </a:lnTo>
                      <a:lnTo>
                        <a:pt x="27432" y="19202"/>
                      </a:lnTo>
                      <a:lnTo>
                        <a:pt x="28529" y="31821"/>
                      </a:lnTo>
                      <a:lnTo>
                        <a:pt x="26883" y="34565"/>
                      </a:lnTo>
                      <a:lnTo>
                        <a:pt x="23043" y="34565"/>
                      </a:lnTo>
                      <a:lnTo>
                        <a:pt x="549" y="5486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62" name="Graphic 7">
                  <a:extLst>
                    <a:ext uri="{FF2B5EF4-FFF2-40B4-BE49-F238E27FC236}">
                      <a16:creationId xmlns:a16="http://schemas.microsoft.com/office/drawing/2014/main" id="{40090EEF-B19A-78F8-8C13-1E9B625F9E48}"/>
                    </a:ext>
                  </a:extLst>
                </p:cNvPr>
                <p:cNvSpPr/>
                <p:nvPr/>
              </p:nvSpPr>
              <p:spPr>
                <a:xfrm>
                  <a:off x="8217711" y="4408348"/>
                  <a:ext cx="10287" cy="9858"/>
                </a:xfrm>
                <a:custGeom>
                  <a:avLst/>
                  <a:gdLst>
                    <a:gd name="connsiteX0" fmla="*/ 9875 w 13167"/>
                    <a:gd name="connsiteY0" fmla="*/ 12619 h 12618"/>
                    <a:gd name="connsiteX1" fmla="*/ 7132 w 13167"/>
                    <a:gd name="connsiteY1" fmla="*/ 12619 h 12618"/>
                    <a:gd name="connsiteX2" fmla="*/ 3292 w 13167"/>
                    <a:gd name="connsiteY2" fmla="*/ 10424 h 12618"/>
                    <a:gd name="connsiteX3" fmla="*/ 0 w 13167"/>
                    <a:gd name="connsiteY3" fmla="*/ 6035 h 12618"/>
                    <a:gd name="connsiteX4" fmla="*/ 0 w 13167"/>
                    <a:gd name="connsiteY4" fmla="*/ 2743 h 12618"/>
                    <a:gd name="connsiteX5" fmla="*/ 2743 w 13167"/>
                    <a:gd name="connsiteY5" fmla="*/ 2743 h 12618"/>
                    <a:gd name="connsiteX6" fmla="*/ 5486 w 13167"/>
                    <a:gd name="connsiteY6" fmla="*/ 549 h 12618"/>
                    <a:gd name="connsiteX7" fmla="*/ 8778 w 13167"/>
                    <a:gd name="connsiteY7" fmla="*/ 0 h 12618"/>
                    <a:gd name="connsiteX8" fmla="*/ 13167 w 13167"/>
                    <a:gd name="connsiteY8" fmla="*/ 3292 h 12618"/>
                    <a:gd name="connsiteX9" fmla="*/ 13167 w 13167"/>
                    <a:gd name="connsiteY9" fmla="*/ 9876 h 12618"/>
                    <a:gd name="connsiteX10" fmla="*/ 12619 w 13167"/>
                    <a:gd name="connsiteY10" fmla="*/ 11522 h 12618"/>
                    <a:gd name="connsiteX11" fmla="*/ 9875 w 13167"/>
                    <a:gd name="connsiteY11" fmla="*/ 12619 h 126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3167" h="12618">
                      <a:moveTo>
                        <a:pt x="9875" y="12619"/>
                      </a:moveTo>
                      <a:lnTo>
                        <a:pt x="7132" y="12619"/>
                      </a:lnTo>
                      <a:lnTo>
                        <a:pt x="3292" y="10424"/>
                      </a:lnTo>
                      <a:lnTo>
                        <a:pt x="0" y="6035"/>
                      </a:lnTo>
                      <a:lnTo>
                        <a:pt x="0" y="2743"/>
                      </a:lnTo>
                      <a:lnTo>
                        <a:pt x="2743" y="2743"/>
                      </a:lnTo>
                      <a:lnTo>
                        <a:pt x="5486" y="549"/>
                      </a:lnTo>
                      <a:lnTo>
                        <a:pt x="8778" y="0"/>
                      </a:lnTo>
                      <a:lnTo>
                        <a:pt x="13167" y="3292"/>
                      </a:lnTo>
                      <a:lnTo>
                        <a:pt x="13167" y="9876"/>
                      </a:lnTo>
                      <a:lnTo>
                        <a:pt x="12619" y="11522"/>
                      </a:lnTo>
                      <a:lnTo>
                        <a:pt x="9875" y="12619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63" name="Graphic 7">
                  <a:extLst>
                    <a:ext uri="{FF2B5EF4-FFF2-40B4-BE49-F238E27FC236}">
                      <a16:creationId xmlns:a16="http://schemas.microsoft.com/office/drawing/2014/main" id="{B1145E08-2161-63A8-6955-6A59F6FEE4EA}"/>
                    </a:ext>
                  </a:extLst>
                </p:cNvPr>
                <p:cNvSpPr/>
                <p:nvPr/>
              </p:nvSpPr>
              <p:spPr>
                <a:xfrm>
                  <a:off x="8235713" y="4422064"/>
                  <a:ext cx="12859" cy="9001"/>
                </a:xfrm>
                <a:custGeom>
                  <a:avLst/>
                  <a:gdLst>
                    <a:gd name="connsiteX0" fmla="*/ 0 w 16459"/>
                    <a:gd name="connsiteY0" fmla="*/ 0 h 11521"/>
                    <a:gd name="connsiteX1" fmla="*/ 1646 w 16459"/>
                    <a:gd name="connsiteY1" fmla="*/ 0 h 11521"/>
                    <a:gd name="connsiteX2" fmla="*/ 5486 w 16459"/>
                    <a:gd name="connsiteY2" fmla="*/ 1646 h 11521"/>
                    <a:gd name="connsiteX3" fmla="*/ 7681 w 16459"/>
                    <a:gd name="connsiteY3" fmla="*/ 1097 h 11521"/>
                    <a:gd name="connsiteX4" fmla="*/ 13716 w 16459"/>
                    <a:gd name="connsiteY4" fmla="*/ 1646 h 11521"/>
                    <a:gd name="connsiteX5" fmla="*/ 16459 w 16459"/>
                    <a:gd name="connsiteY5" fmla="*/ 10973 h 11521"/>
                    <a:gd name="connsiteX6" fmla="*/ 15911 w 16459"/>
                    <a:gd name="connsiteY6" fmla="*/ 11522 h 11521"/>
                    <a:gd name="connsiteX7" fmla="*/ 11522 w 16459"/>
                    <a:gd name="connsiteY7" fmla="*/ 8230 h 11521"/>
                    <a:gd name="connsiteX8" fmla="*/ 4389 w 16459"/>
                    <a:gd name="connsiteY8" fmla="*/ 4938 h 11521"/>
                    <a:gd name="connsiteX9" fmla="*/ 0 w 16459"/>
                    <a:gd name="connsiteY9" fmla="*/ 0 h 115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6459" h="11521">
                      <a:moveTo>
                        <a:pt x="0" y="0"/>
                      </a:moveTo>
                      <a:lnTo>
                        <a:pt x="1646" y="0"/>
                      </a:lnTo>
                      <a:lnTo>
                        <a:pt x="5486" y="1646"/>
                      </a:lnTo>
                      <a:lnTo>
                        <a:pt x="7681" y="1097"/>
                      </a:lnTo>
                      <a:lnTo>
                        <a:pt x="13716" y="1646"/>
                      </a:lnTo>
                      <a:lnTo>
                        <a:pt x="16459" y="10973"/>
                      </a:lnTo>
                      <a:lnTo>
                        <a:pt x="15911" y="11522"/>
                      </a:lnTo>
                      <a:lnTo>
                        <a:pt x="11522" y="8230"/>
                      </a:lnTo>
                      <a:lnTo>
                        <a:pt x="4389" y="4938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64" name="Graphic 7">
                  <a:extLst>
                    <a:ext uri="{FF2B5EF4-FFF2-40B4-BE49-F238E27FC236}">
                      <a16:creationId xmlns:a16="http://schemas.microsoft.com/office/drawing/2014/main" id="{58A42C1A-B760-A282-4A1B-74F3809CB798}"/>
                    </a:ext>
                  </a:extLst>
                </p:cNvPr>
                <p:cNvSpPr/>
                <p:nvPr/>
              </p:nvSpPr>
              <p:spPr>
                <a:xfrm>
                  <a:off x="8136269" y="4496650"/>
                  <a:ext cx="18859" cy="24861"/>
                </a:xfrm>
                <a:custGeom>
                  <a:avLst/>
                  <a:gdLst>
                    <a:gd name="connsiteX0" fmla="*/ 2194 w 24139"/>
                    <a:gd name="connsiteY0" fmla="*/ 1646 h 31821"/>
                    <a:gd name="connsiteX1" fmla="*/ 9327 w 24139"/>
                    <a:gd name="connsiteY1" fmla="*/ 0 h 31821"/>
                    <a:gd name="connsiteX2" fmla="*/ 10973 w 24139"/>
                    <a:gd name="connsiteY2" fmla="*/ 2194 h 31821"/>
                    <a:gd name="connsiteX3" fmla="*/ 17556 w 24139"/>
                    <a:gd name="connsiteY3" fmla="*/ 18654 h 31821"/>
                    <a:gd name="connsiteX4" fmla="*/ 24140 w 24139"/>
                    <a:gd name="connsiteY4" fmla="*/ 27432 h 31821"/>
                    <a:gd name="connsiteX5" fmla="*/ 23043 w 24139"/>
                    <a:gd name="connsiteY5" fmla="*/ 30724 h 31821"/>
                    <a:gd name="connsiteX6" fmla="*/ 18105 w 24139"/>
                    <a:gd name="connsiteY6" fmla="*/ 31821 h 31821"/>
                    <a:gd name="connsiteX7" fmla="*/ 13716 w 24139"/>
                    <a:gd name="connsiteY7" fmla="*/ 30724 h 31821"/>
                    <a:gd name="connsiteX8" fmla="*/ 9327 w 24139"/>
                    <a:gd name="connsiteY8" fmla="*/ 27432 h 31821"/>
                    <a:gd name="connsiteX9" fmla="*/ 1097 w 24139"/>
                    <a:gd name="connsiteY9" fmla="*/ 13167 h 31821"/>
                    <a:gd name="connsiteX10" fmla="*/ 0 w 24139"/>
                    <a:gd name="connsiteY10" fmla="*/ 7132 h 31821"/>
                    <a:gd name="connsiteX11" fmla="*/ 2194 w 24139"/>
                    <a:gd name="connsiteY11" fmla="*/ 1646 h 318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24139" h="31821">
                      <a:moveTo>
                        <a:pt x="2194" y="1646"/>
                      </a:moveTo>
                      <a:lnTo>
                        <a:pt x="9327" y="0"/>
                      </a:lnTo>
                      <a:lnTo>
                        <a:pt x="10973" y="2194"/>
                      </a:lnTo>
                      <a:lnTo>
                        <a:pt x="17556" y="18654"/>
                      </a:lnTo>
                      <a:lnTo>
                        <a:pt x="24140" y="27432"/>
                      </a:lnTo>
                      <a:lnTo>
                        <a:pt x="23043" y="30724"/>
                      </a:lnTo>
                      <a:lnTo>
                        <a:pt x="18105" y="31821"/>
                      </a:lnTo>
                      <a:lnTo>
                        <a:pt x="13716" y="30724"/>
                      </a:lnTo>
                      <a:lnTo>
                        <a:pt x="9327" y="27432"/>
                      </a:lnTo>
                      <a:lnTo>
                        <a:pt x="1097" y="13167"/>
                      </a:lnTo>
                      <a:lnTo>
                        <a:pt x="0" y="7132"/>
                      </a:lnTo>
                      <a:lnTo>
                        <a:pt x="2194" y="1646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65" name="Graphic 7">
                  <a:extLst>
                    <a:ext uri="{FF2B5EF4-FFF2-40B4-BE49-F238E27FC236}">
                      <a16:creationId xmlns:a16="http://schemas.microsoft.com/office/drawing/2014/main" id="{803C437C-9D53-5252-5A09-6A627A467112}"/>
                    </a:ext>
                  </a:extLst>
                </p:cNvPr>
                <p:cNvSpPr/>
                <p:nvPr/>
              </p:nvSpPr>
              <p:spPr>
                <a:xfrm>
                  <a:off x="8302153" y="4480789"/>
                  <a:ext cx="7286" cy="7286"/>
                </a:xfrm>
                <a:custGeom>
                  <a:avLst/>
                  <a:gdLst>
                    <a:gd name="connsiteX0" fmla="*/ 549 w 9326"/>
                    <a:gd name="connsiteY0" fmla="*/ 4938 h 9326"/>
                    <a:gd name="connsiteX1" fmla="*/ 0 w 9326"/>
                    <a:gd name="connsiteY1" fmla="*/ 2743 h 9326"/>
                    <a:gd name="connsiteX2" fmla="*/ 2195 w 9326"/>
                    <a:gd name="connsiteY2" fmla="*/ 549 h 9326"/>
                    <a:gd name="connsiteX3" fmla="*/ 4938 w 9326"/>
                    <a:gd name="connsiteY3" fmla="*/ 0 h 9326"/>
                    <a:gd name="connsiteX4" fmla="*/ 9327 w 9326"/>
                    <a:gd name="connsiteY4" fmla="*/ 6035 h 9326"/>
                    <a:gd name="connsiteX5" fmla="*/ 8778 w 9326"/>
                    <a:gd name="connsiteY5" fmla="*/ 8778 h 9326"/>
                    <a:gd name="connsiteX6" fmla="*/ 4389 w 9326"/>
                    <a:gd name="connsiteY6" fmla="*/ 9327 h 9326"/>
                    <a:gd name="connsiteX7" fmla="*/ 2195 w 9326"/>
                    <a:gd name="connsiteY7" fmla="*/ 8230 h 9326"/>
                    <a:gd name="connsiteX8" fmla="*/ 549 w 9326"/>
                    <a:gd name="connsiteY8" fmla="*/ 4938 h 93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9326" h="9326">
                      <a:moveTo>
                        <a:pt x="549" y="4938"/>
                      </a:moveTo>
                      <a:lnTo>
                        <a:pt x="0" y="2743"/>
                      </a:lnTo>
                      <a:lnTo>
                        <a:pt x="2195" y="549"/>
                      </a:lnTo>
                      <a:lnTo>
                        <a:pt x="4938" y="0"/>
                      </a:lnTo>
                      <a:lnTo>
                        <a:pt x="9327" y="6035"/>
                      </a:lnTo>
                      <a:lnTo>
                        <a:pt x="8778" y="8778"/>
                      </a:lnTo>
                      <a:lnTo>
                        <a:pt x="4389" y="9327"/>
                      </a:lnTo>
                      <a:lnTo>
                        <a:pt x="2195" y="8230"/>
                      </a:lnTo>
                      <a:lnTo>
                        <a:pt x="549" y="4938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66" name="Graphic 7">
                  <a:extLst>
                    <a:ext uri="{FF2B5EF4-FFF2-40B4-BE49-F238E27FC236}">
                      <a16:creationId xmlns:a16="http://schemas.microsoft.com/office/drawing/2014/main" id="{3A622513-ABE5-C882-7A3A-A906C5E6D0B4}"/>
                    </a:ext>
                  </a:extLst>
                </p:cNvPr>
                <p:cNvSpPr/>
                <p:nvPr/>
              </p:nvSpPr>
              <p:spPr>
                <a:xfrm>
                  <a:off x="8326586" y="4514223"/>
                  <a:ext cx="45436" cy="45436"/>
                </a:xfrm>
                <a:custGeom>
                  <a:avLst/>
                  <a:gdLst>
                    <a:gd name="connsiteX0" fmla="*/ 0 w 58156"/>
                    <a:gd name="connsiteY0" fmla="*/ 14265 h 58156"/>
                    <a:gd name="connsiteX1" fmla="*/ 9875 w 58156"/>
                    <a:gd name="connsiteY1" fmla="*/ 2743 h 58156"/>
                    <a:gd name="connsiteX2" fmla="*/ 13716 w 58156"/>
                    <a:gd name="connsiteY2" fmla="*/ 1097 h 58156"/>
                    <a:gd name="connsiteX3" fmla="*/ 17557 w 58156"/>
                    <a:gd name="connsiteY3" fmla="*/ 2743 h 58156"/>
                    <a:gd name="connsiteX4" fmla="*/ 19202 w 58156"/>
                    <a:gd name="connsiteY4" fmla="*/ 8230 h 58156"/>
                    <a:gd name="connsiteX5" fmla="*/ 22494 w 58156"/>
                    <a:gd name="connsiteY5" fmla="*/ 8230 h 58156"/>
                    <a:gd name="connsiteX6" fmla="*/ 23043 w 58156"/>
                    <a:gd name="connsiteY6" fmla="*/ 7132 h 58156"/>
                    <a:gd name="connsiteX7" fmla="*/ 23043 w 58156"/>
                    <a:gd name="connsiteY7" fmla="*/ 3292 h 58156"/>
                    <a:gd name="connsiteX8" fmla="*/ 24689 w 58156"/>
                    <a:gd name="connsiteY8" fmla="*/ 0 h 58156"/>
                    <a:gd name="connsiteX9" fmla="*/ 28529 w 58156"/>
                    <a:gd name="connsiteY9" fmla="*/ 0 h 58156"/>
                    <a:gd name="connsiteX10" fmla="*/ 39502 w 58156"/>
                    <a:gd name="connsiteY10" fmla="*/ 29078 h 58156"/>
                    <a:gd name="connsiteX11" fmla="*/ 42794 w 58156"/>
                    <a:gd name="connsiteY11" fmla="*/ 33467 h 58156"/>
                    <a:gd name="connsiteX12" fmla="*/ 50475 w 58156"/>
                    <a:gd name="connsiteY12" fmla="*/ 37856 h 58156"/>
                    <a:gd name="connsiteX13" fmla="*/ 58156 w 58156"/>
                    <a:gd name="connsiteY13" fmla="*/ 37856 h 58156"/>
                    <a:gd name="connsiteX14" fmla="*/ 55961 w 58156"/>
                    <a:gd name="connsiteY14" fmla="*/ 53218 h 58156"/>
                    <a:gd name="connsiteX15" fmla="*/ 57607 w 58156"/>
                    <a:gd name="connsiteY15" fmla="*/ 56510 h 58156"/>
                    <a:gd name="connsiteX16" fmla="*/ 53767 w 58156"/>
                    <a:gd name="connsiteY16" fmla="*/ 58156 h 58156"/>
                    <a:gd name="connsiteX17" fmla="*/ 48829 w 58156"/>
                    <a:gd name="connsiteY17" fmla="*/ 54315 h 58156"/>
                    <a:gd name="connsiteX18" fmla="*/ 36210 w 58156"/>
                    <a:gd name="connsiteY18" fmla="*/ 48829 h 58156"/>
                    <a:gd name="connsiteX19" fmla="*/ 32370 w 58156"/>
                    <a:gd name="connsiteY19" fmla="*/ 44989 h 58156"/>
                    <a:gd name="connsiteX20" fmla="*/ 29627 w 58156"/>
                    <a:gd name="connsiteY20" fmla="*/ 39502 h 58156"/>
                    <a:gd name="connsiteX21" fmla="*/ 30175 w 58156"/>
                    <a:gd name="connsiteY21" fmla="*/ 35113 h 58156"/>
                    <a:gd name="connsiteX22" fmla="*/ 23591 w 58156"/>
                    <a:gd name="connsiteY22" fmla="*/ 24140 h 58156"/>
                    <a:gd name="connsiteX23" fmla="*/ 14813 w 58156"/>
                    <a:gd name="connsiteY23" fmla="*/ 19202 h 58156"/>
                    <a:gd name="connsiteX24" fmla="*/ 2195 w 58156"/>
                    <a:gd name="connsiteY24" fmla="*/ 17008 h 58156"/>
                    <a:gd name="connsiteX25" fmla="*/ 0 w 58156"/>
                    <a:gd name="connsiteY25" fmla="*/ 14265 h 581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</a:cxnLst>
                  <a:rect l="l" t="t" r="r" b="b"/>
                  <a:pathLst>
                    <a:path w="58156" h="58156">
                      <a:moveTo>
                        <a:pt x="0" y="14265"/>
                      </a:moveTo>
                      <a:lnTo>
                        <a:pt x="9875" y="2743"/>
                      </a:lnTo>
                      <a:lnTo>
                        <a:pt x="13716" y="1097"/>
                      </a:lnTo>
                      <a:lnTo>
                        <a:pt x="17557" y="2743"/>
                      </a:lnTo>
                      <a:lnTo>
                        <a:pt x="19202" y="8230"/>
                      </a:lnTo>
                      <a:lnTo>
                        <a:pt x="22494" y="8230"/>
                      </a:lnTo>
                      <a:lnTo>
                        <a:pt x="23043" y="7132"/>
                      </a:lnTo>
                      <a:lnTo>
                        <a:pt x="23043" y="3292"/>
                      </a:lnTo>
                      <a:lnTo>
                        <a:pt x="24689" y="0"/>
                      </a:lnTo>
                      <a:lnTo>
                        <a:pt x="28529" y="0"/>
                      </a:lnTo>
                      <a:lnTo>
                        <a:pt x="39502" y="29078"/>
                      </a:lnTo>
                      <a:lnTo>
                        <a:pt x="42794" y="33467"/>
                      </a:lnTo>
                      <a:lnTo>
                        <a:pt x="50475" y="37856"/>
                      </a:lnTo>
                      <a:lnTo>
                        <a:pt x="58156" y="37856"/>
                      </a:lnTo>
                      <a:lnTo>
                        <a:pt x="55961" y="53218"/>
                      </a:lnTo>
                      <a:lnTo>
                        <a:pt x="57607" y="56510"/>
                      </a:lnTo>
                      <a:lnTo>
                        <a:pt x="53767" y="58156"/>
                      </a:lnTo>
                      <a:lnTo>
                        <a:pt x="48829" y="54315"/>
                      </a:lnTo>
                      <a:lnTo>
                        <a:pt x="36210" y="48829"/>
                      </a:lnTo>
                      <a:lnTo>
                        <a:pt x="32370" y="44989"/>
                      </a:lnTo>
                      <a:lnTo>
                        <a:pt x="29627" y="39502"/>
                      </a:lnTo>
                      <a:lnTo>
                        <a:pt x="30175" y="35113"/>
                      </a:lnTo>
                      <a:lnTo>
                        <a:pt x="23591" y="24140"/>
                      </a:lnTo>
                      <a:lnTo>
                        <a:pt x="14813" y="19202"/>
                      </a:lnTo>
                      <a:lnTo>
                        <a:pt x="2195" y="17008"/>
                      </a:lnTo>
                      <a:lnTo>
                        <a:pt x="0" y="14265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67" name="Graphic 7">
                  <a:extLst>
                    <a:ext uri="{FF2B5EF4-FFF2-40B4-BE49-F238E27FC236}">
                      <a16:creationId xmlns:a16="http://schemas.microsoft.com/office/drawing/2014/main" id="{E818D9DB-8DF1-242E-677B-0D8CE512FFA5}"/>
                    </a:ext>
                  </a:extLst>
                </p:cNvPr>
                <p:cNvSpPr/>
                <p:nvPr/>
              </p:nvSpPr>
              <p:spPr>
                <a:xfrm>
                  <a:off x="8397741" y="4543799"/>
                  <a:ext cx="19717" cy="19717"/>
                </a:xfrm>
                <a:custGeom>
                  <a:avLst/>
                  <a:gdLst>
                    <a:gd name="connsiteX0" fmla="*/ 3840 w 25237"/>
                    <a:gd name="connsiteY0" fmla="*/ 1097 h 25237"/>
                    <a:gd name="connsiteX1" fmla="*/ 5486 w 25237"/>
                    <a:gd name="connsiteY1" fmla="*/ 0 h 25237"/>
                    <a:gd name="connsiteX2" fmla="*/ 13167 w 25237"/>
                    <a:gd name="connsiteY2" fmla="*/ 549 h 25237"/>
                    <a:gd name="connsiteX3" fmla="*/ 21397 w 25237"/>
                    <a:gd name="connsiteY3" fmla="*/ 4938 h 25237"/>
                    <a:gd name="connsiteX4" fmla="*/ 24689 w 25237"/>
                    <a:gd name="connsiteY4" fmla="*/ 8778 h 25237"/>
                    <a:gd name="connsiteX5" fmla="*/ 25237 w 25237"/>
                    <a:gd name="connsiteY5" fmla="*/ 14813 h 25237"/>
                    <a:gd name="connsiteX6" fmla="*/ 24140 w 25237"/>
                    <a:gd name="connsiteY6" fmla="*/ 19751 h 25237"/>
                    <a:gd name="connsiteX7" fmla="*/ 20848 w 25237"/>
                    <a:gd name="connsiteY7" fmla="*/ 23591 h 25237"/>
                    <a:gd name="connsiteX8" fmla="*/ 16459 w 25237"/>
                    <a:gd name="connsiteY8" fmla="*/ 25237 h 25237"/>
                    <a:gd name="connsiteX9" fmla="*/ 13716 w 25237"/>
                    <a:gd name="connsiteY9" fmla="*/ 21397 h 25237"/>
                    <a:gd name="connsiteX10" fmla="*/ 10424 w 25237"/>
                    <a:gd name="connsiteY10" fmla="*/ 23043 h 25237"/>
                    <a:gd name="connsiteX11" fmla="*/ 4389 w 25237"/>
                    <a:gd name="connsiteY11" fmla="*/ 23591 h 25237"/>
                    <a:gd name="connsiteX12" fmla="*/ 2194 w 25237"/>
                    <a:gd name="connsiteY12" fmla="*/ 21397 h 25237"/>
                    <a:gd name="connsiteX13" fmla="*/ 0 w 25237"/>
                    <a:gd name="connsiteY13" fmla="*/ 11521 h 25237"/>
                    <a:gd name="connsiteX14" fmla="*/ 549 w 25237"/>
                    <a:gd name="connsiteY14" fmla="*/ 7681 h 25237"/>
                    <a:gd name="connsiteX15" fmla="*/ 2743 w 25237"/>
                    <a:gd name="connsiteY15" fmla="*/ 2194 h 25237"/>
                    <a:gd name="connsiteX16" fmla="*/ 3840 w 25237"/>
                    <a:gd name="connsiteY16" fmla="*/ 1097 h 252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25237" h="25237">
                      <a:moveTo>
                        <a:pt x="3840" y="1097"/>
                      </a:moveTo>
                      <a:lnTo>
                        <a:pt x="5486" y="0"/>
                      </a:lnTo>
                      <a:lnTo>
                        <a:pt x="13167" y="549"/>
                      </a:lnTo>
                      <a:lnTo>
                        <a:pt x="21397" y="4938"/>
                      </a:lnTo>
                      <a:lnTo>
                        <a:pt x="24689" y="8778"/>
                      </a:lnTo>
                      <a:lnTo>
                        <a:pt x="25237" y="14813"/>
                      </a:lnTo>
                      <a:lnTo>
                        <a:pt x="24140" y="19751"/>
                      </a:lnTo>
                      <a:lnTo>
                        <a:pt x="20848" y="23591"/>
                      </a:lnTo>
                      <a:lnTo>
                        <a:pt x="16459" y="25237"/>
                      </a:lnTo>
                      <a:lnTo>
                        <a:pt x="13716" y="21397"/>
                      </a:lnTo>
                      <a:lnTo>
                        <a:pt x="10424" y="23043"/>
                      </a:lnTo>
                      <a:lnTo>
                        <a:pt x="4389" y="23591"/>
                      </a:lnTo>
                      <a:lnTo>
                        <a:pt x="2194" y="21397"/>
                      </a:lnTo>
                      <a:lnTo>
                        <a:pt x="0" y="11521"/>
                      </a:lnTo>
                      <a:lnTo>
                        <a:pt x="549" y="7681"/>
                      </a:lnTo>
                      <a:lnTo>
                        <a:pt x="2743" y="2194"/>
                      </a:lnTo>
                      <a:lnTo>
                        <a:pt x="3840" y="1097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68" name="Graphic 7">
                  <a:extLst>
                    <a:ext uri="{FF2B5EF4-FFF2-40B4-BE49-F238E27FC236}">
                      <a16:creationId xmlns:a16="http://schemas.microsoft.com/office/drawing/2014/main" id="{4047A758-02B1-19E7-EE62-FFBC627AE840}"/>
                    </a:ext>
                  </a:extLst>
                </p:cNvPr>
                <p:cNvSpPr/>
                <p:nvPr/>
              </p:nvSpPr>
              <p:spPr>
                <a:xfrm>
                  <a:off x="8329158" y="4642816"/>
                  <a:ext cx="270473" cy="84871"/>
                </a:xfrm>
                <a:custGeom>
                  <a:avLst/>
                  <a:gdLst>
                    <a:gd name="connsiteX0" fmla="*/ 255666 w 346191"/>
                    <a:gd name="connsiteY0" fmla="*/ 88331 h 108630"/>
                    <a:gd name="connsiteX1" fmla="*/ 248534 w 346191"/>
                    <a:gd name="connsiteY1" fmla="*/ 88331 h 108630"/>
                    <a:gd name="connsiteX2" fmla="*/ 240304 w 346191"/>
                    <a:gd name="connsiteY2" fmla="*/ 92171 h 108630"/>
                    <a:gd name="connsiteX3" fmla="*/ 224942 w 346191"/>
                    <a:gd name="connsiteY3" fmla="*/ 87234 h 108630"/>
                    <a:gd name="connsiteX4" fmla="*/ 222199 w 346191"/>
                    <a:gd name="connsiteY4" fmla="*/ 85039 h 108630"/>
                    <a:gd name="connsiteX5" fmla="*/ 220553 w 346191"/>
                    <a:gd name="connsiteY5" fmla="*/ 86685 h 108630"/>
                    <a:gd name="connsiteX6" fmla="*/ 206837 w 346191"/>
                    <a:gd name="connsiteY6" fmla="*/ 85588 h 108630"/>
                    <a:gd name="connsiteX7" fmla="*/ 181051 w 346191"/>
                    <a:gd name="connsiteY7" fmla="*/ 72421 h 108630"/>
                    <a:gd name="connsiteX8" fmla="*/ 147584 w 346191"/>
                    <a:gd name="connsiteY8" fmla="*/ 65837 h 108630"/>
                    <a:gd name="connsiteX9" fmla="*/ 144292 w 346191"/>
                    <a:gd name="connsiteY9" fmla="*/ 66386 h 108630"/>
                    <a:gd name="connsiteX10" fmla="*/ 142098 w 346191"/>
                    <a:gd name="connsiteY10" fmla="*/ 68580 h 108630"/>
                    <a:gd name="connsiteX11" fmla="*/ 138806 w 346191"/>
                    <a:gd name="connsiteY11" fmla="*/ 68031 h 108630"/>
                    <a:gd name="connsiteX12" fmla="*/ 136611 w 346191"/>
                    <a:gd name="connsiteY12" fmla="*/ 65288 h 108630"/>
                    <a:gd name="connsiteX13" fmla="*/ 130027 w 346191"/>
                    <a:gd name="connsiteY13" fmla="*/ 65288 h 108630"/>
                    <a:gd name="connsiteX14" fmla="*/ 126187 w 346191"/>
                    <a:gd name="connsiteY14" fmla="*/ 69129 h 108630"/>
                    <a:gd name="connsiteX15" fmla="*/ 122895 w 346191"/>
                    <a:gd name="connsiteY15" fmla="*/ 70775 h 108630"/>
                    <a:gd name="connsiteX16" fmla="*/ 44988 w 346191"/>
                    <a:gd name="connsiteY16" fmla="*/ 52121 h 108630"/>
                    <a:gd name="connsiteX17" fmla="*/ 42245 w 346191"/>
                    <a:gd name="connsiteY17" fmla="*/ 49378 h 108630"/>
                    <a:gd name="connsiteX18" fmla="*/ 48829 w 346191"/>
                    <a:gd name="connsiteY18" fmla="*/ 41697 h 108630"/>
                    <a:gd name="connsiteX19" fmla="*/ 47731 w 346191"/>
                    <a:gd name="connsiteY19" fmla="*/ 40599 h 108630"/>
                    <a:gd name="connsiteX20" fmla="*/ 3840 w 346191"/>
                    <a:gd name="connsiteY20" fmla="*/ 31821 h 108630"/>
                    <a:gd name="connsiteX21" fmla="*/ 0 w 346191"/>
                    <a:gd name="connsiteY21" fmla="*/ 27432 h 108630"/>
                    <a:gd name="connsiteX22" fmla="*/ 1097 w 346191"/>
                    <a:gd name="connsiteY22" fmla="*/ 25786 h 108630"/>
                    <a:gd name="connsiteX23" fmla="*/ 2743 w 346191"/>
                    <a:gd name="connsiteY23" fmla="*/ 26335 h 108630"/>
                    <a:gd name="connsiteX24" fmla="*/ 5486 w 346191"/>
                    <a:gd name="connsiteY24" fmla="*/ 28529 h 108630"/>
                    <a:gd name="connsiteX25" fmla="*/ 9327 w 346191"/>
                    <a:gd name="connsiteY25" fmla="*/ 28529 h 108630"/>
                    <a:gd name="connsiteX26" fmla="*/ 13716 w 346191"/>
                    <a:gd name="connsiteY26" fmla="*/ 25786 h 108630"/>
                    <a:gd name="connsiteX27" fmla="*/ 15362 w 346191"/>
                    <a:gd name="connsiteY27" fmla="*/ 21397 h 108630"/>
                    <a:gd name="connsiteX28" fmla="*/ 19202 w 346191"/>
                    <a:gd name="connsiteY28" fmla="*/ 21397 h 108630"/>
                    <a:gd name="connsiteX29" fmla="*/ 26883 w 346191"/>
                    <a:gd name="connsiteY29" fmla="*/ 3292 h 108630"/>
                    <a:gd name="connsiteX30" fmla="*/ 35662 w 346191"/>
                    <a:gd name="connsiteY30" fmla="*/ 549 h 108630"/>
                    <a:gd name="connsiteX31" fmla="*/ 59802 w 346191"/>
                    <a:gd name="connsiteY31" fmla="*/ 4389 h 108630"/>
                    <a:gd name="connsiteX32" fmla="*/ 69129 w 346191"/>
                    <a:gd name="connsiteY32" fmla="*/ 0 h 108630"/>
                    <a:gd name="connsiteX33" fmla="*/ 76810 w 346191"/>
                    <a:gd name="connsiteY33" fmla="*/ 0 h 108630"/>
                    <a:gd name="connsiteX34" fmla="*/ 81199 w 346191"/>
                    <a:gd name="connsiteY34" fmla="*/ 4389 h 108630"/>
                    <a:gd name="connsiteX35" fmla="*/ 82845 w 346191"/>
                    <a:gd name="connsiteY35" fmla="*/ 9875 h 108630"/>
                    <a:gd name="connsiteX36" fmla="*/ 111374 w 346191"/>
                    <a:gd name="connsiteY36" fmla="*/ 13716 h 108630"/>
                    <a:gd name="connsiteX37" fmla="*/ 120701 w 346191"/>
                    <a:gd name="connsiteY37" fmla="*/ 22494 h 108630"/>
                    <a:gd name="connsiteX38" fmla="*/ 126187 w 346191"/>
                    <a:gd name="connsiteY38" fmla="*/ 32370 h 108630"/>
                    <a:gd name="connsiteX39" fmla="*/ 154716 w 346191"/>
                    <a:gd name="connsiteY39" fmla="*/ 34016 h 108630"/>
                    <a:gd name="connsiteX40" fmla="*/ 159106 w 346191"/>
                    <a:gd name="connsiteY40" fmla="*/ 32918 h 108630"/>
                    <a:gd name="connsiteX41" fmla="*/ 190378 w 346191"/>
                    <a:gd name="connsiteY41" fmla="*/ 38954 h 108630"/>
                    <a:gd name="connsiteX42" fmla="*/ 195316 w 346191"/>
                    <a:gd name="connsiteY42" fmla="*/ 36759 h 108630"/>
                    <a:gd name="connsiteX43" fmla="*/ 201351 w 346191"/>
                    <a:gd name="connsiteY43" fmla="*/ 26335 h 108630"/>
                    <a:gd name="connsiteX44" fmla="*/ 202448 w 346191"/>
                    <a:gd name="connsiteY44" fmla="*/ 21397 h 108630"/>
                    <a:gd name="connsiteX45" fmla="*/ 206837 w 346191"/>
                    <a:gd name="connsiteY45" fmla="*/ 17557 h 108630"/>
                    <a:gd name="connsiteX46" fmla="*/ 212323 w 346191"/>
                    <a:gd name="connsiteY46" fmla="*/ 18105 h 108630"/>
                    <a:gd name="connsiteX47" fmla="*/ 216164 w 346191"/>
                    <a:gd name="connsiteY47" fmla="*/ 24140 h 108630"/>
                    <a:gd name="connsiteX48" fmla="*/ 221102 w 346191"/>
                    <a:gd name="connsiteY48" fmla="*/ 28529 h 108630"/>
                    <a:gd name="connsiteX49" fmla="*/ 227686 w 346191"/>
                    <a:gd name="connsiteY49" fmla="*/ 28529 h 108630"/>
                    <a:gd name="connsiteX50" fmla="*/ 233721 w 346191"/>
                    <a:gd name="connsiteY50" fmla="*/ 25238 h 108630"/>
                    <a:gd name="connsiteX51" fmla="*/ 254020 w 346191"/>
                    <a:gd name="connsiteY51" fmla="*/ 35113 h 108630"/>
                    <a:gd name="connsiteX52" fmla="*/ 266090 w 346191"/>
                    <a:gd name="connsiteY52" fmla="*/ 34564 h 108630"/>
                    <a:gd name="connsiteX53" fmla="*/ 271577 w 346191"/>
                    <a:gd name="connsiteY53" fmla="*/ 37856 h 108630"/>
                    <a:gd name="connsiteX54" fmla="*/ 276514 w 346191"/>
                    <a:gd name="connsiteY54" fmla="*/ 47732 h 108630"/>
                    <a:gd name="connsiteX55" fmla="*/ 281452 w 346191"/>
                    <a:gd name="connsiteY55" fmla="*/ 51572 h 108630"/>
                    <a:gd name="connsiteX56" fmla="*/ 283098 w 346191"/>
                    <a:gd name="connsiteY56" fmla="*/ 62545 h 108630"/>
                    <a:gd name="connsiteX57" fmla="*/ 297363 w 346191"/>
                    <a:gd name="connsiteY57" fmla="*/ 68031 h 108630"/>
                    <a:gd name="connsiteX58" fmla="*/ 328087 w 346191"/>
                    <a:gd name="connsiteY58" fmla="*/ 64739 h 108630"/>
                    <a:gd name="connsiteX59" fmla="*/ 335767 w 346191"/>
                    <a:gd name="connsiteY59" fmla="*/ 66386 h 108630"/>
                    <a:gd name="connsiteX60" fmla="*/ 341254 w 346191"/>
                    <a:gd name="connsiteY60" fmla="*/ 70226 h 108630"/>
                    <a:gd name="connsiteX61" fmla="*/ 339608 w 346191"/>
                    <a:gd name="connsiteY61" fmla="*/ 93269 h 108630"/>
                    <a:gd name="connsiteX62" fmla="*/ 346192 w 346191"/>
                    <a:gd name="connsiteY62" fmla="*/ 108631 h 108630"/>
                    <a:gd name="connsiteX63" fmla="*/ 342900 w 346191"/>
                    <a:gd name="connsiteY63" fmla="*/ 106985 h 108630"/>
                    <a:gd name="connsiteX64" fmla="*/ 339059 w 346191"/>
                    <a:gd name="connsiteY64" fmla="*/ 102596 h 108630"/>
                    <a:gd name="connsiteX65" fmla="*/ 295168 w 346191"/>
                    <a:gd name="connsiteY65" fmla="*/ 89428 h 108630"/>
                    <a:gd name="connsiteX66" fmla="*/ 277063 w 346191"/>
                    <a:gd name="connsiteY66" fmla="*/ 94915 h 108630"/>
                    <a:gd name="connsiteX67" fmla="*/ 255666 w 346191"/>
                    <a:gd name="connsiteY67" fmla="*/ 88331 h 1086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</a:cxnLst>
                  <a:rect l="l" t="t" r="r" b="b"/>
                  <a:pathLst>
                    <a:path w="346191" h="108630">
                      <a:moveTo>
                        <a:pt x="255666" y="88331"/>
                      </a:moveTo>
                      <a:lnTo>
                        <a:pt x="248534" y="88331"/>
                      </a:lnTo>
                      <a:lnTo>
                        <a:pt x="240304" y="92171"/>
                      </a:lnTo>
                      <a:lnTo>
                        <a:pt x="224942" y="87234"/>
                      </a:lnTo>
                      <a:lnTo>
                        <a:pt x="222199" y="85039"/>
                      </a:lnTo>
                      <a:lnTo>
                        <a:pt x="220553" y="86685"/>
                      </a:lnTo>
                      <a:lnTo>
                        <a:pt x="206837" y="85588"/>
                      </a:lnTo>
                      <a:lnTo>
                        <a:pt x="181051" y="72421"/>
                      </a:lnTo>
                      <a:lnTo>
                        <a:pt x="147584" y="65837"/>
                      </a:lnTo>
                      <a:lnTo>
                        <a:pt x="144292" y="66386"/>
                      </a:lnTo>
                      <a:lnTo>
                        <a:pt x="142098" y="68580"/>
                      </a:lnTo>
                      <a:lnTo>
                        <a:pt x="138806" y="68031"/>
                      </a:lnTo>
                      <a:lnTo>
                        <a:pt x="136611" y="65288"/>
                      </a:lnTo>
                      <a:lnTo>
                        <a:pt x="130027" y="65288"/>
                      </a:lnTo>
                      <a:lnTo>
                        <a:pt x="126187" y="69129"/>
                      </a:lnTo>
                      <a:lnTo>
                        <a:pt x="122895" y="70775"/>
                      </a:lnTo>
                      <a:lnTo>
                        <a:pt x="44988" y="52121"/>
                      </a:lnTo>
                      <a:lnTo>
                        <a:pt x="42245" y="49378"/>
                      </a:lnTo>
                      <a:lnTo>
                        <a:pt x="48829" y="41697"/>
                      </a:lnTo>
                      <a:lnTo>
                        <a:pt x="47731" y="40599"/>
                      </a:lnTo>
                      <a:lnTo>
                        <a:pt x="3840" y="31821"/>
                      </a:lnTo>
                      <a:lnTo>
                        <a:pt x="0" y="27432"/>
                      </a:lnTo>
                      <a:lnTo>
                        <a:pt x="1097" y="25786"/>
                      </a:lnTo>
                      <a:lnTo>
                        <a:pt x="2743" y="26335"/>
                      </a:lnTo>
                      <a:lnTo>
                        <a:pt x="5486" y="28529"/>
                      </a:lnTo>
                      <a:lnTo>
                        <a:pt x="9327" y="28529"/>
                      </a:lnTo>
                      <a:lnTo>
                        <a:pt x="13716" y="25786"/>
                      </a:lnTo>
                      <a:lnTo>
                        <a:pt x="15362" y="21397"/>
                      </a:lnTo>
                      <a:lnTo>
                        <a:pt x="19202" y="21397"/>
                      </a:lnTo>
                      <a:lnTo>
                        <a:pt x="26883" y="3292"/>
                      </a:lnTo>
                      <a:lnTo>
                        <a:pt x="35662" y="549"/>
                      </a:lnTo>
                      <a:lnTo>
                        <a:pt x="59802" y="4389"/>
                      </a:lnTo>
                      <a:lnTo>
                        <a:pt x="69129" y="0"/>
                      </a:lnTo>
                      <a:lnTo>
                        <a:pt x="76810" y="0"/>
                      </a:lnTo>
                      <a:lnTo>
                        <a:pt x="81199" y="4389"/>
                      </a:lnTo>
                      <a:lnTo>
                        <a:pt x="82845" y="9875"/>
                      </a:lnTo>
                      <a:lnTo>
                        <a:pt x="111374" y="13716"/>
                      </a:lnTo>
                      <a:lnTo>
                        <a:pt x="120701" y="22494"/>
                      </a:lnTo>
                      <a:lnTo>
                        <a:pt x="126187" y="32370"/>
                      </a:lnTo>
                      <a:lnTo>
                        <a:pt x="154716" y="34016"/>
                      </a:lnTo>
                      <a:lnTo>
                        <a:pt x="159106" y="32918"/>
                      </a:lnTo>
                      <a:lnTo>
                        <a:pt x="190378" y="38954"/>
                      </a:lnTo>
                      <a:lnTo>
                        <a:pt x="195316" y="36759"/>
                      </a:lnTo>
                      <a:lnTo>
                        <a:pt x="201351" y="26335"/>
                      </a:lnTo>
                      <a:lnTo>
                        <a:pt x="202448" y="21397"/>
                      </a:lnTo>
                      <a:lnTo>
                        <a:pt x="206837" y="17557"/>
                      </a:lnTo>
                      <a:lnTo>
                        <a:pt x="212323" y="18105"/>
                      </a:lnTo>
                      <a:lnTo>
                        <a:pt x="216164" y="24140"/>
                      </a:lnTo>
                      <a:lnTo>
                        <a:pt x="221102" y="28529"/>
                      </a:lnTo>
                      <a:lnTo>
                        <a:pt x="227686" y="28529"/>
                      </a:lnTo>
                      <a:lnTo>
                        <a:pt x="233721" y="25238"/>
                      </a:lnTo>
                      <a:lnTo>
                        <a:pt x="254020" y="35113"/>
                      </a:lnTo>
                      <a:lnTo>
                        <a:pt x="266090" y="34564"/>
                      </a:lnTo>
                      <a:lnTo>
                        <a:pt x="271577" y="37856"/>
                      </a:lnTo>
                      <a:lnTo>
                        <a:pt x="276514" y="47732"/>
                      </a:lnTo>
                      <a:lnTo>
                        <a:pt x="281452" y="51572"/>
                      </a:lnTo>
                      <a:lnTo>
                        <a:pt x="283098" y="62545"/>
                      </a:lnTo>
                      <a:lnTo>
                        <a:pt x="297363" y="68031"/>
                      </a:lnTo>
                      <a:lnTo>
                        <a:pt x="328087" y="64739"/>
                      </a:lnTo>
                      <a:lnTo>
                        <a:pt x="335767" y="66386"/>
                      </a:lnTo>
                      <a:lnTo>
                        <a:pt x="341254" y="70226"/>
                      </a:lnTo>
                      <a:lnTo>
                        <a:pt x="339608" y="93269"/>
                      </a:lnTo>
                      <a:lnTo>
                        <a:pt x="346192" y="108631"/>
                      </a:lnTo>
                      <a:lnTo>
                        <a:pt x="342900" y="106985"/>
                      </a:lnTo>
                      <a:lnTo>
                        <a:pt x="339059" y="102596"/>
                      </a:lnTo>
                      <a:lnTo>
                        <a:pt x="295168" y="89428"/>
                      </a:lnTo>
                      <a:lnTo>
                        <a:pt x="277063" y="94915"/>
                      </a:lnTo>
                      <a:lnTo>
                        <a:pt x="255666" y="88331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69" name="Graphic 7">
                  <a:extLst>
                    <a:ext uri="{FF2B5EF4-FFF2-40B4-BE49-F238E27FC236}">
                      <a16:creationId xmlns:a16="http://schemas.microsoft.com/office/drawing/2014/main" id="{8C9E594D-8D1D-88F8-C19B-10E18C9A4269}"/>
                    </a:ext>
                  </a:extLst>
                </p:cNvPr>
                <p:cNvSpPr/>
                <p:nvPr/>
              </p:nvSpPr>
              <p:spPr>
                <a:xfrm>
                  <a:off x="8645495" y="4565661"/>
                  <a:ext cx="7715" cy="22289"/>
                </a:xfrm>
                <a:custGeom>
                  <a:avLst/>
                  <a:gdLst>
                    <a:gd name="connsiteX0" fmla="*/ 5486 w 9875"/>
                    <a:gd name="connsiteY0" fmla="*/ 549 h 28529"/>
                    <a:gd name="connsiteX1" fmla="*/ 6035 w 9875"/>
                    <a:gd name="connsiteY1" fmla="*/ 549 h 28529"/>
                    <a:gd name="connsiteX2" fmla="*/ 9875 w 9875"/>
                    <a:gd name="connsiteY2" fmla="*/ 23043 h 28529"/>
                    <a:gd name="connsiteX3" fmla="*/ 6035 w 9875"/>
                    <a:gd name="connsiteY3" fmla="*/ 27981 h 28529"/>
                    <a:gd name="connsiteX4" fmla="*/ 2194 w 9875"/>
                    <a:gd name="connsiteY4" fmla="*/ 28529 h 28529"/>
                    <a:gd name="connsiteX5" fmla="*/ 0 w 9875"/>
                    <a:gd name="connsiteY5" fmla="*/ 9875 h 28529"/>
                    <a:gd name="connsiteX6" fmla="*/ 1646 w 9875"/>
                    <a:gd name="connsiteY6" fmla="*/ 2743 h 28529"/>
                    <a:gd name="connsiteX7" fmla="*/ 4938 w 9875"/>
                    <a:gd name="connsiteY7" fmla="*/ 0 h 28529"/>
                    <a:gd name="connsiteX8" fmla="*/ 5486 w 9875"/>
                    <a:gd name="connsiteY8" fmla="*/ 549 h 285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9875" h="28529">
                      <a:moveTo>
                        <a:pt x="5486" y="549"/>
                      </a:moveTo>
                      <a:lnTo>
                        <a:pt x="6035" y="549"/>
                      </a:lnTo>
                      <a:lnTo>
                        <a:pt x="9875" y="23043"/>
                      </a:lnTo>
                      <a:lnTo>
                        <a:pt x="6035" y="27981"/>
                      </a:lnTo>
                      <a:lnTo>
                        <a:pt x="2194" y="28529"/>
                      </a:lnTo>
                      <a:lnTo>
                        <a:pt x="0" y="9875"/>
                      </a:lnTo>
                      <a:lnTo>
                        <a:pt x="1646" y="2743"/>
                      </a:lnTo>
                      <a:lnTo>
                        <a:pt x="4938" y="0"/>
                      </a:lnTo>
                      <a:lnTo>
                        <a:pt x="5486" y="549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70" name="Graphic 7">
                  <a:extLst>
                    <a:ext uri="{FF2B5EF4-FFF2-40B4-BE49-F238E27FC236}">
                      <a16:creationId xmlns:a16="http://schemas.microsoft.com/office/drawing/2014/main" id="{9F355762-CD54-4F3B-653B-E4267CCFA5D9}"/>
                    </a:ext>
                  </a:extLst>
                </p:cNvPr>
                <p:cNvSpPr/>
                <p:nvPr/>
              </p:nvSpPr>
              <p:spPr>
                <a:xfrm>
                  <a:off x="8930114" y="4690824"/>
                  <a:ext cx="30004" cy="15002"/>
                </a:xfrm>
                <a:custGeom>
                  <a:avLst/>
                  <a:gdLst>
                    <a:gd name="connsiteX0" fmla="*/ 2743 w 38404"/>
                    <a:gd name="connsiteY0" fmla="*/ 18654 h 19202"/>
                    <a:gd name="connsiteX1" fmla="*/ 0 w 38404"/>
                    <a:gd name="connsiteY1" fmla="*/ 14813 h 19202"/>
                    <a:gd name="connsiteX2" fmla="*/ 2195 w 38404"/>
                    <a:gd name="connsiteY2" fmla="*/ 9327 h 19202"/>
                    <a:gd name="connsiteX3" fmla="*/ 4938 w 38404"/>
                    <a:gd name="connsiteY3" fmla="*/ 6035 h 19202"/>
                    <a:gd name="connsiteX4" fmla="*/ 16459 w 38404"/>
                    <a:gd name="connsiteY4" fmla="*/ 6584 h 19202"/>
                    <a:gd name="connsiteX5" fmla="*/ 29627 w 38404"/>
                    <a:gd name="connsiteY5" fmla="*/ 0 h 19202"/>
                    <a:gd name="connsiteX6" fmla="*/ 31821 w 38404"/>
                    <a:gd name="connsiteY6" fmla="*/ 2743 h 19202"/>
                    <a:gd name="connsiteX7" fmla="*/ 38405 w 38404"/>
                    <a:gd name="connsiteY7" fmla="*/ 7132 h 19202"/>
                    <a:gd name="connsiteX8" fmla="*/ 25786 w 38404"/>
                    <a:gd name="connsiteY8" fmla="*/ 16459 h 19202"/>
                    <a:gd name="connsiteX9" fmla="*/ 12070 w 38404"/>
                    <a:gd name="connsiteY9" fmla="*/ 16459 h 19202"/>
                    <a:gd name="connsiteX10" fmla="*/ 7681 w 38404"/>
                    <a:gd name="connsiteY10" fmla="*/ 19202 h 19202"/>
                    <a:gd name="connsiteX11" fmla="*/ 2743 w 38404"/>
                    <a:gd name="connsiteY11" fmla="*/ 18654 h 192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38404" h="19202">
                      <a:moveTo>
                        <a:pt x="2743" y="18654"/>
                      </a:moveTo>
                      <a:lnTo>
                        <a:pt x="0" y="14813"/>
                      </a:lnTo>
                      <a:lnTo>
                        <a:pt x="2195" y="9327"/>
                      </a:lnTo>
                      <a:lnTo>
                        <a:pt x="4938" y="6035"/>
                      </a:lnTo>
                      <a:lnTo>
                        <a:pt x="16459" y="6584"/>
                      </a:lnTo>
                      <a:lnTo>
                        <a:pt x="29627" y="0"/>
                      </a:lnTo>
                      <a:lnTo>
                        <a:pt x="31821" y="2743"/>
                      </a:lnTo>
                      <a:lnTo>
                        <a:pt x="38405" y="7132"/>
                      </a:lnTo>
                      <a:lnTo>
                        <a:pt x="25786" y="16459"/>
                      </a:lnTo>
                      <a:lnTo>
                        <a:pt x="12070" y="16459"/>
                      </a:lnTo>
                      <a:lnTo>
                        <a:pt x="7681" y="19202"/>
                      </a:lnTo>
                      <a:lnTo>
                        <a:pt x="2743" y="18654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71" name="Graphic 7">
                  <a:extLst>
                    <a:ext uri="{FF2B5EF4-FFF2-40B4-BE49-F238E27FC236}">
                      <a16:creationId xmlns:a16="http://schemas.microsoft.com/office/drawing/2014/main" id="{1BDA514A-EB4B-5702-1379-C7CF70892B95}"/>
                    </a:ext>
                  </a:extLst>
                </p:cNvPr>
                <p:cNvSpPr/>
                <p:nvPr/>
              </p:nvSpPr>
              <p:spPr>
                <a:xfrm>
                  <a:off x="8844386" y="4778266"/>
                  <a:ext cx="15002" cy="12859"/>
                </a:xfrm>
                <a:custGeom>
                  <a:avLst/>
                  <a:gdLst>
                    <a:gd name="connsiteX0" fmla="*/ 0 w 19202"/>
                    <a:gd name="connsiteY0" fmla="*/ 15362 h 16459"/>
                    <a:gd name="connsiteX1" fmla="*/ 0 w 19202"/>
                    <a:gd name="connsiteY1" fmla="*/ 10973 h 16459"/>
                    <a:gd name="connsiteX2" fmla="*/ 6584 w 19202"/>
                    <a:gd name="connsiteY2" fmla="*/ 9875 h 16459"/>
                    <a:gd name="connsiteX3" fmla="*/ 18654 w 19202"/>
                    <a:gd name="connsiteY3" fmla="*/ 0 h 16459"/>
                    <a:gd name="connsiteX4" fmla="*/ 19202 w 19202"/>
                    <a:gd name="connsiteY4" fmla="*/ 4389 h 16459"/>
                    <a:gd name="connsiteX5" fmla="*/ 17557 w 19202"/>
                    <a:gd name="connsiteY5" fmla="*/ 8230 h 16459"/>
                    <a:gd name="connsiteX6" fmla="*/ 7133 w 19202"/>
                    <a:gd name="connsiteY6" fmla="*/ 15910 h 16459"/>
                    <a:gd name="connsiteX7" fmla="*/ 2743 w 19202"/>
                    <a:gd name="connsiteY7" fmla="*/ 16459 h 16459"/>
                    <a:gd name="connsiteX8" fmla="*/ 0 w 19202"/>
                    <a:gd name="connsiteY8" fmla="*/ 15362 h 16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9202" h="16459">
                      <a:moveTo>
                        <a:pt x="0" y="15362"/>
                      </a:moveTo>
                      <a:lnTo>
                        <a:pt x="0" y="10973"/>
                      </a:lnTo>
                      <a:lnTo>
                        <a:pt x="6584" y="9875"/>
                      </a:lnTo>
                      <a:lnTo>
                        <a:pt x="18654" y="0"/>
                      </a:lnTo>
                      <a:lnTo>
                        <a:pt x="19202" y="4389"/>
                      </a:lnTo>
                      <a:lnTo>
                        <a:pt x="17557" y="8230"/>
                      </a:lnTo>
                      <a:lnTo>
                        <a:pt x="7133" y="15910"/>
                      </a:lnTo>
                      <a:lnTo>
                        <a:pt x="2743" y="16459"/>
                      </a:lnTo>
                      <a:lnTo>
                        <a:pt x="0" y="15362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72" name="Graphic 7">
                  <a:extLst>
                    <a:ext uri="{FF2B5EF4-FFF2-40B4-BE49-F238E27FC236}">
                      <a16:creationId xmlns:a16="http://schemas.microsoft.com/office/drawing/2014/main" id="{89075738-92A8-E75E-5C4B-C71322F60625}"/>
                    </a:ext>
                  </a:extLst>
                </p:cNvPr>
                <p:cNvSpPr/>
                <p:nvPr/>
              </p:nvSpPr>
              <p:spPr>
                <a:xfrm>
                  <a:off x="8890250" y="4709256"/>
                  <a:ext cx="18859" cy="8572"/>
                </a:xfrm>
                <a:custGeom>
                  <a:avLst/>
                  <a:gdLst>
                    <a:gd name="connsiteX0" fmla="*/ 549 w 24139"/>
                    <a:gd name="connsiteY0" fmla="*/ 1097 h 10972"/>
                    <a:gd name="connsiteX1" fmla="*/ 2195 w 24139"/>
                    <a:gd name="connsiteY1" fmla="*/ 549 h 10972"/>
                    <a:gd name="connsiteX2" fmla="*/ 7132 w 24139"/>
                    <a:gd name="connsiteY2" fmla="*/ 1097 h 10972"/>
                    <a:gd name="connsiteX3" fmla="*/ 20848 w 24139"/>
                    <a:gd name="connsiteY3" fmla="*/ 0 h 10972"/>
                    <a:gd name="connsiteX4" fmla="*/ 24140 w 24139"/>
                    <a:gd name="connsiteY4" fmla="*/ 3841 h 10972"/>
                    <a:gd name="connsiteX5" fmla="*/ 21397 w 24139"/>
                    <a:gd name="connsiteY5" fmla="*/ 8230 h 10972"/>
                    <a:gd name="connsiteX6" fmla="*/ 16459 w 24139"/>
                    <a:gd name="connsiteY6" fmla="*/ 9875 h 10972"/>
                    <a:gd name="connsiteX7" fmla="*/ 3841 w 24139"/>
                    <a:gd name="connsiteY7" fmla="*/ 10973 h 10972"/>
                    <a:gd name="connsiteX8" fmla="*/ 0 w 24139"/>
                    <a:gd name="connsiteY8" fmla="*/ 8778 h 10972"/>
                    <a:gd name="connsiteX9" fmla="*/ 2195 w 24139"/>
                    <a:gd name="connsiteY9" fmla="*/ 5486 h 10972"/>
                    <a:gd name="connsiteX10" fmla="*/ 549 w 24139"/>
                    <a:gd name="connsiteY10" fmla="*/ 1097 h 109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24139" h="10972">
                      <a:moveTo>
                        <a:pt x="549" y="1097"/>
                      </a:moveTo>
                      <a:lnTo>
                        <a:pt x="2195" y="549"/>
                      </a:lnTo>
                      <a:lnTo>
                        <a:pt x="7132" y="1097"/>
                      </a:lnTo>
                      <a:lnTo>
                        <a:pt x="20848" y="0"/>
                      </a:lnTo>
                      <a:lnTo>
                        <a:pt x="24140" y="3841"/>
                      </a:lnTo>
                      <a:lnTo>
                        <a:pt x="21397" y="8230"/>
                      </a:lnTo>
                      <a:lnTo>
                        <a:pt x="16459" y="9875"/>
                      </a:lnTo>
                      <a:lnTo>
                        <a:pt x="3841" y="10973"/>
                      </a:lnTo>
                      <a:lnTo>
                        <a:pt x="0" y="8778"/>
                      </a:lnTo>
                      <a:lnTo>
                        <a:pt x="2195" y="5486"/>
                      </a:lnTo>
                      <a:lnTo>
                        <a:pt x="549" y="1097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73" name="Graphic 7">
                  <a:extLst>
                    <a:ext uri="{FF2B5EF4-FFF2-40B4-BE49-F238E27FC236}">
                      <a16:creationId xmlns:a16="http://schemas.microsoft.com/office/drawing/2014/main" id="{8FAEA3EC-B71F-5492-E2D1-430DCF25DA6D}"/>
                    </a:ext>
                  </a:extLst>
                </p:cNvPr>
                <p:cNvSpPr/>
                <p:nvPr/>
              </p:nvSpPr>
              <p:spPr>
                <a:xfrm>
                  <a:off x="8876105" y="4711399"/>
                  <a:ext cx="8144" cy="9430"/>
                </a:xfrm>
                <a:custGeom>
                  <a:avLst/>
                  <a:gdLst>
                    <a:gd name="connsiteX0" fmla="*/ 1097 w 10424"/>
                    <a:gd name="connsiteY0" fmla="*/ 8230 h 12070"/>
                    <a:gd name="connsiteX1" fmla="*/ 0 w 10424"/>
                    <a:gd name="connsiteY1" fmla="*/ 4938 h 12070"/>
                    <a:gd name="connsiteX2" fmla="*/ 10424 w 10424"/>
                    <a:gd name="connsiteY2" fmla="*/ 0 h 12070"/>
                    <a:gd name="connsiteX3" fmla="*/ 10424 w 10424"/>
                    <a:gd name="connsiteY3" fmla="*/ 4938 h 12070"/>
                    <a:gd name="connsiteX4" fmla="*/ 6584 w 10424"/>
                    <a:gd name="connsiteY4" fmla="*/ 12070 h 12070"/>
                    <a:gd name="connsiteX5" fmla="*/ 4389 w 10424"/>
                    <a:gd name="connsiteY5" fmla="*/ 9327 h 12070"/>
                    <a:gd name="connsiteX6" fmla="*/ 1097 w 10424"/>
                    <a:gd name="connsiteY6" fmla="*/ 8230 h 120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424" h="12070">
                      <a:moveTo>
                        <a:pt x="1097" y="8230"/>
                      </a:moveTo>
                      <a:lnTo>
                        <a:pt x="0" y="4938"/>
                      </a:lnTo>
                      <a:lnTo>
                        <a:pt x="10424" y="0"/>
                      </a:lnTo>
                      <a:lnTo>
                        <a:pt x="10424" y="4938"/>
                      </a:lnTo>
                      <a:lnTo>
                        <a:pt x="6584" y="12070"/>
                      </a:lnTo>
                      <a:lnTo>
                        <a:pt x="4389" y="9327"/>
                      </a:lnTo>
                      <a:lnTo>
                        <a:pt x="1097" y="823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74" name="Graphic 7">
                  <a:extLst>
                    <a:ext uri="{FF2B5EF4-FFF2-40B4-BE49-F238E27FC236}">
                      <a16:creationId xmlns:a16="http://schemas.microsoft.com/office/drawing/2014/main" id="{658E8825-10A3-3538-CD2B-5700A9B27F7F}"/>
                    </a:ext>
                  </a:extLst>
                </p:cNvPr>
                <p:cNvSpPr/>
                <p:nvPr/>
              </p:nvSpPr>
              <p:spPr>
                <a:xfrm>
                  <a:off x="8857674" y="4709685"/>
                  <a:ext cx="13287" cy="12001"/>
                </a:xfrm>
                <a:custGeom>
                  <a:avLst/>
                  <a:gdLst>
                    <a:gd name="connsiteX0" fmla="*/ 0 w 17007"/>
                    <a:gd name="connsiteY0" fmla="*/ 13167 h 15361"/>
                    <a:gd name="connsiteX1" fmla="*/ 1646 w 17007"/>
                    <a:gd name="connsiteY1" fmla="*/ 4938 h 15361"/>
                    <a:gd name="connsiteX2" fmla="*/ 3841 w 17007"/>
                    <a:gd name="connsiteY2" fmla="*/ 1646 h 15361"/>
                    <a:gd name="connsiteX3" fmla="*/ 6035 w 17007"/>
                    <a:gd name="connsiteY3" fmla="*/ 4938 h 15361"/>
                    <a:gd name="connsiteX4" fmla="*/ 8230 w 17007"/>
                    <a:gd name="connsiteY4" fmla="*/ 6035 h 15361"/>
                    <a:gd name="connsiteX5" fmla="*/ 11521 w 17007"/>
                    <a:gd name="connsiteY5" fmla="*/ 549 h 15361"/>
                    <a:gd name="connsiteX6" fmla="*/ 14813 w 17007"/>
                    <a:gd name="connsiteY6" fmla="*/ 0 h 15361"/>
                    <a:gd name="connsiteX7" fmla="*/ 17008 w 17007"/>
                    <a:gd name="connsiteY7" fmla="*/ 3292 h 15361"/>
                    <a:gd name="connsiteX8" fmla="*/ 10424 w 17007"/>
                    <a:gd name="connsiteY8" fmla="*/ 12619 h 15361"/>
                    <a:gd name="connsiteX9" fmla="*/ 6584 w 17007"/>
                    <a:gd name="connsiteY9" fmla="*/ 15362 h 15361"/>
                    <a:gd name="connsiteX10" fmla="*/ 1646 w 17007"/>
                    <a:gd name="connsiteY10" fmla="*/ 14813 h 15361"/>
                    <a:gd name="connsiteX11" fmla="*/ 0 w 17007"/>
                    <a:gd name="connsiteY11" fmla="*/ 13167 h 153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7007" h="15361">
                      <a:moveTo>
                        <a:pt x="0" y="13167"/>
                      </a:moveTo>
                      <a:lnTo>
                        <a:pt x="1646" y="4938"/>
                      </a:lnTo>
                      <a:lnTo>
                        <a:pt x="3841" y="1646"/>
                      </a:lnTo>
                      <a:lnTo>
                        <a:pt x="6035" y="4938"/>
                      </a:lnTo>
                      <a:lnTo>
                        <a:pt x="8230" y="6035"/>
                      </a:lnTo>
                      <a:lnTo>
                        <a:pt x="11521" y="549"/>
                      </a:lnTo>
                      <a:lnTo>
                        <a:pt x="14813" y="0"/>
                      </a:lnTo>
                      <a:lnTo>
                        <a:pt x="17008" y="3292"/>
                      </a:lnTo>
                      <a:lnTo>
                        <a:pt x="10424" y="12619"/>
                      </a:lnTo>
                      <a:lnTo>
                        <a:pt x="6584" y="15362"/>
                      </a:lnTo>
                      <a:lnTo>
                        <a:pt x="1646" y="14813"/>
                      </a:lnTo>
                      <a:lnTo>
                        <a:pt x="0" y="13167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75" name="Graphic 7">
                  <a:extLst>
                    <a:ext uri="{FF2B5EF4-FFF2-40B4-BE49-F238E27FC236}">
                      <a16:creationId xmlns:a16="http://schemas.microsoft.com/office/drawing/2014/main" id="{7C1C414D-D32E-D983-BB03-ECC21CF972B3}"/>
                    </a:ext>
                  </a:extLst>
                </p:cNvPr>
                <p:cNvSpPr/>
                <p:nvPr/>
              </p:nvSpPr>
              <p:spPr>
                <a:xfrm>
                  <a:off x="8754799" y="4705827"/>
                  <a:ext cx="92587" cy="26575"/>
                </a:xfrm>
                <a:custGeom>
                  <a:avLst/>
                  <a:gdLst>
                    <a:gd name="connsiteX0" fmla="*/ 5486 w 118506"/>
                    <a:gd name="connsiteY0" fmla="*/ 14813 h 34015"/>
                    <a:gd name="connsiteX1" fmla="*/ 7681 w 118506"/>
                    <a:gd name="connsiteY1" fmla="*/ 14813 h 34015"/>
                    <a:gd name="connsiteX2" fmla="*/ 10973 w 118506"/>
                    <a:gd name="connsiteY2" fmla="*/ 12070 h 34015"/>
                    <a:gd name="connsiteX3" fmla="*/ 30175 w 118506"/>
                    <a:gd name="connsiteY3" fmla="*/ 6035 h 34015"/>
                    <a:gd name="connsiteX4" fmla="*/ 34016 w 118506"/>
                    <a:gd name="connsiteY4" fmla="*/ 9327 h 34015"/>
                    <a:gd name="connsiteX5" fmla="*/ 48280 w 118506"/>
                    <a:gd name="connsiteY5" fmla="*/ 10973 h 34015"/>
                    <a:gd name="connsiteX6" fmla="*/ 51572 w 118506"/>
                    <a:gd name="connsiteY6" fmla="*/ 15362 h 34015"/>
                    <a:gd name="connsiteX7" fmla="*/ 61448 w 118506"/>
                    <a:gd name="connsiteY7" fmla="*/ 19751 h 34015"/>
                    <a:gd name="connsiteX8" fmla="*/ 66385 w 118506"/>
                    <a:gd name="connsiteY8" fmla="*/ 17557 h 34015"/>
                    <a:gd name="connsiteX9" fmla="*/ 82296 w 118506"/>
                    <a:gd name="connsiteY9" fmla="*/ 14265 h 34015"/>
                    <a:gd name="connsiteX10" fmla="*/ 84490 w 118506"/>
                    <a:gd name="connsiteY10" fmla="*/ 17557 h 34015"/>
                    <a:gd name="connsiteX11" fmla="*/ 96561 w 118506"/>
                    <a:gd name="connsiteY11" fmla="*/ 20848 h 34015"/>
                    <a:gd name="connsiteX12" fmla="*/ 100401 w 118506"/>
                    <a:gd name="connsiteY12" fmla="*/ 18654 h 34015"/>
                    <a:gd name="connsiteX13" fmla="*/ 104242 w 118506"/>
                    <a:gd name="connsiteY13" fmla="*/ 13716 h 34015"/>
                    <a:gd name="connsiteX14" fmla="*/ 106985 w 118506"/>
                    <a:gd name="connsiteY14" fmla="*/ 12070 h 34015"/>
                    <a:gd name="connsiteX15" fmla="*/ 110825 w 118506"/>
                    <a:gd name="connsiteY15" fmla="*/ 10973 h 34015"/>
                    <a:gd name="connsiteX16" fmla="*/ 114666 w 118506"/>
                    <a:gd name="connsiteY16" fmla="*/ 7681 h 34015"/>
                    <a:gd name="connsiteX17" fmla="*/ 114666 w 118506"/>
                    <a:gd name="connsiteY17" fmla="*/ 9327 h 34015"/>
                    <a:gd name="connsiteX18" fmla="*/ 113020 w 118506"/>
                    <a:gd name="connsiteY18" fmla="*/ 5486 h 34015"/>
                    <a:gd name="connsiteX19" fmla="*/ 113020 w 118506"/>
                    <a:gd name="connsiteY19" fmla="*/ 0 h 34015"/>
                    <a:gd name="connsiteX20" fmla="*/ 116860 w 118506"/>
                    <a:gd name="connsiteY20" fmla="*/ 2743 h 34015"/>
                    <a:gd name="connsiteX21" fmla="*/ 118506 w 118506"/>
                    <a:gd name="connsiteY21" fmla="*/ 10424 h 34015"/>
                    <a:gd name="connsiteX22" fmla="*/ 109728 w 118506"/>
                    <a:gd name="connsiteY22" fmla="*/ 20848 h 34015"/>
                    <a:gd name="connsiteX23" fmla="*/ 96561 w 118506"/>
                    <a:gd name="connsiteY23" fmla="*/ 26335 h 34015"/>
                    <a:gd name="connsiteX24" fmla="*/ 88880 w 118506"/>
                    <a:gd name="connsiteY24" fmla="*/ 26335 h 34015"/>
                    <a:gd name="connsiteX25" fmla="*/ 79553 w 118506"/>
                    <a:gd name="connsiteY25" fmla="*/ 30175 h 34015"/>
                    <a:gd name="connsiteX26" fmla="*/ 62545 w 118506"/>
                    <a:gd name="connsiteY26" fmla="*/ 29078 h 34015"/>
                    <a:gd name="connsiteX27" fmla="*/ 47732 w 118506"/>
                    <a:gd name="connsiteY27" fmla="*/ 34016 h 34015"/>
                    <a:gd name="connsiteX28" fmla="*/ 27981 w 118506"/>
                    <a:gd name="connsiteY28" fmla="*/ 27981 h 34015"/>
                    <a:gd name="connsiteX29" fmla="*/ 2194 w 118506"/>
                    <a:gd name="connsiteY29" fmla="*/ 28529 h 34015"/>
                    <a:gd name="connsiteX30" fmla="*/ 549 w 118506"/>
                    <a:gd name="connsiteY30" fmla="*/ 26335 h 34015"/>
                    <a:gd name="connsiteX31" fmla="*/ 0 w 118506"/>
                    <a:gd name="connsiteY31" fmla="*/ 20848 h 34015"/>
                    <a:gd name="connsiteX32" fmla="*/ 549 w 118506"/>
                    <a:gd name="connsiteY32" fmla="*/ 16459 h 34015"/>
                    <a:gd name="connsiteX33" fmla="*/ 5486 w 118506"/>
                    <a:gd name="connsiteY33" fmla="*/ 14813 h 340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</a:cxnLst>
                  <a:rect l="l" t="t" r="r" b="b"/>
                  <a:pathLst>
                    <a:path w="118506" h="34015">
                      <a:moveTo>
                        <a:pt x="5486" y="14813"/>
                      </a:moveTo>
                      <a:lnTo>
                        <a:pt x="7681" y="14813"/>
                      </a:lnTo>
                      <a:lnTo>
                        <a:pt x="10973" y="12070"/>
                      </a:lnTo>
                      <a:lnTo>
                        <a:pt x="30175" y="6035"/>
                      </a:lnTo>
                      <a:lnTo>
                        <a:pt x="34016" y="9327"/>
                      </a:lnTo>
                      <a:lnTo>
                        <a:pt x="48280" y="10973"/>
                      </a:lnTo>
                      <a:lnTo>
                        <a:pt x="51572" y="15362"/>
                      </a:lnTo>
                      <a:lnTo>
                        <a:pt x="61448" y="19751"/>
                      </a:lnTo>
                      <a:lnTo>
                        <a:pt x="66385" y="17557"/>
                      </a:lnTo>
                      <a:lnTo>
                        <a:pt x="82296" y="14265"/>
                      </a:lnTo>
                      <a:lnTo>
                        <a:pt x="84490" y="17557"/>
                      </a:lnTo>
                      <a:lnTo>
                        <a:pt x="96561" y="20848"/>
                      </a:lnTo>
                      <a:lnTo>
                        <a:pt x="100401" y="18654"/>
                      </a:lnTo>
                      <a:lnTo>
                        <a:pt x="104242" y="13716"/>
                      </a:lnTo>
                      <a:lnTo>
                        <a:pt x="106985" y="12070"/>
                      </a:lnTo>
                      <a:lnTo>
                        <a:pt x="110825" y="10973"/>
                      </a:lnTo>
                      <a:lnTo>
                        <a:pt x="114666" y="7681"/>
                      </a:lnTo>
                      <a:lnTo>
                        <a:pt x="114666" y="9327"/>
                      </a:lnTo>
                      <a:lnTo>
                        <a:pt x="113020" y="5486"/>
                      </a:lnTo>
                      <a:lnTo>
                        <a:pt x="113020" y="0"/>
                      </a:lnTo>
                      <a:lnTo>
                        <a:pt x="116860" y="2743"/>
                      </a:lnTo>
                      <a:lnTo>
                        <a:pt x="118506" y="10424"/>
                      </a:lnTo>
                      <a:lnTo>
                        <a:pt x="109728" y="20848"/>
                      </a:lnTo>
                      <a:lnTo>
                        <a:pt x="96561" y="26335"/>
                      </a:lnTo>
                      <a:lnTo>
                        <a:pt x="88880" y="26335"/>
                      </a:lnTo>
                      <a:lnTo>
                        <a:pt x="79553" y="30175"/>
                      </a:lnTo>
                      <a:lnTo>
                        <a:pt x="62545" y="29078"/>
                      </a:lnTo>
                      <a:lnTo>
                        <a:pt x="47732" y="34016"/>
                      </a:lnTo>
                      <a:lnTo>
                        <a:pt x="27981" y="27981"/>
                      </a:lnTo>
                      <a:lnTo>
                        <a:pt x="2194" y="28529"/>
                      </a:lnTo>
                      <a:lnTo>
                        <a:pt x="549" y="26335"/>
                      </a:lnTo>
                      <a:lnTo>
                        <a:pt x="0" y="20848"/>
                      </a:lnTo>
                      <a:lnTo>
                        <a:pt x="549" y="16459"/>
                      </a:lnTo>
                      <a:lnTo>
                        <a:pt x="5486" y="14813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76" name="Graphic 7">
                  <a:extLst>
                    <a:ext uri="{FF2B5EF4-FFF2-40B4-BE49-F238E27FC236}">
                      <a16:creationId xmlns:a16="http://schemas.microsoft.com/office/drawing/2014/main" id="{627CA9EE-F095-C069-3C37-0B8FE3DB0134}"/>
                    </a:ext>
                  </a:extLst>
                </p:cNvPr>
                <p:cNvSpPr/>
                <p:nvPr/>
              </p:nvSpPr>
              <p:spPr>
                <a:xfrm>
                  <a:off x="8732510" y="4742260"/>
                  <a:ext cx="51436" cy="30004"/>
                </a:xfrm>
                <a:custGeom>
                  <a:avLst/>
                  <a:gdLst>
                    <a:gd name="connsiteX0" fmla="*/ 34016 w 65836"/>
                    <a:gd name="connsiteY0" fmla="*/ 0 h 38404"/>
                    <a:gd name="connsiteX1" fmla="*/ 38953 w 65836"/>
                    <a:gd name="connsiteY1" fmla="*/ 6584 h 38404"/>
                    <a:gd name="connsiteX2" fmla="*/ 42794 w 65836"/>
                    <a:gd name="connsiteY2" fmla="*/ 6584 h 38404"/>
                    <a:gd name="connsiteX3" fmla="*/ 44989 w 65836"/>
                    <a:gd name="connsiteY3" fmla="*/ 9327 h 38404"/>
                    <a:gd name="connsiteX4" fmla="*/ 56510 w 65836"/>
                    <a:gd name="connsiteY4" fmla="*/ 16459 h 38404"/>
                    <a:gd name="connsiteX5" fmla="*/ 63642 w 65836"/>
                    <a:gd name="connsiteY5" fmla="*/ 24689 h 38404"/>
                    <a:gd name="connsiteX6" fmla="*/ 65837 w 65836"/>
                    <a:gd name="connsiteY6" fmla="*/ 31821 h 38404"/>
                    <a:gd name="connsiteX7" fmla="*/ 61996 w 65836"/>
                    <a:gd name="connsiteY7" fmla="*/ 35662 h 38404"/>
                    <a:gd name="connsiteX8" fmla="*/ 54864 w 65836"/>
                    <a:gd name="connsiteY8" fmla="*/ 38405 h 38404"/>
                    <a:gd name="connsiteX9" fmla="*/ 46086 w 65836"/>
                    <a:gd name="connsiteY9" fmla="*/ 37856 h 38404"/>
                    <a:gd name="connsiteX10" fmla="*/ 38953 w 65836"/>
                    <a:gd name="connsiteY10" fmla="*/ 29627 h 38404"/>
                    <a:gd name="connsiteX11" fmla="*/ 21946 w 65836"/>
                    <a:gd name="connsiteY11" fmla="*/ 18654 h 38404"/>
                    <a:gd name="connsiteX12" fmla="*/ 5486 w 65836"/>
                    <a:gd name="connsiteY12" fmla="*/ 18105 h 38404"/>
                    <a:gd name="connsiteX13" fmla="*/ 0 w 65836"/>
                    <a:gd name="connsiteY13" fmla="*/ 12070 h 38404"/>
                    <a:gd name="connsiteX14" fmla="*/ 0 w 65836"/>
                    <a:gd name="connsiteY14" fmla="*/ 6584 h 38404"/>
                    <a:gd name="connsiteX15" fmla="*/ 10424 w 65836"/>
                    <a:gd name="connsiteY15" fmla="*/ 3292 h 38404"/>
                    <a:gd name="connsiteX16" fmla="*/ 30175 w 65836"/>
                    <a:gd name="connsiteY16" fmla="*/ 2743 h 38404"/>
                    <a:gd name="connsiteX17" fmla="*/ 34016 w 65836"/>
                    <a:gd name="connsiteY17" fmla="*/ 0 h 384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65836" h="38404">
                      <a:moveTo>
                        <a:pt x="34016" y="0"/>
                      </a:moveTo>
                      <a:lnTo>
                        <a:pt x="38953" y="6584"/>
                      </a:lnTo>
                      <a:lnTo>
                        <a:pt x="42794" y="6584"/>
                      </a:lnTo>
                      <a:lnTo>
                        <a:pt x="44989" y="9327"/>
                      </a:lnTo>
                      <a:lnTo>
                        <a:pt x="56510" y="16459"/>
                      </a:lnTo>
                      <a:lnTo>
                        <a:pt x="63642" y="24689"/>
                      </a:lnTo>
                      <a:lnTo>
                        <a:pt x="65837" y="31821"/>
                      </a:lnTo>
                      <a:lnTo>
                        <a:pt x="61996" y="35662"/>
                      </a:lnTo>
                      <a:lnTo>
                        <a:pt x="54864" y="38405"/>
                      </a:lnTo>
                      <a:lnTo>
                        <a:pt x="46086" y="37856"/>
                      </a:lnTo>
                      <a:lnTo>
                        <a:pt x="38953" y="29627"/>
                      </a:lnTo>
                      <a:lnTo>
                        <a:pt x="21946" y="18654"/>
                      </a:lnTo>
                      <a:lnTo>
                        <a:pt x="5486" y="18105"/>
                      </a:lnTo>
                      <a:lnTo>
                        <a:pt x="0" y="12070"/>
                      </a:lnTo>
                      <a:lnTo>
                        <a:pt x="0" y="6584"/>
                      </a:lnTo>
                      <a:lnTo>
                        <a:pt x="10424" y="3292"/>
                      </a:lnTo>
                      <a:lnTo>
                        <a:pt x="30175" y="2743"/>
                      </a:lnTo>
                      <a:lnTo>
                        <a:pt x="34016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77" name="Graphic 7">
                  <a:extLst>
                    <a:ext uri="{FF2B5EF4-FFF2-40B4-BE49-F238E27FC236}">
                      <a16:creationId xmlns:a16="http://schemas.microsoft.com/office/drawing/2014/main" id="{F1FB8A0A-4046-A1C7-42CE-E1C486DB09ED}"/>
                    </a:ext>
                  </a:extLst>
                </p:cNvPr>
                <p:cNvSpPr/>
                <p:nvPr/>
              </p:nvSpPr>
              <p:spPr>
                <a:xfrm>
                  <a:off x="8666071" y="4706683"/>
                  <a:ext cx="69868" cy="29575"/>
                </a:xfrm>
                <a:custGeom>
                  <a:avLst/>
                  <a:gdLst>
                    <a:gd name="connsiteX0" fmla="*/ 10424 w 89428"/>
                    <a:gd name="connsiteY0" fmla="*/ 12619 h 37855"/>
                    <a:gd name="connsiteX1" fmla="*/ 17008 w 89428"/>
                    <a:gd name="connsiteY1" fmla="*/ 10424 h 37855"/>
                    <a:gd name="connsiteX2" fmla="*/ 30175 w 89428"/>
                    <a:gd name="connsiteY2" fmla="*/ 13167 h 37855"/>
                    <a:gd name="connsiteX3" fmla="*/ 38405 w 89428"/>
                    <a:gd name="connsiteY3" fmla="*/ 21397 h 37855"/>
                    <a:gd name="connsiteX4" fmla="*/ 41148 w 89428"/>
                    <a:gd name="connsiteY4" fmla="*/ 23043 h 37855"/>
                    <a:gd name="connsiteX5" fmla="*/ 44989 w 89428"/>
                    <a:gd name="connsiteY5" fmla="*/ 23043 h 37855"/>
                    <a:gd name="connsiteX6" fmla="*/ 53218 w 89428"/>
                    <a:gd name="connsiteY6" fmla="*/ 19751 h 37855"/>
                    <a:gd name="connsiteX7" fmla="*/ 52121 w 89428"/>
                    <a:gd name="connsiteY7" fmla="*/ 17008 h 37855"/>
                    <a:gd name="connsiteX8" fmla="*/ 40051 w 89428"/>
                    <a:gd name="connsiteY8" fmla="*/ 8778 h 37855"/>
                    <a:gd name="connsiteX9" fmla="*/ 38405 w 89428"/>
                    <a:gd name="connsiteY9" fmla="*/ 2743 h 37855"/>
                    <a:gd name="connsiteX10" fmla="*/ 43343 w 89428"/>
                    <a:gd name="connsiteY10" fmla="*/ 0 h 37855"/>
                    <a:gd name="connsiteX11" fmla="*/ 49378 w 89428"/>
                    <a:gd name="connsiteY11" fmla="*/ 3841 h 37855"/>
                    <a:gd name="connsiteX12" fmla="*/ 54315 w 89428"/>
                    <a:gd name="connsiteY12" fmla="*/ 9327 h 37855"/>
                    <a:gd name="connsiteX13" fmla="*/ 65837 w 89428"/>
                    <a:gd name="connsiteY13" fmla="*/ 7132 h 37855"/>
                    <a:gd name="connsiteX14" fmla="*/ 70226 w 89428"/>
                    <a:gd name="connsiteY14" fmla="*/ 10424 h 37855"/>
                    <a:gd name="connsiteX15" fmla="*/ 70775 w 89428"/>
                    <a:gd name="connsiteY15" fmla="*/ 15910 h 37855"/>
                    <a:gd name="connsiteX16" fmla="*/ 78455 w 89428"/>
                    <a:gd name="connsiteY16" fmla="*/ 7132 h 37855"/>
                    <a:gd name="connsiteX17" fmla="*/ 85588 w 89428"/>
                    <a:gd name="connsiteY17" fmla="*/ 15910 h 37855"/>
                    <a:gd name="connsiteX18" fmla="*/ 86137 w 89428"/>
                    <a:gd name="connsiteY18" fmla="*/ 20848 h 37855"/>
                    <a:gd name="connsiteX19" fmla="*/ 89428 w 89428"/>
                    <a:gd name="connsiteY19" fmla="*/ 23043 h 37855"/>
                    <a:gd name="connsiteX20" fmla="*/ 85039 w 89428"/>
                    <a:gd name="connsiteY20" fmla="*/ 24140 h 37855"/>
                    <a:gd name="connsiteX21" fmla="*/ 79004 w 89428"/>
                    <a:gd name="connsiteY21" fmla="*/ 22494 h 37855"/>
                    <a:gd name="connsiteX22" fmla="*/ 78455 w 89428"/>
                    <a:gd name="connsiteY22" fmla="*/ 24140 h 37855"/>
                    <a:gd name="connsiteX23" fmla="*/ 78455 w 89428"/>
                    <a:gd name="connsiteY23" fmla="*/ 26883 h 37855"/>
                    <a:gd name="connsiteX24" fmla="*/ 69677 w 89428"/>
                    <a:gd name="connsiteY24" fmla="*/ 28529 h 37855"/>
                    <a:gd name="connsiteX25" fmla="*/ 63094 w 89428"/>
                    <a:gd name="connsiteY25" fmla="*/ 26335 h 37855"/>
                    <a:gd name="connsiteX26" fmla="*/ 61996 w 89428"/>
                    <a:gd name="connsiteY26" fmla="*/ 23043 h 37855"/>
                    <a:gd name="connsiteX27" fmla="*/ 17008 w 89428"/>
                    <a:gd name="connsiteY27" fmla="*/ 37856 h 37855"/>
                    <a:gd name="connsiteX28" fmla="*/ 8778 w 89428"/>
                    <a:gd name="connsiteY28" fmla="*/ 37307 h 37855"/>
                    <a:gd name="connsiteX29" fmla="*/ 2743 w 89428"/>
                    <a:gd name="connsiteY29" fmla="*/ 35113 h 37855"/>
                    <a:gd name="connsiteX30" fmla="*/ 1097 w 89428"/>
                    <a:gd name="connsiteY30" fmla="*/ 30724 h 37855"/>
                    <a:gd name="connsiteX31" fmla="*/ 0 w 89428"/>
                    <a:gd name="connsiteY31" fmla="*/ 20848 h 37855"/>
                    <a:gd name="connsiteX32" fmla="*/ 8778 w 89428"/>
                    <a:gd name="connsiteY32" fmla="*/ 15362 h 37855"/>
                    <a:gd name="connsiteX33" fmla="*/ 10424 w 89428"/>
                    <a:gd name="connsiteY33" fmla="*/ 12619 h 378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</a:cxnLst>
                  <a:rect l="l" t="t" r="r" b="b"/>
                  <a:pathLst>
                    <a:path w="89428" h="37855">
                      <a:moveTo>
                        <a:pt x="10424" y="12619"/>
                      </a:moveTo>
                      <a:lnTo>
                        <a:pt x="17008" y="10424"/>
                      </a:lnTo>
                      <a:lnTo>
                        <a:pt x="30175" y="13167"/>
                      </a:lnTo>
                      <a:lnTo>
                        <a:pt x="38405" y="21397"/>
                      </a:lnTo>
                      <a:lnTo>
                        <a:pt x="41148" y="23043"/>
                      </a:lnTo>
                      <a:lnTo>
                        <a:pt x="44989" y="23043"/>
                      </a:lnTo>
                      <a:lnTo>
                        <a:pt x="53218" y="19751"/>
                      </a:lnTo>
                      <a:lnTo>
                        <a:pt x="52121" y="17008"/>
                      </a:lnTo>
                      <a:lnTo>
                        <a:pt x="40051" y="8778"/>
                      </a:lnTo>
                      <a:lnTo>
                        <a:pt x="38405" y="2743"/>
                      </a:lnTo>
                      <a:lnTo>
                        <a:pt x="43343" y="0"/>
                      </a:lnTo>
                      <a:lnTo>
                        <a:pt x="49378" y="3841"/>
                      </a:lnTo>
                      <a:lnTo>
                        <a:pt x="54315" y="9327"/>
                      </a:lnTo>
                      <a:lnTo>
                        <a:pt x="65837" y="7132"/>
                      </a:lnTo>
                      <a:lnTo>
                        <a:pt x="70226" y="10424"/>
                      </a:lnTo>
                      <a:lnTo>
                        <a:pt x="70775" y="15910"/>
                      </a:lnTo>
                      <a:lnTo>
                        <a:pt x="78455" y="7132"/>
                      </a:lnTo>
                      <a:lnTo>
                        <a:pt x="85588" y="15910"/>
                      </a:lnTo>
                      <a:lnTo>
                        <a:pt x="86137" y="20848"/>
                      </a:lnTo>
                      <a:lnTo>
                        <a:pt x="89428" y="23043"/>
                      </a:lnTo>
                      <a:lnTo>
                        <a:pt x="85039" y="24140"/>
                      </a:lnTo>
                      <a:lnTo>
                        <a:pt x="79004" y="22494"/>
                      </a:lnTo>
                      <a:lnTo>
                        <a:pt x="78455" y="24140"/>
                      </a:lnTo>
                      <a:lnTo>
                        <a:pt x="78455" y="26883"/>
                      </a:lnTo>
                      <a:lnTo>
                        <a:pt x="69677" y="28529"/>
                      </a:lnTo>
                      <a:lnTo>
                        <a:pt x="63094" y="26335"/>
                      </a:lnTo>
                      <a:lnTo>
                        <a:pt x="61996" y="23043"/>
                      </a:lnTo>
                      <a:lnTo>
                        <a:pt x="17008" y="37856"/>
                      </a:lnTo>
                      <a:lnTo>
                        <a:pt x="8778" y="37307"/>
                      </a:lnTo>
                      <a:lnTo>
                        <a:pt x="2743" y="35113"/>
                      </a:lnTo>
                      <a:lnTo>
                        <a:pt x="1097" y="30724"/>
                      </a:lnTo>
                      <a:lnTo>
                        <a:pt x="0" y="20848"/>
                      </a:lnTo>
                      <a:lnTo>
                        <a:pt x="8778" y="15362"/>
                      </a:lnTo>
                      <a:lnTo>
                        <a:pt x="10424" y="12619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78" name="Graphic 7">
                  <a:extLst>
                    <a:ext uri="{FF2B5EF4-FFF2-40B4-BE49-F238E27FC236}">
                      <a16:creationId xmlns:a16="http://schemas.microsoft.com/office/drawing/2014/main" id="{EB642BFD-7987-B2AE-2E81-EE80FA3C6566}"/>
                    </a:ext>
                  </a:extLst>
                </p:cNvPr>
                <p:cNvSpPr/>
                <p:nvPr/>
              </p:nvSpPr>
              <p:spPr>
                <a:xfrm>
                  <a:off x="8640352" y="4710542"/>
                  <a:ext cx="23146" cy="21432"/>
                </a:xfrm>
                <a:custGeom>
                  <a:avLst/>
                  <a:gdLst>
                    <a:gd name="connsiteX0" fmla="*/ 5486 w 29626"/>
                    <a:gd name="connsiteY0" fmla="*/ 9327 h 27432"/>
                    <a:gd name="connsiteX1" fmla="*/ 15911 w 29626"/>
                    <a:gd name="connsiteY1" fmla="*/ 549 h 27432"/>
                    <a:gd name="connsiteX2" fmla="*/ 23043 w 29626"/>
                    <a:gd name="connsiteY2" fmla="*/ 0 h 27432"/>
                    <a:gd name="connsiteX3" fmla="*/ 29078 w 29626"/>
                    <a:gd name="connsiteY3" fmla="*/ 3841 h 27432"/>
                    <a:gd name="connsiteX4" fmla="*/ 29627 w 29626"/>
                    <a:gd name="connsiteY4" fmla="*/ 12070 h 27432"/>
                    <a:gd name="connsiteX5" fmla="*/ 26883 w 29626"/>
                    <a:gd name="connsiteY5" fmla="*/ 19202 h 27432"/>
                    <a:gd name="connsiteX6" fmla="*/ 26335 w 29626"/>
                    <a:gd name="connsiteY6" fmla="*/ 26335 h 27432"/>
                    <a:gd name="connsiteX7" fmla="*/ 21946 w 29626"/>
                    <a:gd name="connsiteY7" fmla="*/ 27432 h 27432"/>
                    <a:gd name="connsiteX8" fmla="*/ 5486 w 29626"/>
                    <a:gd name="connsiteY8" fmla="*/ 27432 h 27432"/>
                    <a:gd name="connsiteX9" fmla="*/ 0 w 29626"/>
                    <a:gd name="connsiteY9" fmla="*/ 25238 h 27432"/>
                    <a:gd name="connsiteX10" fmla="*/ 0 w 29626"/>
                    <a:gd name="connsiteY10" fmla="*/ 20300 h 27432"/>
                    <a:gd name="connsiteX11" fmla="*/ 4389 w 29626"/>
                    <a:gd name="connsiteY11" fmla="*/ 18105 h 27432"/>
                    <a:gd name="connsiteX12" fmla="*/ 5486 w 29626"/>
                    <a:gd name="connsiteY12" fmla="*/ 9327 h 274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29626" h="27432">
                      <a:moveTo>
                        <a:pt x="5486" y="9327"/>
                      </a:moveTo>
                      <a:lnTo>
                        <a:pt x="15911" y="549"/>
                      </a:lnTo>
                      <a:lnTo>
                        <a:pt x="23043" y="0"/>
                      </a:lnTo>
                      <a:lnTo>
                        <a:pt x="29078" y="3841"/>
                      </a:lnTo>
                      <a:lnTo>
                        <a:pt x="29627" y="12070"/>
                      </a:lnTo>
                      <a:lnTo>
                        <a:pt x="26883" y="19202"/>
                      </a:lnTo>
                      <a:lnTo>
                        <a:pt x="26335" y="26335"/>
                      </a:lnTo>
                      <a:lnTo>
                        <a:pt x="21946" y="27432"/>
                      </a:lnTo>
                      <a:lnTo>
                        <a:pt x="5486" y="27432"/>
                      </a:lnTo>
                      <a:lnTo>
                        <a:pt x="0" y="25238"/>
                      </a:lnTo>
                      <a:lnTo>
                        <a:pt x="0" y="20300"/>
                      </a:lnTo>
                      <a:lnTo>
                        <a:pt x="4389" y="18105"/>
                      </a:lnTo>
                      <a:lnTo>
                        <a:pt x="5486" y="9327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79" name="Graphic 7">
                  <a:extLst>
                    <a:ext uri="{FF2B5EF4-FFF2-40B4-BE49-F238E27FC236}">
                      <a16:creationId xmlns:a16="http://schemas.microsoft.com/office/drawing/2014/main" id="{92ED6C32-A911-F8F1-FF32-DD7CFAC93EEC}"/>
                    </a:ext>
                  </a:extLst>
                </p:cNvPr>
                <p:cNvSpPr/>
                <p:nvPr/>
              </p:nvSpPr>
              <p:spPr>
                <a:xfrm>
                  <a:off x="8599631" y="4705827"/>
                  <a:ext cx="32576" cy="22717"/>
                </a:xfrm>
                <a:custGeom>
                  <a:avLst/>
                  <a:gdLst>
                    <a:gd name="connsiteX0" fmla="*/ 18105 w 41696"/>
                    <a:gd name="connsiteY0" fmla="*/ 1646 h 29077"/>
                    <a:gd name="connsiteX1" fmla="*/ 19751 w 41696"/>
                    <a:gd name="connsiteY1" fmla="*/ 1646 h 29077"/>
                    <a:gd name="connsiteX2" fmla="*/ 24689 w 41696"/>
                    <a:gd name="connsiteY2" fmla="*/ 0 h 29077"/>
                    <a:gd name="connsiteX3" fmla="*/ 31273 w 41696"/>
                    <a:gd name="connsiteY3" fmla="*/ 1097 h 29077"/>
                    <a:gd name="connsiteX4" fmla="*/ 37856 w 41696"/>
                    <a:gd name="connsiteY4" fmla="*/ 4938 h 29077"/>
                    <a:gd name="connsiteX5" fmla="*/ 41697 w 41696"/>
                    <a:gd name="connsiteY5" fmla="*/ 9875 h 29077"/>
                    <a:gd name="connsiteX6" fmla="*/ 41697 w 41696"/>
                    <a:gd name="connsiteY6" fmla="*/ 14813 h 29077"/>
                    <a:gd name="connsiteX7" fmla="*/ 30724 w 41696"/>
                    <a:gd name="connsiteY7" fmla="*/ 21946 h 29077"/>
                    <a:gd name="connsiteX8" fmla="*/ 26335 w 41696"/>
                    <a:gd name="connsiteY8" fmla="*/ 29078 h 29077"/>
                    <a:gd name="connsiteX9" fmla="*/ 25237 w 41696"/>
                    <a:gd name="connsiteY9" fmla="*/ 25237 h 29077"/>
                    <a:gd name="connsiteX10" fmla="*/ 20300 w 41696"/>
                    <a:gd name="connsiteY10" fmla="*/ 18105 h 29077"/>
                    <a:gd name="connsiteX11" fmla="*/ 14813 w 41696"/>
                    <a:gd name="connsiteY11" fmla="*/ 13716 h 29077"/>
                    <a:gd name="connsiteX12" fmla="*/ 3841 w 41696"/>
                    <a:gd name="connsiteY12" fmla="*/ 12070 h 29077"/>
                    <a:gd name="connsiteX13" fmla="*/ 549 w 41696"/>
                    <a:gd name="connsiteY13" fmla="*/ 9875 h 29077"/>
                    <a:gd name="connsiteX14" fmla="*/ 0 w 41696"/>
                    <a:gd name="connsiteY14" fmla="*/ 2743 h 29077"/>
                    <a:gd name="connsiteX15" fmla="*/ 1646 w 41696"/>
                    <a:gd name="connsiteY15" fmla="*/ 0 h 29077"/>
                    <a:gd name="connsiteX16" fmla="*/ 18105 w 41696"/>
                    <a:gd name="connsiteY16" fmla="*/ 1646 h 290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41696" h="29077">
                      <a:moveTo>
                        <a:pt x="18105" y="1646"/>
                      </a:moveTo>
                      <a:lnTo>
                        <a:pt x="19751" y="1646"/>
                      </a:lnTo>
                      <a:lnTo>
                        <a:pt x="24689" y="0"/>
                      </a:lnTo>
                      <a:lnTo>
                        <a:pt x="31273" y="1097"/>
                      </a:lnTo>
                      <a:lnTo>
                        <a:pt x="37856" y="4938"/>
                      </a:lnTo>
                      <a:lnTo>
                        <a:pt x="41697" y="9875"/>
                      </a:lnTo>
                      <a:lnTo>
                        <a:pt x="41697" y="14813"/>
                      </a:lnTo>
                      <a:lnTo>
                        <a:pt x="30724" y="21946"/>
                      </a:lnTo>
                      <a:lnTo>
                        <a:pt x="26335" y="29078"/>
                      </a:lnTo>
                      <a:lnTo>
                        <a:pt x="25237" y="25237"/>
                      </a:lnTo>
                      <a:lnTo>
                        <a:pt x="20300" y="18105"/>
                      </a:lnTo>
                      <a:lnTo>
                        <a:pt x="14813" y="13716"/>
                      </a:lnTo>
                      <a:lnTo>
                        <a:pt x="3841" y="12070"/>
                      </a:lnTo>
                      <a:lnTo>
                        <a:pt x="549" y="9875"/>
                      </a:lnTo>
                      <a:lnTo>
                        <a:pt x="0" y="2743"/>
                      </a:lnTo>
                      <a:lnTo>
                        <a:pt x="1646" y="0"/>
                      </a:lnTo>
                      <a:lnTo>
                        <a:pt x="18105" y="1646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80" name="Graphic 7">
                  <a:extLst>
                    <a:ext uri="{FF2B5EF4-FFF2-40B4-BE49-F238E27FC236}">
                      <a16:creationId xmlns:a16="http://schemas.microsoft.com/office/drawing/2014/main" id="{CA6F871F-3A64-C24E-65D3-C2F809E4E60B}"/>
                    </a:ext>
                  </a:extLst>
                </p:cNvPr>
                <p:cNvSpPr/>
                <p:nvPr/>
              </p:nvSpPr>
              <p:spPr>
                <a:xfrm>
                  <a:off x="8547765" y="4670677"/>
                  <a:ext cx="37291" cy="10716"/>
                </a:xfrm>
                <a:custGeom>
                  <a:avLst/>
                  <a:gdLst>
                    <a:gd name="connsiteX0" fmla="*/ 0 w 47731"/>
                    <a:gd name="connsiteY0" fmla="*/ 2743 h 13716"/>
                    <a:gd name="connsiteX1" fmla="*/ 2743 w 47731"/>
                    <a:gd name="connsiteY1" fmla="*/ 3292 h 13716"/>
                    <a:gd name="connsiteX2" fmla="*/ 7681 w 47731"/>
                    <a:gd name="connsiteY2" fmla="*/ 549 h 13716"/>
                    <a:gd name="connsiteX3" fmla="*/ 44440 w 47731"/>
                    <a:gd name="connsiteY3" fmla="*/ 0 h 13716"/>
                    <a:gd name="connsiteX4" fmla="*/ 47731 w 47731"/>
                    <a:gd name="connsiteY4" fmla="*/ 7681 h 13716"/>
                    <a:gd name="connsiteX5" fmla="*/ 26883 w 47731"/>
                    <a:gd name="connsiteY5" fmla="*/ 13716 h 13716"/>
                    <a:gd name="connsiteX6" fmla="*/ 5486 w 47731"/>
                    <a:gd name="connsiteY6" fmla="*/ 11522 h 13716"/>
                    <a:gd name="connsiteX7" fmla="*/ 1646 w 47731"/>
                    <a:gd name="connsiteY7" fmla="*/ 9327 h 13716"/>
                    <a:gd name="connsiteX8" fmla="*/ 0 w 47731"/>
                    <a:gd name="connsiteY8" fmla="*/ 6035 h 13716"/>
                    <a:gd name="connsiteX9" fmla="*/ 0 w 47731"/>
                    <a:gd name="connsiteY9" fmla="*/ 2743 h 137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47731" h="13716">
                      <a:moveTo>
                        <a:pt x="0" y="2743"/>
                      </a:moveTo>
                      <a:lnTo>
                        <a:pt x="2743" y="3292"/>
                      </a:lnTo>
                      <a:lnTo>
                        <a:pt x="7681" y="549"/>
                      </a:lnTo>
                      <a:lnTo>
                        <a:pt x="44440" y="0"/>
                      </a:lnTo>
                      <a:lnTo>
                        <a:pt x="47731" y="7681"/>
                      </a:lnTo>
                      <a:lnTo>
                        <a:pt x="26883" y="13716"/>
                      </a:lnTo>
                      <a:lnTo>
                        <a:pt x="5486" y="11522"/>
                      </a:lnTo>
                      <a:lnTo>
                        <a:pt x="1646" y="9327"/>
                      </a:lnTo>
                      <a:lnTo>
                        <a:pt x="0" y="6035"/>
                      </a:lnTo>
                      <a:lnTo>
                        <a:pt x="0" y="2743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81" name="Graphic 7">
                  <a:extLst>
                    <a:ext uri="{FF2B5EF4-FFF2-40B4-BE49-F238E27FC236}">
                      <a16:creationId xmlns:a16="http://schemas.microsoft.com/office/drawing/2014/main" id="{F4F17850-3CAC-5CC3-E5B1-61B46EE4E2BE}"/>
                    </a:ext>
                  </a:extLst>
                </p:cNvPr>
                <p:cNvSpPr/>
                <p:nvPr/>
              </p:nvSpPr>
              <p:spPr>
                <a:xfrm>
                  <a:off x="8621063" y="4668105"/>
                  <a:ext cx="9430" cy="7286"/>
                </a:xfrm>
                <a:custGeom>
                  <a:avLst/>
                  <a:gdLst>
                    <a:gd name="connsiteX0" fmla="*/ 0 w 12070"/>
                    <a:gd name="connsiteY0" fmla="*/ 549 h 9326"/>
                    <a:gd name="connsiteX1" fmla="*/ 9327 w 12070"/>
                    <a:gd name="connsiteY1" fmla="*/ 0 h 9326"/>
                    <a:gd name="connsiteX2" fmla="*/ 11521 w 12070"/>
                    <a:gd name="connsiteY2" fmla="*/ 1646 h 9326"/>
                    <a:gd name="connsiteX3" fmla="*/ 12070 w 12070"/>
                    <a:gd name="connsiteY3" fmla="*/ 4938 h 9326"/>
                    <a:gd name="connsiteX4" fmla="*/ 3841 w 12070"/>
                    <a:gd name="connsiteY4" fmla="*/ 9327 h 9326"/>
                    <a:gd name="connsiteX5" fmla="*/ 0 w 12070"/>
                    <a:gd name="connsiteY5" fmla="*/ 3841 h 9326"/>
                    <a:gd name="connsiteX6" fmla="*/ 0 w 12070"/>
                    <a:gd name="connsiteY6" fmla="*/ 549 h 93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70" h="9326">
                      <a:moveTo>
                        <a:pt x="0" y="549"/>
                      </a:moveTo>
                      <a:lnTo>
                        <a:pt x="9327" y="0"/>
                      </a:lnTo>
                      <a:lnTo>
                        <a:pt x="11521" y="1646"/>
                      </a:lnTo>
                      <a:lnTo>
                        <a:pt x="12070" y="4938"/>
                      </a:lnTo>
                      <a:lnTo>
                        <a:pt x="3841" y="9327"/>
                      </a:lnTo>
                      <a:lnTo>
                        <a:pt x="0" y="3841"/>
                      </a:lnTo>
                      <a:lnTo>
                        <a:pt x="0" y="549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82" name="Graphic 7">
                  <a:extLst>
                    <a:ext uri="{FF2B5EF4-FFF2-40B4-BE49-F238E27FC236}">
                      <a16:creationId xmlns:a16="http://schemas.microsoft.com/office/drawing/2014/main" id="{090F5278-3BE6-0E4E-7879-C970FF5B7A3B}"/>
                    </a:ext>
                  </a:extLst>
                </p:cNvPr>
                <p:cNvSpPr/>
                <p:nvPr/>
              </p:nvSpPr>
              <p:spPr>
                <a:xfrm>
                  <a:off x="9062993" y="4472216"/>
                  <a:ext cx="26146" cy="11144"/>
                </a:xfrm>
                <a:custGeom>
                  <a:avLst/>
                  <a:gdLst>
                    <a:gd name="connsiteX0" fmla="*/ 2195 w 33466"/>
                    <a:gd name="connsiteY0" fmla="*/ 2195 h 14264"/>
                    <a:gd name="connsiteX1" fmla="*/ 549 w 33466"/>
                    <a:gd name="connsiteY1" fmla="*/ 2195 h 14264"/>
                    <a:gd name="connsiteX2" fmla="*/ 4938 w 33466"/>
                    <a:gd name="connsiteY2" fmla="*/ 549 h 14264"/>
                    <a:gd name="connsiteX3" fmla="*/ 12619 w 33466"/>
                    <a:gd name="connsiteY3" fmla="*/ 0 h 14264"/>
                    <a:gd name="connsiteX4" fmla="*/ 33467 w 33466"/>
                    <a:gd name="connsiteY4" fmla="*/ 10424 h 14264"/>
                    <a:gd name="connsiteX5" fmla="*/ 23043 w 33466"/>
                    <a:gd name="connsiteY5" fmla="*/ 12070 h 14264"/>
                    <a:gd name="connsiteX6" fmla="*/ 18654 w 33466"/>
                    <a:gd name="connsiteY6" fmla="*/ 14265 h 14264"/>
                    <a:gd name="connsiteX7" fmla="*/ 8230 w 33466"/>
                    <a:gd name="connsiteY7" fmla="*/ 9327 h 14264"/>
                    <a:gd name="connsiteX8" fmla="*/ 3841 w 33466"/>
                    <a:gd name="connsiteY8" fmla="*/ 8230 h 14264"/>
                    <a:gd name="connsiteX9" fmla="*/ 0 w 33466"/>
                    <a:gd name="connsiteY9" fmla="*/ 6035 h 14264"/>
                    <a:gd name="connsiteX10" fmla="*/ 0 w 33466"/>
                    <a:gd name="connsiteY10" fmla="*/ 4389 h 14264"/>
                    <a:gd name="connsiteX11" fmla="*/ 2195 w 33466"/>
                    <a:gd name="connsiteY11" fmla="*/ 2195 h 142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33466" h="14264">
                      <a:moveTo>
                        <a:pt x="2195" y="2195"/>
                      </a:moveTo>
                      <a:lnTo>
                        <a:pt x="549" y="2195"/>
                      </a:lnTo>
                      <a:lnTo>
                        <a:pt x="4938" y="549"/>
                      </a:lnTo>
                      <a:lnTo>
                        <a:pt x="12619" y="0"/>
                      </a:lnTo>
                      <a:lnTo>
                        <a:pt x="33467" y="10424"/>
                      </a:lnTo>
                      <a:lnTo>
                        <a:pt x="23043" y="12070"/>
                      </a:lnTo>
                      <a:lnTo>
                        <a:pt x="18654" y="14265"/>
                      </a:lnTo>
                      <a:lnTo>
                        <a:pt x="8230" y="9327"/>
                      </a:lnTo>
                      <a:lnTo>
                        <a:pt x="3841" y="8230"/>
                      </a:lnTo>
                      <a:lnTo>
                        <a:pt x="0" y="6035"/>
                      </a:lnTo>
                      <a:lnTo>
                        <a:pt x="0" y="4389"/>
                      </a:lnTo>
                      <a:lnTo>
                        <a:pt x="2195" y="2195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83" name="Graphic 7">
                  <a:extLst>
                    <a:ext uri="{FF2B5EF4-FFF2-40B4-BE49-F238E27FC236}">
                      <a16:creationId xmlns:a16="http://schemas.microsoft.com/office/drawing/2014/main" id="{117A6D1F-AD8E-3A1A-F353-25960EE0452F}"/>
                    </a:ext>
                  </a:extLst>
                </p:cNvPr>
                <p:cNvSpPr/>
                <p:nvPr/>
              </p:nvSpPr>
              <p:spPr>
                <a:xfrm>
                  <a:off x="9072852" y="4497078"/>
                  <a:ext cx="9001" cy="11144"/>
                </a:xfrm>
                <a:custGeom>
                  <a:avLst/>
                  <a:gdLst>
                    <a:gd name="connsiteX0" fmla="*/ 0 w 11521"/>
                    <a:gd name="connsiteY0" fmla="*/ 3292 h 14264"/>
                    <a:gd name="connsiteX1" fmla="*/ 7681 w 11521"/>
                    <a:gd name="connsiteY1" fmla="*/ 0 h 14264"/>
                    <a:gd name="connsiteX2" fmla="*/ 11521 w 11521"/>
                    <a:gd name="connsiteY2" fmla="*/ 2195 h 14264"/>
                    <a:gd name="connsiteX3" fmla="*/ 11521 w 11521"/>
                    <a:gd name="connsiteY3" fmla="*/ 13167 h 14264"/>
                    <a:gd name="connsiteX4" fmla="*/ 7132 w 11521"/>
                    <a:gd name="connsiteY4" fmla="*/ 14265 h 14264"/>
                    <a:gd name="connsiteX5" fmla="*/ 4389 w 11521"/>
                    <a:gd name="connsiteY5" fmla="*/ 12619 h 14264"/>
                    <a:gd name="connsiteX6" fmla="*/ 0 w 11521"/>
                    <a:gd name="connsiteY6" fmla="*/ 3292 h 142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1521" h="14264">
                      <a:moveTo>
                        <a:pt x="0" y="3292"/>
                      </a:moveTo>
                      <a:lnTo>
                        <a:pt x="7681" y="0"/>
                      </a:lnTo>
                      <a:lnTo>
                        <a:pt x="11521" y="2195"/>
                      </a:lnTo>
                      <a:lnTo>
                        <a:pt x="11521" y="13167"/>
                      </a:lnTo>
                      <a:lnTo>
                        <a:pt x="7132" y="14265"/>
                      </a:lnTo>
                      <a:lnTo>
                        <a:pt x="4389" y="12619"/>
                      </a:lnTo>
                      <a:lnTo>
                        <a:pt x="0" y="3292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84" name="Graphic 7">
                  <a:extLst>
                    <a:ext uri="{FF2B5EF4-FFF2-40B4-BE49-F238E27FC236}">
                      <a16:creationId xmlns:a16="http://schemas.microsoft.com/office/drawing/2014/main" id="{F473A9BB-EDFA-4BB9-1B09-006096458B95}"/>
                    </a:ext>
                  </a:extLst>
                </p:cNvPr>
                <p:cNvSpPr/>
                <p:nvPr/>
              </p:nvSpPr>
              <p:spPr>
                <a:xfrm>
                  <a:off x="9046276" y="4520652"/>
                  <a:ext cx="17574" cy="10716"/>
                </a:xfrm>
                <a:custGeom>
                  <a:avLst/>
                  <a:gdLst>
                    <a:gd name="connsiteX0" fmla="*/ 0 w 22494"/>
                    <a:gd name="connsiteY0" fmla="*/ 4938 h 13716"/>
                    <a:gd name="connsiteX1" fmla="*/ 3292 w 22494"/>
                    <a:gd name="connsiteY1" fmla="*/ 4938 h 13716"/>
                    <a:gd name="connsiteX2" fmla="*/ 14265 w 22494"/>
                    <a:gd name="connsiteY2" fmla="*/ 0 h 13716"/>
                    <a:gd name="connsiteX3" fmla="*/ 19202 w 22494"/>
                    <a:gd name="connsiteY3" fmla="*/ 0 h 13716"/>
                    <a:gd name="connsiteX4" fmla="*/ 22495 w 22494"/>
                    <a:gd name="connsiteY4" fmla="*/ 4389 h 13716"/>
                    <a:gd name="connsiteX5" fmla="*/ 21397 w 22494"/>
                    <a:gd name="connsiteY5" fmla="*/ 7132 h 13716"/>
                    <a:gd name="connsiteX6" fmla="*/ 22495 w 22494"/>
                    <a:gd name="connsiteY6" fmla="*/ 10424 h 13716"/>
                    <a:gd name="connsiteX7" fmla="*/ 17008 w 22494"/>
                    <a:gd name="connsiteY7" fmla="*/ 12619 h 13716"/>
                    <a:gd name="connsiteX8" fmla="*/ 9876 w 22494"/>
                    <a:gd name="connsiteY8" fmla="*/ 13716 h 13716"/>
                    <a:gd name="connsiteX9" fmla="*/ 1098 w 22494"/>
                    <a:gd name="connsiteY9" fmla="*/ 8230 h 13716"/>
                    <a:gd name="connsiteX10" fmla="*/ 0 w 22494"/>
                    <a:gd name="connsiteY10" fmla="*/ 4938 h 137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22494" h="13716">
                      <a:moveTo>
                        <a:pt x="0" y="4938"/>
                      </a:moveTo>
                      <a:lnTo>
                        <a:pt x="3292" y="4938"/>
                      </a:lnTo>
                      <a:lnTo>
                        <a:pt x="14265" y="0"/>
                      </a:lnTo>
                      <a:lnTo>
                        <a:pt x="19202" y="0"/>
                      </a:lnTo>
                      <a:lnTo>
                        <a:pt x="22495" y="4389"/>
                      </a:lnTo>
                      <a:lnTo>
                        <a:pt x="21397" y="7132"/>
                      </a:lnTo>
                      <a:lnTo>
                        <a:pt x="22495" y="10424"/>
                      </a:lnTo>
                      <a:lnTo>
                        <a:pt x="17008" y="12619"/>
                      </a:lnTo>
                      <a:lnTo>
                        <a:pt x="9876" y="13716"/>
                      </a:lnTo>
                      <a:lnTo>
                        <a:pt x="1098" y="8230"/>
                      </a:lnTo>
                      <a:lnTo>
                        <a:pt x="0" y="4938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85" name="Graphic 7">
                  <a:extLst>
                    <a:ext uri="{FF2B5EF4-FFF2-40B4-BE49-F238E27FC236}">
                      <a16:creationId xmlns:a16="http://schemas.microsoft.com/office/drawing/2014/main" id="{4D290F5F-1DAB-DA86-E47F-9481310D1CDD}"/>
                    </a:ext>
                  </a:extLst>
                </p:cNvPr>
                <p:cNvSpPr/>
                <p:nvPr/>
              </p:nvSpPr>
              <p:spPr>
                <a:xfrm>
                  <a:off x="8991411" y="4552800"/>
                  <a:ext cx="86157" cy="31719"/>
                </a:xfrm>
                <a:custGeom>
                  <a:avLst/>
                  <a:gdLst>
                    <a:gd name="connsiteX0" fmla="*/ 2195 w 110276"/>
                    <a:gd name="connsiteY0" fmla="*/ 26335 h 40599"/>
                    <a:gd name="connsiteX1" fmla="*/ 549 w 110276"/>
                    <a:gd name="connsiteY1" fmla="*/ 24689 h 40599"/>
                    <a:gd name="connsiteX2" fmla="*/ 0 w 110276"/>
                    <a:gd name="connsiteY2" fmla="*/ 15362 h 40599"/>
                    <a:gd name="connsiteX3" fmla="*/ 1646 w 110276"/>
                    <a:gd name="connsiteY3" fmla="*/ 11522 h 40599"/>
                    <a:gd name="connsiteX4" fmla="*/ 4938 w 110276"/>
                    <a:gd name="connsiteY4" fmla="*/ 9327 h 40599"/>
                    <a:gd name="connsiteX5" fmla="*/ 12070 w 110276"/>
                    <a:gd name="connsiteY5" fmla="*/ 1646 h 40599"/>
                    <a:gd name="connsiteX6" fmla="*/ 37307 w 110276"/>
                    <a:gd name="connsiteY6" fmla="*/ 2743 h 40599"/>
                    <a:gd name="connsiteX7" fmla="*/ 43891 w 110276"/>
                    <a:gd name="connsiteY7" fmla="*/ 549 h 40599"/>
                    <a:gd name="connsiteX8" fmla="*/ 47731 w 110276"/>
                    <a:gd name="connsiteY8" fmla="*/ 3292 h 40599"/>
                    <a:gd name="connsiteX9" fmla="*/ 60899 w 110276"/>
                    <a:gd name="connsiteY9" fmla="*/ 0 h 40599"/>
                    <a:gd name="connsiteX10" fmla="*/ 74066 w 110276"/>
                    <a:gd name="connsiteY10" fmla="*/ 7132 h 40599"/>
                    <a:gd name="connsiteX11" fmla="*/ 85588 w 110276"/>
                    <a:gd name="connsiteY11" fmla="*/ 8230 h 40599"/>
                    <a:gd name="connsiteX12" fmla="*/ 91074 w 110276"/>
                    <a:gd name="connsiteY12" fmla="*/ 7132 h 40599"/>
                    <a:gd name="connsiteX13" fmla="*/ 97109 w 110276"/>
                    <a:gd name="connsiteY13" fmla="*/ 8778 h 40599"/>
                    <a:gd name="connsiteX14" fmla="*/ 104242 w 110276"/>
                    <a:gd name="connsiteY14" fmla="*/ 23591 h 40599"/>
                    <a:gd name="connsiteX15" fmla="*/ 109728 w 110276"/>
                    <a:gd name="connsiteY15" fmla="*/ 25238 h 40599"/>
                    <a:gd name="connsiteX16" fmla="*/ 110277 w 110276"/>
                    <a:gd name="connsiteY16" fmla="*/ 34016 h 40599"/>
                    <a:gd name="connsiteX17" fmla="*/ 107533 w 110276"/>
                    <a:gd name="connsiteY17" fmla="*/ 40599 h 40599"/>
                    <a:gd name="connsiteX18" fmla="*/ 74066 w 110276"/>
                    <a:gd name="connsiteY18" fmla="*/ 21397 h 40599"/>
                    <a:gd name="connsiteX19" fmla="*/ 60899 w 110276"/>
                    <a:gd name="connsiteY19" fmla="*/ 20300 h 40599"/>
                    <a:gd name="connsiteX20" fmla="*/ 60899 w 110276"/>
                    <a:gd name="connsiteY20" fmla="*/ 23043 h 40599"/>
                    <a:gd name="connsiteX21" fmla="*/ 42245 w 110276"/>
                    <a:gd name="connsiteY21" fmla="*/ 22494 h 40599"/>
                    <a:gd name="connsiteX22" fmla="*/ 36759 w 110276"/>
                    <a:gd name="connsiteY22" fmla="*/ 17008 h 40599"/>
                    <a:gd name="connsiteX23" fmla="*/ 30724 w 110276"/>
                    <a:gd name="connsiteY23" fmla="*/ 19751 h 40599"/>
                    <a:gd name="connsiteX24" fmla="*/ 29078 w 110276"/>
                    <a:gd name="connsiteY24" fmla="*/ 23591 h 40599"/>
                    <a:gd name="connsiteX25" fmla="*/ 23043 w 110276"/>
                    <a:gd name="connsiteY25" fmla="*/ 24689 h 40599"/>
                    <a:gd name="connsiteX26" fmla="*/ 16459 w 110276"/>
                    <a:gd name="connsiteY26" fmla="*/ 21946 h 40599"/>
                    <a:gd name="connsiteX27" fmla="*/ 8778 w 110276"/>
                    <a:gd name="connsiteY27" fmla="*/ 13716 h 40599"/>
                    <a:gd name="connsiteX28" fmla="*/ 2195 w 110276"/>
                    <a:gd name="connsiteY28" fmla="*/ 26335 h 405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110276" h="40599">
                      <a:moveTo>
                        <a:pt x="2195" y="26335"/>
                      </a:moveTo>
                      <a:lnTo>
                        <a:pt x="549" y="24689"/>
                      </a:lnTo>
                      <a:lnTo>
                        <a:pt x="0" y="15362"/>
                      </a:lnTo>
                      <a:lnTo>
                        <a:pt x="1646" y="11522"/>
                      </a:lnTo>
                      <a:lnTo>
                        <a:pt x="4938" y="9327"/>
                      </a:lnTo>
                      <a:lnTo>
                        <a:pt x="12070" y="1646"/>
                      </a:lnTo>
                      <a:lnTo>
                        <a:pt x="37307" y="2743"/>
                      </a:lnTo>
                      <a:lnTo>
                        <a:pt x="43891" y="549"/>
                      </a:lnTo>
                      <a:lnTo>
                        <a:pt x="47731" y="3292"/>
                      </a:lnTo>
                      <a:lnTo>
                        <a:pt x="60899" y="0"/>
                      </a:lnTo>
                      <a:lnTo>
                        <a:pt x="74066" y="7132"/>
                      </a:lnTo>
                      <a:lnTo>
                        <a:pt x="85588" y="8230"/>
                      </a:lnTo>
                      <a:lnTo>
                        <a:pt x="91074" y="7132"/>
                      </a:lnTo>
                      <a:lnTo>
                        <a:pt x="97109" y="8778"/>
                      </a:lnTo>
                      <a:lnTo>
                        <a:pt x="104242" y="23591"/>
                      </a:lnTo>
                      <a:lnTo>
                        <a:pt x="109728" y="25238"/>
                      </a:lnTo>
                      <a:lnTo>
                        <a:pt x="110277" y="34016"/>
                      </a:lnTo>
                      <a:lnTo>
                        <a:pt x="107533" y="40599"/>
                      </a:lnTo>
                      <a:lnTo>
                        <a:pt x="74066" y="21397"/>
                      </a:lnTo>
                      <a:lnTo>
                        <a:pt x="60899" y="20300"/>
                      </a:lnTo>
                      <a:lnTo>
                        <a:pt x="60899" y="23043"/>
                      </a:lnTo>
                      <a:lnTo>
                        <a:pt x="42245" y="22494"/>
                      </a:lnTo>
                      <a:lnTo>
                        <a:pt x="36759" y="17008"/>
                      </a:lnTo>
                      <a:lnTo>
                        <a:pt x="30724" y="19751"/>
                      </a:lnTo>
                      <a:lnTo>
                        <a:pt x="29078" y="23591"/>
                      </a:lnTo>
                      <a:lnTo>
                        <a:pt x="23043" y="24689"/>
                      </a:lnTo>
                      <a:lnTo>
                        <a:pt x="16459" y="21946"/>
                      </a:lnTo>
                      <a:lnTo>
                        <a:pt x="8778" y="13716"/>
                      </a:lnTo>
                      <a:lnTo>
                        <a:pt x="2195" y="26335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86" name="Graphic 7">
                  <a:extLst>
                    <a:ext uri="{FF2B5EF4-FFF2-40B4-BE49-F238E27FC236}">
                      <a16:creationId xmlns:a16="http://schemas.microsoft.com/office/drawing/2014/main" id="{EFADFA4E-C6D5-EDE6-6D62-4B22AAA59322}"/>
                    </a:ext>
                  </a:extLst>
                </p:cNvPr>
                <p:cNvSpPr/>
                <p:nvPr/>
              </p:nvSpPr>
              <p:spPr>
                <a:xfrm>
                  <a:off x="8727365" y="4420351"/>
                  <a:ext cx="184316" cy="215606"/>
                </a:xfrm>
                <a:custGeom>
                  <a:avLst/>
                  <a:gdLst>
                    <a:gd name="connsiteX0" fmla="*/ 82296 w 235915"/>
                    <a:gd name="connsiteY0" fmla="*/ 14813 h 275965"/>
                    <a:gd name="connsiteX1" fmla="*/ 94915 w 235915"/>
                    <a:gd name="connsiteY1" fmla="*/ 15362 h 275965"/>
                    <a:gd name="connsiteX2" fmla="*/ 96012 w 235915"/>
                    <a:gd name="connsiteY2" fmla="*/ 19202 h 275965"/>
                    <a:gd name="connsiteX3" fmla="*/ 100401 w 235915"/>
                    <a:gd name="connsiteY3" fmla="*/ 23043 h 275965"/>
                    <a:gd name="connsiteX4" fmla="*/ 137709 w 235915"/>
                    <a:gd name="connsiteY4" fmla="*/ 25786 h 275965"/>
                    <a:gd name="connsiteX5" fmla="*/ 140452 w 235915"/>
                    <a:gd name="connsiteY5" fmla="*/ 28529 h 275965"/>
                    <a:gd name="connsiteX6" fmla="*/ 148133 w 235915"/>
                    <a:gd name="connsiteY6" fmla="*/ 31272 h 275965"/>
                    <a:gd name="connsiteX7" fmla="*/ 151425 w 235915"/>
                    <a:gd name="connsiteY7" fmla="*/ 30724 h 275965"/>
                    <a:gd name="connsiteX8" fmla="*/ 156362 w 235915"/>
                    <a:gd name="connsiteY8" fmla="*/ 28529 h 275965"/>
                    <a:gd name="connsiteX9" fmla="*/ 187635 w 235915"/>
                    <a:gd name="connsiteY9" fmla="*/ 30724 h 275965"/>
                    <a:gd name="connsiteX10" fmla="*/ 196962 w 235915"/>
                    <a:gd name="connsiteY10" fmla="*/ 28529 h 275965"/>
                    <a:gd name="connsiteX11" fmla="*/ 222199 w 235915"/>
                    <a:gd name="connsiteY11" fmla="*/ 3840 h 275965"/>
                    <a:gd name="connsiteX12" fmla="*/ 229331 w 235915"/>
                    <a:gd name="connsiteY12" fmla="*/ 0 h 275965"/>
                    <a:gd name="connsiteX13" fmla="*/ 233172 w 235915"/>
                    <a:gd name="connsiteY13" fmla="*/ 0 h 275965"/>
                    <a:gd name="connsiteX14" fmla="*/ 234818 w 235915"/>
                    <a:gd name="connsiteY14" fmla="*/ 2194 h 275965"/>
                    <a:gd name="connsiteX15" fmla="*/ 235916 w 235915"/>
                    <a:gd name="connsiteY15" fmla="*/ 7681 h 275965"/>
                    <a:gd name="connsiteX16" fmla="*/ 235366 w 235915"/>
                    <a:gd name="connsiteY16" fmla="*/ 13167 h 275965"/>
                    <a:gd name="connsiteX17" fmla="*/ 214518 w 235915"/>
                    <a:gd name="connsiteY17" fmla="*/ 40599 h 275965"/>
                    <a:gd name="connsiteX18" fmla="*/ 200254 w 235915"/>
                    <a:gd name="connsiteY18" fmla="*/ 51023 h 275965"/>
                    <a:gd name="connsiteX19" fmla="*/ 167884 w 235915"/>
                    <a:gd name="connsiteY19" fmla="*/ 52669 h 275965"/>
                    <a:gd name="connsiteX20" fmla="*/ 160203 w 235915"/>
                    <a:gd name="connsiteY20" fmla="*/ 47731 h 275965"/>
                    <a:gd name="connsiteX21" fmla="*/ 112471 w 235915"/>
                    <a:gd name="connsiteY21" fmla="*/ 48829 h 275965"/>
                    <a:gd name="connsiteX22" fmla="*/ 106985 w 235915"/>
                    <a:gd name="connsiteY22" fmla="*/ 45537 h 275965"/>
                    <a:gd name="connsiteX23" fmla="*/ 101498 w 235915"/>
                    <a:gd name="connsiteY23" fmla="*/ 45537 h 275965"/>
                    <a:gd name="connsiteX24" fmla="*/ 98755 w 235915"/>
                    <a:gd name="connsiteY24" fmla="*/ 47183 h 275965"/>
                    <a:gd name="connsiteX25" fmla="*/ 91623 w 235915"/>
                    <a:gd name="connsiteY25" fmla="*/ 44988 h 275965"/>
                    <a:gd name="connsiteX26" fmla="*/ 88331 w 235915"/>
                    <a:gd name="connsiteY26" fmla="*/ 45537 h 275965"/>
                    <a:gd name="connsiteX27" fmla="*/ 82845 w 235915"/>
                    <a:gd name="connsiteY27" fmla="*/ 48829 h 275965"/>
                    <a:gd name="connsiteX28" fmla="*/ 59253 w 235915"/>
                    <a:gd name="connsiteY28" fmla="*/ 47183 h 275965"/>
                    <a:gd name="connsiteX29" fmla="*/ 47732 w 235915"/>
                    <a:gd name="connsiteY29" fmla="*/ 63094 h 275965"/>
                    <a:gd name="connsiteX30" fmla="*/ 46086 w 235915"/>
                    <a:gd name="connsiteY30" fmla="*/ 92171 h 275965"/>
                    <a:gd name="connsiteX31" fmla="*/ 51023 w 235915"/>
                    <a:gd name="connsiteY31" fmla="*/ 98206 h 275965"/>
                    <a:gd name="connsiteX32" fmla="*/ 58156 w 235915"/>
                    <a:gd name="connsiteY32" fmla="*/ 100950 h 275965"/>
                    <a:gd name="connsiteX33" fmla="*/ 68580 w 235915"/>
                    <a:gd name="connsiteY33" fmla="*/ 116311 h 275965"/>
                    <a:gd name="connsiteX34" fmla="*/ 83393 w 235915"/>
                    <a:gd name="connsiteY34" fmla="*/ 115763 h 275965"/>
                    <a:gd name="connsiteX35" fmla="*/ 85039 w 235915"/>
                    <a:gd name="connsiteY35" fmla="*/ 111374 h 275965"/>
                    <a:gd name="connsiteX36" fmla="*/ 95464 w 235915"/>
                    <a:gd name="connsiteY36" fmla="*/ 99852 h 275965"/>
                    <a:gd name="connsiteX37" fmla="*/ 103144 w 235915"/>
                    <a:gd name="connsiteY37" fmla="*/ 96561 h 275965"/>
                    <a:gd name="connsiteX38" fmla="*/ 117409 w 235915"/>
                    <a:gd name="connsiteY38" fmla="*/ 100401 h 275965"/>
                    <a:gd name="connsiteX39" fmla="*/ 121250 w 235915"/>
                    <a:gd name="connsiteY39" fmla="*/ 94915 h 275965"/>
                    <a:gd name="connsiteX40" fmla="*/ 147035 w 235915"/>
                    <a:gd name="connsiteY40" fmla="*/ 93817 h 275965"/>
                    <a:gd name="connsiteX41" fmla="*/ 148682 w 235915"/>
                    <a:gd name="connsiteY41" fmla="*/ 87782 h 275965"/>
                    <a:gd name="connsiteX42" fmla="*/ 159654 w 235915"/>
                    <a:gd name="connsiteY42" fmla="*/ 84490 h 275965"/>
                    <a:gd name="connsiteX43" fmla="*/ 166787 w 235915"/>
                    <a:gd name="connsiteY43" fmla="*/ 84490 h 275965"/>
                    <a:gd name="connsiteX44" fmla="*/ 171176 w 235915"/>
                    <a:gd name="connsiteY44" fmla="*/ 89977 h 275965"/>
                    <a:gd name="connsiteX45" fmla="*/ 170627 w 235915"/>
                    <a:gd name="connsiteY45" fmla="*/ 97658 h 275965"/>
                    <a:gd name="connsiteX46" fmla="*/ 166238 w 235915"/>
                    <a:gd name="connsiteY46" fmla="*/ 102595 h 275965"/>
                    <a:gd name="connsiteX47" fmla="*/ 157460 w 235915"/>
                    <a:gd name="connsiteY47" fmla="*/ 97658 h 275965"/>
                    <a:gd name="connsiteX48" fmla="*/ 149230 w 235915"/>
                    <a:gd name="connsiteY48" fmla="*/ 99852 h 275965"/>
                    <a:gd name="connsiteX49" fmla="*/ 128930 w 235915"/>
                    <a:gd name="connsiteY49" fmla="*/ 122895 h 275965"/>
                    <a:gd name="connsiteX50" fmla="*/ 102047 w 235915"/>
                    <a:gd name="connsiteY50" fmla="*/ 134417 h 275965"/>
                    <a:gd name="connsiteX51" fmla="*/ 93818 w 235915"/>
                    <a:gd name="connsiteY51" fmla="*/ 131125 h 275965"/>
                    <a:gd name="connsiteX52" fmla="*/ 94366 w 235915"/>
                    <a:gd name="connsiteY52" fmla="*/ 138257 h 275965"/>
                    <a:gd name="connsiteX53" fmla="*/ 103693 w 235915"/>
                    <a:gd name="connsiteY53" fmla="*/ 144292 h 275965"/>
                    <a:gd name="connsiteX54" fmla="*/ 123444 w 235915"/>
                    <a:gd name="connsiteY54" fmla="*/ 171175 h 275965"/>
                    <a:gd name="connsiteX55" fmla="*/ 126736 w 235915"/>
                    <a:gd name="connsiteY55" fmla="*/ 172273 h 275965"/>
                    <a:gd name="connsiteX56" fmla="*/ 130028 w 235915"/>
                    <a:gd name="connsiteY56" fmla="*/ 179405 h 275965"/>
                    <a:gd name="connsiteX57" fmla="*/ 133868 w 235915"/>
                    <a:gd name="connsiteY57" fmla="*/ 184343 h 275965"/>
                    <a:gd name="connsiteX58" fmla="*/ 131125 w 235915"/>
                    <a:gd name="connsiteY58" fmla="*/ 188183 h 275965"/>
                    <a:gd name="connsiteX59" fmla="*/ 126187 w 235915"/>
                    <a:gd name="connsiteY59" fmla="*/ 190378 h 275965"/>
                    <a:gd name="connsiteX60" fmla="*/ 125639 w 235915"/>
                    <a:gd name="connsiteY60" fmla="*/ 195864 h 275965"/>
                    <a:gd name="connsiteX61" fmla="*/ 126187 w 235915"/>
                    <a:gd name="connsiteY61" fmla="*/ 200254 h 275965"/>
                    <a:gd name="connsiteX62" fmla="*/ 138257 w 235915"/>
                    <a:gd name="connsiteY62" fmla="*/ 210129 h 275965"/>
                    <a:gd name="connsiteX63" fmla="*/ 138257 w 235915"/>
                    <a:gd name="connsiteY63" fmla="*/ 216164 h 275965"/>
                    <a:gd name="connsiteX64" fmla="*/ 142646 w 235915"/>
                    <a:gd name="connsiteY64" fmla="*/ 219456 h 275965"/>
                    <a:gd name="connsiteX65" fmla="*/ 147584 w 235915"/>
                    <a:gd name="connsiteY65" fmla="*/ 218359 h 275965"/>
                    <a:gd name="connsiteX66" fmla="*/ 149230 w 235915"/>
                    <a:gd name="connsiteY66" fmla="*/ 223845 h 275965"/>
                    <a:gd name="connsiteX67" fmla="*/ 144292 w 235915"/>
                    <a:gd name="connsiteY67" fmla="*/ 230429 h 275965"/>
                    <a:gd name="connsiteX68" fmla="*/ 134417 w 235915"/>
                    <a:gd name="connsiteY68" fmla="*/ 229880 h 275965"/>
                    <a:gd name="connsiteX69" fmla="*/ 124541 w 235915"/>
                    <a:gd name="connsiteY69" fmla="*/ 232075 h 275965"/>
                    <a:gd name="connsiteX70" fmla="*/ 120152 w 235915"/>
                    <a:gd name="connsiteY70" fmla="*/ 241402 h 275965"/>
                    <a:gd name="connsiteX71" fmla="*/ 113020 w 235915"/>
                    <a:gd name="connsiteY71" fmla="*/ 245791 h 275965"/>
                    <a:gd name="connsiteX72" fmla="*/ 102596 w 235915"/>
                    <a:gd name="connsiteY72" fmla="*/ 245242 h 275965"/>
                    <a:gd name="connsiteX73" fmla="*/ 99304 w 235915"/>
                    <a:gd name="connsiteY73" fmla="*/ 237012 h 275965"/>
                    <a:gd name="connsiteX74" fmla="*/ 98755 w 235915"/>
                    <a:gd name="connsiteY74" fmla="*/ 227686 h 275965"/>
                    <a:gd name="connsiteX75" fmla="*/ 101498 w 235915"/>
                    <a:gd name="connsiteY75" fmla="*/ 219456 h 275965"/>
                    <a:gd name="connsiteX76" fmla="*/ 97658 w 235915"/>
                    <a:gd name="connsiteY76" fmla="*/ 213970 h 275965"/>
                    <a:gd name="connsiteX77" fmla="*/ 81747 w 235915"/>
                    <a:gd name="connsiteY77" fmla="*/ 200802 h 275965"/>
                    <a:gd name="connsiteX78" fmla="*/ 77358 w 235915"/>
                    <a:gd name="connsiteY78" fmla="*/ 190927 h 275965"/>
                    <a:gd name="connsiteX79" fmla="*/ 82845 w 235915"/>
                    <a:gd name="connsiteY79" fmla="*/ 180502 h 275965"/>
                    <a:gd name="connsiteX80" fmla="*/ 80102 w 235915"/>
                    <a:gd name="connsiteY80" fmla="*/ 162946 h 275965"/>
                    <a:gd name="connsiteX81" fmla="*/ 71323 w 235915"/>
                    <a:gd name="connsiteY81" fmla="*/ 161849 h 275965"/>
                    <a:gd name="connsiteX82" fmla="*/ 54864 w 235915"/>
                    <a:gd name="connsiteY82" fmla="*/ 173370 h 275965"/>
                    <a:gd name="connsiteX83" fmla="*/ 51572 w 235915"/>
                    <a:gd name="connsiteY83" fmla="*/ 181600 h 275965"/>
                    <a:gd name="connsiteX84" fmla="*/ 56510 w 235915"/>
                    <a:gd name="connsiteY84" fmla="*/ 190927 h 275965"/>
                    <a:gd name="connsiteX85" fmla="*/ 55961 w 235915"/>
                    <a:gd name="connsiteY85" fmla="*/ 235366 h 275965"/>
                    <a:gd name="connsiteX86" fmla="*/ 58705 w 235915"/>
                    <a:gd name="connsiteY86" fmla="*/ 241402 h 275965"/>
                    <a:gd name="connsiteX87" fmla="*/ 54315 w 235915"/>
                    <a:gd name="connsiteY87" fmla="*/ 251277 h 275965"/>
                    <a:gd name="connsiteX88" fmla="*/ 57607 w 235915"/>
                    <a:gd name="connsiteY88" fmla="*/ 271577 h 275965"/>
                    <a:gd name="connsiteX89" fmla="*/ 55961 w 235915"/>
                    <a:gd name="connsiteY89" fmla="*/ 273223 h 275965"/>
                    <a:gd name="connsiteX90" fmla="*/ 37307 w 235915"/>
                    <a:gd name="connsiteY90" fmla="*/ 275966 h 275965"/>
                    <a:gd name="connsiteX91" fmla="*/ 28529 w 235915"/>
                    <a:gd name="connsiteY91" fmla="*/ 275417 h 275965"/>
                    <a:gd name="connsiteX92" fmla="*/ 22494 w 235915"/>
                    <a:gd name="connsiteY92" fmla="*/ 272125 h 275965"/>
                    <a:gd name="connsiteX93" fmla="*/ 18654 w 235915"/>
                    <a:gd name="connsiteY93" fmla="*/ 262250 h 275965"/>
                    <a:gd name="connsiteX94" fmla="*/ 29078 w 235915"/>
                    <a:gd name="connsiteY94" fmla="*/ 215615 h 275965"/>
                    <a:gd name="connsiteX95" fmla="*/ 26883 w 235915"/>
                    <a:gd name="connsiteY95" fmla="*/ 211775 h 275965"/>
                    <a:gd name="connsiteX96" fmla="*/ 23591 w 235915"/>
                    <a:gd name="connsiteY96" fmla="*/ 193121 h 275965"/>
                    <a:gd name="connsiteX97" fmla="*/ 6584 w 235915"/>
                    <a:gd name="connsiteY97" fmla="*/ 194767 h 275965"/>
                    <a:gd name="connsiteX98" fmla="*/ 1097 w 235915"/>
                    <a:gd name="connsiteY98" fmla="*/ 185989 h 275965"/>
                    <a:gd name="connsiteX99" fmla="*/ 0 w 235915"/>
                    <a:gd name="connsiteY99" fmla="*/ 163495 h 275965"/>
                    <a:gd name="connsiteX100" fmla="*/ 7681 w 235915"/>
                    <a:gd name="connsiteY100" fmla="*/ 154168 h 275965"/>
                    <a:gd name="connsiteX101" fmla="*/ 17557 w 235915"/>
                    <a:gd name="connsiteY101" fmla="*/ 133319 h 275965"/>
                    <a:gd name="connsiteX102" fmla="*/ 17008 w 235915"/>
                    <a:gd name="connsiteY102" fmla="*/ 113020 h 275965"/>
                    <a:gd name="connsiteX103" fmla="*/ 24689 w 235915"/>
                    <a:gd name="connsiteY103" fmla="*/ 97658 h 275965"/>
                    <a:gd name="connsiteX104" fmla="*/ 29627 w 235915"/>
                    <a:gd name="connsiteY104" fmla="*/ 92720 h 275965"/>
                    <a:gd name="connsiteX105" fmla="*/ 32918 w 235915"/>
                    <a:gd name="connsiteY105" fmla="*/ 86685 h 275965"/>
                    <a:gd name="connsiteX106" fmla="*/ 34564 w 235915"/>
                    <a:gd name="connsiteY106" fmla="*/ 93269 h 275965"/>
                    <a:gd name="connsiteX107" fmla="*/ 35662 w 235915"/>
                    <a:gd name="connsiteY107" fmla="*/ 70774 h 275965"/>
                    <a:gd name="connsiteX108" fmla="*/ 31273 w 235915"/>
                    <a:gd name="connsiteY108" fmla="*/ 65837 h 275965"/>
                    <a:gd name="connsiteX109" fmla="*/ 32918 w 235915"/>
                    <a:gd name="connsiteY109" fmla="*/ 66385 h 275965"/>
                    <a:gd name="connsiteX110" fmla="*/ 37307 w 235915"/>
                    <a:gd name="connsiteY110" fmla="*/ 58704 h 275965"/>
                    <a:gd name="connsiteX111" fmla="*/ 38954 w 235915"/>
                    <a:gd name="connsiteY111" fmla="*/ 46634 h 275965"/>
                    <a:gd name="connsiteX112" fmla="*/ 42794 w 235915"/>
                    <a:gd name="connsiteY112" fmla="*/ 38953 h 275965"/>
                    <a:gd name="connsiteX113" fmla="*/ 50475 w 235915"/>
                    <a:gd name="connsiteY113" fmla="*/ 30724 h 275965"/>
                    <a:gd name="connsiteX114" fmla="*/ 53218 w 235915"/>
                    <a:gd name="connsiteY114" fmla="*/ 30724 h 275965"/>
                    <a:gd name="connsiteX115" fmla="*/ 58156 w 235915"/>
                    <a:gd name="connsiteY115" fmla="*/ 34564 h 275965"/>
                    <a:gd name="connsiteX116" fmla="*/ 63094 w 235915"/>
                    <a:gd name="connsiteY116" fmla="*/ 34015 h 275965"/>
                    <a:gd name="connsiteX117" fmla="*/ 69677 w 235915"/>
                    <a:gd name="connsiteY117" fmla="*/ 26883 h 275965"/>
                    <a:gd name="connsiteX118" fmla="*/ 71323 w 235915"/>
                    <a:gd name="connsiteY118" fmla="*/ 18105 h 275965"/>
                    <a:gd name="connsiteX119" fmla="*/ 75164 w 235915"/>
                    <a:gd name="connsiteY119" fmla="*/ 15362 h 275965"/>
                    <a:gd name="connsiteX120" fmla="*/ 82296 w 235915"/>
                    <a:gd name="connsiteY120" fmla="*/ 14813 h 2759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</a:cxnLst>
                  <a:rect l="l" t="t" r="r" b="b"/>
                  <a:pathLst>
                    <a:path w="235915" h="275965">
                      <a:moveTo>
                        <a:pt x="82296" y="14813"/>
                      </a:moveTo>
                      <a:lnTo>
                        <a:pt x="94915" y="15362"/>
                      </a:lnTo>
                      <a:lnTo>
                        <a:pt x="96012" y="19202"/>
                      </a:lnTo>
                      <a:lnTo>
                        <a:pt x="100401" y="23043"/>
                      </a:lnTo>
                      <a:lnTo>
                        <a:pt x="137709" y="25786"/>
                      </a:lnTo>
                      <a:lnTo>
                        <a:pt x="140452" y="28529"/>
                      </a:lnTo>
                      <a:lnTo>
                        <a:pt x="148133" y="31272"/>
                      </a:lnTo>
                      <a:lnTo>
                        <a:pt x="151425" y="30724"/>
                      </a:lnTo>
                      <a:lnTo>
                        <a:pt x="156362" y="28529"/>
                      </a:lnTo>
                      <a:lnTo>
                        <a:pt x="187635" y="30724"/>
                      </a:lnTo>
                      <a:lnTo>
                        <a:pt x="196962" y="28529"/>
                      </a:lnTo>
                      <a:lnTo>
                        <a:pt x="222199" y="3840"/>
                      </a:lnTo>
                      <a:lnTo>
                        <a:pt x="229331" y="0"/>
                      </a:lnTo>
                      <a:lnTo>
                        <a:pt x="233172" y="0"/>
                      </a:lnTo>
                      <a:lnTo>
                        <a:pt x="234818" y="2194"/>
                      </a:lnTo>
                      <a:lnTo>
                        <a:pt x="235916" y="7681"/>
                      </a:lnTo>
                      <a:lnTo>
                        <a:pt x="235366" y="13167"/>
                      </a:lnTo>
                      <a:lnTo>
                        <a:pt x="214518" y="40599"/>
                      </a:lnTo>
                      <a:lnTo>
                        <a:pt x="200254" y="51023"/>
                      </a:lnTo>
                      <a:lnTo>
                        <a:pt x="167884" y="52669"/>
                      </a:lnTo>
                      <a:lnTo>
                        <a:pt x="160203" y="47731"/>
                      </a:lnTo>
                      <a:lnTo>
                        <a:pt x="112471" y="48829"/>
                      </a:lnTo>
                      <a:lnTo>
                        <a:pt x="106985" y="45537"/>
                      </a:lnTo>
                      <a:lnTo>
                        <a:pt x="101498" y="45537"/>
                      </a:lnTo>
                      <a:lnTo>
                        <a:pt x="98755" y="47183"/>
                      </a:lnTo>
                      <a:lnTo>
                        <a:pt x="91623" y="44988"/>
                      </a:lnTo>
                      <a:lnTo>
                        <a:pt x="88331" y="45537"/>
                      </a:lnTo>
                      <a:lnTo>
                        <a:pt x="82845" y="48829"/>
                      </a:lnTo>
                      <a:lnTo>
                        <a:pt x="59253" y="47183"/>
                      </a:lnTo>
                      <a:lnTo>
                        <a:pt x="47732" y="63094"/>
                      </a:lnTo>
                      <a:lnTo>
                        <a:pt x="46086" y="92171"/>
                      </a:lnTo>
                      <a:lnTo>
                        <a:pt x="51023" y="98206"/>
                      </a:lnTo>
                      <a:lnTo>
                        <a:pt x="58156" y="100950"/>
                      </a:lnTo>
                      <a:lnTo>
                        <a:pt x="68580" y="116311"/>
                      </a:lnTo>
                      <a:lnTo>
                        <a:pt x="83393" y="115763"/>
                      </a:lnTo>
                      <a:lnTo>
                        <a:pt x="85039" y="111374"/>
                      </a:lnTo>
                      <a:lnTo>
                        <a:pt x="95464" y="99852"/>
                      </a:lnTo>
                      <a:lnTo>
                        <a:pt x="103144" y="96561"/>
                      </a:lnTo>
                      <a:lnTo>
                        <a:pt x="117409" y="100401"/>
                      </a:lnTo>
                      <a:lnTo>
                        <a:pt x="121250" y="94915"/>
                      </a:lnTo>
                      <a:lnTo>
                        <a:pt x="147035" y="93817"/>
                      </a:lnTo>
                      <a:lnTo>
                        <a:pt x="148682" y="87782"/>
                      </a:lnTo>
                      <a:lnTo>
                        <a:pt x="159654" y="84490"/>
                      </a:lnTo>
                      <a:lnTo>
                        <a:pt x="166787" y="84490"/>
                      </a:lnTo>
                      <a:lnTo>
                        <a:pt x="171176" y="89977"/>
                      </a:lnTo>
                      <a:lnTo>
                        <a:pt x="170627" y="97658"/>
                      </a:lnTo>
                      <a:lnTo>
                        <a:pt x="166238" y="102595"/>
                      </a:lnTo>
                      <a:lnTo>
                        <a:pt x="157460" y="97658"/>
                      </a:lnTo>
                      <a:lnTo>
                        <a:pt x="149230" y="99852"/>
                      </a:lnTo>
                      <a:lnTo>
                        <a:pt x="128930" y="122895"/>
                      </a:lnTo>
                      <a:lnTo>
                        <a:pt x="102047" y="134417"/>
                      </a:lnTo>
                      <a:lnTo>
                        <a:pt x="93818" y="131125"/>
                      </a:lnTo>
                      <a:lnTo>
                        <a:pt x="94366" y="138257"/>
                      </a:lnTo>
                      <a:lnTo>
                        <a:pt x="103693" y="144292"/>
                      </a:lnTo>
                      <a:lnTo>
                        <a:pt x="123444" y="171175"/>
                      </a:lnTo>
                      <a:lnTo>
                        <a:pt x="126736" y="172273"/>
                      </a:lnTo>
                      <a:lnTo>
                        <a:pt x="130028" y="179405"/>
                      </a:lnTo>
                      <a:lnTo>
                        <a:pt x="133868" y="184343"/>
                      </a:lnTo>
                      <a:lnTo>
                        <a:pt x="131125" y="188183"/>
                      </a:lnTo>
                      <a:lnTo>
                        <a:pt x="126187" y="190378"/>
                      </a:lnTo>
                      <a:lnTo>
                        <a:pt x="125639" y="195864"/>
                      </a:lnTo>
                      <a:lnTo>
                        <a:pt x="126187" y="200254"/>
                      </a:lnTo>
                      <a:lnTo>
                        <a:pt x="138257" y="210129"/>
                      </a:lnTo>
                      <a:lnTo>
                        <a:pt x="138257" y="216164"/>
                      </a:lnTo>
                      <a:lnTo>
                        <a:pt x="142646" y="219456"/>
                      </a:lnTo>
                      <a:lnTo>
                        <a:pt x="147584" y="218359"/>
                      </a:lnTo>
                      <a:lnTo>
                        <a:pt x="149230" y="223845"/>
                      </a:lnTo>
                      <a:lnTo>
                        <a:pt x="144292" y="230429"/>
                      </a:lnTo>
                      <a:lnTo>
                        <a:pt x="134417" y="229880"/>
                      </a:lnTo>
                      <a:lnTo>
                        <a:pt x="124541" y="232075"/>
                      </a:lnTo>
                      <a:lnTo>
                        <a:pt x="120152" y="241402"/>
                      </a:lnTo>
                      <a:lnTo>
                        <a:pt x="113020" y="245791"/>
                      </a:lnTo>
                      <a:lnTo>
                        <a:pt x="102596" y="245242"/>
                      </a:lnTo>
                      <a:lnTo>
                        <a:pt x="99304" y="237012"/>
                      </a:lnTo>
                      <a:lnTo>
                        <a:pt x="98755" y="227686"/>
                      </a:lnTo>
                      <a:lnTo>
                        <a:pt x="101498" y="219456"/>
                      </a:lnTo>
                      <a:lnTo>
                        <a:pt x="97658" y="213970"/>
                      </a:lnTo>
                      <a:lnTo>
                        <a:pt x="81747" y="200802"/>
                      </a:lnTo>
                      <a:lnTo>
                        <a:pt x="77358" y="190927"/>
                      </a:lnTo>
                      <a:lnTo>
                        <a:pt x="82845" y="180502"/>
                      </a:lnTo>
                      <a:lnTo>
                        <a:pt x="80102" y="162946"/>
                      </a:lnTo>
                      <a:lnTo>
                        <a:pt x="71323" y="161849"/>
                      </a:lnTo>
                      <a:lnTo>
                        <a:pt x="54864" y="173370"/>
                      </a:lnTo>
                      <a:lnTo>
                        <a:pt x="51572" y="181600"/>
                      </a:lnTo>
                      <a:lnTo>
                        <a:pt x="56510" y="190927"/>
                      </a:lnTo>
                      <a:lnTo>
                        <a:pt x="55961" y="235366"/>
                      </a:lnTo>
                      <a:lnTo>
                        <a:pt x="58705" y="241402"/>
                      </a:lnTo>
                      <a:lnTo>
                        <a:pt x="54315" y="251277"/>
                      </a:lnTo>
                      <a:lnTo>
                        <a:pt x="57607" y="271577"/>
                      </a:lnTo>
                      <a:lnTo>
                        <a:pt x="55961" y="273223"/>
                      </a:lnTo>
                      <a:lnTo>
                        <a:pt x="37307" y="275966"/>
                      </a:lnTo>
                      <a:lnTo>
                        <a:pt x="28529" y="275417"/>
                      </a:lnTo>
                      <a:lnTo>
                        <a:pt x="22494" y="272125"/>
                      </a:lnTo>
                      <a:lnTo>
                        <a:pt x="18654" y="262250"/>
                      </a:lnTo>
                      <a:lnTo>
                        <a:pt x="29078" y="215615"/>
                      </a:lnTo>
                      <a:lnTo>
                        <a:pt x="26883" y="211775"/>
                      </a:lnTo>
                      <a:lnTo>
                        <a:pt x="23591" y="193121"/>
                      </a:lnTo>
                      <a:lnTo>
                        <a:pt x="6584" y="194767"/>
                      </a:lnTo>
                      <a:lnTo>
                        <a:pt x="1097" y="185989"/>
                      </a:lnTo>
                      <a:lnTo>
                        <a:pt x="0" y="163495"/>
                      </a:lnTo>
                      <a:lnTo>
                        <a:pt x="7681" y="154168"/>
                      </a:lnTo>
                      <a:lnTo>
                        <a:pt x="17557" y="133319"/>
                      </a:lnTo>
                      <a:lnTo>
                        <a:pt x="17008" y="113020"/>
                      </a:lnTo>
                      <a:lnTo>
                        <a:pt x="24689" y="97658"/>
                      </a:lnTo>
                      <a:lnTo>
                        <a:pt x="29627" y="92720"/>
                      </a:lnTo>
                      <a:lnTo>
                        <a:pt x="32918" y="86685"/>
                      </a:lnTo>
                      <a:lnTo>
                        <a:pt x="34564" y="93269"/>
                      </a:lnTo>
                      <a:lnTo>
                        <a:pt x="35662" y="70774"/>
                      </a:lnTo>
                      <a:lnTo>
                        <a:pt x="31273" y="65837"/>
                      </a:lnTo>
                      <a:lnTo>
                        <a:pt x="32918" y="66385"/>
                      </a:lnTo>
                      <a:lnTo>
                        <a:pt x="37307" y="58704"/>
                      </a:lnTo>
                      <a:lnTo>
                        <a:pt x="38954" y="46634"/>
                      </a:lnTo>
                      <a:lnTo>
                        <a:pt x="42794" y="38953"/>
                      </a:lnTo>
                      <a:lnTo>
                        <a:pt x="50475" y="30724"/>
                      </a:lnTo>
                      <a:lnTo>
                        <a:pt x="53218" y="30724"/>
                      </a:lnTo>
                      <a:lnTo>
                        <a:pt x="58156" y="34564"/>
                      </a:lnTo>
                      <a:lnTo>
                        <a:pt x="63094" y="34015"/>
                      </a:lnTo>
                      <a:lnTo>
                        <a:pt x="69677" y="26883"/>
                      </a:lnTo>
                      <a:lnTo>
                        <a:pt x="71323" y="18105"/>
                      </a:lnTo>
                      <a:lnTo>
                        <a:pt x="75164" y="15362"/>
                      </a:lnTo>
                      <a:lnTo>
                        <a:pt x="82296" y="14813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87" name="Graphic 7">
                  <a:extLst>
                    <a:ext uri="{FF2B5EF4-FFF2-40B4-BE49-F238E27FC236}">
                      <a16:creationId xmlns:a16="http://schemas.microsoft.com/office/drawing/2014/main" id="{402002AB-48D2-FC7B-5B4D-517A9C75401C}"/>
                    </a:ext>
                  </a:extLst>
                </p:cNvPr>
                <p:cNvSpPr/>
                <p:nvPr/>
              </p:nvSpPr>
              <p:spPr>
                <a:xfrm>
                  <a:off x="8813524" y="4620097"/>
                  <a:ext cx="7286" cy="9430"/>
                </a:xfrm>
                <a:custGeom>
                  <a:avLst/>
                  <a:gdLst>
                    <a:gd name="connsiteX0" fmla="*/ 0 w 9326"/>
                    <a:gd name="connsiteY0" fmla="*/ 2743 h 12070"/>
                    <a:gd name="connsiteX1" fmla="*/ 549 w 9326"/>
                    <a:gd name="connsiteY1" fmla="*/ 1097 h 12070"/>
                    <a:gd name="connsiteX2" fmla="*/ 3292 w 9326"/>
                    <a:gd name="connsiteY2" fmla="*/ 0 h 12070"/>
                    <a:gd name="connsiteX3" fmla="*/ 6583 w 9326"/>
                    <a:gd name="connsiteY3" fmla="*/ 0 h 12070"/>
                    <a:gd name="connsiteX4" fmla="*/ 9327 w 9326"/>
                    <a:gd name="connsiteY4" fmla="*/ 4389 h 12070"/>
                    <a:gd name="connsiteX5" fmla="*/ 9327 w 9326"/>
                    <a:gd name="connsiteY5" fmla="*/ 10424 h 12070"/>
                    <a:gd name="connsiteX6" fmla="*/ 6035 w 9326"/>
                    <a:gd name="connsiteY6" fmla="*/ 12070 h 12070"/>
                    <a:gd name="connsiteX7" fmla="*/ 2194 w 9326"/>
                    <a:gd name="connsiteY7" fmla="*/ 7681 h 12070"/>
                    <a:gd name="connsiteX8" fmla="*/ 0 w 9326"/>
                    <a:gd name="connsiteY8" fmla="*/ 2743 h 120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9326" h="12070">
                      <a:moveTo>
                        <a:pt x="0" y="2743"/>
                      </a:moveTo>
                      <a:lnTo>
                        <a:pt x="549" y="1097"/>
                      </a:lnTo>
                      <a:lnTo>
                        <a:pt x="3292" y="0"/>
                      </a:lnTo>
                      <a:lnTo>
                        <a:pt x="6583" y="0"/>
                      </a:lnTo>
                      <a:lnTo>
                        <a:pt x="9327" y="4389"/>
                      </a:lnTo>
                      <a:lnTo>
                        <a:pt x="9327" y="10424"/>
                      </a:lnTo>
                      <a:lnTo>
                        <a:pt x="6035" y="12070"/>
                      </a:lnTo>
                      <a:lnTo>
                        <a:pt x="2194" y="7681"/>
                      </a:lnTo>
                      <a:lnTo>
                        <a:pt x="0" y="2743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88" name="Graphic 7">
                  <a:extLst>
                    <a:ext uri="{FF2B5EF4-FFF2-40B4-BE49-F238E27FC236}">
                      <a16:creationId xmlns:a16="http://schemas.microsoft.com/office/drawing/2014/main" id="{AD57CDD7-25BC-527D-329F-DCD9CD34CF55}"/>
                    </a:ext>
                  </a:extLst>
                </p:cNvPr>
                <p:cNvSpPr/>
                <p:nvPr/>
              </p:nvSpPr>
              <p:spPr>
                <a:xfrm>
                  <a:off x="8827240" y="4605953"/>
                  <a:ext cx="12002" cy="21432"/>
                </a:xfrm>
                <a:custGeom>
                  <a:avLst/>
                  <a:gdLst>
                    <a:gd name="connsiteX0" fmla="*/ 2195 w 15362"/>
                    <a:gd name="connsiteY0" fmla="*/ 2743 h 27432"/>
                    <a:gd name="connsiteX1" fmla="*/ 7133 w 15362"/>
                    <a:gd name="connsiteY1" fmla="*/ 2743 h 27432"/>
                    <a:gd name="connsiteX2" fmla="*/ 10973 w 15362"/>
                    <a:gd name="connsiteY2" fmla="*/ 0 h 27432"/>
                    <a:gd name="connsiteX3" fmla="*/ 13716 w 15362"/>
                    <a:gd name="connsiteY3" fmla="*/ 1097 h 27432"/>
                    <a:gd name="connsiteX4" fmla="*/ 15362 w 15362"/>
                    <a:gd name="connsiteY4" fmla="*/ 12070 h 27432"/>
                    <a:gd name="connsiteX5" fmla="*/ 11522 w 15362"/>
                    <a:gd name="connsiteY5" fmla="*/ 27432 h 27432"/>
                    <a:gd name="connsiteX6" fmla="*/ 9876 w 15362"/>
                    <a:gd name="connsiteY6" fmla="*/ 25237 h 27432"/>
                    <a:gd name="connsiteX7" fmla="*/ 5486 w 15362"/>
                    <a:gd name="connsiteY7" fmla="*/ 27432 h 27432"/>
                    <a:gd name="connsiteX8" fmla="*/ 0 w 15362"/>
                    <a:gd name="connsiteY8" fmla="*/ 25786 h 27432"/>
                    <a:gd name="connsiteX9" fmla="*/ 2195 w 15362"/>
                    <a:gd name="connsiteY9" fmla="*/ 2743 h 274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5362" h="27432">
                      <a:moveTo>
                        <a:pt x="2195" y="2743"/>
                      </a:moveTo>
                      <a:lnTo>
                        <a:pt x="7133" y="2743"/>
                      </a:lnTo>
                      <a:lnTo>
                        <a:pt x="10973" y="0"/>
                      </a:lnTo>
                      <a:lnTo>
                        <a:pt x="13716" y="1097"/>
                      </a:lnTo>
                      <a:lnTo>
                        <a:pt x="15362" y="12070"/>
                      </a:lnTo>
                      <a:lnTo>
                        <a:pt x="11522" y="27432"/>
                      </a:lnTo>
                      <a:lnTo>
                        <a:pt x="9876" y="25237"/>
                      </a:lnTo>
                      <a:lnTo>
                        <a:pt x="5486" y="27432"/>
                      </a:lnTo>
                      <a:lnTo>
                        <a:pt x="0" y="25786"/>
                      </a:lnTo>
                      <a:lnTo>
                        <a:pt x="2195" y="2743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89" name="Graphic 7">
                  <a:extLst>
                    <a:ext uri="{FF2B5EF4-FFF2-40B4-BE49-F238E27FC236}">
                      <a16:creationId xmlns:a16="http://schemas.microsoft.com/office/drawing/2014/main" id="{9E4986E2-FD2E-0D97-3AB2-9CC63A27190F}"/>
                    </a:ext>
                  </a:extLst>
                </p:cNvPr>
                <p:cNvSpPr/>
                <p:nvPr/>
              </p:nvSpPr>
              <p:spPr>
                <a:xfrm>
                  <a:off x="8837528" y="4597808"/>
                  <a:ext cx="15430" cy="38149"/>
                </a:xfrm>
                <a:custGeom>
                  <a:avLst/>
                  <a:gdLst>
                    <a:gd name="connsiteX0" fmla="*/ 4938 w 19750"/>
                    <a:gd name="connsiteY0" fmla="*/ 24140 h 48829"/>
                    <a:gd name="connsiteX1" fmla="*/ 6584 w 19750"/>
                    <a:gd name="connsiteY1" fmla="*/ 22494 h 48829"/>
                    <a:gd name="connsiteX2" fmla="*/ 7132 w 19750"/>
                    <a:gd name="connsiteY2" fmla="*/ 6035 h 48829"/>
                    <a:gd name="connsiteX3" fmla="*/ 9327 w 19750"/>
                    <a:gd name="connsiteY3" fmla="*/ 3841 h 48829"/>
                    <a:gd name="connsiteX4" fmla="*/ 11521 w 19750"/>
                    <a:gd name="connsiteY4" fmla="*/ 0 h 48829"/>
                    <a:gd name="connsiteX5" fmla="*/ 13716 w 19750"/>
                    <a:gd name="connsiteY5" fmla="*/ 2195 h 48829"/>
                    <a:gd name="connsiteX6" fmla="*/ 19751 w 19750"/>
                    <a:gd name="connsiteY6" fmla="*/ 14813 h 48829"/>
                    <a:gd name="connsiteX7" fmla="*/ 18105 w 19750"/>
                    <a:gd name="connsiteY7" fmla="*/ 13716 h 48829"/>
                    <a:gd name="connsiteX8" fmla="*/ 13716 w 19750"/>
                    <a:gd name="connsiteY8" fmla="*/ 18654 h 48829"/>
                    <a:gd name="connsiteX9" fmla="*/ 12619 w 19750"/>
                    <a:gd name="connsiteY9" fmla="*/ 22494 h 48829"/>
                    <a:gd name="connsiteX10" fmla="*/ 13167 w 19750"/>
                    <a:gd name="connsiteY10" fmla="*/ 25786 h 48829"/>
                    <a:gd name="connsiteX11" fmla="*/ 16459 w 19750"/>
                    <a:gd name="connsiteY11" fmla="*/ 27981 h 48829"/>
                    <a:gd name="connsiteX12" fmla="*/ 18654 w 19750"/>
                    <a:gd name="connsiteY12" fmla="*/ 32918 h 48829"/>
                    <a:gd name="connsiteX13" fmla="*/ 18654 w 19750"/>
                    <a:gd name="connsiteY13" fmla="*/ 37856 h 48829"/>
                    <a:gd name="connsiteX14" fmla="*/ 4389 w 19750"/>
                    <a:gd name="connsiteY14" fmla="*/ 48829 h 48829"/>
                    <a:gd name="connsiteX15" fmla="*/ 0 w 19750"/>
                    <a:gd name="connsiteY15" fmla="*/ 44989 h 48829"/>
                    <a:gd name="connsiteX16" fmla="*/ 4938 w 19750"/>
                    <a:gd name="connsiteY16" fmla="*/ 24140 h 488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19750" h="48829">
                      <a:moveTo>
                        <a:pt x="4938" y="24140"/>
                      </a:moveTo>
                      <a:lnTo>
                        <a:pt x="6584" y="22494"/>
                      </a:lnTo>
                      <a:lnTo>
                        <a:pt x="7132" y="6035"/>
                      </a:lnTo>
                      <a:lnTo>
                        <a:pt x="9327" y="3841"/>
                      </a:lnTo>
                      <a:lnTo>
                        <a:pt x="11521" y="0"/>
                      </a:lnTo>
                      <a:lnTo>
                        <a:pt x="13716" y="2195"/>
                      </a:lnTo>
                      <a:lnTo>
                        <a:pt x="19751" y="14813"/>
                      </a:lnTo>
                      <a:lnTo>
                        <a:pt x="18105" y="13716"/>
                      </a:lnTo>
                      <a:lnTo>
                        <a:pt x="13716" y="18654"/>
                      </a:lnTo>
                      <a:lnTo>
                        <a:pt x="12619" y="22494"/>
                      </a:lnTo>
                      <a:lnTo>
                        <a:pt x="13167" y="25786"/>
                      </a:lnTo>
                      <a:lnTo>
                        <a:pt x="16459" y="27981"/>
                      </a:lnTo>
                      <a:lnTo>
                        <a:pt x="18654" y="32918"/>
                      </a:lnTo>
                      <a:lnTo>
                        <a:pt x="18654" y="37856"/>
                      </a:lnTo>
                      <a:lnTo>
                        <a:pt x="4389" y="48829"/>
                      </a:lnTo>
                      <a:lnTo>
                        <a:pt x="0" y="44989"/>
                      </a:lnTo>
                      <a:lnTo>
                        <a:pt x="4938" y="2414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90" name="Graphic 7">
                  <a:extLst>
                    <a:ext uri="{FF2B5EF4-FFF2-40B4-BE49-F238E27FC236}">
                      <a16:creationId xmlns:a16="http://schemas.microsoft.com/office/drawing/2014/main" id="{6F849974-B30C-A8DE-E562-6110ACE8CF7F}"/>
                    </a:ext>
                  </a:extLst>
                </p:cNvPr>
                <p:cNvSpPr/>
                <p:nvPr/>
              </p:nvSpPr>
              <p:spPr>
                <a:xfrm>
                  <a:off x="8847815" y="4585806"/>
                  <a:ext cx="6429" cy="8144"/>
                </a:xfrm>
                <a:custGeom>
                  <a:avLst/>
                  <a:gdLst>
                    <a:gd name="connsiteX0" fmla="*/ 549 w 8229"/>
                    <a:gd name="connsiteY0" fmla="*/ 2195 h 10424"/>
                    <a:gd name="connsiteX1" fmla="*/ 2194 w 8229"/>
                    <a:gd name="connsiteY1" fmla="*/ 0 h 10424"/>
                    <a:gd name="connsiteX2" fmla="*/ 3292 w 8229"/>
                    <a:gd name="connsiteY2" fmla="*/ 1646 h 10424"/>
                    <a:gd name="connsiteX3" fmla="*/ 6583 w 8229"/>
                    <a:gd name="connsiteY3" fmla="*/ 2743 h 10424"/>
                    <a:gd name="connsiteX4" fmla="*/ 8230 w 8229"/>
                    <a:gd name="connsiteY4" fmla="*/ 6035 h 10424"/>
                    <a:gd name="connsiteX5" fmla="*/ 7132 w 8229"/>
                    <a:gd name="connsiteY5" fmla="*/ 9875 h 10424"/>
                    <a:gd name="connsiteX6" fmla="*/ 4389 w 8229"/>
                    <a:gd name="connsiteY6" fmla="*/ 10424 h 10424"/>
                    <a:gd name="connsiteX7" fmla="*/ 549 w 8229"/>
                    <a:gd name="connsiteY7" fmla="*/ 8778 h 10424"/>
                    <a:gd name="connsiteX8" fmla="*/ 0 w 8229"/>
                    <a:gd name="connsiteY8" fmla="*/ 3292 h 10424"/>
                    <a:gd name="connsiteX9" fmla="*/ 549 w 8229"/>
                    <a:gd name="connsiteY9" fmla="*/ 2195 h 104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8229" h="10424">
                      <a:moveTo>
                        <a:pt x="549" y="2195"/>
                      </a:moveTo>
                      <a:lnTo>
                        <a:pt x="2194" y="0"/>
                      </a:lnTo>
                      <a:lnTo>
                        <a:pt x="3292" y="1646"/>
                      </a:lnTo>
                      <a:lnTo>
                        <a:pt x="6583" y="2743"/>
                      </a:lnTo>
                      <a:lnTo>
                        <a:pt x="8230" y="6035"/>
                      </a:lnTo>
                      <a:lnTo>
                        <a:pt x="7132" y="9875"/>
                      </a:lnTo>
                      <a:lnTo>
                        <a:pt x="4389" y="10424"/>
                      </a:lnTo>
                      <a:lnTo>
                        <a:pt x="549" y="8778"/>
                      </a:lnTo>
                      <a:lnTo>
                        <a:pt x="0" y="3292"/>
                      </a:lnTo>
                      <a:lnTo>
                        <a:pt x="549" y="2195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91" name="Graphic 7">
                  <a:extLst>
                    <a:ext uri="{FF2B5EF4-FFF2-40B4-BE49-F238E27FC236}">
                      <a16:creationId xmlns:a16="http://schemas.microsoft.com/office/drawing/2014/main" id="{0628BDDC-68A6-1C97-9ABF-B689C90802E5}"/>
                    </a:ext>
                  </a:extLst>
                </p:cNvPr>
                <p:cNvSpPr/>
                <p:nvPr/>
              </p:nvSpPr>
              <p:spPr>
                <a:xfrm>
                  <a:off x="8841814" y="4504365"/>
                  <a:ext cx="11144" cy="11573"/>
                </a:xfrm>
                <a:custGeom>
                  <a:avLst/>
                  <a:gdLst>
                    <a:gd name="connsiteX0" fmla="*/ 9327 w 14264"/>
                    <a:gd name="connsiteY0" fmla="*/ 0 h 14813"/>
                    <a:gd name="connsiteX1" fmla="*/ 13167 w 14264"/>
                    <a:gd name="connsiteY1" fmla="*/ 0 h 14813"/>
                    <a:gd name="connsiteX2" fmla="*/ 14265 w 14264"/>
                    <a:gd name="connsiteY2" fmla="*/ 1646 h 14813"/>
                    <a:gd name="connsiteX3" fmla="*/ 7132 w 14264"/>
                    <a:gd name="connsiteY3" fmla="*/ 14813 h 14813"/>
                    <a:gd name="connsiteX4" fmla="*/ 1646 w 14264"/>
                    <a:gd name="connsiteY4" fmla="*/ 14265 h 14813"/>
                    <a:gd name="connsiteX5" fmla="*/ 0 w 14264"/>
                    <a:gd name="connsiteY5" fmla="*/ 8230 h 14813"/>
                    <a:gd name="connsiteX6" fmla="*/ 1646 w 14264"/>
                    <a:gd name="connsiteY6" fmla="*/ 4938 h 14813"/>
                    <a:gd name="connsiteX7" fmla="*/ 3841 w 14264"/>
                    <a:gd name="connsiteY7" fmla="*/ 2195 h 14813"/>
                    <a:gd name="connsiteX8" fmla="*/ 9327 w 14264"/>
                    <a:gd name="connsiteY8" fmla="*/ 0 h 148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4264" h="14813">
                      <a:moveTo>
                        <a:pt x="9327" y="0"/>
                      </a:moveTo>
                      <a:lnTo>
                        <a:pt x="13167" y="0"/>
                      </a:lnTo>
                      <a:lnTo>
                        <a:pt x="14265" y="1646"/>
                      </a:lnTo>
                      <a:lnTo>
                        <a:pt x="7132" y="14813"/>
                      </a:lnTo>
                      <a:lnTo>
                        <a:pt x="1646" y="14265"/>
                      </a:lnTo>
                      <a:lnTo>
                        <a:pt x="0" y="8230"/>
                      </a:lnTo>
                      <a:lnTo>
                        <a:pt x="1646" y="4938"/>
                      </a:lnTo>
                      <a:lnTo>
                        <a:pt x="3841" y="2195"/>
                      </a:lnTo>
                      <a:lnTo>
                        <a:pt x="9327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92" name="Graphic 7">
                  <a:extLst>
                    <a:ext uri="{FF2B5EF4-FFF2-40B4-BE49-F238E27FC236}">
                      <a16:creationId xmlns:a16="http://schemas.microsoft.com/office/drawing/2014/main" id="{7CEBE48F-F68E-4CB9-4301-F1DFE155F43D}"/>
                    </a:ext>
                  </a:extLst>
                </p:cNvPr>
                <p:cNvSpPr/>
                <p:nvPr/>
              </p:nvSpPr>
              <p:spPr>
                <a:xfrm>
                  <a:off x="8852959" y="4506936"/>
                  <a:ext cx="9858" cy="9858"/>
                </a:xfrm>
                <a:custGeom>
                  <a:avLst/>
                  <a:gdLst>
                    <a:gd name="connsiteX0" fmla="*/ 549 w 12618"/>
                    <a:gd name="connsiteY0" fmla="*/ 4938 h 12618"/>
                    <a:gd name="connsiteX1" fmla="*/ 4389 w 12618"/>
                    <a:gd name="connsiteY1" fmla="*/ 549 h 12618"/>
                    <a:gd name="connsiteX2" fmla="*/ 7133 w 12618"/>
                    <a:gd name="connsiteY2" fmla="*/ 0 h 12618"/>
                    <a:gd name="connsiteX3" fmla="*/ 11522 w 12618"/>
                    <a:gd name="connsiteY3" fmla="*/ 549 h 12618"/>
                    <a:gd name="connsiteX4" fmla="*/ 12619 w 12618"/>
                    <a:gd name="connsiteY4" fmla="*/ 2195 h 12618"/>
                    <a:gd name="connsiteX5" fmla="*/ 12070 w 12618"/>
                    <a:gd name="connsiteY5" fmla="*/ 7681 h 12618"/>
                    <a:gd name="connsiteX6" fmla="*/ 9876 w 12618"/>
                    <a:gd name="connsiteY6" fmla="*/ 11522 h 12618"/>
                    <a:gd name="connsiteX7" fmla="*/ 4389 w 12618"/>
                    <a:gd name="connsiteY7" fmla="*/ 9327 h 12618"/>
                    <a:gd name="connsiteX8" fmla="*/ 2743 w 12618"/>
                    <a:gd name="connsiteY8" fmla="*/ 12619 h 12618"/>
                    <a:gd name="connsiteX9" fmla="*/ 549 w 12618"/>
                    <a:gd name="connsiteY9" fmla="*/ 9876 h 12618"/>
                    <a:gd name="connsiteX10" fmla="*/ 0 w 12618"/>
                    <a:gd name="connsiteY10" fmla="*/ 6035 h 12618"/>
                    <a:gd name="connsiteX11" fmla="*/ 549 w 12618"/>
                    <a:gd name="connsiteY11" fmla="*/ 4938 h 126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2618" h="12618">
                      <a:moveTo>
                        <a:pt x="549" y="4938"/>
                      </a:moveTo>
                      <a:lnTo>
                        <a:pt x="4389" y="549"/>
                      </a:lnTo>
                      <a:lnTo>
                        <a:pt x="7133" y="0"/>
                      </a:lnTo>
                      <a:lnTo>
                        <a:pt x="11522" y="549"/>
                      </a:lnTo>
                      <a:lnTo>
                        <a:pt x="12619" y="2195"/>
                      </a:lnTo>
                      <a:lnTo>
                        <a:pt x="12070" y="7681"/>
                      </a:lnTo>
                      <a:lnTo>
                        <a:pt x="9876" y="11522"/>
                      </a:lnTo>
                      <a:lnTo>
                        <a:pt x="4389" y="9327"/>
                      </a:lnTo>
                      <a:lnTo>
                        <a:pt x="2743" y="12619"/>
                      </a:lnTo>
                      <a:lnTo>
                        <a:pt x="549" y="9876"/>
                      </a:lnTo>
                      <a:lnTo>
                        <a:pt x="0" y="6035"/>
                      </a:lnTo>
                      <a:lnTo>
                        <a:pt x="549" y="4938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93" name="Graphic 7">
                  <a:extLst>
                    <a:ext uri="{FF2B5EF4-FFF2-40B4-BE49-F238E27FC236}">
                      <a16:creationId xmlns:a16="http://schemas.microsoft.com/office/drawing/2014/main" id="{A7CB11CF-43F4-83B5-831E-AE670F23D8EF}"/>
                    </a:ext>
                  </a:extLst>
                </p:cNvPr>
                <p:cNvSpPr/>
                <p:nvPr/>
              </p:nvSpPr>
              <p:spPr>
                <a:xfrm>
                  <a:off x="8888107" y="4519367"/>
                  <a:ext cx="25718" cy="9858"/>
                </a:xfrm>
                <a:custGeom>
                  <a:avLst/>
                  <a:gdLst>
                    <a:gd name="connsiteX0" fmla="*/ 549 w 32918"/>
                    <a:gd name="connsiteY0" fmla="*/ 0 h 12618"/>
                    <a:gd name="connsiteX1" fmla="*/ 13716 w 32918"/>
                    <a:gd name="connsiteY1" fmla="*/ 0 h 12618"/>
                    <a:gd name="connsiteX2" fmla="*/ 20848 w 32918"/>
                    <a:gd name="connsiteY2" fmla="*/ 2195 h 12618"/>
                    <a:gd name="connsiteX3" fmla="*/ 30176 w 32918"/>
                    <a:gd name="connsiteY3" fmla="*/ 2195 h 12618"/>
                    <a:gd name="connsiteX4" fmla="*/ 31821 w 32918"/>
                    <a:gd name="connsiteY4" fmla="*/ 2743 h 12618"/>
                    <a:gd name="connsiteX5" fmla="*/ 32919 w 32918"/>
                    <a:gd name="connsiteY5" fmla="*/ 4938 h 12618"/>
                    <a:gd name="connsiteX6" fmla="*/ 30176 w 32918"/>
                    <a:gd name="connsiteY6" fmla="*/ 5486 h 12618"/>
                    <a:gd name="connsiteX7" fmla="*/ 25786 w 32918"/>
                    <a:gd name="connsiteY7" fmla="*/ 8230 h 12618"/>
                    <a:gd name="connsiteX8" fmla="*/ 13716 w 32918"/>
                    <a:gd name="connsiteY8" fmla="*/ 8778 h 12618"/>
                    <a:gd name="connsiteX9" fmla="*/ 7681 w 32918"/>
                    <a:gd name="connsiteY9" fmla="*/ 12619 h 12618"/>
                    <a:gd name="connsiteX10" fmla="*/ 3292 w 32918"/>
                    <a:gd name="connsiteY10" fmla="*/ 12070 h 12618"/>
                    <a:gd name="connsiteX11" fmla="*/ 0 w 32918"/>
                    <a:gd name="connsiteY11" fmla="*/ 4389 h 12618"/>
                    <a:gd name="connsiteX12" fmla="*/ 0 w 32918"/>
                    <a:gd name="connsiteY12" fmla="*/ 2195 h 12618"/>
                    <a:gd name="connsiteX13" fmla="*/ 549 w 32918"/>
                    <a:gd name="connsiteY13" fmla="*/ 0 h 126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32918" h="12618">
                      <a:moveTo>
                        <a:pt x="549" y="0"/>
                      </a:moveTo>
                      <a:lnTo>
                        <a:pt x="13716" y="0"/>
                      </a:lnTo>
                      <a:lnTo>
                        <a:pt x="20848" y="2195"/>
                      </a:lnTo>
                      <a:lnTo>
                        <a:pt x="30176" y="2195"/>
                      </a:lnTo>
                      <a:lnTo>
                        <a:pt x="31821" y="2743"/>
                      </a:lnTo>
                      <a:lnTo>
                        <a:pt x="32919" y="4938"/>
                      </a:lnTo>
                      <a:lnTo>
                        <a:pt x="30176" y="5486"/>
                      </a:lnTo>
                      <a:lnTo>
                        <a:pt x="25786" y="8230"/>
                      </a:lnTo>
                      <a:lnTo>
                        <a:pt x="13716" y="8778"/>
                      </a:lnTo>
                      <a:lnTo>
                        <a:pt x="7681" y="12619"/>
                      </a:lnTo>
                      <a:lnTo>
                        <a:pt x="3292" y="12070"/>
                      </a:lnTo>
                      <a:lnTo>
                        <a:pt x="0" y="4389"/>
                      </a:lnTo>
                      <a:lnTo>
                        <a:pt x="0" y="2195"/>
                      </a:lnTo>
                      <a:lnTo>
                        <a:pt x="549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94" name="Graphic 7">
                  <a:extLst>
                    <a:ext uri="{FF2B5EF4-FFF2-40B4-BE49-F238E27FC236}">
                      <a16:creationId xmlns:a16="http://schemas.microsoft.com/office/drawing/2014/main" id="{99C656DC-BE8B-A254-03C3-4FD0E3152AAF}"/>
                    </a:ext>
                  </a:extLst>
                </p:cNvPr>
                <p:cNvSpPr/>
                <p:nvPr/>
              </p:nvSpPr>
              <p:spPr>
                <a:xfrm>
                  <a:off x="8917255" y="4522367"/>
                  <a:ext cx="26576" cy="5143"/>
                </a:xfrm>
                <a:custGeom>
                  <a:avLst/>
                  <a:gdLst>
                    <a:gd name="connsiteX0" fmla="*/ 1098 w 34016"/>
                    <a:gd name="connsiteY0" fmla="*/ 1646 h 6583"/>
                    <a:gd name="connsiteX1" fmla="*/ 0 w 34016"/>
                    <a:gd name="connsiteY1" fmla="*/ 549 h 6583"/>
                    <a:gd name="connsiteX2" fmla="*/ 8778 w 34016"/>
                    <a:gd name="connsiteY2" fmla="*/ 2743 h 6583"/>
                    <a:gd name="connsiteX3" fmla="*/ 33467 w 34016"/>
                    <a:gd name="connsiteY3" fmla="*/ 0 h 6583"/>
                    <a:gd name="connsiteX4" fmla="*/ 34016 w 34016"/>
                    <a:gd name="connsiteY4" fmla="*/ 549 h 6583"/>
                    <a:gd name="connsiteX5" fmla="*/ 31821 w 34016"/>
                    <a:gd name="connsiteY5" fmla="*/ 2743 h 6583"/>
                    <a:gd name="connsiteX6" fmla="*/ 5486 w 34016"/>
                    <a:gd name="connsiteY6" fmla="*/ 6584 h 6583"/>
                    <a:gd name="connsiteX7" fmla="*/ 1098 w 34016"/>
                    <a:gd name="connsiteY7" fmla="*/ 1646 h 65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4016" h="6583">
                      <a:moveTo>
                        <a:pt x="1098" y="1646"/>
                      </a:moveTo>
                      <a:lnTo>
                        <a:pt x="0" y="549"/>
                      </a:lnTo>
                      <a:lnTo>
                        <a:pt x="8778" y="2743"/>
                      </a:lnTo>
                      <a:lnTo>
                        <a:pt x="33467" y="0"/>
                      </a:lnTo>
                      <a:lnTo>
                        <a:pt x="34016" y="549"/>
                      </a:lnTo>
                      <a:lnTo>
                        <a:pt x="31821" y="2743"/>
                      </a:lnTo>
                      <a:lnTo>
                        <a:pt x="5486" y="6584"/>
                      </a:lnTo>
                      <a:lnTo>
                        <a:pt x="1098" y="1646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95" name="Graphic 7">
                  <a:extLst>
                    <a:ext uri="{FF2B5EF4-FFF2-40B4-BE49-F238E27FC236}">
                      <a16:creationId xmlns:a16="http://schemas.microsoft.com/office/drawing/2014/main" id="{A3B54B66-6474-67D3-7A88-9D773E636177}"/>
                    </a:ext>
                  </a:extLst>
                </p:cNvPr>
                <p:cNvSpPr/>
                <p:nvPr/>
              </p:nvSpPr>
              <p:spPr>
                <a:xfrm>
                  <a:off x="8931828" y="4527939"/>
                  <a:ext cx="4286" cy="13716"/>
                </a:xfrm>
                <a:custGeom>
                  <a:avLst/>
                  <a:gdLst>
                    <a:gd name="connsiteX0" fmla="*/ 549 w 5486"/>
                    <a:gd name="connsiteY0" fmla="*/ 1646 h 17556"/>
                    <a:gd name="connsiteX1" fmla="*/ 2195 w 5486"/>
                    <a:gd name="connsiteY1" fmla="*/ 0 h 17556"/>
                    <a:gd name="connsiteX2" fmla="*/ 3292 w 5486"/>
                    <a:gd name="connsiteY2" fmla="*/ 549 h 17556"/>
                    <a:gd name="connsiteX3" fmla="*/ 5486 w 5486"/>
                    <a:gd name="connsiteY3" fmla="*/ 17557 h 17556"/>
                    <a:gd name="connsiteX4" fmla="*/ 0 w 5486"/>
                    <a:gd name="connsiteY4" fmla="*/ 6584 h 17556"/>
                    <a:gd name="connsiteX5" fmla="*/ 549 w 5486"/>
                    <a:gd name="connsiteY5" fmla="*/ 1646 h 175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5486" h="17556">
                      <a:moveTo>
                        <a:pt x="549" y="1646"/>
                      </a:moveTo>
                      <a:lnTo>
                        <a:pt x="2195" y="0"/>
                      </a:lnTo>
                      <a:lnTo>
                        <a:pt x="3292" y="549"/>
                      </a:lnTo>
                      <a:lnTo>
                        <a:pt x="5486" y="17557"/>
                      </a:lnTo>
                      <a:lnTo>
                        <a:pt x="0" y="6584"/>
                      </a:lnTo>
                      <a:lnTo>
                        <a:pt x="549" y="1646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96" name="Graphic 7">
                  <a:extLst>
                    <a:ext uri="{FF2B5EF4-FFF2-40B4-BE49-F238E27FC236}">
                      <a16:creationId xmlns:a16="http://schemas.microsoft.com/office/drawing/2014/main" id="{FA7A87FF-D26A-3F80-EBCC-2E5235A92F24}"/>
                    </a:ext>
                  </a:extLst>
                </p:cNvPr>
                <p:cNvSpPr/>
                <p:nvPr/>
              </p:nvSpPr>
              <p:spPr>
                <a:xfrm>
                  <a:off x="8936115" y="4558373"/>
                  <a:ext cx="35148" cy="24861"/>
                </a:xfrm>
                <a:custGeom>
                  <a:avLst/>
                  <a:gdLst>
                    <a:gd name="connsiteX0" fmla="*/ 1097 w 44988"/>
                    <a:gd name="connsiteY0" fmla="*/ 2743 h 31821"/>
                    <a:gd name="connsiteX1" fmla="*/ 2195 w 44988"/>
                    <a:gd name="connsiteY1" fmla="*/ 2743 h 31821"/>
                    <a:gd name="connsiteX2" fmla="*/ 3292 w 44988"/>
                    <a:gd name="connsiteY2" fmla="*/ 6035 h 31821"/>
                    <a:gd name="connsiteX3" fmla="*/ 26335 w 44988"/>
                    <a:gd name="connsiteY3" fmla="*/ 0 h 31821"/>
                    <a:gd name="connsiteX4" fmla="*/ 39502 w 44988"/>
                    <a:gd name="connsiteY4" fmla="*/ 8230 h 31821"/>
                    <a:gd name="connsiteX5" fmla="*/ 39502 w 44988"/>
                    <a:gd name="connsiteY5" fmla="*/ 11522 h 31821"/>
                    <a:gd name="connsiteX6" fmla="*/ 43343 w 44988"/>
                    <a:gd name="connsiteY6" fmla="*/ 11522 h 31821"/>
                    <a:gd name="connsiteX7" fmla="*/ 44988 w 44988"/>
                    <a:gd name="connsiteY7" fmla="*/ 20849 h 31821"/>
                    <a:gd name="connsiteX8" fmla="*/ 42245 w 44988"/>
                    <a:gd name="connsiteY8" fmla="*/ 25238 h 31821"/>
                    <a:gd name="connsiteX9" fmla="*/ 28529 w 44988"/>
                    <a:gd name="connsiteY9" fmla="*/ 31821 h 31821"/>
                    <a:gd name="connsiteX10" fmla="*/ 11521 w 44988"/>
                    <a:gd name="connsiteY10" fmla="*/ 25786 h 31821"/>
                    <a:gd name="connsiteX11" fmla="*/ 2195 w 44988"/>
                    <a:gd name="connsiteY11" fmla="*/ 13716 h 31821"/>
                    <a:gd name="connsiteX12" fmla="*/ 0 w 44988"/>
                    <a:gd name="connsiteY12" fmla="*/ 7133 h 31821"/>
                    <a:gd name="connsiteX13" fmla="*/ 0 w 44988"/>
                    <a:gd name="connsiteY13" fmla="*/ 3841 h 31821"/>
                    <a:gd name="connsiteX14" fmla="*/ 1097 w 44988"/>
                    <a:gd name="connsiteY14" fmla="*/ 2743 h 318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44988" h="31821">
                      <a:moveTo>
                        <a:pt x="1097" y="2743"/>
                      </a:moveTo>
                      <a:lnTo>
                        <a:pt x="2195" y="2743"/>
                      </a:lnTo>
                      <a:lnTo>
                        <a:pt x="3292" y="6035"/>
                      </a:lnTo>
                      <a:lnTo>
                        <a:pt x="26335" y="0"/>
                      </a:lnTo>
                      <a:lnTo>
                        <a:pt x="39502" y="8230"/>
                      </a:lnTo>
                      <a:lnTo>
                        <a:pt x="39502" y="11522"/>
                      </a:lnTo>
                      <a:lnTo>
                        <a:pt x="43343" y="11522"/>
                      </a:lnTo>
                      <a:lnTo>
                        <a:pt x="44988" y="20849"/>
                      </a:lnTo>
                      <a:lnTo>
                        <a:pt x="42245" y="25238"/>
                      </a:lnTo>
                      <a:lnTo>
                        <a:pt x="28529" y="31821"/>
                      </a:lnTo>
                      <a:lnTo>
                        <a:pt x="11521" y="25786"/>
                      </a:lnTo>
                      <a:lnTo>
                        <a:pt x="2195" y="13716"/>
                      </a:lnTo>
                      <a:lnTo>
                        <a:pt x="0" y="7133"/>
                      </a:lnTo>
                      <a:lnTo>
                        <a:pt x="0" y="3841"/>
                      </a:lnTo>
                      <a:lnTo>
                        <a:pt x="1097" y="2743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97" name="Graphic 7">
                  <a:extLst>
                    <a:ext uri="{FF2B5EF4-FFF2-40B4-BE49-F238E27FC236}">
                      <a16:creationId xmlns:a16="http://schemas.microsoft.com/office/drawing/2014/main" id="{E73CE3C6-D91E-55A7-2D76-29646432AB5D}"/>
                    </a:ext>
                  </a:extLst>
                </p:cNvPr>
                <p:cNvSpPr/>
                <p:nvPr/>
              </p:nvSpPr>
              <p:spPr>
                <a:xfrm>
                  <a:off x="8918541" y="4362055"/>
                  <a:ext cx="6001" cy="10716"/>
                </a:xfrm>
                <a:custGeom>
                  <a:avLst/>
                  <a:gdLst>
                    <a:gd name="connsiteX0" fmla="*/ 0 w 7681"/>
                    <a:gd name="connsiteY0" fmla="*/ 0 h 13716"/>
                    <a:gd name="connsiteX1" fmla="*/ 549 w 7681"/>
                    <a:gd name="connsiteY1" fmla="*/ 0 h 13716"/>
                    <a:gd name="connsiteX2" fmla="*/ 3292 w 7681"/>
                    <a:gd name="connsiteY2" fmla="*/ 2195 h 13716"/>
                    <a:gd name="connsiteX3" fmla="*/ 7681 w 7681"/>
                    <a:gd name="connsiteY3" fmla="*/ 13716 h 13716"/>
                    <a:gd name="connsiteX4" fmla="*/ 0 w 7681"/>
                    <a:gd name="connsiteY4" fmla="*/ 0 h 137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681" h="13716">
                      <a:moveTo>
                        <a:pt x="0" y="0"/>
                      </a:moveTo>
                      <a:lnTo>
                        <a:pt x="549" y="0"/>
                      </a:lnTo>
                      <a:lnTo>
                        <a:pt x="3292" y="2195"/>
                      </a:lnTo>
                      <a:lnTo>
                        <a:pt x="7681" y="13716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98" name="Graphic 7">
                  <a:extLst>
                    <a:ext uri="{FF2B5EF4-FFF2-40B4-BE49-F238E27FC236}">
                      <a16:creationId xmlns:a16="http://schemas.microsoft.com/office/drawing/2014/main" id="{A15769D7-2A27-1E88-C500-866295161138}"/>
                    </a:ext>
                  </a:extLst>
                </p:cNvPr>
                <p:cNvSpPr/>
                <p:nvPr/>
              </p:nvSpPr>
              <p:spPr>
                <a:xfrm>
                  <a:off x="8957547" y="4338051"/>
                  <a:ext cx="3857" cy="15002"/>
                </a:xfrm>
                <a:custGeom>
                  <a:avLst/>
                  <a:gdLst>
                    <a:gd name="connsiteX0" fmla="*/ 0 w 4937"/>
                    <a:gd name="connsiteY0" fmla="*/ 0 h 19202"/>
                    <a:gd name="connsiteX1" fmla="*/ 2743 w 4937"/>
                    <a:gd name="connsiteY1" fmla="*/ 0 h 19202"/>
                    <a:gd name="connsiteX2" fmla="*/ 4938 w 4937"/>
                    <a:gd name="connsiteY2" fmla="*/ 10973 h 19202"/>
                    <a:gd name="connsiteX3" fmla="*/ 4389 w 4937"/>
                    <a:gd name="connsiteY3" fmla="*/ 17557 h 19202"/>
                    <a:gd name="connsiteX4" fmla="*/ 2195 w 4937"/>
                    <a:gd name="connsiteY4" fmla="*/ 19202 h 19202"/>
                    <a:gd name="connsiteX5" fmla="*/ 0 w 4937"/>
                    <a:gd name="connsiteY5" fmla="*/ 0 h 192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937" h="19202">
                      <a:moveTo>
                        <a:pt x="0" y="0"/>
                      </a:moveTo>
                      <a:lnTo>
                        <a:pt x="2743" y="0"/>
                      </a:lnTo>
                      <a:lnTo>
                        <a:pt x="4938" y="10973"/>
                      </a:lnTo>
                      <a:lnTo>
                        <a:pt x="4389" y="17557"/>
                      </a:lnTo>
                      <a:lnTo>
                        <a:pt x="2195" y="19202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399" name="Graphic 7">
                  <a:extLst>
                    <a:ext uri="{FF2B5EF4-FFF2-40B4-BE49-F238E27FC236}">
                      <a16:creationId xmlns:a16="http://schemas.microsoft.com/office/drawing/2014/main" id="{DF2E179C-B879-7D9A-57C8-CDD48B28149F}"/>
                    </a:ext>
                  </a:extLst>
                </p:cNvPr>
                <p:cNvSpPr/>
                <p:nvPr/>
              </p:nvSpPr>
              <p:spPr>
                <a:xfrm>
                  <a:off x="9002127" y="4393346"/>
                  <a:ext cx="11144" cy="17145"/>
                </a:xfrm>
                <a:custGeom>
                  <a:avLst/>
                  <a:gdLst>
                    <a:gd name="connsiteX0" fmla="*/ 9875 w 14264"/>
                    <a:gd name="connsiteY0" fmla="*/ 0 h 21945"/>
                    <a:gd name="connsiteX1" fmla="*/ 13716 w 14264"/>
                    <a:gd name="connsiteY1" fmla="*/ 4938 h 21945"/>
                    <a:gd name="connsiteX2" fmla="*/ 14265 w 14264"/>
                    <a:gd name="connsiteY2" fmla="*/ 8230 h 21945"/>
                    <a:gd name="connsiteX3" fmla="*/ 13716 w 14264"/>
                    <a:gd name="connsiteY3" fmla="*/ 13167 h 21945"/>
                    <a:gd name="connsiteX4" fmla="*/ 8778 w 14264"/>
                    <a:gd name="connsiteY4" fmla="*/ 21946 h 21945"/>
                    <a:gd name="connsiteX5" fmla="*/ 1646 w 14264"/>
                    <a:gd name="connsiteY5" fmla="*/ 21946 h 21945"/>
                    <a:gd name="connsiteX6" fmla="*/ 0 w 14264"/>
                    <a:gd name="connsiteY6" fmla="*/ 12619 h 21945"/>
                    <a:gd name="connsiteX7" fmla="*/ 0 w 14264"/>
                    <a:gd name="connsiteY7" fmla="*/ 7681 h 21945"/>
                    <a:gd name="connsiteX8" fmla="*/ 3292 w 14264"/>
                    <a:gd name="connsiteY8" fmla="*/ 3292 h 21945"/>
                    <a:gd name="connsiteX9" fmla="*/ 9875 w 14264"/>
                    <a:gd name="connsiteY9" fmla="*/ 0 h 219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4264" h="21945">
                      <a:moveTo>
                        <a:pt x="9875" y="0"/>
                      </a:moveTo>
                      <a:lnTo>
                        <a:pt x="13716" y="4938"/>
                      </a:lnTo>
                      <a:lnTo>
                        <a:pt x="14265" y="8230"/>
                      </a:lnTo>
                      <a:lnTo>
                        <a:pt x="13716" y="13167"/>
                      </a:lnTo>
                      <a:lnTo>
                        <a:pt x="8778" y="21946"/>
                      </a:lnTo>
                      <a:lnTo>
                        <a:pt x="1646" y="21946"/>
                      </a:lnTo>
                      <a:lnTo>
                        <a:pt x="0" y="12619"/>
                      </a:lnTo>
                      <a:lnTo>
                        <a:pt x="0" y="7681"/>
                      </a:lnTo>
                      <a:lnTo>
                        <a:pt x="3292" y="3292"/>
                      </a:lnTo>
                      <a:lnTo>
                        <a:pt x="9875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400" name="Graphic 7">
                  <a:extLst>
                    <a:ext uri="{FF2B5EF4-FFF2-40B4-BE49-F238E27FC236}">
                      <a16:creationId xmlns:a16="http://schemas.microsoft.com/office/drawing/2014/main" id="{6F749B41-F05A-C071-978D-A47721E04927}"/>
                    </a:ext>
                  </a:extLst>
                </p:cNvPr>
                <p:cNvSpPr/>
                <p:nvPr/>
              </p:nvSpPr>
              <p:spPr>
                <a:xfrm>
                  <a:off x="8975550" y="4405347"/>
                  <a:ext cx="42864" cy="91301"/>
                </a:xfrm>
                <a:custGeom>
                  <a:avLst/>
                  <a:gdLst>
                    <a:gd name="connsiteX0" fmla="*/ 20849 w 54864"/>
                    <a:gd name="connsiteY0" fmla="*/ 549 h 116860"/>
                    <a:gd name="connsiteX1" fmla="*/ 21946 w 54864"/>
                    <a:gd name="connsiteY1" fmla="*/ 0 h 116860"/>
                    <a:gd name="connsiteX2" fmla="*/ 24140 w 54864"/>
                    <a:gd name="connsiteY2" fmla="*/ 1097 h 116860"/>
                    <a:gd name="connsiteX3" fmla="*/ 24140 w 54864"/>
                    <a:gd name="connsiteY3" fmla="*/ 4389 h 116860"/>
                    <a:gd name="connsiteX4" fmla="*/ 21397 w 54864"/>
                    <a:gd name="connsiteY4" fmla="*/ 9327 h 116860"/>
                    <a:gd name="connsiteX5" fmla="*/ 18654 w 54864"/>
                    <a:gd name="connsiteY5" fmla="*/ 12070 h 116860"/>
                    <a:gd name="connsiteX6" fmla="*/ 18105 w 54864"/>
                    <a:gd name="connsiteY6" fmla="*/ 14265 h 116860"/>
                    <a:gd name="connsiteX7" fmla="*/ 20849 w 54864"/>
                    <a:gd name="connsiteY7" fmla="*/ 17008 h 116860"/>
                    <a:gd name="connsiteX8" fmla="*/ 24140 w 54864"/>
                    <a:gd name="connsiteY8" fmla="*/ 30724 h 116860"/>
                    <a:gd name="connsiteX9" fmla="*/ 23592 w 54864"/>
                    <a:gd name="connsiteY9" fmla="*/ 36210 h 116860"/>
                    <a:gd name="connsiteX10" fmla="*/ 9876 w 54864"/>
                    <a:gd name="connsiteY10" fmla="*/ 48829 h 116860"/>
                    <a:gd name="connsiteX11" fmla="*/ 10424 w 54864"/>
                    <a:gd name="connsiteY11" fmla="*/ 50475 h 116860"/>
                    <a:gd name="connsiteX12" fmla="*/ 15362 w 54864"/>
                    <a:gd name="connsiteY12" fmla="*/ 51572 h 116860"/>
                    <a:gd name="connsiteX13" fmla="*/ 25786 w 54864"/>
                    <a:gd name="connsiteY13" fmla="*/ 42794 h 116860"/>
                    <a:gd name="connsiteX14" fmla="*/ 32370 w 54864"/>
                    <a:gd name="connsiteY14" fmla="*/ 30724 h 116860"/>
                    <a:gd name="connsiteX15" fmla="*/ 38405 w 54864"/>
                    <a:gd name="connsiteY15" fmla="*/ 26883 h 116860"/>
                    <a:gd name="connsiteX16" fmla="*/ 46086 w 54864"/>
                    <a:gd name="connsiteY16" fmla="*/ 26335 h 116860"/>
                    <a:gd name="connsiteX17" fmla="*/ 47732 w 54864"/>
                    <a:gd name="connsiteY17" fmla="*/ 27981 h 116860"/>
                    <a:gd name="connsiteX18" fmla="*/ 50475 w 54864"/>
                    <a:gd name="connsiteY18" fmla="*/ 34015 h 116860"/>
                    <a:gd name="connsiteX19" fmla="*/ 50475 w 54864"/>
                    <a:gd name="connsiteY19" fmla="*/ 42794 h 116860"/>
                    <a:gd name="connsiteX20" fmla="*/ 35662 w 54864"/>
                    <a:gd name="connsiteY20" fmla="*/ 53218 h 116860"/>
                    <a:gd name="connsiteX21" fmla="*/ 35662 w 54864"/>
                    <a:gd name="connsiteY21" fmla="*/ 55961 h 116860"/>
                    <a:gd name="connsiteX22" fmla="*/ 47184 w 54864"/>
                    <a:gd name="connsiteY22" fmla="*/ 63094 h 116860"/>
                    <a:gd name="connsiteX23" fmla="*/ 48281 w 54864"/>
                    <a:gd name="connsiteY23" fmla="*/ 68031 h 116860"/>
                    <a:gd name="connsiteX24" fmla="*/ 50475 w 54864"/>
                    <a:gd name="connsiteY24" fmla="*/ 70774 h 116860"/>
                    <a:gd name="connsiteX25" fmla="*/ 54864 w 54864"/>
                    <a:gd name="connsiteY25" fmla="*/ 73518 h 116860"/>
                    <a:gd name="connsiteX26" fmla="*/ 48281 w 54864"/>
                    <a:gd name="connsiteY26" fmla="*/ 74066 h 116860"/>
                    <a:gd name="connsiteX27" fmla="*/ 24689 w 54864"/>
                    <a:gd name="connsiteY27" fmla="*/ 65837 h 116860"/>
                    <a:gd name="connsiteX28" fmla="*/ 21397 w 54864"/>
                    <a:gd name="connsiteY28" fmla="*/ 70226 h 116860"/>
                    <a:gd name="connsiteX29" fmla="*/ 21946 w 54864"/>
                    <a:gd name="connsiteY29" fmla="*/ 93817 h 116860"/>
                    <a:gd name="connsiteX30" fmla="*/ 36759 w 54864"/>
                    <a:gd name="connsiteY30" fmla="*/ 115763 h 116860"/>
                    <a:gd name="connsiteX31" fmla="*/ 34016 w 54864"/>
                    <a:gd name="connsiteY31" fmla="*/ 116860 h 116860"/>
                    <a:gd name="connsiteX32" fmla="*/ 13716 w 54864"/>
                    <a:gd name="connsiteY32" fmla="*/ 93817 h 116860"/>
                    <a:gd name="connsiteX33" fmla="*/ 11522 w 54864"/>
                    <a:gd name="connsiteY33" fmla="*/ 72420 h 116860"/>
                    <a:gd name="connsiteX34" fmla="*/ 8230 w 54864"/>
                    <a:gd name="connsiteY34" fmla="*/ 63094 h 116860"/>
                    <a:gd name="connsiteX35" fmla="*/ 8230 w 54864"/>
                    <a:gd name="connsiteY35" fmla="*/ 54864 h 116860"/>
                    <a:gd name="connsiteX36" fmla="*/ 6584 w 54864"/>
                    <a:gd name="connsiteY36" fmla="*/ 48829 h 116860"/>
                    <a:gd name="connsiteX37" fmla="*/ 3841 w 54864"/>
                    <a:gd name="connsiteY37" fmla="*/ 46634 h 116860"/>
                    <a:gd name="connsiteX38" fmla="*/ 0 w 54864"/>
                    <a:gd name="connsiteY38" fmla="*/ 40599 h 116860"/>
                    <a:gd name="connsiteX39" fmla="*/ 549 w 54864"/>
                    <a:gd name="connsiteY39" fmla="*/ 33467 h 116860"/>
                    <a:gd name="connsiteX40" fmla="*/ 1646 w 54864"/>
                    <a:gd name="connsiteY40" fmla="*/ 32918 h 116860"/>
                    <a:gd name="connsiteX41" fmla="*/ 10424 w 54864"/>
                    <a:gd name="connsiteY41" fmla="*/ 10424 h 116860"/>
                    <a:gd name="connsiteX42" fmla="*/ 20849 w 54864"/>
                    <a:gd name="connsiteY42" fmla="*/ 549 h 1168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</a:cxnLst>
                  <a:rect l="l" t="t" r="r" b="b"/>
                  <a:pathLst>
                    <a:path w="54864" h="116860">
                      <a:moveTo>
                        <a:pt x="20849" y="549"/>
                      </a:moveTo>
                      <a:lnTo>
                        <a:pt x="21946" y="0"/>
                      </a:lnTo>
                      <a:lnTo>
                        <a:pt x="24140" y="1097"/>
                      </a:lnTo>
                      <a:lnTo>
                        <a:pt x="24140" y="4389"/>
                      </a:lnTo>
                      <a:lnTo>
                        <a:pt x="21397" y="9327"/>
                      </a:lnTo>
                      <a:lnTo>
                        <a:pt x="18654" y="12070"/>
                      </a:lnTo>
                      <a:lnTo>
                        <a:pt x="18105" y="14265"/>
                      </a:lnTo>
                      <a:lnTo>
                        <a:pt x="20849" y="17008"/>
                      </a:lnTo>
                      <a:lnTo>
                        <a:pt x="24140" y="30724"/>
                      </a:lnTo>
                      <a:lnTo>
                        <a:pt x="23592" y="36210"/>
                      </a:lnTo>
                      <a:lnTo>
                        <a:pt x="9876" y="48829"/>
                      </a:lnTo>
                      <a:lnTo>
                        <a:pt x="10424" y="50475"/>
                      </a:lnTo>
                      <a:lnTo>
                        <a:pt x="15362" y="51572"/>
                      </a:lnTo>
                      <a:lnTo>
                        <a:pt x="25786" y="42794"/>
                      </a:lnTo>
                      <a:lnTo>
                        <a:pt x="32370" y="30724"/>
                      </a:lnTo>
                      <a:lnTo>
                        <a:pt x="38405" y="26883"/>
                      </a:lnTo>
                      <a:lnTo>
                        <a:pt x="46086" y="26335"/>
                      </a:lnTo>
                      <a:lnTo>
                        <a:pt x="47732" y="27981"/>
                      </a:lnTo>
                      <a:lnTo>
                        <a:pt x="50475" y="34015"/>
                      </a:lnTo>
                      <a:lnTo>
                        <a:pt x="50475" y="42794"/>
                      </a:lnTo>
                      <a:lnTo>
                        <a:pt x="35662" y="53218"/>
                      </a:lnTo>
                      <a:lnTo>
                        <a:pt x="35662" y="55961"/>
                      </a:lnTo>
                      <a:lnTo>
                        <a:pt x="47184" y="63094"/>
                      </a:lnTo>
                      <a:lnTo>
                        <a:pt x="48281" y="68031"/>
                      </a:lnTo>
                      <a:lnTo>
                        <a:pt x="50475" y="70774"/>
                      </a:lnTo>
                      <a:lnTo>
                        <a:pt x="54864" y="73518"/>
                      </a:lnTo>
                      <a:lnTo>
                        <a:pt x="48281" y="74066"/>
                      </a:lnTo>
                      <a:lnTo>
                        <a:pt x="24689" y="65837"/>
                      </a:lnTo>
                      <a:lnTo>
                        <a:pt x="21397" y="70226"/>
                      </a:lnTo>
                      <a:lnTo>
                        <a:pt x="21946" y="93817"/>
                      </a:lnTo>
                      <a:lnTo>
                        <a:pt x="36759" y="115763"/>
                      </a:lnTo>
                      <a:lnTo>
                        <a:pt x="34016" y="116860"/>
                      </a:lnTo>
                      <a:lnTo>
                        <a:pt x="13716" y="93817"/>
                      </a:lnTo>
                      <a:lnTo>
                        <a:pt x="11522" y="72420"/>
                      </a:lnTo>
                      <a:lnTo>
                        <a:pt x="8230" y="63094"/>
                      </a:lnTo>
                      <a:lnTo>
                        <a:pt x="8230" y="54864"/>
                      </a:lnTo>
                      <a:lnTo>
                        <a:pt x="6584" y="48829"/>
                      </a:lnTo>
                      <a:lnTo>
                        <a:pt x="3841" y="46634"/>
                      </a:lnTo>
                      <a:lnTo>
                        <a:pt x="0" y="40599"/>
                      </a:lnTo>
                      <a:lnTo>
                        <a:pt x="549" y="33467"/>
                      </a:lnTo>
                      <a:lnTo>
                        <a:pt x="1646" y="32918"/>
                      </a:lnTo>
                      <a:lnTo>
                        <a:pt x="10424" y="10424"/>
                      </a:lnTo>
                      <a:lnTo>
                        <a:pt x="20849" y="549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401" name="Graphic 7">
                  <a:extLst>
                    <a:ext uri="{FF2B5EF4-FFF2-40B4-BE49-F238E27FC236}">
                      <a16:creationId xmlns:a16="http://schemas.microsoft.com/office/drawing/2014/main" id="{DB756BEC-DBC5-4A58-C371-D3FF2420AA45}"/>
                    </a:ext>
                  </a:extLst>
                </p:cNvPr>
                <p:cNvSpPr/>
                <p:nvPr/>
              </p:nvSpPr>
              <p:spPr>
                <a:xfrm>
                  <a:off x="8974693" y="4480789"/>
                  <a:ext cx="14145" cy="15002"/>
                </a:xfrm>
                <a:custGeom>
                  <a:avLst/>
                  <a:gdLst>
                    <a:gd name="connsiteX0" fmla="*/ 0 w 18105"/>
                    <a:gd name="connsiteY0" fmla="*/ 0 h 19202"/>
                    <a:gd name="connsiteX1" fmla="*/ 6035 w 18105"/>
                    <a:gd name="connsiteY1" fmla="*/ 0 h 19202"/>
                    <a:gd name="connsiteX2" fmla="*/ 9327 w 18105"/>
                    <a:gd name="connsiteY2" fmla="*/ 4389 h 19202"/>
                    <a:gd name="connsiteX3" fmla="*/ 9876 w 18105"/>
                    <a:gd name="connsiteY3" fmla="*/ 9327 h 19202"/>
                    <a:gd name="connsiteX4" fmla="*/ 12619 w 18105"/>
                    <a:gd name="connsiteY4" fmla="*/ 12619 h 19202"/>
                    <a:gd name="connsiteX5" fmla="*/ 18105 w 18105"/>
                    <a:gd name="connsiteY5" fmla="*/ 15911 h 19202"/>
                    <a:gd name="connsiteX6" fmla="*/ 16459 w 18105"/>
                    <a:gd name="connsiteY6" fmla="*/ 19202 h 19202"/>
                    <a:gd name="connsiteX7" fmla="*/ 12070 w 18105"/>
                    <a:gd name="connsiteY7" fmla="*/ 15911 h 19202"/>
                    <a:gd name="connsiteX8" fmla="*/ 6035 w 18105"/>
                    <a:gd name="connsiteY8" fmla="*/ 17008 h 19202"/>
                    <a:gd name="connsiteX9" fmla="*/ 0 w 18105"/>
                    <a:gd name="connsiteY9" fmla="*/ 0 h 192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8105" h="19202">
                      <a:moveTo>
                        <a:pt x="0" y="0"/>
                      </a:moveTo>
                      <a:lnTo>
                        <a:pt x="6035" y="0"/>
                      </a:lnTo>
                      <a:lnTo>
                        <a:pt x="9327" y="4389"/>
                      </a:lnTo>
                      <a:lnTo>
                        <a:pt x="9876" y="9327"/>
                      </a:lnTo>
                      <a:lnTo>
                        <a:pt x="12619" y="12619"/>
                      </a:lnTo>
                      <a:lnTo>
                        <a:pt x="18105" y="15911"/>
                      </a:lnTo>
                      <a:lnTo>
                        <a:pt x="16459" y="19202"/>
                      </a:lnTo>
                      <a:lnTo>
                        <a:pt x="12070" y="15911"/>
                      </a:lnTo>
                      <a:lnTo>
                        <a:pt x="6035" y="17008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402" name="Graphic 7">
                  <a:extLst>
                    <a:ext uri="{FF2B5EF4-FFF2-40B4-BE49-F238E27FC236}">
                      <a16:creationId xmlns:a16="http://schemas.microsoft.com/office/drawing/2014/main" id="{3729371D-E002-6DC9-B85B-ED95EADBF3D0}"/>
                    </a:ext>
                  </a:extLst>
                </p:cNvPr>
                <p:cNvSpPr/>
                <p:nvPr/>
              </p:nvSpPr>
              <p:spPr>
                <a:xfrm>
                  <a:off x="8975978" y="4509936"/>
                  <a:ext cx="22289" cy="11144"/>
                </a:xfrm>
                <a:custGeom>
                  <a:avLst/>
                  <a:gdLst>
                    <a:gd name="connsiteX0" fmla="*/ 549 w 28529"/>
                    <a:gd name="connsiteY0" fmla="*/ 3841 h 14264"/>
                    <a:gd name="connsiteX1" fmla="*/ 3292 w 28529"/>
                    <a:gd name="connsiteY1" fmla="*/ 2743 h 14264"/>
                    <a:gd name="connsiteX2" fmla="*/ 8230 w 28529"/>
                    <a:gd name="connsiteY2" fmla="*/ 0 h 14264"/>
                    <a:gd name="connsiteX3" fmla="*/ 26883 w 28529"/>
                    <a:gd name="connsiteY3" fmla="*/ 6584 h 14264"/>
                    <a:gd name="connsiteX4" fmla="*/ 28529 w 28529"/>
                    <a:gd name="connsiteY4" fmla="*/ 9327 h 14264"/>
                    <a:gd name="connsiteX5" fmla="*/ 26883 w 28529"/>
                    <a:gd name="connsiteY5" fmla="*/ 12619 h 14264"/>
                    <a:gd name="connsiteX6" fmla="*/ 5486 w 28529"/>
                    <a:gd name="connsiteY6" fmla="*/ 14265 h 14264"/>
                    <a:gd name="connsiteX7" fmla="*/ 1097 w 28529"/>
                    <a:gd name="connsiteY7" fmla="*/ 12070 h 14264"/>
                    <a:gd name="connsiteX8" fmla="*/ 0 w 28529"/>
                    <a:gd name="connsiteY8" fmla="*/ 6035 h 14264"/>
                    <a:gd name="connsiteX9" fmla="*/ 549 w 28529"/>
                    <a:gd name="connsiteY9" fmla="*/ 3841 h 142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8529" h="14264">
                      <a:moveTo>
                        <a:pt x="549" y="3841"/>
                      </a:moveTo>
                      <a:lnTo>
                        <a:pt x="3292" y="2743"/>
                      </a:lnTo>
                      <a:lnTo>
                        <a:pt x="8230" y="0"/>
                      </a:lnTo>
                      <a:lnTo>
                        <a:pt x="26883" y="6584"/>
                      </a:lnTo>
                      <a:lnTo>
                        <a:pt x="28529" y="9327"/>
                      </a:lnTo>
                      <a:lnTo>
                        <a:pt x="26883" y="12619"/>
                      </a:lnTo>
                      <a:lnTo>
                        <a:pt x="5486" y="14265"/>
                      </a:lnTo>
                      <a:lnTo>
                        <a:pt x="1097" y="12070"/>
                      </a:lnTo>
                      <a:lnTo>
                        <a:pt x="0" y="6035"/>
                      </a:lnTo>
                      <a:lnTo>
                        <a:pt x="549" y="3841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403" name="Graphic 7">
                  <a:extLst>
                    <a:ext uri="{FF2B5EF4-FFF2-40B4-BE49-F238E27FC236}">
                      <a16:creationId xmlns:a16="http://schemas.microsoft.com/office/drawing/2014/main" id="{D7219751-67A5-1948-D722-030960E756EF}"/>
                    </a:ext>
                  </a:extLst>
                </p:cNvPr>
                <p:cNvSpPr/>
                <p:nvPr/>
              </p:nvSpPr>
              <p:spPr>
                <a:xfrm>
                  <a:off x="8993982" y="4573376"/>
                  <a:ext cx="9001" cy="8572"/>
                </a:xfrm>
                <a:custGeom>
                  <a:avLst/>
                  <a:gdLst>
                    <a:gd name="connsiteX0" fmla="*/ 2195 w 11521"/>
                    <a:gd name="connsiteY0" fmla="*/ 10973 h 10972"/>
                    <a:gd name="connsiteX1" fmla="*/ 0 w 11521"/>
                    <a:gd name="connsiteY1" fmla="*/ 9876 h 10972"/>
                    <a:gd name="connsiteX2" fmla="*/ 0 w 11521"/>
                    <a:gd name="connsiteY2" fmla="*/ 6584 h 10972"/>
                    <a:gd name="connsiteX3" fmla="*/ 1646 w 11521"/>
                    <a:gd name="connsiteY3" fmla="*/ 3841 h 10972"/>
                    <a:gd name="connsiteX4" fmla="*/ 5486 w 11521"/>
                    <a:gd name="connsiteY4" fmla="*/ 2195 h 10972"/>
                    <a:gd name="connsiteX5" fmla="*/ 8778 w 11521"/>
                    <a:gd name="connsiteY5" fmla="*/ 0 h 10972"/>
                    <a:gd name="connsiteX6" fmla="*/ 11521 w 11521"/>
                    <a:gd name="connsiteY6" fmla="*/ 0 h 10972"/>
                    <a:gd name="connsiteX7" fmla="*/ 10973 w 11521"/>
                    <a:gd name="connsiteY7" fmla="*/ 5486 h 10972"/>
                    <a:gd name="connsiteX8" fmla="*/ 8778 w 11521"/>
                    <a:gd name="connsiteY8" fmla="*/ 8230 h 10972"/>
                    <a:gd name="connsiteX9" fmla="*/ 6583 w 11521"/>
                    <a:gd name="connsiteY9" fmla="*/ 8230 h 10972"/>
                    <a:gd name="connsiteX10" fmla="*/ 2195 w 11521"/>
                    <a:gd name="connsiteY10" fmla="*/ 10973 h 109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1521" h="10972">
                      <a:moveTo>
                        <a:pt x="2195" y="10973"/>
                      </a:moveTo>
                      <a:lnTo>
                        <a:pt x="0" y="9876"/>
                      </a:lnTo>
                      <a:lnTo>
                        <a:pt x="0" y="6584"/>
                      </a:lnTo>
                      <a:lnTo>
                        <a:pt x="1646" y="3841"/>
                      </a:lnTo>
                      <a:lnTo>
                        <a:pt x="5486" y="2195"/>
                      </a:lnTo>
                      <a:lnTo>
                        <a:pt x="8778" y="0"/>
                      </a:lnTo>
                      <a:lnTo>
                        <a:pt x="11521" y="0"/>
                      </a:lnTo>
                      <a:lnTo>
                        <a:pt x="10973" y="5486"/>
                      </a:lnTo>
                      <a:lnTo>
                        <a:pt x="8778" y="8230"/>
                      </a:lnTo>
                      <a:lnTo>
                        <a:pt x="6583" y="8230"/>
                      </a:lnTo>
                      <a:lnTo>
                        <a:pt x="2195" y="10973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404" name="Graphic 7">
                  <a:extLst>
                    <a:ext uri="{FF2B5EF4-FFF2-40B4-BE49-F238E27FC236}">
                      <a16:creationId xmlns:a16="http://schemas.microsoft.com/office/drawing/2014/main" id="{E11965FD-A356-1615-CB2F-A920D33CB44D}"/>
                    </a:ext>
                  </a:extLst>
                </p:cNvPr>
                <p:cNvSpPr/>
                <p:nvPr/>
              </p:nvSpPr>
              <p:spPr>
                <a:xfrm>
                  <a:off x="9211733" y="4491076"/>
                  <a:ext cx="26575" cy="14573"/>
                </a:xfrm>
                <a:custGeom>
                  <a:avLst/>
                  <a:gdLst>
                    <a:gd name="connsiteX0" fmla="*/ 2194 w 34015"/>
                    <a:gd name="connsiteY0" fmla="*/ 1646 h 18653"/>
                    <a:gd name="connsiteX1" fmla="*/ 0 w 34015"/>
                    <a:gd name="connsiteY1" fmla="*/ 0 h 18653"/>
                    <a:gd name="connsiteX2" fmla="*/ 8778 w 34015"/>
                    <a:gd name="connsiteY2" fmla="*/ 0 h 18653"/>
                    <a:gd name="connsiteX3" fmla="*/ 11521 w 34015"/>
                    <a:gd name="connsiteY3" fmla="*/ 1097 h 18653"/>
                    <a:gd name="connsiteX4" fmla="*/ 16459 w 34015"/>
                    <a:gd name="connsiteY4" fmla="*/ 1646 h 18653"/>
                    <a:gd name="connsiteX5" fmla="*/ 21946 w 34015"/>
                    <a:gd name="connsiteY5" fmla="*/ 4389 h 18653"/>
                    <a:gd name="connsiteX6" fmla="*/ 34015 w 34015"/>
                    <a:gd name="connsiteY6" fmla="*/ 16459 h 18653"/>
                    <a:gd name="connsiteX7" fmla="*/ 30724 w 34015"/>
                    <a:gd name="connsiteY7" fmla="*/ 17556 h 18653"/>
                    <a:gd name="connsiteX8" fmla="*/ 23043 w 34015"/>
                    <a:gd name="connsiteY8" fmla="*/ 18654 h 18653"/>
                    <a:gd name="connsiteX9" fmla="*/ 19202 w 34015"/>
                    <a:gd name="connsiteY9" fmla="*/ 15910 h 18653"/>
                    <a:gd name="connsiteX10" fmla="*/ 18105 w 34015"/>
                    <a:gd name="connsiteY10" fmla="*/ 12070 h 18653"/>
                    <a:gd name="connsiteX11" fmla="*/ 2194 w 34015"/>
                    <a:gd name="connsiteY11" fmla="*/ 1646 h 186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34015" h="18653">
                      <a:moveTo>
                        <a:pt x="2194" y="1646"/>
                      </a:moveTo>
                      <a:lnTo>
                        <a:pt x="0" y="0"/>
                      </a:lnTo>
                      <a:lnTo>
                        <a:pt x="8778" y="0"/>
                      </a:lnTo>
                      <a:lnTo>
                        <a:pt x="11521" y="1097"/>
                      </a:lnTo>
                      <a:lnTo>
                        <a:pt x="16459" y="1646"/>
                      </a:lnTo>
                      <a:lnTo>
                        <a:pt x="21946" y="4389"/>
                      </a:lnTo>
                      <a:lnTo>
                        <a:pt x="34015" y="16459"/>
                      </a:lnTo>
                      <a:lnTo>
                        <a:pt x="30724" y="17556"/>
                      </a:lnTo>
                      <a:lnTo>
                        <a:pt x="23043" y="18654"/>
                      </a:lnTo>
                      <a:lnTo>
                        <a:pt x="19202" y="15910"/>
                      </a:lnTo>
                      <a:lnTo>
                        <a:pt x="18105" y="12070"/>
                      </a:lnTo>
                      <a:lnTo>
                        <a:pt x="2194" y="1646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405" name="Graphic 7">
                  <a:extLst>
                    <a:ext uri="{FF2B5EF4-FFF2-40B4-BE49-F238E27FC236}">
                      <a16:creationId xmlns:a16="http://schemas.microsoft.com/office/drawing/2014/main" id="{41FADA09-530B-4D94-8F5C-07F92931CBA0}"/>
                    </a:ext>
                  </a:extLst>
                </p:cNvPr>
                <p:cNvSpPr/>
                <p:nvPr/>
              </p:nvSpPr>
              <p:spPr>
                <a:xfrm>
                  <a:off x="9216876" y="4517223"/>
                  <a:ext cx="36862" cy="8144"/>
                </a:xfrm>
                <a:custGeom>
                  <a:avLst/>
                  <a:gdLst>
                    <a:gd name="connsiteX0" fmla="*/ 0 w 47182"/>
                    <a:gd name="connsiteY0" fmla="*/ 1097 h 10424"/>
                    <a:gd name="connsiteX1" fmla="*/ 0 w 47182"/>
                    <a:gd name="connsiteY1" fmla="*/ 0 h 10424"/>
                    <a:gd name="connsiteX2" fmla="*/ 42794 w 47182"/>
                    <a:gd name="connsiteY2" fmla="*/ 4389 h 10424"/>
                    <a:gd name="connsiteX3" fmla="*/ 46086 w 47182"/>
                    <a:gd name="connsiteY3" fmla="*/ 6035 h 10424"/>
                    <a:gd name="connsiteX4" fmla="*/ 47183 w 47182"/>
                    <a:gd name="connsiteY4" fmla="*/ 10424 h 10424"/>
                    <a:gd name="connsiteX5" fmla="*/ 24689 w 47182"/>
                    <a:gd name="connsiteY5" fmla="*/ 9875 h 10424"/>
                    <a:gd name="connsiteX6" fmla="*/ 1097 w 47182"/>
                    <a:gd name="connsiteY6" fmla="*/ 2743 h 10424"/>
                    <a:gd name="connsiteX7" fmla="*/ 0 w 47182"/>
                    <a:gd name="connsiteY7" fmla="*/ 1097 h 104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7182" h="10424">
                      <a:moveTo>
                        <a:pt x="0" y="1097"/>
                      </a:moveTo>
                      <a:lnTo>
                        <a:pt x="0" y="0"/>
                      </a:lnTo>
                      <a:lnTo>
                        <a:pt x="42794" y="4389"/>
                      </a:lnTo>
                      <a:lnTo>
                        <a:pt x="46086" y="6035"/>
                      </a:lnTo>
                      <a:lnTo>
                        <a:pt x="47183" y="10424"/>
                      </a:lnTo>
                      <a:lnTo>
                        <a:pt x="24689" y="9875"/>
                      </a:lnTo>
                      <a:lnTo>
                        <a:pt x="1097" y="2743"/>
                      </a:lnTo>
                      <a:lnTo>
                        <a:pt x="0" y="1097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406" name="Graphic 7">
                  <a:extLst>
                    <a:ext uri="{FF2B5EF4-FFF2-40B4-BE49-F238E27FC236}">
                      <a16:creationId xmlns:a16="http://schemas.microsoft.com/office/drawing/2014/main" id="{706422D8-97E7-EF16-53F9-7D524C9BFAEE}"/>
                    </a:ext>
                  </a:extLst>
                </p:cNvPr>
                <p:cNvSpPr/>
                <p:nvPr/>
              </p:nvSpPr>
              <p:spPr>
                <a:xfrm>
                  <a:off x="9141435" y="4626098"/>
                  <a:ext cx="4714" cy="10287"/>
                </a:xfrm>
                <a:custGeom>
                  <a:avLst/>
                  <a:gdLst>
                    <a:gd name="connsiteX0" fmla="*/ 1646 w 6034"/>
                    <a:gd name="connsiteY0" fmla="*/ 2194 h 13167"/>
                    <a:gd name="connsiteX1" fmla="*/ 3840 w 6034"/>
                    <a:gd name="connsiteY1" fmla="*/ 0 h 13167"/>
                    <a:gd name="connsiteX2" fmla="*/ 6035 w 6034"/>
                    <a:gd name="connsiteY2" fmla="*/ 1097 h 13167"/>
                    <a:gd name="connsiteX3" fmla="*/ 1646 w 6034"/>
                    <a:gd name="connsiteY3" fmla="*/ 12619 h 13167"/>
                    <a:gd name="connsiteX4" fmla="*/ 0 w 6034"/>
                    <a:gd name="connsiteY4" fmla="*/ 13167 h 13167"/>
                    <a:gd name="connsiteX5" fmla="*/ 1646 w 6034"/>
                    <a:gd name="connsiteY5" fmla="*/ 2194 h 131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6034" h="13167">
                      <a:moveTo>
                        <a:pt x="1646" y="2194"/>
                      </a:moveTo>
                      <a:lnTo>
                        <a:pt x="3840" y="0"/>
                      </a:lnTo>
                      <a:lnTo>
                        <a:pt x="6035" y="1097"/>
                      </a:lnTo>
                      <a:lnTo>
                        <a:pt x="1646" y="12619"/>
                      </a:lnTo>
                      <a:lnTo>
                        <a:pt x="0" y="13167"/>
                      </a:lnTo>
                      <a:lnTo>
                        <a:pt x="1646" y="2194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407" name="Graphic 7">
                  <a:extLst>
                    <a:ext uri="{FF2B5EF4-FFF2-40B4-BE49-F238E27FC236}">
                      <a16:creationId xmlns:a16="http://schemas.microsoft.com/office/drawing/2014/main" id="{0E3D8729-0130-28AD-9FB5-FB78F4DA4591}"/>
                    </a:ext>
                  </a:extLst>
                </p:cNvPr>
                <p:cNvSpPr/>
                <p:nvPr/>
              </p:nvSpPr>
              <p:spPr>
                <a:xfrm>
                  <a:off x="9178298" y="4629527"/>
                  <a:ext cx="14145" cy="27004"/>
                </a:xfrm>
                <a:custGeom>
                  <a:avLst/>
                  <a:gdLst>
                    <a:gd name="connsiteX0" fmla="*/ 0 w 18105"/>
                    <a:gd name="connsiteY0" fmla="*/ 13167 h 34564"/>
                    <a:gd name="connsiteX1" fmla="*/ 8230 w 18105"/>
                    <a:gd name="connsiteY1" fmla="*/ 0 h 34564"/>
                    <a:gd name="connsiteX2" fmla="*/ 13716 w 18105"/>
                    <a:gd name="connsiteY2" fmla="*/ 2194 h 34564"/>
                    <a:gd name="connsiteX3" fmla="*/ 17556 w 18105"/>
                    <a:gd name="connsiteY3" fmla="*/ 10424 h 34564"/>
                    <a:gd name="connsiteX4" fmla="*/ 18105 w 18105"/>
                    <a:gd name="connsiteY4" fmla="*/ 30175 h 34564"/>
                    <a:gd name="connsiteX5" fmla="*/ 15362 w 18105"/>
                    <a:gd name="connsiteY5" fmla="*/ 34564 h 34564"/>
                    <a:gd name="connsiteX6" fmla="*/ 12070 w 18105"/>
                    <a:gd name="connsiteY6" fmla="*/ 34564 h 34564"/>
                    <a:gd name="connsiteX7" fmla="*/ 7681 w 18105"/>
                    <a:gd name="connsiteY7" fmla="*/ 32918 h 34564"/>
                    <a:gd name="connsiteX8" fmla="*/ 4389 w 18105"/>
                    <a:gd name="connsiteY8" fmla="*/ 28529 h 34564"/>
                    <a:gd name="connsiteX9" fmla="*/ 2195 w 18105"/>
                    <a:gd name="connsiteY9" fmla="*/ 23043 h 34564"/>
                    <a:gd name="connsiteX10" fmla="*/ 4938 w 18105"/>
                    <a:gd name="connsiteY10" fmla="*/ 14813 h 34564"/>
                    <a:gd name="connsiteX11" fmla="*/ 3292 w 18105"/>
                    <a:gd name="connsiteY11" fmla="*/ 15910 h 34564"/>
                    <a:gd name="connsiteX12" fmla="*/ 0 w 18105"/>
                    <a:gd name="connsiteY12" fmla="*/ 13167 h 345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18105" h="34564">
                      <a:moveTo>
                        <a:pt x="0" y="13167"/>
                      </a:moveTo>
                      <a:lnTo>
                        <a:pt x="8230" y="0"/>
                      </a:lnTo>
                      <a:lnTo>
                        <a:pt x="13716" y="2194"/>
                      </a:lnTo>
                      <a:lnTo>
                        <a:pt x="17556" y="10424"/>
                      </a:lnTo>
                      <a:lnTo>
                        <a:pt x="18105" y="30175"/>
                      </a:lnTo>
                      <a:lnTo>
                        <a:pt x="15362" y="34564"/>
                      </a:lnTo>
                      <a:lnTo>
                        <a:pt x="12070" y="34564"/>
                      </a:lnTo>
                      <a:lnTo>
                        <a:pt x="7681" y="32918"/>
                      </a:lnTo>
                      <a:lnTo>
                        <a:pt x="4389" y="28529"/>
                      </a:lnTo>
                      <a:lnTo>
                        <a:pt x="2195" y="23043"/>
                      </a:lnTo>
                      <a:lnTo>
                        <a:pt x="4938" y="14813"/>
                      </a:lnTo>
                      <a:lnTo>
                        <a:pt x="3292" y="15910"/>
                      </a:lnTo>
                      <a:lnTo>
                        <a:pt x="0" y="13167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408" name="Graphic 7">
                  <a:extLst>
                    <a:ext uri="{FF2B5EF4-FFF2-40B4-BE49-F238E27FC236}">
                      <a16:creationId xmlns:a16="http://schemas.microsoft.com/office/drawing/2014/main" id="{57DA5EF8-8892-C104-2BCC-6B93C8B18354}"/>
                    </a:ext>
                  </a:extLst>
                </p:cNvPr>
                <p:cNvSpPr/>
                <p:nvPr/>
              </p:nvSpPr>
              <p:spPr>
                <a:xfrm>
                  <a:off x="9175727" y="4647960"/>
                  <a:ext cx="11573" cy="13287"/>
                </a:xfrm>
                <a:custGeom>
                  <a:avLst/>
                  <a:gdLst>
                    <a:gd name="connsiteX0" fmla="*/ 1097 w 14813"/>
                    <a:gd name="connsiteY0" fmla="*/ 4938 h 17007"/>
                    <a:gd name="connsiteX1" fmla="*/ 0 w 14813"/>
                    <a:gd name="connsiteY1" fmla="*/ 1097 h 17007"/>
                    <a:gd name="connsiteX2" fmla="*/ 1097 w 14813"/>
                    <a:gd name="connsiteY2" fmla="*/ 0 h 17007"/>
                    <a:gd name="connsiteX3" fmla="*/ 6035 w 14813"/>
                    <a:gd name="connsiteY3" fmla="*/ 6035 h 17007"/>
                    <a:gd name="connsiteX4" fmla="*/ 12070 w 14813"/>
                    <a:gd name="connsiteY4" fmla="*/ 8778 h 17007"/>
                    <a:gd name="connsiteX5" fmla="*/ 13716 w 14813"/>
                    <a:gd name="connsiteY5" fmla="*/ 10424 h 17007"/>
                    <a:gd name="connsiteX6" fmla="*/ 14813 w 14813"/>
                    <a:gd name="connsiteY6" fmla="*/ 15911 h 17007"/>
                    <a:gd name="connsiteX7" fmla="*/ 14265 w 14813"/>
                    <a:gd name="connsiteY7" fmla="*/ 17008 h 17007"/>
                    <a:gd name="connsiteX8" fmla="*/ 12070 w 14813"/>
                    <a:gd name="connsiteY8" fmla="*/ 16459 h 17007"/>
                    <a:gd name="connsiteX9" fmla="*/ 7132 w 14813"/>
                    <a:gd name="connsiteY9" fmla="*/ 10424 h 17007"/>
                    <a:gd name="connsiteX10" fmla="*/ 3292 w 14813"/>
                    <a:gd name="connsiteY10" fmla="*/ 8230 h 17007"/>
                    <a:gd name="connsiteX11" fmla="*/ 1097 w 14813"/>
                    <a:gd name="connsiteY11" fmla="*/ 4938 h 170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4813" h="17007">
                      <a:moveTo>
                        <a:pt x="1097" y="4938"/>
                      </a:moveTo>
                      <a:lnTo>
                        <a:pt x="0" y="1097"/>
                      </a:lnTo>
                      <a:lnTo>
                        <a:pt x="1097" y="0"/>
                      </a:lnTo>
                      <a:lnTo>
                        <a:pt x="6035" y="6035"/>
                      </a:lnTo>
                      <a:lnTo>
                        <a:pt x="12070" y="8778"/>
                      </a:lnTo>
                      <a:lnTo>
                        <a:pt x="13716" y="10424"/>
                      </a:lnTo>
                      <a:lnTo>
                        <a:pt x="14813" y="15911"/>
                      </a:lnTo>
                      <a:lnTo>
                        <a:pt x="14265" y="17008"/>
                      </a:lnTo>
                      <a:lnTo>
                        <a:pt x="12070" y="16459"/>
                      </a:lnTo>
                      <a:lnTo>
                        <a:pt x="7132" y="10424"/>
                      </a:lnTo>
                      <a:lnTo>
                        <a:pt x="3292" y="8230"/>
                      </a:lnTo>
                      <a:lnTo>
                        <a:pt x="1097" y="4938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409" name="Graphic 7">
                  <a:extLst>
                    <a:ext uri="{FF2B5EF4-FFF2-40B4-BE49-F238E27FC236}">
                      <a16:creationId xmlns:a16="http://schemas.microsoft.com/office/drawing/2014/main" id="{253426F9-F1DC-B517-25A6-0AF77353F137}"/>
                    </a:ext>
                  </a:extLst>
                </p:cNvPr>
                <p:cNvSpPr/>
                <p:nvPr/>
              </p:nvSpPr>
              <p:spPr>
                <a:xfrm>
                  <a:off x="9172726" y="4652675"/>
                  <a:ext cx="11145" cy="20574"/>
                </a:xfrm>
                <a:custGeom>
                  <a:avLst/>
                  <a:gdLst>
                    <a:gd name="connsiteX0" fmla="*/ 2743 w 14265"/>
                    <a:gd name="connsiteY0" fmla="*/ 0 h 26334"/>
                    <a:gd name="connsiteX1" fmla="*/ 5486 w 14265"/>
                    <a:gd name="connsiteY1" fmla="*/ 1097 h 26334"/>
                    <a:gd name="connsiteX2" fmla="*/ 14265 w 14265"/>
                    <a:gd name="connsiteY2" fmla="*/ 12070 h 26334"/>
                    <a:gd name="connsiteX3" fmla="*/ 13167 w 14265"/>
                    <a:gd name="connsiteY3" fmla="*/ 20849 h 26334"/>
                    <a:gd name="connsiteX4" fmla="*/ 10973 w 14265"/>
                    <a:gd name="connsiteY4" fmla="*/ 25238 h 26334"/>
                    <a:gd name="connsiteX5" fmla="*/ 6036 w 14265"/>
                    <a:gd name="connsiteY5" fmla="*/ 26335 h 26334"/>
                    <a:gd name="connsiteX6" fmla="*/ 3292 w 14265"/>
                    <a:gd name="connsiteY6" fmla="*/ 25238 h 26334"/>
                    <a:gd name="connsiteX7" fmla="*/ 549 w 14265"/>
                    <a:gd name="connsiteY7" fmla="*/ 20849 h 26334"/>
                    <a:gd name="connsiteX8" fmla="*/ 0 w 14265"/>
                    <a:gd name="connsiteY8" fmla="*/ 15362 h 26334"/>
                    <a:gd name="connsiteX9" fmla="*/ 1098 w 14265"/>
                    <a:gd name="connsiteY9" fmla="*/ 12070 h 26334"/>
                    <a:gd name="connsiteX10" fmla="*/ 3841 w 14265"/>
                    <a:gd name="connsiteY10" fmla="*/ 18654 h 26334"/>
                    <a:gd name="connsiteX11" fmla="*/ 5486 w 14265"/>
                    <a:gd name="connsiteY11" fmla="*/ 17008 h 26334"/>
                    <a:gd name="connsiteX12" fmla="*/ 6036 w 14265"/>
                    <a:gd name="connsiteY12" fmla="*/ 8778 h 26334"/>
                    <a:gd name="connsiteX13" fmla="*/ 4938 w 14265"/>
                    <a:gd name="connsiteY13" fmla="*/ 8778 h 26334"/>
                    <a:gd name="connsiteX14" fmla="*/ 2743 w 14265"/>
                    <a:gd name="connsiteY14" fmla="*/ 4389 h 26334"/>
                    <a:gd name="connsiteX15" fmla="*/ 2743 w 14265"/>
                    <a:gd name="connsiteY15" fmla="*/ 0 h 263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14265" h="26334">
                      <a:moveTo>
                        <a:pt x="2743" y="0"/>
                      </a:moveTo>
                      <a:lnTo>
                        <a:pt x="5486" y="1097"/>
                      </a:lnTo>
                      <a:lnTo>
                        <a:pt x="14265" y="12070"/>
                      </a:lnTo>
                      <a:lnTo>
                        <a:pt x="13167" y="20849"/>
                      </a:lnTo>
                      <a:lnTo>
                        <a:pt x="10973" y="25238"/>
                      </a:lnTo>
                      <a:lnTo>
                        <a:pt x="6036" y="26335"/>
                      </a:lnTo>
                      <a:lnTo>
                        <a:pt x="3292" y="25238"/>
                      </a:lnTo>
                      <a:lnTo>
                        <a:pt x="549" y="20849"/>
                      </a:lnTo>
                      <a:lnTo>
                        <a:pt x="0" y="15362"/>
                      </a:lnTo>
                      <a:lnTo>
                        <a:pt x="1098" y="12070"/>
                      </a:lnTo>
                      <a:lnTo>
                        <a:pt x="3841" y="18654"/>
                      </a:lnTo>
                      <a:lnTo>
                        <a:pt x="5486" y="17008"/>
                      </a:lnTo>
                      <a:lnTo>
                        <a:pt x="6036" y="8778"/>
                      </a:lnTo>
                      <a:lnTo>
                        <a:pt x="4938" y="8778"/>
                      </a:lnTo>
                      <a:lnTo>
                        <a:pt x="2743" y="4389"/>
                      </a:lnTo>
                      <a:lnTo>
                        <a:pt x="2743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410" name="Graphic 7">
                  <a:extLst>
                    <a:ext uri="{FF2B5EF4-FFF2-40B4-BE49-F238E27FC236}">
                      <a16:creationId xmlns:a16="http://schemas.microsoft.com/office/drawing/2014/main" id="{9DA12FE3-BFEE-9401-860D-2D56E1C840D4}"/>
                    </a:ext>
                  </a:extLst>
                </p:cNvPr>
                <p:cNvSpPr/>
                <p:nvPr/>
              </p:nvSpPr>
              <p:spPr>
                <a:xfrm>
                  <a:off x="9086997" y="4678823"/>
                  <a:ext cx="15431" cy="26575"/>
                </a:xfrm>
                <a:custGeom>
                  <a:avLst/>
                  <a:gdLst>
                    <a:gd name="connsiteX0" fmla="*/ 0 w 19751"/>
                    <a:gd name="connsiteY0" fmla="*/ 24689 h 34015"/>
                    <a:gd name="connsiteX1" fmla="*/ 1098 w 19751"/>
                    <a:gd name="connsiteY1" fmla="*/ 24140 h 34015"/>
                    <a:gd name="connsiteX2" fmla="*/ 2743 w 19751"/>
                    <a:gd name="connsiteY2" fmla="*/ 23591 h 34015"/>
                    <a:gd name="connsiteX3" fmla="*/ 2195 w 19751"/>
                    <a:gd name="connsiteY3" fmla="*/ 14813 h 34015"/>
                    <a:gd name="connsiteX4" fmla="*/ 10424 w 19751"/>
                    <a:gd name="connsiteY4" fmla="*/ 8230 h 34015"/>
                    <a:gd name="connsiteX5" fmla="*/ 13167 w 19751"/>
                    <a:gd name="connsiteY5" fmla="*/ 1097 h 34015"/>
                    <a:gd name="connsiteX6" fmla="*/ 15911 w 19751"/>
                    <a:gd name="connsiteY6" fmla="*/ 0 h 34015"/>
                    <a:gd name="connsiteX7" fmla="*/ 19752 w 19751"/>
                    <a:gd name="connsiteY7" fmla="*/ 2743 h 34015"/>
                    <a:gd name="connsiteX8" fmla="*/ 19752 w 19751"/>
                    <a:gd name="connsiteY8" fmla="*/ 17008 h 34015"/>
                    <a:gd name="connsiteX9" fmla="*/ 8230 w 19751"/>
                    <a:gd name="connsiteY9" fmla="*/ 34016 h 34015"/>
                    <a:gd name="connsiteX10" fmla="*/ 0 w 19751"/>
                    <a:gd name="connsiteY10" fmla="*/ 27981 h 34015"/>
                    <a:gd name="connsiteX11" fmla="*/ 0 w 19751"/>
                    <a:gd name="connsiteY11" fmla="*/ 24689 h 340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9751" h="34015">
                      <a:moveTo>
                        <a:pt x="0" y="24689"/>
                      </a:moveTo>
                      <a:lnTo>
                        <a:pt x="1098" y="24140"/>
                      </a:lnTo>
                      <a:lnTo>
                        <a:pt x="2743" y="23591"/>
                      </a:lnTo>
                      <a:lnTo>
                        <a:pt x="2195" y="14813"/>
                      </a:lnTo>
                      <a:lnTo>
                        <a:pt x="10424" y="8230"/>
                      </a:lnTo>
                      <a:lnTo>
                        <a:pt x="13167" y="1097"/>
                      </a:lnTo>
                      <a:lnTo>
                        <a:pt x="15911" y="0"/>
                      </a:lnTo>
                      <a:lnTo>
                        <a:pt x="19752" y="2743"/>
                      </a:lnTo>
                      <a:lnTo>
                        <a:pt x="19752" y="17008"/>
                      </a:lnTo>
                      <a:lnTo>
                        <a:pt x="8230" y="34016"/>
                      </a:lnTo>
                      <a:lnTo>
                        <a:pt x="0" y="27981"/>
                      </a:lnTo>
                      <a:lnTo>
                        <a:pt x="0" y="24689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411" name="Graphic 7">
                  <a:extLst>
                    <a:ext uri="{FF2B5EF4-FFF2-40B4-BE49-F238E27FC236}">
                      <a16:creationId xmlns:a16="http://schemas.microsoft.com/office/drawing/2014/main" id="{B2E3A136-0469-DF9B-8BDC-095E3931BA1A}"/>
                    </a:ext>
                  </a:extLst>
                </p:cNvPr>
                <p:cNvSpPr/>
                <p:nvPr/>
              </p:nvSpPr>
              <p:spPr>
                <a:xfrm>
                  <a:off x="9041990" y="4699825"/>
                  <a:ext cx="6001" cy="6001"/>
                </a:xfrm>
                <a:custGeom>
                  <a:avLst/>
                  <a:gdLst>
                    <a:gd name="connsiteX0" fmla="*/ 0 w 7681"/>
                    <a:gd name="connsiteY0" fmla="*/ 2195 h 7681"/>
                    <a:gd name="connsiteX1" fmla="*/ 0 w 7681"/>
                    <a:gd name="connsiteY1" fmla="*/ 549 h 7681"/>
                    <a:gd name="connsiteX2" fmla="*/ 7133 w 7681"/>
                    <a:gd name="connsiteY2" fmla="*/ 0 h 7681"/>
                    <a:gd name="connsiteX3" fmla="*/ 7681 w 7681"/>
                    <a:gd name="connsiteY3" fmla="*/ 3292 h 7681"/>
                    <a:gd name="connsiteX4" fmla="*/ 4938 w 7681"/>
                    <a:gd name="connsiteY4" fmla="*/ 7681 h 7681"/>
                    <a:gd name="connsiteX5" fmla="*/ 2743 w 7681"/>
                    <a:gd name="connsiteY5" fmla="*/ 7133 h 7681"/>
                    <a:gd name="connsiteX6" fmla="*/ 0 w 7681"/>
                    <a:gd name="connsiteY6" fmla="*/ 2195 h 76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681" h="7681">
                      <a:moveTo>
                        <a:pt x="0" y="2195"/>
                      </a:moveTo>
                      <a:lnTo>
                        <a:pt x="0" y="549"/>
                      </a:lnTo>
                      <a:lnTo>
                        <a:pt x="7133" y="0"/>
                      </a:lnTo>
                      <a:lnTo>
                        <a:pt x="7681" y="3292"/>
                      </a:lnTo>
                      <a:lnTo>
                        <a:pt x="4938" y="7681"/>
                      </a:lnTo>
                      <a:lnTo>
                        <a:pt x="2743" y="7133"/>
                      </a:lnTo>
                      <a:lnTo>
                        <a:pt x="0" y="2195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412" name="Graphic 7">
                  <a:extLst>
                    <a:ext uri="{FF2B5EF4-FFF2-40B4-BE49-F238E27FC236}">
                      <a16:creationId xmlns:a16="http://schemas.microsoft.com/office/drawing/2014/main" id="{05026CBD-298E-2192-545E-D3986287DEFB}"/>
                    </a:ext>
                  </a:extLst>
                </p:cNvPr>
                <p:cNvSpPr/>
                <p:nvPr/>
              </p:nvSpPr>
              <p:spPr>
                <a:xfrm>
                  <a:off x="9009842" y="4678823"/>
                  <a:ext cx="4286" cy="4286"/>
                </a:xfrm>
                <a:custGeom>
                  <a:avLst/>
                  <a:gdLst>
                    <a:gd name="connsiteX0" fmla="*/ 1646 w 5486"/>
                    <a:gd name="connsiteY0" fmla="*/ 1646 h 5486"/>
                    <a:gd name="connsiteX1" fmla="*/ 0 w 5486"/>
                    <a:gd name="connsiteY1" fmla="*/ 1097 h 5486"/>
                    <a:gd name="connsiteX2" fmla="*/ 3292 w 5486"/>
                    <a:gd name="connsiteY2" fmla="*/ 0 h 5486"/>
                    <a:gd name="connsiteX3" fmla="*/ 5486 w 5486"/>
                    <a:gd name="connsiteY3" fmla="*/ 549 h 5486"/>
                    <a:gd name="connsiteX4" fmla="*/ 5486 w 5486"/>
                    <a:gd name="connsiteY4" fmla="*/ 3292 h 5486"/>
                    <a:gd name="connsiteX5" fmla="*/ 3292 w 5486"/>
                    <a:gd name="connsiteY5" fmla="*/ 5486 h 5486"/>
                    <a:gd name="connsiteX6" fmla="*/ 1646 w 5486"/>
                    <a:gd name="connsiteY6" fmla="*/ 1646 h 54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486" h="5486">
                      <a:moveTo>
                        <a:pt x="1646" y="1646"/>
                      </a:moveTo>
                      <a:lnTo>
                        <a:pt x="0" y="1097"/>
                      </a:lnTo>
                      <a:lnTo>
                        <a:pt x="3292" y="0"/>
                      </a:lnTo>
                      <a:lnTo>
                        <a:pt x="5486" y="549"/>
                      </a:lnTo>
                      <a:lnTo>
                        <a:pt x="5486" y="3292"/>
                      </a:lnTo>
                      <a:lnTo>
                        <a:pt x="3292" y="5486"/>
                      </a:lnTo>
                      <a:lnTo>
                        <a:pt x="1646" y="1646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413" name="Graphic 7">
                  <a:extLst>
                    <a:ext uri="{FF2B5EF4-FFF2-40B4-BE49-F238E27FC236}">
                      <a16:creationId xmlns:a16="http://schemas.microsoft.com/office/drawing/2014/main" id="{68CAB197-0FDD-B6E4-DCCA-6A46135BC783}"/>
                    </a:ext>
                  </a:extLst>
                </p:cNvPr>
                <p:cNvSpPr/>
                <p:nvPr/>
              </p:nvSpPr>
              <p:spPr>
                <a:xfrm>
                  <a:off x="7576034" y="4182883"/>
                  <a:ext cx="63010" cy="113590"/>
                </a:xfrm>
                <a:custGeom>
                  <a:avLst/>
                  <a:gdLst>
                    <a:gd name="connsiteX0" fmla="*/ 13167 w 80650"/>
                    <a:gd name="connsiteY0" fmla="*/ 0 h 145389"/>
                    <a:gd name="connsiteX1" fmla="*/ 9327 w 80650"/>
                    <a:gd name="connsiteY1" fmla="*/ 2743 h 145389"/>
                    <a:gd name="connsiteX2" fmla="*/ 13716 w 80650"/>
                    <a:gd name="connsiteY2" fmla="*/ 6584 h 145389"/>
                    <a:gd name="connsiteX3" fmla="*/ 19751 w 80650"/>
                    <a:gd name="connsiteY3" fmla="*/ 8778 h 145389"/>
                    <a:gd name="connsiteX4" fmla="*/ 22494 w 80650"/>
                    <a:gd name="connsiteY4" fmla="*/ 13716 h 145389"/>
                    <a:gd name="connsiteX5" fmla="*/ 19202 w 80650"/>
                    <a:gd name="connsiteY5" fmla="*/ 13167 h 145389"/>
                    <a:gd name="connsiteX6" fmla="*/ 15362 w 80650"/>
                    <a:gd name="connsiteY6" fmla="*/ 17557 h 145389"/>
                    <a:gd name="connsiteX7" fmla="*/ 13716 w 80650"/>
                    <a:gd name="connsiteY7" fmla="*/ 26883 h 145389"/>
                    <a:gd name="connsiteX8" fmla="*/ 9327 w 80650"/>
                    <a:gd name="connsiteY8" fmla="*/ 32918 h 145389"/>
                    <a:gd name="connsiteX9" fmla="*/ 4938 w 80650"/>
                    <a:gd name="connsiteY9" fmla="*/ 65288 h 145389"/>
                    <a:gd name="connsiteX10" fmla="*/ 2194 w 80650"/>
                    <a:gd name="connsiteY10" fmla="*/ 63094 h 145389"/>
                    <a:gd name="connsiteX11" fmla="*/ 0 w 80650"/>
                    <a:gd name="connsiteY11" fmla="*/ 65288 h 145389"/>
                    <a:gd name="connsiteX12" fmla="*/ 5486 w 80650"/>
                    <a:gd name="connsiteY12" fmla="*/ 114117 h 145389"/>
                    <a:gd name="connsiteX13" fmla="*/ 13716 w 80650"/>
                    <a:gd name="connsiteY13" fmla="*/ 136612 h 145389"/>
                    <a:gd name="connsiteX14" fmla="*/ 20300 w 80650"/>
                    <a:gd name="connsiteY14" fmla="*/ 143195 h 145389"/>
                    <a:gd name="connsiteX15" fmla="*/ 40599 w 80650"/>
                    <a:gd name="connsiteY15" fmla="*/ 145390 h 145389"/>
                    <a:gd name="connsiteX16" fmla="*/ 69677 w 80650"/>
                    <a:gd name="connsiteY16" fmla="*/ 128382 h 145389"/>
                    <a:gd name="connsiteX17" fmla="*/ 77358 w 80650"/>
                    <a:gd name="connsiteY17" fmla="*/ 116860 h 145389"/>
                    <a:gd name="connsiteX18" fmla="*/ 80650 w 80650"/>
                    <a:gd name="connsiteY18" fmla="*/ 86137 h 145389"/>
                    <a:gd name="connsiteX19" fmla="*/ 79004 w 80650"/>
                    <a:gd name="connsiteY19" fmla="*/ 80650 h 145389"/>
                    <a:gd name="connsiteX20" fmla="*/ 74615 w 80650"/>
                    <a:gd name="connsiteY20" fmla="*/ 79004 h 145389"/>
                    <a:gd name="connsiteX21" fmla="*/ 63642 w 80650"/>
                    <a:gd name="connsiteY21" fmla="*/ 51572 h 145389"/>
                    <a:gd name="connsiteX22" fmla="*/ 58705 w 80650"/>
                    <a:gd name="connsiteY22" fmla="*/ 47183 h 145389"/>
                    <a:gd name="connsiteX23" fmla="*/ 54864 w 80650"/>
                    <a:gd name="connsiteY23" fmla="*/ 38405 h 145389"/>
                    <a:gd name="connsiteX24" fmla="*/ 46634 w 80650"/>
                    <a:gd name="connsiteY24" fmla="*/ 30724 h 145389"/>
                    <a:gd name="connsiteX25" fmla="*/ 44440 w 80650"/>
                    <a:gd name="connsiteY25" fmla="*/ 23591 h 145389"/>
                    <a:gd name="connsiteX26" fmla="*/ 24689 w 80650"/>
                    <a:gd name="connsiteY26" fmla="*/ 3292 h 145389"/>
                    <a:gd name="connsiteX27" fmla="*/ 19202 w 80650"/>
                    <a:gd name="connsiteY27" fmla="*/ 549 h 145389"/>
                    <a:gd name="connsiteX28" fmla="*/ 13167 w 80650"/>
                    <a:gd name="connsiteY28" fmla="*/ 0 h 1453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80650" h="145389">
                      <a:moveTo>
                        <a:pt x="13167" y="0"/>
                      </a:moveTo>
                      <a:lnTo>
                        <a:pt x="9327" y="2743"/>
                      </a:lnTo>
                      <a:lnTo>
                        <a:pt x="13716" y="6584"/>
                      </a:lnTo>
                      <a:lnTo>
                        <a:pt x="19751" y="8778"/>
                      </a:lnTo>
                      <a:lnTo>
                        <a:pt x="22494" y="13716"/>
                      </a:lnTo>
                      <a:lnTo>
                        <a:pt x="19202" y="13167"/>
                      </a:lnTo>
                      <a:lnTo>
                        <a:pt x="15362" y="17557"/>
                      </a:lnTo>
                      <a:lnTo>
                        <a:pt x="13716" y="26883"/>
                      </a:lnTo>
                      <a:lnTo>
                        <a:pt x="9327" y="32918"/>
                      </a:lnTo>
                      <a:lnTo>
                        <a:pt x="4938" y="65288"/>
                      </a:lnTo>
                      <a:lnTo>
                        <a:pt x="2194" y="63094"/>
                      </a:lnTo>
                      <a:lnTo>
                        <a:pt x="0" y="65288"/>
                      </a:lnTo>
                      <a:lnTo>
                        <a:pt x="5486" y="114117"/>
                      </a:lnTo>
                      <a:lnTo>
                        <a:pt x="13716" y="136612"/>
                      </a:lnTo>
                      <a:lnTo>
                        <a:pt x="20300" y="143195"/>
                      </a:lnTo>
                      <a:lnTo>
                        <a:pt x="40599" y="145390"/>
                      </a:lnTo>
                      <a:lnTo>
                        <a:pt x="69677" y="128382"/>
                      </a:lnTo>
                      <a:lnTo>
                        <a:pt x="77358" y="116860"/>
                      </a:lnTo>
                      <a:lnTo>
                        <a:pt x="80650" y="86137"/>
                      </a:lnTo>
                      <a:lnTo>
                        <a:pt x="79004" y="80650"/>
                      </a:lnTo>
                      <a:lnTo>
                        <a:pt x="74615" y="79004"/>
                      </a:lnTo>
                      <a:lnTo>
                        <a:pt x="63642" y="51572"/>
                      </a:lnTo>
                      <a:lnTo>
                        <a:pt x="58705" y="47183"/>
                      </a:lnTo>
                      <a:lnTo>
                        <a:pt x="54864" y="38405"/>
                      </a:lnTo>
                      <a:lnTo>
                        <a:pt x="46634" y="30724"/>
                      </a:lnTo>
                      <a:lnTo>
                        <a:pt x="44440" y="23591"/>
                      </a:lnTo>
                      <a:lnTo>
                        <a:pt x="24689" y="3292"/>
                      </a:lnTo>
                      <a:lnTo>
                        <a:pt x="19202" y="549"/>
                      </a:lnTo>
                      <a:lnTo>
                        <a:pt x="13167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414" name="Graphic 7">
                  <a:extLst>
                    <a:ext uri="{FF2B5EF4-FFF2-40B4-BE49-F238E27FC236}">
                      <a16:creationId xmlns:a16="http://schemas.microsoft.com/office/drawing/2014/main" id="{A9D30AC1-A01A-0E71-5D1B-8CD58A3EFC1B}"/>
                    </a:ext>
                  </a:extLst>
                </p:cNvPr>
                <p:cNvSpPr/>
                <p:nvPr/>
              </p:nvSpPr>
              <p:spPr>
                <a:xfrm>
                  <a:off x="8178276" y="3796247"/>
                  <a:ext cx="213035" cy="262329"/>
                </a:xfrm>
                <a:custGeom>
                  <a:avLst/>
                  <a:gdLst>
                    <a:gd name="connsiteX0" fmla="*/ 72969 w 272674"/>
                    <a:gd name="connsiteY0" fmla="*/ 2743 h 335767"/>
                    <a:gd name="connsiteX1" fmla="*/ 103144 w 272674"/>
                    <a:gd name="connsiteY1" fmla="*/ 40051 h 335767"/>
                    <a:gd name="connsiteX2" fmla="*/ 100950 w 272674"/>
                    <a:gd name="connsiteY2" fmla="*/ 48829 h 335767"/>
                    <a:gd name="connsiteX3" fmla="*/ 102047 w 272674"/>
                    <a:gd name="connsiteY3" fmla="*/ 54315 h 335767"/>
                    <a:gd name="connsiteX4" fmla="*/ 111922 w 272674"/>
                    <a:gd name="connsiteY4" fmla="*/ 64739 h 335767"/>
                    <a:gd name="connsiteX5" fmla="*/ 125090 w 272674"/>
                    <a:gd name="connsiteY5" fmla="*/ 67483 h 335767"/>
                    <a:gd name="connsiteX6" fmla="*/ 139354 w 272674"/>
                    <a:gd name="connsiteY6" fmla="*/ 64191 h 335767"/>
                    <a:gd name="connsiteX7" fmla="*/ 149230 w 272674"/>
                    <a:gd name="connsiteY7" fmla="*/ 64739 h 335767"/>
                    <a:gd name="connsiteX8" fmla="*/ 160203 w 272674"/>
                    <a:gd name="connsiteY8" fmla="*/ 78455 h 335767"/>
                    <a:gd name="connsiteX9" fmla="*/ 160751 w 272674"/>
                    <a:gd name="connsiteY9" fmla="*/ 83393 h 335767"/>
                    <a:gd name="connsiteX10" fmla="*/ 166786 w 272674"/>
                    <a:gd name="connsiteY10" fmla="*/ 87782 h 335767"/>
                    <a:gd name="connsiteX11" fmla="*/ 169530 w 272674"/>
                    <a:gd name="connsiteY11" fmla="*/ 93818 h 335767"/>
                    <a:gd name="connsiteX12" fmla="*/ 172822 w 272674"/>
                    <a:gd name="connsiteY12" fmla="*/ 97658 h 335767"/>
                    <a:gd name="connsiteX13" fmla="*/ 172273 w 272674"/>
                    <a:gd name="connsiteY13" fmla="*/ 103693 h 335767"/>
                    <a:gd name="connsiteX14" fmla="*/ 161849 w 272674"/>
                    <a:gd name="connsiteY14" fmla="*/ 114117 h 335767"/>
                    <a:gd name="connsiteX15" fmla="*/ 150327 w 272674"/>
                    <a:gd name="connsiteY15" fmla="*/ 113020 h 335767"/>
                    <a:gd name="connsiteX16" fmla="*/ 145390 w 272674"/>
                    <a:gd name="connsiteY16" fmla="*/ 114117 h 335767"/>
                    <a:gd name="connsiteX17" fmla="*/ 142646 w 272674"/>
                    <a:gd name="connsiteY17" fmla="*/ 117958 h 335767"/>
                    <a:gd name="connsiteX18" fmla="*/ 140452 w 272674"/>
                    <a:gd name="connsiteY18" fmla="*/ 123993 h 335767"/>
                    <a:gd name="connsiteX19" fmla="*/ 141001 w 272674"/>
                    <a:gd name="connsiteY19" fmla="*/ 128930 h 335767"/>
                    <a:gd name="connsiteX20" fmla="*/ 182697 w 272674"/>
                    <a:gd name="connsiteY20" fmla="*/ 154717 h 335767"/>
                    <a:gd name="connsiteX21" fmla="*/ 185440 w 272674"/>
                    <a:gd name="connsiteY21" fmla="*/ 164592 h 335767"/>
                    <a:gd name="connsiteX22" fmla="*/ 200802 w 272674"/>
                    <a:gd name="connsiteY22" fmla="*/ 178308 h 335767"/>
                    <a:gd name="connsiteX23" fmla="*/ 203545 w 272674"/>
                    <a:gd name="connsiteY23" fmla="*/ 184892 h 335767"/>
                    <a:gd name="connsiteX24" fmla="*/ 215067 w 272674"/>
                    <a:gd name="connsiteY24" fmla="*/ 198059 h 335767"/>
                    <a:gd name="connsiteX25" fmla="*/ 219456 w 272674"/>
                    <a:gd name="connsiteY25" fmla="*/ 199156 h 335767"/>
                    <a:gd name="connsiteX26" fmla="*/ 230429 w 272674"/>
                    <a:gd name="connsiteY26" fmla="*/ 207935 h 335767"/>
                    <a:gd name="connsiteX27" fmla="*/ 235915 w 272674"/>
                    <a:gd name="connsiteY27" fmla="*/ 225491 h 335767"/>
                    <a:gd name="connsiteX28" fmla="*/ 235915 w 272674"/>
                    <a:gd name="connsiteY28" fmla="*/ 226588 h 335767"/>
                    <a:gd name="connsiteX29" fmla="*/ 236464 w 272674"/>
                    <a:gd name="connsiteY29" fmla="*/ 227137 h 335767"/>
                    <a:gd name="connsiteX30" fmla="*/ 239207 w 272674"/>
                    <a:gd name="connsiteY30" fmla="*/ 236464 h 335767"/>
                    <a:gd name="connsiteX31" fmla="*/ 245242 w 272674"/>
                    <a:gd name="connsiteY31" fmla="*/ 236464 h 335767"/>
                    <a:gd name="connsiteX32" fmla="*/ 259507 w 272674"/>
                    <a:gd name="connsiteY32" fmla="*/ 248534 h 335767"/>
                    <a:gd name="connsiteX33" fmla="*/ 271577 w 272674"/>
                    <a:gd name="connsiteY33" fmla="*/ 279806 h 335767"/>
                    <a:gd name="connsiteX34" fmla="*/ 272674 w 272674"/>
                    <a:gd name="connsiteY34" fmla="*/ 308336 h 335767"/>
                    <a:gd name="connsiteX35" fmla="*/ 270479 w 272674"/>
                    <a:gd name="connsiteY35" fmla="*/ 311627 h 335767"/>
                    <a:gd name="connsiteX36" fmla="*/ 262798 w 272674"/>
                    <a:gd name="connsiteY36" fmla="*/ 318211 h 335767"/>
                    <a:gd name="connsiteX37" fmla="*/ 256215 w 272674"/>
                    <a:gd name="connsiteY37" fmla="*/ 320954 h 335767"/>
                    <a:gd name="connsiteX38" fmla="*/ 250729 w 272674"/>
                    <a:gd name="connsiteY38" fmla="*/ 320954 h 335767"/>
                    <a:gd name="connsiteX39" fmla="*/ 245242 w 272674"/>
                    <a:gd name="connsiteY39" fmla="*/ 315468 h 335767"/>
                    <a:gd name="connsiteX40" fmla="*/ 239207 w 272674"/>
                    <a:gd name="connsiteY40" fmla="*/ 314920 h 335767"/>
                    <a:gd name="connsiteX41" fmla="*/ 221102 w 272674"/>
                    <a:gd name="connsiteY41" fmla="*/ 324246 h 335767"/>
                    <a:gd name="connsiteX42" fmla="*/ 220553 w 272674"/>
                    <a:gd name="connsiteY42" fmla="*/ 334122 h 335767"/>
                    <a:gd name="connsiteX43" fmla="*/ 213970 w 272674"/>
                    <a:gd name="connsiteY43" fmla="*/ 335768 h 335767"/>
                    <a:gd name="connsiteX44" fmla="*/ 194218 w 272674"/>
                    <a:gd name="connsiteY44" fmla="*/ 330281 h 335767"/>
                    <a:gd name="connsiteX45" fmla="*/ 188732 w 272674"/>
                    <a:gd name="connsiteY45" fmla="*/ 324795 h 335767"/>
                    <a:gd name="connsiteX46" fmla="*/ 188732 w 272674"/>
                    <a:gd name="connsiteY46" fmla="*/ 322052 h 335767"/>
                    <a:gd name="connsiteX47" fmla="*/ 191475 w 272674"/>
                    <a:gd name="connsiteY47" fmla="*/ 322052 h 335767"/>
                    <a:gd name="connsiteX48" fmla="*/ 196962 w 272674"/>
                    <a:gd name="connsiteY48" fmla="*/ 314920 h 335767"/>
                    <a:gd name="connsiteX49" fmla="*/ 196962 w 272674"/>
                    <a:gd name="connsiteY49" fmla="*/ 285842 h 335767"/>
                    <a:gd name="connsiteX50" fmla="*/ 199156 w 272674"/>
                    <a:gd name="connsiteY50" fmla="*/ 279258 h 335767"/>
                    <a:gd name="connsiteX51" fmla="*/ 198608 w 272674"/>
                    <a:gd name="connsiteY51" fmla="*/ 272126 h 335767"/>
                    <a:gd name="connsiteX52" fmla="*/ 197510 w 272674"/>
                    <a:gd name="connsiteY52" fmla="*/ 268285 h 335767"/>
                    <a:gd name="connsiteX53" fmla="*/ 194218 w 272674"/>
                    <a:gd name="connsiteY53" fmla="*/ 264445 h 335767"/>
                    <a:gd name="connsiteX54" fmla="*/ 188732 w 272674"/>
                    <a:gd name="connsiteY54" fmla="*/ 260604 h 335767"/>
                    <a:gd name="connsiteX55" fmla="*/ 187086 w 272674"/>
                    <a:gd name="connsiteY55" fmla="*/ 256215 h 335767"/>
                    <a:gd name="connsiteX56" fmla="*/ 181051 w 272674"/>
                    <a:gd name="connsiteY56" fmla="*/ 255118 h 335767"/>
                    <a:gd name="connsiteX57" fmla="*/ 175565 w 272674"/>
                    <a:gd name="connsiteY57" fmla="*/ 251277 h 335767"/>
                    <a:gd name="connsiteX58" fmla="*/ 170627 w 272674"/>
                    <a:gd name="connsiteY58" fmla="*/ 245242 h 335767"/>
                    <a:gd name="connsiteX59" fmla="*/ 168433 w 272674"/>
                    <a:gd name="connsiteY59" fmla="*/ 237013 h 335767"/>
                    <a:gd name="connsiteX60" fmla="*/ 168433 w 272674"/>
                    <a:gd name="connsiteY60" fmla="*/ 211226 h 335767"/>
                    <a:gd name="connsiteX61" fmla="*/ 162397 w 272674"/>
                    <a:gd name="connsiteY61" fmla="*/ 195865 h 335767"/>
                    <a:gd name="connsiteX62" fmla="*/ 158008 w 272674"/>
                    <a:gd name="connsiteY62" fmla="*/ 193121 h 335767"/>
                    <a:gd name="connsiteX63" fmla="*/ 155814 w 272674"/>
                    <a:gd name="connsiteY63" fmla="*/ 188183 h 335767"/>
                    <a:gd name="connsiteX64" fmla="*/ 145390 w 272674"/>
                    <a:gd name="connsiteY64" fmla="*/ 180503 h 335767"/>
                    <a:gd name="connsiteX65" fmla="*/ 133868 w 272674"/>
                    <a:gd name="connsiteY65" fmla="*/ 164592 h 335767"/>
                    <a:gd name="connsiteX66" fmla="*/ 110277 w 272674"/>
                    <a:gd name="connsiteY66" fmla="*/ 166238 h 335767"/>
                    <a:gd name="connsiteX67" fmla="*/ 107533 w 272674"/>
                    <a:gd name="connsiteY67" fmla="*/ 173919 h 335767"/>
                    <a:gd name="connsiteX68" fmla="*/ 104790 w 272674"/>
                    <a:gd name="connsiteY68" fmla="*/ 177211 h 335767"/>
                    <a:gd name="connsiteX69" fmla="*/ 90526 w 272674"/>
                    <a:gd name="connsiteY69" fmla="*/ 183246 h 335767"/>
                    <a:gd name="connsiteX70" fmla="*/ 85588 w 272674"/>
                    <a:gd name="connsiteY70" fmla="*/ 183246 h 335767"/>
                    <a:gd name="connsiteX71" fmla="*/ 79553 w 272674"/>
                    <a:gd name="connsiteY71" fmla="*/ 179405 h 335767"/>
                    <a:gd name="connsiteX72" fmla="*/ 75164 w 272674"/>
                    <a:gd name="connsiteY72" fmla="*/ 172273 h 335767"/>
                    <a:gd name="connsiteX73" fmla="*/ 69677 w 272674"/>
                    <a:gd name="connsiteY73" fmla="*/ 171176 h 335767"/>
                    <a:gd name="connsiteX74" fmla="*/ 54315 w 272674"/>
                    <a:gd name="connsiteY74" fmla="*/ 175565 h 335767"/>
                    <a:gd name="connsiteX75" fmla="*/ 46086 w 272674"/>
                    <a:gd name="connsiteY75" fmla="*/ 184343 h 335767"/>
                    <a:gd name="connsiteX76" fmla="*/ 37856 w 272674"/>
                    <a:gd name="connsiteY76" fmla="*/ 188183 h 335767"/>
                    <a:gd name="connsiteX77" fmla="*/ 32918 w 272674"/>
                    <a:gd name="connsiteY77" fmla="*/ 194219 h 335767"/>
                    <a:gd name="connsiteX78" fmla="*/ 29078 w 272674"/>
                    <a:gd name="connsiteY78" fmla="*/ 196413 h 335767"/>
                    <a:gd name="connsiteX79" fmla="*/ 30175 w 272674"/>
                    <a:gd name="connsiteY79" fmla="*/ 193121 h 335767"/>
                    <a:gd name="connsiteX80" fmla="*/ 27432 w 272674"/>
                    <a:gd name="connsiteY80" fmla="*/ 184343 h 335767"/>
                    <a:gd name="connsiteX81" fmla="*/ 36759 w 272674"/>
                    <a:gd name="connsiteY81" fmla="*/ 138806 h 335767"/>
                    <a:gd name="connsiteX82" fmla="*/ 34016 w 272674"/>
                    <a:gd name="connsiteY82" fmla="*/ 127833 h 335767"/>
                    <a:gd name="connsiteX83" fmla="*/ 36759 w 272674"/>
                    <a:gd name="connsiteY83" fmla="*/ 115763 h 335767"/>
                    <a:gd name="connsiteX84" fmla="*/ 34016 w 272674"/>
                    <a:gd name="connsiteY84" fmla="*/ 113569 h 335767"/>
                    <a:gd name="connsiteX85" fmla="*/ 15910 w 272674"/>
                    <a:gd name="connsiteY85" fmla="*/ 113020 h 335767"/>
                    <a:gd name="connsiteX86" fmla="*/ 14265 w 272674"/>
                    <a:gd name="connsiteY86" fmla="*/ 111923 h 335767"/>
                    <a:gd name="connsiteX87" fmla="*/ 12619 w 272674"/>
                    <a:gd name="connsiteY87" fmla="*/ 89428 h 335767"/>
                    <a:gd name="connsiteX88" fmla="*/ 5486 w 272674"/>
                    <a:gd name="connsiteY88" fmla="*/ 80102 h 335767"/>
                    <a:gd name="connsiteX89" fmla="*/ 1646 w 272674"/>
                    <a:gd name="connsiteY89" fmla="*/ 81199 h 335767"/>
                    <a:gd name="connsiteX90" fmla="*/ 0 w 272674"/>
                    <a:gd name="connsiteY90" fmla="*/ 77358 h 335767"/>
                    <a:gd name="connsiteX91" fmla="*/ 549 w 272674"/>
                    <a:gd name="connsiteY91" fmla="*/ 72421 h 335767"/>
                    <a:gd name="connsiteX92" fmla="*/ 2194 w 272674"/>
                    <a:gd name="connsiteY92" fmla="*/ 72421 h 335767"/>
                    <a:gd name="connsiteX93" fmla="*/ 3841 w 272674"/>
                    <a:gd name="connsiteY93" fmla="*/ 68580 h 335767"/>
                    <a:gd name="connsiteX94" fmla="*/ 6584 w 272674"/>
                    <a:gd name="connsiteY94" fmla="*/ 65288 h 335767"/>
                    <a:gd name="connsiteX95" fmla="*/ 15910 w 272674"/>
                    <a:gd name="connsiteY95" fmla="*/ 63642 h 335767"/>
                    <a:gd name="connsiteX96" fmla="*/ 14813 w 272674"/>
                    <a:gd name="connsiteY96" fmla="*/ 54864 h 335767"/>
                    <a:gd name="connsiteX97" fmla="*/ 32370 w 272674"/>
                    <a:gd name="connsiteY97" fmla="*/ 41697 h 335767"/>
                    <a:gd name="connsiteX98" fmla="*/ 36210 w 272674"/>
                    <a:gd name="connsiteY98" fmla="*/ 37307 h 335767"/>
                    <a:gd name="connsiteX99" fmla="*/ 36759 w 272674"/>
                    <a:gd name="connsiteY99" fmla="*/ 34016 h 335767"/>
                    <a:gd name="connsiteX100" fmla="*/ 40599 w 272674"/>
                    <a:gd name="connsiteY100" fmla="*/ 51572 h 335767"/>
                    <a:gd name="connsiteX101" fmla="*/ 54315 w 272674"/>
                    <a:gd name="connsiteY101" fmla="*/ 48829 h 335767"/>
                    <a:gd name="connsiteX102" fmla="*/ 57607 w 272674"/>
                    <a:gd name="connsiteY102" fmla="*/ 46634 h 335767"/>
                    <a:gd name="connsiteX103" fmla="*/ 58156 w 272674"/>
                    <a:gd name="connsiteY103" fmla="*/ 36210 h 335767"/>
                    <a:gd name="connsiteX104" fmla="*/ 53767 w 272674"/>
                    <a:gd name="connsiteY104" fmla="*/ 25238 h 335767"/>
                    <a:gd name="connsiteX105" fmla="*/ 53218 w 272674"/>
                    <a:gd name="connsiteY105" fmla="*/ 5486 h 335767"/>
                    <a:gd name="connsiteX106" fmla="*/ 59253 w 272674"/>
                    <a:gd name="connsiteY106" fmla="*/ 0 h 335767"/>
                    <a:gd name="connsiteX107" fmla="*/ 72969 w 272674"/>
                    <a:gd name="connsiteY107" fmla="*/ 1097 h 335767"/>
                    <a:gd name="connsiteX108" fmla="*/ 72969 w 272674"/>
                    <a:gd name="connsiteY108" fmla="*/ 2743 h 3357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</a:cxnLst>
                  <a:rect l="l" t="t" r="r" b="b"/>
                  <a:pathLst>
                    <a:path w="272674" h="335767">
                      <a:moveTo>
                        <a:pt x="72969" y="2743"/>
                      </a:moveTo>
                      <a:lnTo>
                        <a:pt x="103144" y="40051"/>
                      </a:lnTo>
                      <a:lnTo>
                        <a:pt x="100950" y="48829"/>
                      </a:lnTo>
                      <a:lnTo>
                        <a:pt x="102047" y="54315"/>
                      </a:lnTo>
                      <a:lnTo>
                        <a:pt x="111922" y="64739"/>
                      </a:lnTo>
                      <a:lnTo>
                        <a:pt x="125090" y="67483"/>
                      </a:lnTo>
                      <a:lnTo>
                        <a:pt x="139354" y="64191"/>
                      </a:lnTo>
                      <a:lnTo>
                        <a:pt x="149230" y="64739"/>
                      </a:lnTo>
                      <a:lnTo>
                        <a:pt x="160203" y="78455"/>
                      </a:lnTo>
                      <a:lnTo>
                        <a:pt x="160751" y="83393"/>
                      </a:lnTo>
                      <a:lnTo>
                        <a:pt x="166786" y="87782"/>
                      </a:lnTo>
                      <a:lnTo>
                        <a:pt x="169530" y="93818"/>
                      </a:lnTo>
                      <a:lnTo>
                        <a:pt x="172822" y="97658"/>
                      </a:lnTo>
                      <a:lnTo>
                        <a:pt x="172273" y="103693"/>
                      </a:lnTo>
                      <a:lnTo>
                        <a:pt x="161849" y="114117"/>
                      </a:lnTo>
                      <a:lnTo>
                        <a:pt x="150327" y="113020"/>
                      </a:lnTo>
                      <a:lnTo>
                        <a:pt x="145390" y="114117"/>
                      </a:lnTo>
                      <a:lnTo>
                        <a:pt x="142646" y="117958"/>
                      </a:lnTo>
                      <a:lnTo>
                        <a:pt x="140452" y="123993"/>
                      </a:lnTo>
                      <a:lnTo>
                        <a:pt x="141001" y="128930"/>
                      </a:lnTo>
                      <a:lnTo>
                        <a:pt x="182697" y="154717"/>
                      </a:lnTo>
                      <a:lnTo>
                        <a:pt x="185440" y="164592"/>
                      </a:lnTo>
                      <a:lnTo>
                        <a:pt x="200802" y="178308"/>
                      </a:lnTo>
                      <a:lnTo>
                        <a:pt x="203545" y="184892"/>
                      </a:lnTo>
                      <a:lnTo>
                        <a:pt x="215067" y="198059"/>
                      </a:lnTo>
                      <a:lnTo>
                        <a:pt x="219456" y="199156"/>
                      </a:lnTo>
                      <a:lnTo>
                        <a:pt x="230429" y="207935"/>
                      </a:lnTo>
                      <a:lnTo>
                        <a:pt x="235915" y="225491"/>
                      </a:lnTo>
                      <a:lnTo>
                        <a:pt x="235915" y="226588"/>
                      </a:lnTo>
                      <a:lnTo>
                        <a:pt x="236464" y="227137"/>
                      </a:lnTo>
                      <a:lnTo>
                        <a:pt x="239207" y="236464"/>
                      </a:lnTo>
                      <a:lnTo>
                        <a:pt x="245242" y="236464"/>
                      </a:lnTo>
                      <a:lnTo>
                        <a:pt x="259507" y="248534"/>
                      </a:lnTo>
                      <a:lnTo>
                        <a:pt x="271577" y="279806"/>
                      </a:lnTo>
                      <a:lnTo>
                        <a:pt x="272674" y="308336"/>
                      </a:lnTo>
                      <a:lnTo>
                        <a:pt x="270479" y="311627"/>
                      </a:lnTo>
                      <a:lnTo>
                        <a:pt x="262798" y="318211"/>
                      </a:lnTo>
                      <a:lnTo>
                        <a:pt x="256215" y="320954"/>
                      </a:lnTo>
                      <a:lnTo>
                        <a:pt x="250729" y="320954"/>
                      </a:lnTo>
                      <a:lnTo>
                        <a:pt x="245242" y="315468"/>
                      </a:lnTo>
                      <a:lnTo>
                        <a:pt x="239207" y="314920"/>
                      </a:lnTo>
                      <a:lnTo>
                        <a:pt x="221102" y="324246"/>
                      </a:lnTo>
                      <a:lnTo>
                        <a:pt x="220553" y="334122"/>
                      </a:lnTo>
                      <a:lnTo>
                        <a:pt x="213970" y="335768"/>
                      </a:lnTo>
                      <a:lnTo>
                        <a:pt x="194218" y="330281"/>
                      </a:lnTo>
                      <a:lnTo>
                        <a:pt x="188732" y="324795"/>
                      </a:lnTo>
                      <a:lnTo>
                        <a:pt x="188732" y="322052"/>
                      </a:lnTo>
                      <a:lnTo>
                        <a:pt x="191475" y="322052"/>
                      </a:lnTo>
                      <a:lnTo>
                        <a:pt x="196962" y="314920"/>
                      </a:lnTo>
                      <a:lnTo>
                        <a:pt x="196962" y="285842"/>
                      </a:lnTo>
                      <a:lnTo>
                        <a:pt x="199156" y="279258"/>
                      </a:lnTo>
                      <a:lnTo>
                        <a:pt x="198608" y="272126"/>
                      </a:lnTo>
                      <a:lnTo>
                        <a:pt x="197510" y="268285"/>
                      </a:lnTo>
                      <a:lnTo>
                        <a:pt x="194218" y="264445"/>
                      </a:lnTo>
                      <a:lnTo>
                        <a:pt x="188732" y="260604"/>
                      </a:lnTo>
                      <a:lnTo>
                        <a:pt x="187086" y="256215"/>
                      </a:lnTo>
                      <a:lnTo>
                        <a:pt x="181051" y="255118"/>
                      </a:lnTo>
                      <a:lnTo>
                        <a:pt x="175565" y="251277"/>
                      </a:lnTo>
                      <a:lnTo>
                        <a:pt x="170627" y="245242"/>
                      </a:lnTo>
                      <a:lnTo>
                        <a:pt x="168433" y="237013"/>
                      </a:lnTo>
                      <a:lnTo>
                        <a:pt x="168433" y="211226"/>
                      </a:lnTo>
                      <a:lnTo>
                        <a:pt x="162397" y="195865"/>
                      </a:lnTo>
                      <a:lnTo>
                        <a:pt x="158008" y="193121"/>
                      </a:lnTo>
                      <a:lnTo>
                        <a:pt x="155814" y="188183"/>
                      </a:lnTo>
                      <a:lnTo>
                        <a:pt x="145390" y="180503"/>
                      </a:lnTo>
                      <a:lnTo>
                        <a:pt x="133868" y="164592"/>
                      </a:lnTo>
                      <a:lnTo>
                        <a:pt x="110277" y="166238"/>
                      </a:lnTo>
                      <a:lnTo>
                        <a:pt x="107533" y="173919"/>
                      </a:lnTo>
                      <a:lnTo>
                        <a:pt x="104790" y="177211"/>
                      </a:lnTo>
                      <a:lnTo>
                        <a:pt x="90526" y="183246"/>
                      </a:lnTo>
                      <a:lnTo>
                        <a:pt x="85588" y="183246"/>
                      </a:lnTo>
                      <a:lnTo>
                        <a:pt x="79553" y="179405"/>
                      </a:lnTo>
                      <a:lnTo>
                        <a:pt x="75164" y="172273"/>
                      </a:lnTo>
                      <a:lnTo>
                        <a:pt x="69677" y="171176"/>
                      </a:lnTo>
                      <a:lnTo>
                        <a:pt x="54315" y="175565"/>
                      </a:lnTo>
                      <a:lnTo>
                        <a:pt x="46086" y="184343"/>
                      </a:lnTo>
                      <a:lnTo>
                        <a:pt x="37856" y="188183"/>
                      </a:lnTo>
                      <a:lnTo>
                        <a:pt x="32918" y="194219"/>
                      </a:lnTo>
                      <a:lnTo>
                        <a:pt x="29078" y="196413"/>
                      </a:lnTo>
                      <a:lnTo>
                        <a:pt x="30175" y="193121"/>
                      </a:lnTo>
                      <a:lnTo>
                        <a:pt x="27432" y="184343"/>
                      </a:lnTo>
                      <a:lnTo>
                        <a:pt x="36759" y="138806"/>
                      </a:lnTo>
                      <a:lnTo>
                        <a:pt x="34016" y="127833"/>
                      </a:lnTo>
                      <a:lnTo>
                        <a:pt x="36759" y="115763"/>
                      </a:lnTo>
                      <a:lnTo>
                        <a:pt x="34016" y="113569"/>
                      </a:lnTo>
                      <a:lnTo>
                        <a:pt x="15910" y="113020"/>
                      </a:lnTo>
                      <a:lnTo>
                        <a:pt x="14265" y="111923"/>
                      </a:lnTo>
                      <a:lnTo>
                        <a:pt x="12619" y="89428"/>
                      </a:lnTo>
                      <a:lnTo>
                        <a:pt x="5486" y="80102"/>
                      </a:lnTo>
                      <a:lnTo>
                        <a:pt x="1646" y="81199"/>
                      </a:lnTo>
                      <a:lnTo>
                        <a:pt x="0" y="77358"/>
                      </a:lnTo>
                      <a:lnTo>
                        <a:pt x="549" y="72421"/>
                      </a:lnTo>
                      <a:lnTo>
                        <a:pt x="2194" y="72421"/>
                      </a:lnTo>
                      <a:lnTo>
                        <a:pt x="3841" y="68580"/>
                      </a:lnTo>
                      <a:lnTo>
                        <a:pt x="6584" y="65288"/>
                      </a:lnTo>
                      <a:lnTo>
                        <a:pt x="15910" y="63642"/>
                      </a:lnTo>
                      <a:lnTo>
                        <a:pt x="14813" y="54864"/>
                      </a:lnTo>
                      <a:lnTo>
                        <a:pt x="32370" y="41697"/>
                      </a:lnTo>
                      <a:lnTo>
                        <a:pt x="36210" y="37307"/>
                      </a:lnTo>
                      <a:lnTo>
                        <a:pt x="36759" y="34016"/>
                      </a:lnTo>
                      <a:lnTo>
                        <a:pt x="40599" y="51572"/>
                      </a:lnTo>
                      <a:lnTo>
                        <a:pt x="54315" y="48829"/>
                      </a:lnTo>
                      <a:lnTo>
                        <a:pt x="57607" y="46634"/>
                      </a:lnTo>
                      <a:lnTo>
                        <a:pt x="58156" y="36210"/>
                      </a:lnTo>
                      <a:lnTo>
                        <a:pt x="53767" y="25238"/>
                      </a:lnTo>
                      <a:lnTo>
                        <a:pt x="53218" y="5486"/>
                      </a:lnTo>
                      <a:lnTo>
                        <a:pt x="59253" y="0"/>
                      </a:lnTo>
                      <a:lnTo>
                        <a:pt x="72969" y="1097"/>
                      </a:lnTo>
                      <a:lnTo>
                        <a:pt x="72969" y="2743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415" name="Graphic 7">
                  <a:extLst>
                    <a:ext uri="{FF2B5EF4-FFF2-40B4-BE49-F238E27FC236}">
                      <a16:creationId xmlns:a16="http://schemas.microsoft.com/office/drawing/2014/main" id="{88AB19D6-5DE9-791F-02A7-F6E27BE3DA0D}"/>
                    </a:ext>
                  </a:extLst>
                </p:cNvPr>
                <p:cNvSpPr/>
                <p:nvPr/>
              </p:nvSpPr>
              <p:spPr>
                <a:xfrm>
                  <a:off x="8887250" y="3081271"/>
                  <a:ext cx="186887" cy="201890"/>
                </a:xfrm>
                <a:custGeom>
                  <a:avLst/>
                  <a:gdLst>
                    <a:gd name="connsiteX0" fmla="*/ 152522 w 239206"/>
                    <a:gd name="connsiteY0" fmla="*/ 218359 h 258409"/>
                    <a:gd name="connsiteX1" fmla="*/ 150876 w 239206"/>
                    <a:gd name="connsiteY1" fmla="*/ 211775 h 258409"/>
                    <a:gd name="connsiteX2" fmla="*/ 126187 w 239206"/>
                    <a:gd name="connsiteY2" fmla="*/ 189281 h 258409"/>
                    <a:gd name="connsiteX3" fmla="*/ 117409 w 239206"/>
                    <a:gd name="connsiteY3" fmla="*/ 185989 h 258409"/>
                    <a:gd name="connsiteX4" fmla="*/ 115763 w 239206"/>
                    <a:gd name="connsiteY4" fmla="*/ 181600 h 258409"/>
                    <a:gd name="connsiteX5" fmla="*/ 119055 w 239206"/>
                    <a:gd name="connsiteY5" fmla="*/ 173370 h 258409"/>
                    <a:gd name="connsiteX6" fmla="*/ 119055 w 239206"/>
                    <a:gd name="connsiteY6" fmla="*/ 179405 h 258409"/>
                    <a:gd name="connsiteX7" fmla="*/ 119604 w 239206"/>
                    <a:gd name="connsiteY7" fmla="*/ 156911 h 258409"/>
                    <a:gd name="connsiteX8" fmla="*/ 133868 w 239206"/>
                    <a:gd name="connsiteY8" fmla="*/ 150876 h 258409"/>
                    <a:gd name="connsiteX9" fmla="*/ 136612 w 239206"/>
                    <a:gd name="connsiteY9" fmla="*/ 144841 h 258409"/>
                    <a:gd name="connsiteX10" fmla="*/ 152522 w 239206"/>
                    <a:gd name="connsiteY10" fmla="*/ 143195 h 258409"/>
                    <a:gd name="connsiteX11" fmla="*/ 160752 w 239206"/>
                    <a:gd name="connsiteY11" fmla="*/ 137160 h 258409"/>
                    <a:gd name="connsiteX12" fmla="*/ 162946 w 239206"/>
                    <a:gd name="connsiteY12" fmla="*/ 133319 h 258409"/>
                    <a:gd name="connsiteX13" fmla="*/ 188184 w 239206"/>
                    <a:gd name="connsiteY13" fmla="*/ 110825 h 258409"/>
                    <a:gd name="connsiteX14" fmla="*/ 198059 w 239206"/>
                    <a:gd name="connsiteY14" fmla="*/ 105887 h 258409"/>
                    <a:gd name="connsiteX15" fmla="*/ 201900 w 239206"/>
                    <a:gd name="connsiteY15" fmla="*/ 102047 h 258409"/>
                    <a:gd name="connsiteX16" fmla="*/ 202997 w 239206"/>
                    <a:gd name="connsiteY16" fmla="*/ 82296 h 258409"/>
                    <a:gd name="connsiteX17" fmla="*/ 200254 w 239206"/>
                    <a:gd name="connsiteY17" fmla="*/ 76261 h 258409"/>
                    <a:gd name="connsiteX18" fmla="*/ 201900 w 239206"/>
                    <a:gd name="connsiteY18" fmla="*/ 68580 h 258409"/>
                    <a:gd name="connsiteX19" fmla="*/ 229332 w 239206"/>
                    <a:gd name="connsiteY19" fmla="*/ 33467 h 258409"/>
                    <a:gd name="connsiteX20" fmla="*/ 234270 w 239206"/>
                    <a:gd name="connsiteY20" fmla="*/ 31273 h 258409"/>
                    <a:gd name="connsiteX21" fmla="*/ 239207 w 239206"/>
                    <a:gd name="connsiteY21" fmla="*/ 32918 h 258409"/>
                    <a:gd name="connsiteX22" fmla="*/ 234818 w 239206"/>
                    <a:gd name="connsiteY22" fmla="*/ 18105 h 258409"/>
                    <a:gd name="connsiteX23" fmla="*/ 229332 w 239206"/>
                    <a:gd name="connsiteY23" fmla="*/ 17557 h 258409"/>
                    <a:gd name="connsiteX24" fmla="*/ 223845 w 239206"/>
                    <a:gd name="connsiteY24" fmla="*/ 7681 h 258409"/>
                    <a:gd name="connsiteX25" fmla="*/ 216164 w 239206"/>
                    <a:gd name="connsiteY25" fmla="*/ 0 h 258409"/>
                    <a:gd name="connsiteX26" fmla="*/ 209032 w 239206"/>
                    <a:gd name="connsiteY26" fmla="*/ 5486 h 258409"/>
                    <a:gd name="connsiteX27" fmla="*/ 196962 w 239206"/>
                    <a:gd name="connsiteY27" fmla="*/ 30724 h 258409"/>
                    <a:gd name="connsiteX28" fmla="*/ 175565 w 239206"/>
                    <a:gd name="connsiteY28" fmla="*/ 46086 h 258409"/>
                    <a:gd name="connsiteX29" fmla="*/ 145390 w 239206"/>
                    <a:gd name="connsiteY29" fmla="*/ 49926 h 258409"/>
                    <a:gd name="connsiteX30" fmla="*/ 142098 w 239206"/>
                    <a:gd name="connsiteY30" fmla="*/ 55961 h 258409"/>
                    <a:gd name="connsiteX31" fmla="*/ 146487 w 239206"/>
                    <a:gd name="connsiteY31" fmla="*/ 77907 h 258409"/>
                    <a:gd name="connsiteX32" fmla="*/ 117958 w 239206"/>
                    <a:gd name="connsiteY32" fmla="*/ 80650 h 258409"/>
                    <a:gd name="connsiteX33" fmla="*/ 107533 w 239206"/>
                    <a:gd name="connsiteY33" fmla="*/ 74066 h 258409"/>
                    <a:gd name="connsiteX34" fmla="*/ 95464 w 239206"/>
                    <a:gd name="connsiteY34" fmla="*/ 70775 h 258409"/>
                    <a:gd name="connsiteX35" fmla="*/ 30724 w 239206"/>
                    <a:gd name="connsiteY35" fmla="*/ 121798 h 258409"/>
                    <a:gd name="connsiteX36" fmla="*/ 20300 w 239206"/>
                    <a:gd name="connsiteY36" fmla="*/ 126187 h 258409"/>
                    <a:gd name="connsiteX37" fmla="*/ 1097 w 239206"/>
                    <a:gd name="connsiteY37" fmla="*/ 150876 h 258409"/>
                    <a:gd name="connsiteX38" fmla="*/ 0 w 239206"/>
                    <a:gd name="connsiteY38" fmla="*/ 152522 h 258409"/>
                    <a:gd name="connsiteX39" fmla="*/ 8230 w 239206"/>
                    <a:gd name="connsiteY39" fmla="*/ 160751 h 258409"/>
                    <a:gd name="connsiteX40" fmla="*/ 11522 w 239206"/>
                    <a:gd name="connsiteY40" fmla="*/ 167884 h 258409"/>
                    <a:gd name="connsiteX41" fmla="*/ 20300 w 239206"/>
                    <a:gd name="connsiteY41" fmla="*/ 163495 h 258409"/>
                    <a:gd name="connsiteX42" fmla="*/ 38953 w 239206"/>
                    <a:gd name="connsiteY42" fmla="*/ 167884 h 258409"/>
                    <a:gd name="connsiteX43" fmla="*/ 42794 w 239206"/>
                    <a:gd name="connsiteY43" fmla="*/ 170078 h 258409"/>
                    <a:gd name="connsiteX44" fmla="*/ 34016 w 239206"/>
                    <a:gd name="connsiteY44" fmla="*/ 205740 h 258409"/>
                    <a:gd name="connsiteX45" fmla="*/ 35662 w 239206"/>
                    <a:gd name="connsiteY45" fmla="*/ 210678 h 258409"/>
                    <a:gd name="connsiteX46" fmla="*/ 41148 w 239206"/>
                    <a:gd name="connsiteY46" fmla="*/ 210678 h 258409"/>
                    <a:gd name="connsiteX47" fmla="*/ 30724 w 239206"/>
                    <a:gd name="connsiteY47" fmla="*/ 215615 h 258409"/>
                    <a:gd name="connsiteX48" fmla="*/ 29627 w 239206"/>
                    <a:gd name="connsiteY48" fmla="*/ 218359 h 258409"/>
                    <a:gd name="connsiteX49" fmla="*/ 25238 w 239206"/>
                    <a:gd name="connsiteY49" fmla="*/ 221102 h 258409"/>
                    <a:gd name="connsiteX50" fmla="*/ 21946 w 239206"/>
                    <a:gd name="connsiteY50" fmla="*/ 232075 h 258409"/>
                    <a:gd name="connsiteX51" fmla="*/ 16459 w 239206"/>
                    <a:gd name="connsiteY51" fmla="*/ 240853 h 258409"/>
                    <a:gd name="connsiteX52" fmla="*/ 26883 w 239206"/>
                    <a:gd name="connsiteY52" fmla="*/ 241402 h 258409"/>
                    <a:gd name="connsiteX53" fmla="*/ 34016 w 239206"/>
                    <a:gd name="connsiteY53" fmla="*/ 239756 h 258409"/>
                    <a:gd name="connsiteX54" fmla="*/ 33467 w 239206"/>
                    <a:gd name="connsiteY54" fmla="*/ 243047 h 258409"/>
                    <a:gd name="connsiteX55" fmla="*/ 30724 w 239206"/>
                    <a:gd name="connsiteY55" fmla="*/ 246888 h 258409"/>
                    <a:gd name="connsiteX56" fmla="*/ 26883 w 239206"/>
                    <a:gd name="connsiteY56" fmla="*/ 246888 h 258409"/>
                    <a:gd name="connsiteX57" fmla="*/ 27981 w 239206"/>
                    <a:gd name="connsiteY57" fmla="*/ 251277 h 258409"/>
                    <a:gd name="connsiteX58" fmla="*/ 32370 w 239206"/>
                    <a:gd name="connsiteY58" fmla="*/ 250180 h 258409"/>
                    <a:gd name="connsiteX59" fmla="*/ 34565 w 239206"/>
                    <a:gd name="connsiteY59" fmla="*/ 257861 h 258409"/>
                    <a:gd name="connsiteX60" fmla="*/ 41148 w 239206"/>
                    <a:gd name="connsiteY60" fmla="*/ 258409 h 258409"/>
                    <a:gd name="connsiteX61" fmla="*/ 43891 w 239206"/>
                    <a:gd name="connsiteY61" fmla="*/ 254569 h 258409"/>
                    <a:gd name="connsiteX62" fmla="*/ 48281 w 239206"/>
                    <a:gd name="connsiteY62" fmla="*/ 252923 h 258409"/>
                    <a:gd name="connsiteX63" fmla="*/ 51024 w 239206"/>
                    <a:gd name="connsiteY63" fmla="*/ 246340 h 258409"/>
                    <a:gd name="connsiteX64" fmla="*/ 48829 w 239206"/>
                    <a:gd name="connsiteY64" fmla="*/ 243596 h 258409"/>
                    <a:gd name="connsiteX65" fmla="*/ 53218 w 239206"/>
                    <a:gd name="connsiteY65" fmla="*/ 244145 h 258409"/>
                    <a:gd name="connsiteX66" fmla="*/ 57607 w 239206"/>
                    <a:gd name="connsiteY66" fmla="*/ 249631 h 258409"/>
                    <a:gd name="connsiteX67" fmla="*/ 62545 w 239206"/>
                    <a:gd name="connsiteY67" fmla="*/ 251277 h 258409"/>
                    <a:gd name="connsiteX68" fmla="*/ 67483 w 239206"/>
                    <a:gd name="connsiteY68" fmla="*/ 255118 h 258409"/>
                    <a:gd name="connsiteX69" fmla="*/ 70226 w 239206"/>
                    <a:gd name="connsiteY69" fmla="*/ 252374 h 258409"/>
                    <a:gd name="connsiteX70" fmla="*/ 77358 w 239206"/>
                    <a:gd name="connsiteY70" fmla="*/ 249631 h 258409"/>
                    <a:gd name="connsiteX71" fmla="*/ 82845 w 239206"/>
                    <a:gd name="connsiteY71" fmla="*/ 255118 h 258409"/>
                    <a:gd name="connsiteX72" fmla="*/ 107533 w 239206"/>
                    <a:gd name="connsiteY72" fmla="*/ 233172 h 258409"/>
                    <a:gd name="connsiteX73" fmla="*/ 130577 w 239206"/>
                    <a:gd name="connsiteY73" fmla="*/ 233172 h 258409"/>
                    <a:gd name="connsiteX74" fmla="*/ 140452 w 239206"/>
                    <a:gd name="connsiteY74" fmla="*/ 228783 h 258409"/>
                    <a:gd name="connsiteX75" fmla="*/ 152522 w 239206"/>
                    <a:gd name="connsiteY75" fmla="*/ 218359 h 2584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</a:cxnLst>
                  <a:rect l="l" t="t" r="r" b="b"/>
                  <a:pathLst>
                    <a:path w="239206" h="258409">
                      <a:moveTo>
                        <a:pt x="152522" y="218359"/>
                      </a:moveTo>
                      <a:lnTo>
                        <a:pt x="150876" y="211775"/>
                      </a:lnTo>
                      <a:lnTo>
                        <a:pt x="126187" y="189281"/>
                      </a:lnTo>
                      <a:lnTo>
                        <a:pt x="117409" y="185989"/>
                      </a:lnTo>
                      <a:lnTo>
                        <a:pt x="115763" y="181600"/>
                      </a:lnTo>
                      <a:lnTo>
                        <a:pt x="119055" y="173370"/>
                      </a:lnTo>
                      <a:lnTo>
                        <a:pt x="119055" y="179405"/>
                      </a:lnTo>
                      <a:lnTo>
                        <a:pt x="119604" y="156911"/>
                      </a:lnTo>
                      <a:lnTo>
                        <a:pt x="133868" y="150876"/>
                      </a:lnTo>
                      <a:lnTo>
                        <a:pt x="136612" y="144841"/>
                      </a:lnTo>
                      <a:lnTo>
                        <a:pt x="152522" y="143195"/>
                      </a:lnTo>
                      <a:lnTo>
                        <a:pt x="160752" y="137160"/>
                      </a:lnTo>
                      <a:lnTo>
                        <a:pt x="162946" y="133319"/>
                      </a:lnTo>
                      <a:lnTo>
                        <a:pt x="188184" y="110825"/>
                      </a:lnTo>
                      <a:lnTo>
                        <a:pt x="198059" y="105887"/>
                      </a:lnTo>
                      <a:lnTo>
                        <a:pt x="201900" y="102047"/>
                      </a:lnTo>
                      <a:lnTo>
                        <a:pt x="202997" y="82296"/>
                      </a:lnTo>
                      <a:lnTo>
                        <a:pt x="200254" y="76261"/>
                      </a:lnTo>
                      <a:lnTo>
                        <a:pt x="201900" y="68580"/>
                      </a:lnTo>
                      <a:lnTo>
                        <a:pt x="229332" y="33467"/>
                      </a:lnTo>
                      <a:lnTo>
                        <a:pt x="234270" y="31273"/>
                      </a:lnTo>
                      <a:lnTo>
                        <a:pt x="239207" y="32918"/>
                      </a:lnTo>
                      <a:lnTo>
                        <a:pt x="234818" y="18105"/>
                      </a:lnTo>
                      <a:lnTo>
                        <a:pt x="229332" y="17557"/>
                      </a:lnTo>
                      <a:lnTo>
                        <a:pt x="223845" y="7681"/>
                      </a:lnTo>
                      <a:lnTo>
                        <a:pt x="216164" y="0"/>
                      </a:lnTo>
                      <a:lnTo>
                        <a:pt x="209032" y="5486"/>
                      </a:lnTo>
                      <a:lnTo>
                        <a:pt x="196962" y="30724"/>
                      </a:lnTo>
                      <a:lnTo>
                        <a:pt x="175565" y="46086"/>
                      </a:lnTo>
                      <a:lnTo>
                        <a:pt x="145390" y="49926"/>
                      </a:lnTo>
                      <a:lnTo>
                        <a:pt x="142098" y="55961"/>
                      </a:lnTo>
                      <a:lnTo>
                        <a:pt x="146487" y="77907"/>
                      </a:lnTo>
                      <a:lnTo>
                        <a:pt x="117958" y="80650"/>
                      </a:lnTo>
                      <a:lnTo>
                        <a:pt x="107533" y="74066"/>
                      </a:lnTo>
                      <a:lnTo>
                        <a:pt x="95464" y="70775"/>
                      </a:lnTo>
                      <a:lnTo>
                        <a:pt x="30724" y="121798"/>
                      </a:lnTo>
                      <a:lnTo>
                        <a:pt x="20300" y="126187"/>
                      </a:lnTo>
                      <a:lnTo>
                        <a:pt x="1097" y="150876"/>
                      </a:lnTo>
                      <a:lnTo>
                        <a:pt x="0" y="152522"/>
                      </a:lnTo>
                      <a:lnTo>
                        <a:pt x="8230" y="160751"/>
                      </a:lnTo>
                      <a:lnTo>
                        <a:pt x="11522" y="167884"/>
                      </a:lnTo>
                      <a:lnTo>
                        <a:pt x="20300" y="163495"/>
                      </a:lnTo>
                      <a:lnTo>
                        <a:pt x="38953" y="167884"/>
                      </a:lnTo>
                      <a:lnTo>
                        <a:pt x="42794" y="170078"/>
                      </a:lnTo>
                      <a:lnTo>
                        <a:pt x="34016" y="205740"/>
                      </a:lnTo>
                      <a:lnTo>
                        <a:pt x="35662" y="210678"/>
                      </a:lnTo>
                      <a:lnTo>
                        <a:pt x="41148" y="210678"/>
                      </a:lnTo>
                      <a:lnTo>
                        <a:pt x="30724" y="215615"/>
                      </a:lnTo>
                      <a:lnTo>
                        <a:pt x="29627" y="218359"/>
                      </a:lnTo>
                      <a:lnTo>
                        <a:pt x="25238" y="221102"/>
                      </a:lnTo>
                      <a:lnTo>
                        <a:pt x="21946" y="232075"/>
                      </a:lnTo>
                      <a:lnTo>
                        <a:pt x="16459" y="240853"/>
                      </a:lnTo>
                      <a:lnTo>
                        <a:pt x="26883" y="241402"/>
                      </a:lnTo>
                      <a:lnTo>
                        <a:pt x="34016" y="239756"/>
                      </a:lnTo>
                      <a:lnTo>
                        <a:pt x="33467" y="243047"/>
                      </a:lnTo>
                      <a:lnTo>
                        <a:pt x="30724" y="246888"/>
                      </a:lnTo>
                      <a:lnTo>
                        <a:pt x="26883" y="246888"/>
                      </a:lnTo>
                      <a:lnTo>
                        <a:pt x="27981" y="251277"/>
                      </a:lnTo>
                      <a:lnTo>
                        <a:pt x="32370" y="250180"/>
                      </a:lnTo>
                      <a:lnTo>
                        <a:pt x="34565" y="257861"/>
                      </a:lnTo>
                      <a:lnTo>
                        <a:pt x="41148" y="258409"/>
                      </a:lnTo>
                      <a:lnTo>
                        <a:pt x="43891" y="254569"/>
                      </a:lnTo>
                      <a:lnTo>
                        <a:pt x="48281" y="252923"/>
                      </a:lnTo>
                      <a:lnTo>
                        <a:pt x="51024" y="246340"/>
                      </a:lnTo>
                      <a:lnTo>
                        <a:pt x="48829" y="243596"/>
                      </a:lnTo>
                      <a:lnTo>
                        <a:pt x="53218" y="244145"/>
                      </a:lnTo>
                      <a:lnTo>
                        <a:pt x="57607" y="249631"/>
                      </a:lnTo>
                      <a:lnTo>
                        <a:pt x="62545" y="251277"/>
                      </a:lnTo>
                      <a:lnTo>
                        <a:pt x="67483" y="255118"/>
                      </a:lnTo>
                      <a:lnTo>
                        <a:pt x="70226" y="252374"/>
                      </a:lnTo>
                      <a:lnTo>
                        <a:pt x="77358" y="249631"/>
                      </a:lnTo>
                      <a:lnTo>
                        <a:pt x="82845" y="255118"/>
                      </a:lnTo>
                      <a:lnTo>
                        <a:pt x="107533" y="233172"/>
                      </a:lnTo>
                      <a:lnTo>
                        <a:pt x="130577" y="233172"/>
                      </a:lnTo>
                      <a:lnTo>
                        <a:pt x="140452" y="228783"/>
                      </a:lnTo>
                      <a:lnTo>
                        <a:pt x="152522" y="218359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416" name="Graphic 7">
                  <a:extLst>
                    <a:ext uri="{FF2B5EF4-FFF2-40B4-BE49-F238E27FC236}">
                      <a16:creationId xmlns:a16="http://schemas.microsoft.com/office/drawing/2014/main" id="{837127F8-EAB4-9000-5359-247A0F0948A7}"/>
                    </a:ext>
                  </a:extLst>
                </p:cNvPr>
                <p:cNvSpPr/>
                <p:nvPr/>
              </p:nvSpPr>
              <p:spPr>
                <a:xfrm>
                  <a:off x="8436319" y="4343196"/>
                  <a:ext cx="292763" cy="249040"/>
                </a:xfrm>
                <a:custGeom>
                  <a:avLst/>
                  <a:gdLst>
                    <a:gd name="connsiteX0" fmla="*/ 323698 w 374721"/>
                    <a:gd name="connsiteY0" fmla="*/ 6583 h 318759"/>
                    <a:gd name="connsiteX1" fmla="*/ 325343 w 374721"/>
                    <a:gd name="connsiteY1" fmla="*/ 7681 h 318759"/>
                    <a:gd name="connsiteX2" fmla="*/ 324795 w 374721"/>
                    <a:gd name="connsiteY2" fmla="*/ 8778 h 318759"/>
                    <a:gd name="connsiteX3" fmla="*/ 320954 w 374721"/>
                    <a:gd name="connsiteY3" fmla="*/ 10973 h 318759"/>
                    <a:gd name="connsiteX4" fmla="*/ 317662 w 374721"/>
                    <a:gd name="connsiteY4" fmla="*/ 11521 h 318759"/>
                    <a:gd name="connsiteX5" fmla="*/ 322600 w 374721"/>
                    <a:gd name="connsiteY5" fmla="*/ 14265 h 318759"/>
                    <a:gd name="connsiteX6" fmla="*/ 326441 w 374721"/>
                    <a:gd name="connsiteY6" fmla="*/ 18105 h 318759"/>
                    <a:gd name="connsiteX7" fmla="*/ 331378 w 374721"/>
                    <a:gd name="connsiteY7" fmla="*/ 19202 h 318759"/>
                    <a:gd name="connsiteX8" fmla="*/ 331378 w 374721"/>
                    <a:gd name="connsiteY8" fmla="*/ 24689 h 318759"/>
                    <a:gd name="connsiteX9" fmla="*/ 328087 w 374721"/>
                    <a:gd name="connsiteY9" fmla="*/ 26883 h 318759"/>
                    <a:gd name="connsiteX10" fmla="*/ 322600 w 374721"/>
                    <a:gd name="connsiteY10" fmla="*/ 25786 h 318759"/>
                    <a:gd name="connsiteX11" fmla="*/ 321503 w 374721"/>
                    <a:gd name="connsiteY11" fmla="*/ 27981 h 318759"/>
                    <a:gd name="connsiteX12" fmla="*/ 312725 w 374721"/>
                    <a:gd name="connsiteY12" fmla="*/ 28529 h 318759"/>
                    <a:gd name="connsiteX13" fmla="*/ 309982 w 374721"/>
                    <a:gd name="connsiteY13" fmla="*/ 30724 h 318759"/>
                    <a:gd name="connsiteX14" fmla="*/ 314919 w 374721"/>
                    <a:gd name="connsiteY14" fmla="*/ 37856 h 318759"/>
                    <a:gd name="connsiteX15" fmla="*/ 317662 w 374721"/>
                    <a:gd name="connsiteY15" fmla="*/ 39502 h 318759"/>
                    <a:gd name="connsiteX16" fmla="*/ 318211 w 374721"/>
                    <a:gd name="connsiteY16" fmla="*/ 41697 h 318759"/>
                    <a:gd name="connsiteX17" fmla="*/ 316017 w 374721"/>
                    <a:gd name="connsiteY17" fmla="*/ 43891 h 318759"/>
                    <a:gd name="connsiteX18" fmla="*/ 317662 w 374721"/>
                    <a:gd name="connsiteY18" fmla="*/ 46634 h 318759"/>
                    <a:gd name="connsiteX19" fmla="*/ 325343 w 374721"/>
                    <a:gd name="connsiteY19" fmla="*/ 53767 h 318759"/>
                    <a:gd name="connsiteX20" fmla="*/ 339608 w 374721"/>
                    <a:gd name="connsiteY20" fmla="*/ 77907 h 318759"/>
                    <a:gd name="connsiteX21" fmla="*/ 335219 w 374721"/>
                    <a:gd name="connsiteY21" fmla="*/ 86136 h 318759"/>
                    <a:gd name="connsiteX22" fmla="*/ 335219 w 374721"/>
                    <a:gd name="connsiteY22" fmla="*/ 88879 h 318759"/>
                    <a:gd name="connsiteX23" fmla="*/ 335767 w 374721"/>
                    <a:gd name="connsiteY23" fmla="*/ 92720 h 318759"/>
                    <a:gd name="connsiteX24" fmla="*/ 374721 w 374721"/>
                    <a:gd name="connsiteY24" fmla="*/ 126187 h 318759"/>
                    <a:gd name="connsiteX25" fmla="*/ 374721 w 374721"/>
                    <a:gd name="connsiteY25" fmla="*/ 129479 h 318759"/>
                    <a:gd name="connsiteX26" fmla="*/ 355519 w 374721"/>
                    <a:gd name="connsiteY26" fmla="*/ 132222 h 318759"/>
                    <a:gd name="connsiteX27" fmla="*/ 345094 w 374721"/>
                    <a:gd name="connsiteY27" fmla="*/ 129479 h 318759"/>
                    <a:gd name="connsiteX28" fmla="*/ 339608 w 374721"/>
                    <a:gd name="connsiteY28" fmla="*/ 122895 h 318759"/>
                    <a:gd name="connsiteX29" fmla="*/ 337962 w 374721"/>
                    <a:gd name="connsiteY29" fmla="*/ 126187 h 318759"/>
                    <a:gd name="connsiteX30" fmla="*/ 340705 w 374721"/>
                    <a:gd name="connsiteY30" fmla="*/ 131674 h 318759"/>
                    <a:gd name="connsiteX31" fmla="*/ 339608 w 374721"/>
                    <a:gd name="connsiteY31" fmla="*/ 133319 h 318759"/>
                    <a:gd name="connsiteX32" fmla="*/ 332476 w 374721"/>
                    <a:gd name="connsiteY32" fmla="*/ 136611 h 318759"/>
                    <a:gd name="connsiteX33" fmla="*/ 324246 w 374721"/>
                    <a:gd name="connsiteY33" fmla="*/ 149230 h 318759"/>
                    <a:gd name="connsiteX34" fmla="*/ 319857 w 374721"/>
                    <a:gd name="connsiteY34" fmla="*/ 181051 h 318759"/>
                    <a:gd name="connsiteX35" fmla="*/ 314919 w 374721"/>
                    <a:gd name="connsiteY35" fmla="*/ 187086 h 318759"/>
                    <a:gd name="connsiteX36" fmla="*/ 306141 w 374721"/>
                    <a:gd name="connsiteY36" fmla="*/ 206837 h 318759"/>
                    <a:gd name="connsiteX37" fmla="*/ 299557 w 374721"/>
                    <a:gd name="connsiteY37" fmla="*/ 211775 h 318759"/>
                    <a:gd name="connsiteX38" fmla="*/ 296814 w 374721"/>
                    <a:gd name="connsiteY38" fmla="*/ 210129 h 318759"/>
                    <a:gd name="connsiteX39" fmla="*/ 275417 w 374721"/>
                    <a:gd name="connsiteY39" fmla="*/ 228783 h 318759"/>
                    <a:gd name="connsiteX40" fmla="*/ 276514 w 374721"/>
                    <a:gd name="connsiteY40" fmla="*/ 230977 h 318759"/>
                    <a:gd name="connsiteX41" fmla="*/ 280355 w 374721"/>
                    <a:gd name="connsiteY41" fmla="*/ 232075 h 318759"/>
                    <a:gd name="connsiteX42" fmla="*/ 281452 w 374721"/>
                    <a:gd name="connsiteY42" fmla="*/ 243047 h 318759"/>
                    <a:gd name="connsiteX43" fmla="*/ 289133 w 374721"/>
                    <a:gd name="connsiteY43" fmla="*/ 247437 h 318759"/>
                    <a:gd name="connsiteX44" fmla="*/ 285293 w 374721"/>
                    <a:gd name="connsiteY44" fmla="*/ 260055 h 318759"/>
                    <a:gd name="connsiteX45" fmla="*/ 281452 w 374721"/>
                    <a:gd name="connsiteY45" fmla="*/ 257312 h 318759"/>
                    <a:gd name="connsiteX46" fmla="*/ 279258 w 374721"/>
                    <a:gd name="connsiteY46" fmla="*/ 259507 h 318759"/>
                    <a:gd name="connsiteX47" fmla="*/ 278709 w 374721"/>
                    <a:gd name="connsiteY47" fmla="*/ 267736 h 318759"/>
                    <a:gd name="connsiteX48" fmla="*/ 275966 w 374721"/>
                    <a:gd name="connsiteY48" fmla="*/ 273771 h 318759"/>
                    <a:gd name="connsiteX49" fmla="*/ 272674 w 374721"/>
                    <a:gd name="connsiteY49" fmla="*/ 273771 h 318759"/>
                    <a:gd name="connsiteX50" fmla="*/ 271577 w 374721"/>
                    <a:gd name="connsiteY50" fmla="*/ 277063 h 318759"/>
                    <a:gd name="connsiteX51" fmla="*/ 272125 w 374721"/>
                    <a:gd name="connsiteY51" fmla="*/ 280355 h 318759"/>
                    <a:gd name="connsiteX52" fmla="*/ 271577 w 374721"/>
                    <a:gd name="connsiteY52" fmla="*/ 283098 h 318759"/>
                    <a:gd name="connsiteX53" fmla="*/ 269382 w 374721"/>
                    <a:gd name="connsiteY53" fmla="*/ 283647 h 318759"/>
                    <a:gd name="connsiteX54" fmla="*/ 266639 w 374721"/>
                    <a:gd name="connsiteY54" fmla="*/ 286939 h 318759"/>
                    <a:gd name="connsiteX55" fmla="*/ 264993 w 374721"/>
                    <a:gd name="connsiteY55" fmla="*/ 295168 h 318759"/>
                    <a:gd name="connsiteX56" fmla="*/ 216164 w 374721"/>
                    <a:gd name="connsiteY56" fmla="*/ 318760 h 318759"/>
                    <a:gd name="connsiteX57" fmla="*/ 210678 w 374721"/>
                    <a:gd name="connsiteY57" fmla="*/ 295717 h 318759"/>
                    <a:gd name="connsiteX58" fmla="*/ 208483 w 374721"/>
                    <a:gd name="connsiteY58" fmla="*/ 293522 h 318759"/>
                    <a:gd name="connsiteX59" fmla="*/ 205740 w 374721"/>
                    <a:gd name="connsiteY59" fmla="*/ 292974 h 318759"/>
                    <a:gd name="connsiteX60" fmla="*/ 200254 w 374721"/>
                    <a:gd name="connsiteY60" fmla="*/ 288585 h 318759"/>
                    <a:gd name="connsiteX61" fmla="*/ 179405 w 374721"/>
                    <a:gd name="connsiteY61" fmla="*/ 291328 h 318759"/>
                    <a:gd name="connsiteX62" fmla="*/ 177759 w 374721"/>
                    <a:gd name="connsiteY62" fmla="*/ 288036 h 318759"/>
                    <a:gd name="connsiteX63" fmla="*/ 176662 w 374721"/>
                    <a:gd name="connsiteY63" fmla="*/ 282001 h 318759"/>
                    <a:gd name="connsiteX64" fmla="*/ 164043 w 374721"/>
                    <a:gd name="connsiteY64" fmla="*/ 282001 h 318759"/>
                    <a:gd name="connsiteX65" fmla="*/ 156911 w 374721"/>
                    <a:gd name="connsiteY65" fmla="*/ 277063 h 318759"/>
                    <a:gd name="connsiteX66" fmla="*/ 152522 w 374721"/>
                    <a:gd name="connsiteY66" fmla="*/ 275966 h 318759"/>
                    <a:gd name="connsiteX67" fmla="*/ 151425 w 374721"/>
                    <a:gd name="connsiteY67" fmla="*/ 278160 h 318759"/>
                    <a:gd name="connsiteX68" fmla="*/ 151973 w 374721"/>
                    <a:gd name="connsiteY68" fmla="*/ 282001 h 318759"/>
                    <a:gd name="connsiteX69" fmla="*/ 137160 w 374721"/>
                    <a:gd name="connsiteY69" fmla="*/ 289133 h 318759"/>
                    <a:gd name="connsiteX70" fmla="*/ 124541 w 374721"/>
                    <a:gd name="connsiteY70" fmla="*/ 288585 h 318759"/>
                    <a:gd name="connsiteX71" fmla="*/ 118506 w 374721"/>
                    <a:gd name="connsiteY71" fmla="*/ 290779 h 318759"/>
                    <a:gd name="connsiteX72" fmla="*/ 114117 w 374721"/>
                    <a:gd name="connsiteY72" fmla="*/ 291328 h 318759"/>
                    <a:gd name="connsiteX73" fmla="*/ 111374 w 374721"/>
                    <a:gd name="connsiteY73" fmla="*/ 292974 h 318759"/>
                    <a:gd name="connsiteX74" fmla="*/ 109728 w 374721"/>
                    <a:gd name="connsiteY74" fmla="*/ 292974 h 318759"/>
                    <a:gd name="connsiteX75" fmla="*/ 103144 w 374721"/>
                    <a:gd name="connsiteY75" fmla="*/ 266639 h 318759"/>
                    <a:gd name="connsiteX76" fmla="*/ 99852 w 374721"/>
                    <a:gd name="connsiteY76" fmla="*/ 271577 h 318759"/>
                    <a:gd name="connsiteX77" fmla="*/ 97658 w 374721"/>
                    <a:gd name="connsiteY77" fmla="*/ 273223 h 318759"/>
                    <a:gd name="connsiteX78" fmla="*/ 91074 w 374721"/>
                    <a:gd name="connsiteY78" fmla="*/ 271028 h 318759"/>
                    <a:gd name="connsiteX79" fmla="*/ 87782 w 374721"/>
                    <a:gd name="connsiteY79" fmla="*/ 272125 h 318759"/>
                    <a:gd name="connsiteX80" fmla="*/ 83942 w 374721"/>
                    <a:gd name="connsiteY80" fmla="*/ 274869 h 318759"/>
                    <a:gd name="connsiteX81" fmla="*/ 81199 w 374721"/>
                    <a:gd name="connsiteY81" fmla="*/ 275966 h 318759"/>
                    <a:gd name="connsiteX82" fmla="*/ 75163 w 374721"/>
                    <a:gd name="connsiteY82" fmla="*/ 276514 h 318759"/>
                    <a:gd name="connsiteX83" fmla="*/ 71323 w 374721"/>
                    <a:gd name="connsiteY83" fmla="*/ 275417 h 318759"/>
                    <a:gd name="connsiteX84" fmla="*/ 64739 w 374721"/>
                    <a:gd name="connsiteY84" fmla="*/ 275966 h 318759"/>
                    <a:gd name="connsiteX85" fmla="*/ 57607 w 374721"/>
                    <a:gd name="connsiteY85" fmla="*/ 271028 h 318759"/>
                    <a:gd name="connsiteX86" fmla="*/ 54864 w 374721"/>
                    <a:gd name="connsiteY86" fmla="*/ 272674 h 318759"/>
                    <a:gd name="connsiteX87" fmla="*/ 49926 w 374721"/>
                    <a:gd name="connsiteY87" fmla="*/ 273223 h 318759"/>
                    <a:gd name="connsiteX88" fmla="*/ 47731 w 374721"/>
                    <a:gd name="connsiteY88" fmla="*/ 263347 h 318759"/>
                    <a:gd name="connsiteX89" fmla="*/ 47731 w 374721"/>
                    <a:gd name="connsiteY89" fmla="*/ 257312 h 318759"/>
                    <a:gd name="connsiteX90" fmla="*/ 45537 w 374721"/>
                    <a:gd name="connsiteY90" fmla="*/ 253471 h 318759"/>
                    <a:gd name="connsiteX91" fmla="*/ 37856 w 374721"/>
                    <a:gd name="connsiteY91" fmla="*/ 228783 h 318759"/>
                    <a:gd name="connsiteX92" fmla="*/ 39502 w 374721"/>
                    <a:gd name="connsiteY92" fmla="*/ 227137 h 318759"/>
                    <a:gd name="connsiteX93" fmla="*/ 39502 w 374721"/>
                    <a:gd name="connsiteY93" fmla="*/ 212872 h 318759"/>
                    <a:gd name="connsiteX94" fmla="*/ 25786 w 374721"/>
                    <a:gd name="connsiteY94" fmla="*/ 188732 h 318759"/>
                    <a:gd name="connsiteX95" fmla="*/ 19202 w 374721"/>
                    <a:gd name="connsiteY95" fmla="*/ 185989 h 318759"/>
                    <a:gd name="connsiteX96" fmla="*/ 15910 w 374721"/>
                    <a:gd name="connsiteY96" fmla="*/ 182148 h 318759"/>
                    <a:gd name="connsiteX97" fmla="*/ 12070 w 374721"/>
                    <a:gd name="connsiteY97" fmla="*/ 182697 h 318759"/>
                    <a:gd name="connsiteX98" fmla="*/ 9327 w 374721"/>
                    <a:gd name="connsiteY98" fmla="*/ 180502 h 318759"/>
                    <a:gd name="connsiteX99" fmla="*/ 7681 w 374721"/>
                    <a:gd name="connsiteY99" fmla="*/ 158008 h 318759"/>
                    <a:gd name="connsiteX100" fmla="*/ 3840 w 374721"/>
                    <a:gd name="connsiteY100" fmla="*/ 150876 h 318759"/>
                    <a:gd name="connsiteX101" fmla="*/ 1097 w 374721"/>
                    <a:gd name="connsiteY101" fmla="*/ 148681 h 318759"/>
                    <a:gd name="connsiteX102" fmla="*/ 0 w 374721"/>
                    <a:gd name="connsiteY102" fmla="*/ 132771 h 318759"/>
                    <a:gd name="connsiteX103" fmla="*/ 7681 w 374721"/>
                    <a:gd name="connsiteY103" fmla="*/ 103693 h 318759"/>
                    <a:gd name="connsiteX104" fmla="*/ 17556 w 374721"/>
                    <a:gd name="connsiteY104" fmla="*/ 90526 h 318759"/>
                    <a:gd name="connsiteX105" fmla="*/ 22494 w 374721"/>
                    <a:gd name="connsiteY105" fmla="*/ 87782 h 318759"/>
                    <a:gd name="connsiteX106" fmla="*/ 22494 w 374721"/>
                    <a:gd name="connsiteY106" fmla="*/ 90526 h 318759"/>
                    <a:gd name="connsiteX107" fmla="*/ 49378 w 374721"/>
                    <a:gd name="connsiteY107" fmla="*/ 125638 h 318759"/>
                    <a:gd name="connsiteX108" fmla="*/ 59802 w 374721"/>
                    <a:gd name="connsiteY108" fmla="*/ 127833 h 318759"/>
                    <a:gd name="connsiteX109" fmla="*/ 67483 w 374721"/>
                    <a:gd name="connsiteY109" fmla="*/ 125090 h 318759"/>
                    <a:gd name="connsiteX110" fmla="*/ 75163 w 374721"/>
                    <a:gd name="connsiteY110" fmla="*/ 124541 h 318759"/>
                    <a:gd name="connsiteX111" fmla="*/ 81747 w 374721"/>
                    <a:gd name="connsiteY111" fmla="*/ 128382 h 318759"/>
                    <a:gd name="connsiteX112" fmla="*/ 94915 w 374721"/>
                    <a:gd name="connsiteY112" fmla="*/ 126187 h 318759"/>
                    <a:gd name="connsiteX113" fmla="*/ 100950 w 374721"/>
                    <a:gd name="connsiteY113" fmla="*/ 126736 h 318759"/>
                    <a:gd name="connsiteX114" fmla="*/ 105887 w 374721"/>
                    <a:gd name="connsiteY114" fmla="*/ 124541 h 318759"/>
                    <a:gd name="connsiteX115" fmla="*/ 122347 w 374721"/>
                    <a:gd name="connsiteY115" fmla="*/ 105887 h 318759"/>
                    <a:gd name="connsiteX116" fmla="*/ 125638 w 374721"/>
                    <a:gd name="connsiteY116" fmla="*/ 105339 h 318759"/>
                    <a:gd name="connsiteX117" fmla="*/ 144292 w 374721"/>
                    <a:gd name="connsiteY117" fmla="*/ 105887 h 318759"/>
                    <a:gd name="connsiteX118" fmla="*/ 147584 w 374721"/>
                    <a:gd name="connsiteY118" fmla="*/ 107533 h 318759"/>
                    <a:gd name="connsiteX119" fmla="*/ 148133 w 374721"/>
                    <a:gd name="connsiteY119" fmla="*/ 112471 h 318759"/>
                    <a:gd name="connsiteX120" fmla="*/ 166238 w 374721"/>
                    <a:gd name="connsiteY120" fmla="*/ 117409 h 318759"/>
                    <a:gd name="connsiteX121" fmla="*/ 172273 w 374721"/>
                    <a:gd name="connsiteY121" fmla="*/ 117409 h 318759"/>
                    <a:gd name="connsiteX122" fmla="*/ 203545 w 374721"/>
                    <a:gd name="connsiteY122" fmla="*/ 107533 h 318759"/>
                    <a:gd name="connsiteX123" fmla="*/ 208483 w 374721"/>
                    <a:gd name="connsiteY123" fmla="*/ 103693 h 318759"/>
                    <a:gd name="connsiteX124" fmla="*/ 225491 w 374721"/>
                    <a:gd name="connsiteY124" fmla="*/ 60350 h 318759"/>
                    <a:gd name="connsiteX125" fmla="*/ 243596 w 374721"/>
                    <a:gd name="connsiteY125" fmla="*/ 40051 h 318759"/>
                    <a:gd name="connsiteX126" fmla="*/ 252923 w 374721"/>
                    <a:gd name="connsiteY126" fmla="*/ 6035 h 318759"/>
                    <a:gd name="connsiteX127" fmla="*/ 257312 w 374721"/>
                    <a:gd name="connsiteY127" fmla="*/ 0 h 318759"/>
                    <a:gd name="connsiteX128" fmla="*/ 305044 w 374721"/>
                    <a:gd name="connsiteY128" fmla="*/ 0 h 318759"/>
                    <a:gd name="connsiteX129" fmla="*/ 310530 w 374721"/>
                    <a:gd name="connsiteY129" fmla="*/ 3292 h 318759"/>
                    <a:gd name="connsiteX130" fmla="*/ 323698 w 374721"/>
                    <a:gd name="connsiteY130" fmla="*/ 6583 h 3187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</a:cxnLst>
                  <a:rect l="l" t="t" r="r" b="b"/>
                  <a:pathLst>
                    <a:path w="374721" h="318759">
                      <a:moveTo>
                        <a:pt x="323698" y="6583"/>
                      </a:moveTo>
                      <a:lnTo>
                        <a:pt x="325343" y="7681"/>
                      </a:lnTo>
                      <a:lnTo>
                        <a:pt x="324795" y="8778"/>
                      </a:lnTo>
                      <a:lnTo>
                        <a:pt x="320954" y="10973"/>
                      </a:lnTo>
                      <a:lnTo>
                        <a:pt x="317662" y="11521"/>
                      </a:lnTo>
                      <a:lnTo>
                        <a:pt x="322600" y="14265"/>
                      </a:lnTo>
                      <a:lnTo>
                        <a:pt x="326441" y="18105"/>
                      </a:lnTo>
                      <a:lnTo>
                        <a:pt x="331378" y="19202"/>
                      </a:lnTo>
                      <a:lnTo>
                        <a:pt x="331378" y="24689"/>
                      </a:lnTo>
                      <a:lnTo>
                        <a:pt x="328087" y="26883"/>
                      </a:lnTo>
                      <a:lnTo>
                        <a:pt x="322600" y="25786"/>
                      </a:lnTo>
                      <a:lnTo>
                        <a:pt x="321503" y="27981"/>
                      </a:lnTo>
                      <a:lnTo>
                        <a:pt x="312725" y="28529"/>
                      </a:lnTo>
                      <a:lnTo>
                        <a:pt x="309982" y="30724"/>
                      </a:lnTo>
                      <a:lnTo>
                        <a:pt x="314919" y="37856"/>
                      </a:lnTo>
                      <a:lnTo>
                        <a:pt x="317662" y="39502"/>
                      </a:lnTo>
                      <a:lnTo>
                        <a:pt x="318211" y="41697"/>
                      </a:lnTo>
                      <a:lnTo>
                        <a:pt x="316017" y="43891"/>
                      </a:lnTo>
                      <a:lnTo>
                        <a:pt x="317662" y="46634"/>
                      </a:lnTo>
                      <a:lnTo>
                        <a:pt x="325343" y="53767"/>
                      </a:lnTo>
                      <a:lnTo>
                        <a:pt x="339608" y="77907"/>
                      </a:lnTo>
                      <a:lnTo>
                        <a:pt x="335219" y="86136"/>
                      </a:lnTo>
                      <a:lnTo>
                        <a:pt x="335219" y="88879"/>
                      </a:lnTo>
                      <a:lnTo>
                        <a:pt x="335767" y="92720"/>
                      </a:lnTo>
                      <a:lnTo>
                        <a:pt x="374721" y="126187"/>
                      </a:lnTo>
                      <a:lnTo>
                        <a:pt x="374721" y="129479"/>
                      </a:lnTo>
                      <a:lnTo>
                        <a:pt x="355519" y="132222"/>
                      </a:lnTo>
                      <a:lnTo>
                        <a:pt x="345094" y="129479"/>
                      </a:lnTo>
                      <a:lnTo>
                        <a:pt x="339608" y="122895"/>
                      </a:lnTo>
                      <a:lnTo>
                        <a:pt x="337962" y="126187"/>
                      </a:lnTo>
                      <a:lnTo>
                        <a:pt x="340705" y="131674"/>
                      </a:lnTo>
                      <a:lnTo>
                        <a:pt x="339608" y="133319"/>
                      </a:lnTo>
                      <a:lnTo>
                        <a:pt x="332476" y="136611"/>
                      </a:lnTo>
                      <a:lnTo>
                        <a:pt x="324246" y="149230"/>
                      </a:lnTo>
                      <a:lnTo>
                        <a:pt x="319857" y="181051"/>
                      </a:lnTo>
                      <a:lnTo>
                        <a:pt x="314919" y="187086"/>
                      </a:lnTo>
                      <a:lnTo>
                        <a:pt x="306141" y="206837"/>
                      </a:lnTo>
                      <a:lnTo>
                        <a:pt x="299557" y="211775"/>
                      </a:lnTo>
                      <a:lnTo>
                        <a:pt x="296814" y="210129"/>
                      </a:lnTo>
                      <a:lnTo>
                        <a:pt x="275417" y="228783"/>
                      </a:lnTo>
                      <a:lnTo>
                        <a:pt x="276514" y="230977"/>
                      </a:lnTo>
                      <a:lnTo>
                        <a:pt x="280355" y="232075"/>
                      </a:lnTo>
                      <a:lnTo>
                        <a:pt x="281452" y="243047"/>
                      </a:lnTo>
                      <a:lnTo>
                        <a:pt x="289133" y="247437"/>
                      </a:lnTo>
                      <a:lnTo>
                        <a:pt x="285293" y="260055"/>
                      </a:lnTo>
                      <a:lnTo>
                        <a:pt x="281452" y="257312"/>
                      </a:lnTo>
                      <a:lnTo>
                        <a:pt x="279258" y="259507"/>
                      </a:lnTo>
                      <a:lnTo>
                        <a:pt x="278709" y="267736"/>
                      </a:lnTo>
                      <a:lnTo>
                        <a:pt x="275966" y="273771"/>
                      </a:lnTo>
                      <a:lnTo>
                        <a:pt x="272674" y="273771"/>
                      </a:lnTo>
                      <a:lnTo>
                        <a:pt x="271577" y="277063"/>
                      </a:lnTo>
                      <a:lnTo>
                        <a:pt x="272125" y="280355"/>
                      </a:lnTo>
                      <a:lnTo>
                        <a:pt x="271577" y="283098"/>
                      </a:lnTo>
                      <a:lnTo>
                        <a:pt x="269382" y="283647"/>
                      </a:lnTo>
                      <a:lnTo>
                        <a:pt x="266639" y="286939"/>
                      </a:lnTo>
                      <a:lnTo>
                        <a:pt x="264993" y="295168"/>
                      </a:lnTo>
                      <a:lnTo>
                        <a:pt x="216164" y="318760"/>
                      </a:lnTo>
                      <a:lnTo>
                        <a:pt x="210678" y="295717"/>
                      </a:lnTo>
                      <a:lnTo>
                        <a:pt x="208483" y="293522"/>
                      </a:lnTo>
                      <a:lnTo>
                        <a:pt x="205740" y="292974"/>
                      </a:lnTo>
                      <a:lnTo>
                        <a:pt x="200254" y="288585"/>
                      </a:lnTo>
                      <a:lnTo>
                        <a:pt x="179405" y="291328"/>
                      </a:lnTo>
                      <a:lnTo>
                        <a:pt x="177759" y="288036"/>
                      </a:lnTo>
                      <a:lnTo>
                        <a:pt x="176662" y="282001"/>
                      </a:lnTo>
                      <a:lnTo>
                        <a:pt x="164043" y="282001"/>
                      </a:lnTo>
                      <a:lnTo>
                        <a:pt x="156911" y="277063"/>
                      </a:lnTo>
                      <a:lnTo>
                        <a:pt x="152522" y="275966"/>
                      </a:lnTo>
                      <a:lnTo>
                        <a:pt x="151425" y="278160"/>
                      </a:lnTo>
                      <a:lnTo>
                        <a:pt x="151973" y="282001"/>
                      </a:lnTo>
                      <a:lnTo>
                        <a:pt x="137160" y="289133"/>
                      </a:lnTo>
                      <a:lnTo>
                        <a:pt x="124541" y="288585"/>
                      </a:lnTo>
                      <a:lnTo>
                        <a:pt x="118506" y="290779"/>
                      </a:lnTo>
                      <a:lnTo>
                        <a:pt x="114117" y="291328"/>
                      </a:lnTo>
                      <a:lnTo>
                        <a:pt x="111374" y="292974"/>
                      </a:lnTo>
                      <a:lnTo>
                        <a:pt x="109728" y="292974"/>
                      </a:lnTo>
                      <a:lnTo>
                        <a:pt x="103144" y="266639"/>
                      </a:lnTo>
                      <a:lnTo>
                        <a:pt x="99852" y="271577"/>
                      </a:lnTo>
                      <a:lnTo>
                        <a:pt x="97658" y="273223"/>
                      </a:lnTo>
                      <a:lnTo>
                        <a:pt x="91074" y="271028"/>
                      </a:lnTo>
                      <a:lnTo>
                        <a:pt x="87782" y="272125"/>
                      </a:lnTo>
                      <a:lnTo>
                        <a:pt x="83942" y="274869"/>
                      </a:lnTo>
                      <a:lnTo>
                        <a:pt x="81199" y="275966"/>
                      </a:lnTo>
                      <a:lnTo>
                        <a:pt x="75163" y="276514"/>
                      </a:lnTo>
                      <a:lnTo>
                        <a:pt x="71323" y="275417"/>
                      </a:lnTo>
                      <a:lnTo>
                        <a:pt x="64739" y="275966"/>
                      </a:lnTo>
                      <a:lnTo>
                        <a:pt x="57607" y="271028"/>
                      </a:lnTo>
                      <a:lnTo>
                        <a:pt x="54864" y="272674"/>
                      </a:lnTo>
                      <a:lnTo>
                        <a:pt x="49926" y="273223"/>
                      </a:lnTo>
                      <a:lnTo>
                        <a:pt x="47731" y="263347"/>
                      </a:lnTo>
                      <a:lnTo>
                        <a:pt x="47731" y="257312"/>
                      </a:lnTo>
                      <a:lnTo>
                        <a:pt x="45537" y="253471"/>
                      </a:lnTo>
                      <a:lnTo>
                        <a:pt x="37856" y="228783"/>
                      </a:lnTo>
                      <a:lnTo>
                        <a:pt x="39502" y="227137"/>
                      </a:lnTo>
                      <a:lnTo>
                        <a:pt x="39502" y="212872"/>
                      </a:lnTo>
                      <a:lnTo>
                        <a:pt x="25786" y="188732"/>
                      </a:lnTo>
                      <a:lnTo>
                        <a:pt x="19202" y="185989"/>
                      </a:lnTo>
                      <a:lnTo>
                        <a:pt x="15910" y="182148"/>
                      </a:lnTo>
                      <a:lnTo>
                        <a:pt x="12070" y="182697"/>
                      </a:lnTo>
                      <a:lnTo>
                        <a:pt x="9327" y="180502"/>
                      </a:lnTo>
                      <a:lnTo>
                        <a:pt x="7681" y="158008"/>
                      </a:lnTo>
                      <a:lnTo>
                        <a:pt x="3840" y="150876"/>
                      </a:lnTo>
                      <a:lnTo>
                        <a:pt x="1097" y="148681"/>
                      </a:lnTo>
                      <a:lnTo>
                        <a:pt x="0" y="132771"/>
                      </a:lnTo>
                      <a:lnTo>
                        <a:pt x="7681" y="103693"/>
                      </a:lnTo>
                      <a:lnTo>
                        <a:pt x="17556" y="90526"/>
                      </a:lnTo>
                      <a:lnTo>
                        <a:pt x="22494" y="87782"/>
                      </a:lnTo>
                      <a:lnTo>
                        <a:pt x="22494" y="90526"/>
                      </a:lnTo>
                      <a:lnTo>
                        <a:pt x="49378" y="125638"/>
                      </a:lnTo>
                      <a:lnTo>
                        <a:pt x="59802" y="127833"/>
                      </a:lnTo>
                      <a:lnTo>
                        <a:pt x="67483" y="125090"/>
                      </a:lnTo>
                      <a:lnTo>
                        <a:pt x="75163" y="124541"/>
                      </a:lnTo>
                      <a:lnTo>
                        <a:pt x="81747" y="128382"/>
                      </a:lnTo>
                      <a:lnTo>
                        <a:pt x="94915" y="126187"/>
                      </a:lnTo>
                      <a:lnTo>
                        <a:pt x="100950" y="126736"/>
                      </a:lnTo>
                      <a:lnTo>
                        <a:pt x="105887" y="124541"/>
                      </a:lnTo>
                      <a:lnTo>
                        <a:pt x="122347" y="105887"/>
                      </a:lnTo>
                      <a:lnTo>
                        <a:pt x="125638" y="105339"/>
                      </a:lnTo>
                      <a:lnTo>
                        <a:pt x="144292" y="105887"/>
                      </a:lnTo>
                      <a:lnTo>
                        <a:pt x="147584" y="107533"/>
                      </a:lnTo>
                      <a:lnTo>
                        <a:pt x="148133" y="112471"/>
                      </a:lnTo>
                      <a:lnTo>
                        <a:pt x="166238" y="117409"/>
                      </a:lnTo>
                      <a:lnTo>
                        <a:pt x="172273" y="117409"/>
                      </a:lnTo>
                      <a:lnTo>
                        <a:pt x="203545" y="107533"/>
                      </a:lnTo>
                      <a:lnTo>
                        <a:pt x="208483" y="103693"/>
                      </a:lnTo>
                      <a:lnTo>
                        <a:pt x="225491" y="60350"/>
                      </a:lnTo>
                      <a:lnTo>
                        <a:pt x="243596" y="40051"/>
                      </a:lnTo>
                      <a:lnTo>
                        <a:pt x="252923" y="6035"/>
                      </a:lnTo>
                      <a:lnTo>
                        <a:pt x="257312" y="0"/>
                      </a:lnTo>
                      <a:lnTo>
                        <a:pt x="305044" y="0"/>
                      </a:lnTo>
                      <a:lnTo>
                        <a:pt x="310530" y="3292"/>
                      </a:lnTo>
                      <a:lnTo>
                        <a:pt x="323698" y="6583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417" name="Graphic 7">
                  <a:extLst>
                    <a:ext uri="{FF2B5EF4-FFF2-40B4-BE49-F238E27FC236}">
                      <a16:creationId xmlns:a16="http://schemas.microsoft.com/office/drawing/2014/main" id="{4833C0BA-C45F-FC60-22BA-7F4DB8298BBF}"/>
                    </a:ext>
                  </a:extLst>
                </p:cNvPr>
                <p:cNvSpPr/>
                <p:nvPr/>
              </p:nvSpPr>
              <p:spPr>
                <a:xfrm>
                  <a:off x="9080567" y="4480789"/>
                  <a:ext cx="304765" cy="257613"/>
                </a:xfrm>
                <a:custGeom>
                  <a:avLst/>
                  <a:gdLst>
                    <a:gd name="connsiteX0" fmla="*/ 390084 w 390083"/>
                    <a:gd name="connsiteY0" fmla="*/ 329733 h 329732"/>
                    <a:gd name="connsiteX1" fmla="*/ 389534 w 390083"/>
                    <a:gd name="connsiteY1" fmla="*/ 328636 h 329732"/>
                    <a:gd name="connsiteX2" fmla="*/ 381854 w 390083"/>
                    <a:gd name="connsiteY2" fmla="*/ 326441 h 329732"/>
                    <a:gd name="connsiteX3" fmla="*/ 345095 w 390083"/>
                    <a:gd name="connsiteY3" fmla="*/ 293522 h 329732"/>
                    <a:gd name="connsiteX4" fmla="*/ 343998 w 390083"/>
                    <a:gd name="connsiteY4" fmla="*/ 291328 h 329732"/>
                    <a:gd name="connsiteX5" fmla="*/ 340157 w 390083"/>
                    <a:gd name="connsiteY5" fmla="*/ 288585 h 329732"/>
                    <a:gd name="connsiteX6" fmla="*/ 324795 w 390083"/>
                    <a:gd name="connsiteY6" fmla="*/ 292974 h 329732"/>
                    <a:gd name="connsiteX7" fmla="*/ 312176 w 390083"/>
                    <a:gd name="connsiteY7" fmla="*/ 290779 h 329732"/>
                    <a:gd name="connsiteX8" fmla="*/ 306690 w 390083"/>
                    <a:gd name="connsiteY8" fmla="*/ 295717 h 329732"/>
                    <a:gd name="connsiteX9" fmla="*/ 302850 w 390083"/>
                    <a:gd name="connsiteY9" fmla="*/ 292974 h 329732"/>
                    <a:gd name="connsiteX10" fmla="*/ 301752 w 390083"/>
                    <a:gd name="connsiteY10" fmla="*/ 297363 h 329732"/>
                    <a:gd name="connsiteX11" fmla="*/ 302301 w 390083"/>
                    <a:gd name="connsiteY11" fmla="*/ 299009 h 329732"/>
                    <a:gd name="connsiteX12" fmla="*/ 300107 w 390083"/>
                    <a:gd name="connsiteY12" fmla="*/ 299557 h 329732"/>
                    <a:gd name="connsiteX13" fmla="*/ 295169 w 390083"/>
                    <a:gd name="connsiteY13" fmla="*/ 300106 h 329732"/>
                    <a:gd name="connsiteX14" fmla="*/ 291877 w 390083"/>
                    <a:gd name="connsiteY14" fmla="*/ 297363 h 329732"/>
                    <a:gd name="connsiteX15" fmla="*/ 259507 w 390083"/>
                    <a:gd name="connsiteY15" fmla="*/ 302301 h 329732"/>
                    <a:gd name="connsiteX16" fmla="*/ 258958 w 390083"/>
                    <a:gd name="connsiteY16" fmla="*/ 295717 h 329732"/>
                    <a:gd name="connsiteX17" fmla="*/ 267737 w 390083"/>
                    <a:gd name="connsiteY17" fmla="*/ 278161 h 329732"/>
                    <a:gd name="connsiteX18" fmla="*/ 278709 w 390083"/>
                    <a:gd name="connsiteY18" fmla="*/ 265542 h 329732"/>
                    <a:gd name="connsiteX19" fmla="*/ 286939 w 390083"/>
                    <a:gd name="connsiteY19" fmla="*/ 262799 h 329732"/>
                    <a:gd name="connsiteX20" fmla="*/ 292974 w 390083"/>
                    <a:gd name="connsiteY20" fmla="*/ 263347 h 329732"/>
                    <a:gd name="connsiteX21" fmla="*/ 299558 w 390083"/>
                    <a:gd name="connsiteY21" fmla="*/ 267736 h 329732"/>
                    <a:gd name="connsiteX22" fmla="*/ 304495 w 390083"/>
                    <a:gd name="connsiteY22" fmla="*/ 269382 h 329732"/>
                    <a:gd name="connsiteX23" fmla="*/ 304495 w 390083"/>
                    <a:gd name="connsiteY23" fmla="*/ 264445 h 329732"/>
                    <a:gd name="connsiteX24" fmla="*/ 297363 w 390083"/>
                    <a:gd name="connsiteY24" fmla="*/ 258409 h 329732"/>
                    <a:gd name="connsiteX25" fmla="*/ 298460 w 390083"/>
                    <a:gd name="connsiteY25" fmla="*/ 256215 h 329732"/>
                    <a:gd name="connsiteX26" fmla="*/ 303398 w 390083"/>
                    <a:gd name="connsiteY26" fmla="*/ 255118 h 329732"/>
                    <a:gd name="connsiteX27" fmla="*/ 295717 w 390083"/>
                    <a:gd name="connsiteY27" fmla="*/ 252374 h 329732"/>
                    <a:gd name="connsiteX28" fmla="*/ 288036 w 390083"/>
                    <a:gd name="connsiteY28" fmla="*/ 246888 h 329732"/>
                    <a:gd name="connsiteX29" fmla="*/ 291877 w 390083"/>
                    <a:gd name="connsiteY29" fmla="*/ 245242 h 329732"/>
                    <a:gd name="connsiteX30" fmla="*/ 294620 w 390083"/>
                    <a:gd name="connsiteY30" fmla="*/ 233721 h 329732"/>
                    <a:gd name="connsiteX31" fmla="*/ 288585 w 390083"/>
                    <a:gd name="connsiteY31" fmla="*/ 229880 h 329732"/>
                    <a:gd name="connsiteX32" fmla="*/ 283647 w 390083"/>
                    <a:gd name="connsiteY32" fmla="*/ 220553 h 329732"/>
                    <a:gd name="connsiteX33" fmla="*/ 280904 w 390083"/>
                    <a:gd name="connsiteY33" fmla="*/ 206289 h 329732"/>
                    <a:gd name="connsiteX34" fmla="*/ 281453 w 390083"/>
                    <a:gd name="connsiteY34" fmla="*/ 203545 h 329732"/>
                    <a:gd name="connsiteX35" fmla="*/ 278161 w 390083"/>
                    <a:gd name="connsiteY35" fmla="*/ 201351 h 329732"/>
                    <a:gd name="connsiteX36" fmla="*/ 271028 w 390083"/>
                    <a:gd name="connsiteY36" fmla="*/ 190378 h 329732"/>
                    <a:gd name="connsiteX37" fmla="*/ 267188 w 390083"/>
                    <a:gd name="connsiteY37" fmla="*/ 190378 h 329732"/>
                    <a:gd name="connsiteX38" fmla="*/ 262799 w 390083"/>
                    <a:gd name="connsiteY38" fmla="*/ 188732 h 329732"/>
                    <a:gd name="connsiteX39" fmla="*/ 259507 w 390083"/>
                    <a:gd name="connsiteY39" fmla="*/ 184892 h 329732"/>
                    <a:gd name="connsiteX40" fmla="*/ 258410 w 390083"/>
                    <a:gd name="connsiteY40" fmla="*/ 184892 h 329732"/>
                    <a:gd name="connsiteX41" fmla="*/ 255118 w 390083"/>
                    <a:gd name="connsiteY41" fmla="*/ 179954 h 329732"/>
                    <a:gd name="connsiteX42" fmla="*/ 235367 w 390083"/>
                    <a:gd name="connsiteY42" fmla="*/ 172273 h 329732"/>
                    <a:gd name="connsiteX43" fmla="*/ 228783 w 390083"/>
                    <a:gd name="connsiteY43" fmla="*/ 172822 h 329732"/>
                    <a:gd name="connsiteX44" fmla="*/ 157460 w 390083"/>
                    <a:gd name="connsiteY44" fmla="*/ 153071 h 329732"/>
                    <a:gd name="connsiteX45" fmla="*/ 156362 w 390083"/>
                    <a:gd name="connsiteY45" fmla="*/ 150876 h 329732"/>
                    <a:gd name="connsiteX46" fmla="*/ 147584 w 390083"/>
                    <a:gd name="connsiteY46" fmla="*/ 147035 h 329732"/>
                    <a:gd name="connsiteX47" fmla="*/ 143744 w 390083"/>
                    <a:gd name="connsiteY47" fmla="*/ 142098 h 329732"/>
                    <a:gd name="connsiteX48" fmla="*/ 142646 w 390083"/>
                    <a:gd name="connsiteY48" fmla="*/ 136612 h 329732"/>
                    <a:gd name="connsiteX49" fmla="*/ 130028 w 390083"/>
                    <a:gd name="connsiteY49" fmla="*/ 135514 h 329732"/>
                    <a:gd name="connsiteX50" fmla="*/ 128930 w 390083"/>
                    <a:gd name="connsiteY50" fmla="*/ 139903 h 329732"/>
                    <a:gd name="connsiteX51" fmla="*/ 126736 w 390083"/>
                    <a:gd name="connsiteY51" fmla="*/ 136063 h 329732"/>
                    <a:gd name="connsiteX52" fmla="*/ 116861 w 390083"/>
                    <a:gd name="connsiteY52" fmla="*/ 130028 h 329732"/>
                    <a:gd name="connsiteX53" fmla="*/ 115214 w 390083"/>
                    <a:gd name="connsiteY53" fmla="*/ 126187 h 329732"/>
                    <a:gd name="connsiteX54" fmla="*/ 108082 w 390083"/>
                    <a:gd name="connsiteY54" fmla="*/ 122895 h 329732"/>
                    <a:gd name="connsiteX55" fmla="*/ 107534 w 390083"/>
                    <a:gd name="connsiteY55" fmla="*/ 118506 h 329732"/>
                    <a:gd name="connsiteX56" fmla="*/ 107534 w 390083"/>
                    <a:gd name="connsiteY56" fmla="*/ 110825 h 329732"/>
                    <a:gd name="connsiteX57" fmla="*/ 110826 w 390083"/>
                    <a:gd name="connsiteY57" fmla="*/ 103144 h 329732"/>
                    <a:gd name="connsiteX58" fmla="*/ 109728 w 390083"/>
                    <a:gd name="connsiteY58" fmla="*/ 97658 h 329732"/>
                    <a:gd name="connsiteX59" fmla="*/ 98207 w 390083"/>
                    <a:gd name="connsiteY59" fmla="*/ 130028 h 329732"/>
                    <a:gd name="connsiteX60" fmla="*/ 90526 w 390083"/>
                    <a:gd name="connsiteY60" fmla="*/ 139355 h 329732"/>
                    <a:gd name="connsiteX61" fmla="*/ 77907 w 390083"/>
                    <a:gd name="connsiteY61" fmla="*/ 141001 h 329732"/>
                    <a:gd name="connsiteX62" fmla="*/ 74616 w 390083"/>
                    <a:gd name="connsiteY62" fmla="*/ 139355 h 329732"/>
                    <a:gd name="connsiteX63" fmla="*/ 72969 w 390083"/>
                    <a:gd name="connsiteY63" fmla="*/ 137160 h 329732"/>
                    <a:gd name="connsiteX64" fmla="*/ 70226 w 390083"/>
                    <a:gd name="connsiteY64" fmla="*/ 122895 h 329732"/>
                    <a:gd name="connsiteX65" fmla="*/ 71323 w 390083"/>
                    <a:gd name="connsiteY65" fmla="*/ 120152 h 329732"/>
                    <a:gd name="connsiteX66" fmla="*/ 70775 w 390083"/>
                    <a:gd name="connsiteY66" fmla="*/ 112471 h 329732"/>
                    <a:gd name="connsiteX67" fmla="*/ 66386 w 390083"/>
                    <a:gd name="connsiteY67" fmla="*/ 112471 h 329732"/>
                    <a:gd name="connsiteX68" fmla="*/ 60900 w 390083"/>
                    <a:gd name="connsiteY68" fmla="*/ 103144 h 329732"/>
                    <a:gd name="connsiteX69" fmla="*/ 53767 w 390083"/>
                    <a:gd name="connsiteY69" fmla="*/ 98755 h 329732"/>
                    <a:gd name="connsiteX70" fmla="*/ 44989 w 390083"/>
                    <a:gd name="connsiteY70" fmla="*/ 99304 h 329732"/>
                    <a:gd name="connsiteX71" fmla="*/ 38954 w 390083"/>
                    <a:gd name="connsiteY71" fmla="*/ 97109 h 329732"/>
                    <a:gd name="connsiteX72" fmla="*/ 40051 w 390083"/>
                    <a:gd name="connsiteY72" fmla="*/ 90526 h 329732"/>
                    <a:gd name="connsiteX73" fmla="*/ 46086 w 390083"/>
                    <a:gd name="connsiteY73" fmla="*/ 87782 h 329732"/>
                    <a:gd name="connsiteX74" fmla="*/ 55962 w 390083"/>
                    <a:gd name="connsiteY74" fmla="*/ 87234 h 329732"/>
                    <a:gd name="connsiteX75" fmla="*/ 65288 w 390083"/>
                    <a:gd name="connsiteY75" fmla="*/ 89428 h 329732"/>
                    <a:gd name="connsiteX76" fmla="*/ 85588 w 390083"/>
                    <a:gd name="connsiteY76" fmla="*/ 79553 h 329732"/>
                    <a:gd name="connsiteX77" fmla="*/ 92720 w 390083"/>
                    <a:gd name="connsiteY77" fmla="*/ 82296 h 329732"/>
                    <a:gd name="connsiteX78" fmla="*/ 100950 w 390083"/>
                    <a:gd name="connsiteY78" fmla="*/ 82296 h 329732"/>
                    <a:gd name="connsiteX79" fmla="*/ 107534 w 390083"/>
                    <a:gd name="connsiteY79" fmla="*/ 80101 h 329732"/>
                    <a:gd name="connsiteX80" fmla="*/ 107534 w 390083"/>
                    <a:gd name="connsiteY80" fmla="*/ 72969 h 329732"/>
                    <a:gd name="connsiteX81" fmla="*/ 110277 w 390083"/>
                    <a:gd name="connsiteY81" fmla="*/ 68580 h 329732"/>
                    <a:gd name="connsiteX82" fmla="*/ 110826 w 390083"/>
                    <a:gd name="connsiteY82" fmla="*/ 63642 h 329732"/>
                    <a:gd name="connsiteX83" fmla="*/ 65288 w 390083"/>
                    <a:gd name="connsiteY83" fmla="*/ 73518 h 329732"/>
                    <a:gd name="connsiteX84" fmla="*/ 58705 w 390083"/>
                    <a:gd name="connsiteY84" fmla="*/ 71872 h 329732"/>
                    <a:gd name="connsiteX85" fmla="*/ 52670 w 390083"/>
                    <a:gd name="connsiteY85" fmla="*/ 73518 h 329732"/>
                    <a:gd name="connsiteX86" fmla="*/ 43343 w 390083"/>
                    <a:gd name="connsiteY86" fmla="*/ 68031 h 329732"/>
                    <a:gd name="connsiteX87" fmla="*/ 36211 w 390083"/>
                    <a:gd name="connsiteY87" fmla="*/ 50475 h 329732"/>
                    <a:gd name="connsiteX88" fmla="*/ 31821 w 390083"/>
                    <a:gd name="connsiteY88" fmla="*/ 46634 h 329732"/>
                    <a:gd name="connsiteX89" fmla="*/ 25238 w 390083"/>
                    <a:gd name="connsiteY89" fmla="*/ 43343 h 329732"/>
                    <a:gd name="connsiteX90" fmla="*/ 18105 w 390083"/>
                    <a:gd name="connsiteY90" fmla="*/ 43891 h 329732"/>
                    <a:gd name="connsiteX91" fmla="*/ 13716 w 390083"/>
                    <a:gd name="connsiteY91" fmla="*/ 41148 h 329732"/>
                    <a:gd name="connsiteX92" fmla="*/ 12070 w 390083"/>
                    <a:gd name="connsiteY92" fmla="*/ 45537 h 329732"/>
                    <a:gd name="connsiteX93" fmla="*/ 0 w 390083"/>
                    <a:gd name="connsiteY93" fmla="*/ 40051 h 329732"/>
                    <a:gd name="connsiteX94" fmla="*/ 10973 w 390083"/>
                    <a:gd name="connsiteY94" fmla="*/ 19202 h 329732"/>
                    <a:gd name="connsiteX95" fmla="*/ 13716 w 390083"/>
                    <a:gd name="connsiteY95" fmla="*/ 17557 h 329732"/>
                    <a:gd name="connsiteX96" fmla="*/ 32918 w 390083"/>
                    <a:gd name="connsiteY96" fmla="*/ 13716 h 329732"/>
                    <a:gd name="connsiteX97" fmla="*/ 45537 w 390083"/>
                    <a:gd name="connsiteY97" fmla="*/ 2743 h 329732"/>
                    <a:gd name="connsiteX98" fmla="*/ 54315 w 390083"/>
                    <a:gd name="connsiteY98" fmla="*/ 0 h 329732"/>
                    <a:gd name="connsiteX99" fmla="*/ 73518 w 390083"/>
                    <a:gd name="connsiteY99" fmla="*/ 2743 h 329732"/>
                    <a:gd name="connsiteX100" fmla="*/ 92172 w 390083"/>
                    <a:gd name="connsiteY100" fmla="*/ 16459 h 329732"/>
                    <a:gd name="connsiteX101" fmla="*/ 115214 w 390083"/>
                    <a:gd name="connsiteY101" fmla="*/ 16459 h 329732"/>
                    <a:gd name="connsiteX102" fmla="*/ 117409 w 390083"/>
                    <a:gd name="connsiteY102" fmla="*/ 27432 h 329732"/>
                    <a:gd name="connsiteX103" fmla="*/ 122347 w 390083"/>
                    <a:gd name="connsiteY103" fmla="*/ 34016 h 329732"/>
                    <a:gd name="connsiteX104" fmla="*/ 122896 w 390083"/>
                    <a:gd name="connsiteY104" fmla="*/ 44989 h 329732"/>
                    <a:gd name="connsiteX105" fmla="*/ 119055 w 390083"/>
                    <a:gd name="connsiteY105" fmla="*/ 61996 h 329732"/>
                    <a:gd name="connsiteX106" fmla="*/ 123444 w 390083"/>
                    <a:gd name="connsiteY106" fmla="*/ 78455 h 329732"/>
                    <a:gd name="connsiteX107" fmla="*/ 132223 w 390083"/>
                    <a:gd name="connsiteY107" fmla="*/ 91074 h 329732"/>
                    <a:gd name="connsiteX108" fmla="*/ 133320 w 390083"/>
                    <a:gd name="connsiteY108" fmla="*/ 87234 h 329732"/>
                    <a:gd name="connsiteX109" fmla="*/ 133868 w 390083"/>
                    <a:gd name="connsiteY109" fmla="*/ 81747 h 329732"/>
                    <a:gd name="connsiteX110" fmla="*/ 141001 w 390083"/>
                    <a:gd name="connsiteY110" fmla="*/ 84491 h 329732"/>
                    <a:gd name="connsiteX111" fmla="*/ 149779 w 390083"/>
                    <a:gd name="connsiteY111" fmla="*/ 105887 h 329732"/>
                    <a:gd name="connsiteX112" fmla="*/ 161300 w 390083"/>
                    <a:gd name="connsiteY112" fmla="*/ 113020 h 329732"/>
                    <a:gd name="connsiteX113" fmla="*/ 175565 w 390083"/>
                    <a:gd name="connsiteY113" fmla="*/ 112471 h 329732"/>
                    <a:gd name="connsiteX114" fmla="*/ 178857 w 390083"/>
                    <a:gd name="connsiteY114" fmla="*/ 104242 h 329732"/>
                    <a:gd name="connsiteX115" fmla="*/ 188184 w 390083"/>
                    <a:gd name="connsiteY115" fmla="*/ 98755 h 329732"/>
                    <a:gd name="connsiteX116" fmla="*/ 189830 w 390083"/>
                    <a:gd name="connsiteY116" fmla="*/ 93269 h 329732"/>
                    <a:gd name="connsiteX117" fmla="*/ 202997 w 390083"/>
                    <a:gd name="connsiteY117" fmla="*/ 82296 h 329732"/>
                    <a:gd name="connsiteX118" fmla="*/ 207386 w 390083"/>
                    <a:gd name="connsiteY118" fmla="*/ 71323 h 329732"/>
                    <a:gd name="connsiteX119" fmla="*/ 230978 w 390083"/>
                    <a:gd name="connsiteY119" fmla="*/ 66934 h 329732"/>
                    <a:gd name="connsiteX120" fmla="*/ 236464 w 390083"/>
                    <a:gd name="connsiteY120" fmla="*/ 62545 h 329732"/>
                    <a:gd name="connsiteX121" fmla="*/ 235915 w 390083"/>
                    <a:gd name="connsiteY121" fmla="*/ 55961 h 329732"/>
                    <a:gd name="connsiteX122" fmla="*/ 260604 w 390083"/>
                    <a:gd name="connsiteY122" fmla="*/ 39502 h 329732"/>
                    <a:gd name="connsiteX123" fmla="*/ 264993 w 390083"/>
                    <a:gd name="connsiteY123" fmla="*/ 41697 h 329732"/>
                    <a:gd name="connsiteX124" fmla="*/ 267737 w 390083"/>
                    <a:gd name="connsiteY124" fmla="*/ 45537 h 329732"/>
                    <a:gd name="connsiteX125" fmla="*/ 293522 w 390083"/>
                    <a:gd name="connsiteY125" fmla="*/ 54315 h 329732"/>
                    <a:gd name="connsiteX126" fmla="*/ 296266 w 390083"/>
                    <a:gd name="connsiteY126" fmla="*/ 57059 h 329732"/>
                    <a:gd name="connsiteX127" fmla="*/ 312176 w 390083"/>
                    <a:gd name="connsiteY127" fmla="*/ 61996 h 329732"/>
                    <a:gd name="connsiteX128" fmla="*/ 328636 w 390083"/>
                    <a:gd name="connsiteY128" fmla="*/ 72421 h 329732"/>
                    <a:gd name="connsiteX129" fmla="*/ 336865 w 390083"/>
                    <a:gd name="connsiteY129" fmla="*/ 74615 h 329732"/>
                    <a:gd name="connsiteX130" fmla="*/ 343449 w 390083"/>
                    <a:gd name="connsiteY130" fmla="*/ 74066 h 329732"/>
                    <a:gd name="connsiteX131" fmla="*/ 346741 w 390083"/>
                    <a:gd name="connsiteY131" fmla="*/ 72421 h 329732"/>
                    <a:gd name="connsiteX132" fmla="*/ 352227 w 390083"/>
                    <a:gd name="connsiteY132" fmla="*/ 74615 h 329732"/>
                    <a:gd name="connsiteX133" fmla="*/ 356068 w 390083"/>
                    <a:gd name="connsiteY133" fmla="*/ 74066 h 329732"/>
                    <a:gd name="connsiteX134" fmla="*/ 358811 w 390083"/>
                    <a:gd name="connsiteY134" fmla="*/ 74615 h 329732"/>
                    <a:gd name="connsiteX135" fmla="*/ 365943 w 390083"/>
                    <a:gd name="connsiteY135" fmla="*/ 78455 h 329732"/>
                    <a:gd name="connsiteX136" fmla="*/ 369784 w 390083"/>
                    <a:gd name="connsiteY136" fmla="*/ 79004 h 329732"/>
                    <a:gd name="connsiteX137" fmla="*/ 370881 w 390083"/>
                    <a:gd name="connsiteY137" fmla="*/ 80101 h 329732"/>
                    <a:gd name="connsiteX138" fmla="*/ 370881 w 390083"/>
                    <a:gd name="connsiteY138" fmla="*/ 82296 h 329732"/>
                    <a:gd name="connsiteX139" fmla="*/ 371978 w 390083"/>
                    <a:gd name="connsiteY139" fmla="*/ 83393 h 329732"/>
                    <a:gd name="connsiteX140" fmla="*/ 375818 w 390083"/>
                    <a:gd name="connsiteY140" fmla="*/ 83393 h 329732"/>
                    <a:gd name="connsiteX141" fmla="*/ 377465 w 390083"/>
                    <a:gd name="connsiteY141" fmla="*/ 82296 h 329732"/>
                    <a:gd name="connsiteX142" fmla="*/ 381854 w 390083"/>
                    <a:gd name="connsiteY142" fmla="*/ 82845 h 329732"/>
                    <a:gd name="connsiteX143" fmla="*/ 381854 w 390083"/>
                    <a:gd name="connsiteY143" fmla="*/ 238110 h 329732"/>
                    <a:gd name="connsiteX144" fmla="*/ 380208 w 390083"/>
                    <a:gd name="connsiteY144" fmla="*/ 240853 h 329732"/>
                    <a:gd name="connsiteX145" fmla="*/ 385146 w 390083"/>
                    <a:gd name="connsiteY145" fmla="*/ 252374 h 329732"/>
                    <a:gd name="connsiteX146" fmla="*/ 390084 w 390083"/>
                    <a:gd name="connsiteY146" fmla="*/ 329733 h 3297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</a:cxnLst>
                  <a:rect l="l" t="t" r="r" b="b"/>
                  <a:pathLst>
                    <a:path w="390083" h="329732">
                      <a:moveTo>
                        <a:pt x="390084" y="329733"/>
                      </a:moveTo>
                      <a:lnTo>
                        <a:pt x="389534" y="328636"/>
                      </a:lnTo>
                      <a:lnTo>
                        <a:pt x="381854" y="326441"/>
                      </a:lnTo>
                      <a:lnTo>
                        <a:pt x="345095" y="293522"/>
                      </a:lnTo>
                      <a:lnTo>
                        <a:pt x="343998" y="291328"/>
                      </a:lnTo>
                      <a:lnTo>
                        <a:pt x="340157" y="288585"/>
                      </a:lnTo>
                      <a:lnTo>
                        <a:pt x="324795" y="292974"/>
                      </a:lnTo>
                      <a:lnTo>
                        <a:pt x="312176" y="290779"/>
                      </a:lnTo>
                      <a:lnTo>
                        <a:pt x="306690" y="295717"/>
                      </a:lnTo>
                      <a:lnTo>
                        <a:pt x="302850" y="292974"/>
                      </a:lnTo>
                      <a:lnTo>
                        <a:pt x="301752" y="297363"/>
                      </a:lnTo>
                      <a:lnTo>
                        <a:pt x="302301" y="299009"/>
                      </a:lnTo>
                      <a:lnTo>
                        <a:pt x="300107" y="299557"/>
                      </a:lnTo>
                      <a:lnTo>
                        <a:pt x="295169" y="300106"/>
                      </a:lnTo>
                      <a:lnTo>
                        <a:pt x="291877" y="297363"/>
                      </a:lnTo>
                      <a:lnTo>
                        <a:pt x="259507" y="302301"/>
                      </a:lnTo>
                      <a:lnTo>
                        <a:pt x="258958" y="295717"/>
                      </a:lnTo>
                      <a:lnTo>
                        <a:pt x="267737" y="278161"/>
                      </a:lnTo>
                      <a:lnTo>
                        <a:pt x="278709" y="265542"/>
                      </a:lnTo>
                      <a:lnTo>
                        <a:pt x="286939" y="262799"/>
                      </a:lnTo>
                      <a:lnTo>
                        <a:pt x="292974" y="263347"/>
                      </a:lnTo>
                      <a:lnTo>
                        <a:pt x="299558" y="267736"/>
                      </a:lnTo>
                      <a:lnTo>
                        <a:pt x="304495" y="269382"/>
                      </a:lnTo>
                      <a:lnTo>
                        <a:pt x="304495" y="264445"/>
                      </a:lnTo>
                      <a:lnTo>
                        <a:pt x="297363" y="258409"/>
                      </a:lnTo>
                      <a:lnTo>
                        <a:pt x="298460" y="256215"/>
                      </a:lnTo>
                      <a:lnTo>
                        <a:pt x="303398" y="255118"/>
                      </a:lnTo>
                      <a:lnTo>
                        <a:pt x="295717" y="252374"/>
                      </a:lnTo>
                      <a:lnTo>
                        <a:pt x="288036" y="246888"/>
                      </a:lnTo>
                      <a:lnTo>
                        <a:pt x="291877" y="245242"/>
                      </a:lnTo>
                      <a:lnTo>
                        <a:pt x="294620" y="233721"/>
                      </a:lnTo>
                      <a:lnTo>
                        <a:pt x="288585" y="229880"/>
                      </a:lnTo>
                      <a:lnTo>
                        <a:pt x="283647" y="220553"/>
                      </a:lnTo>
                      <a:lnTo>
                        <a:pt x="280904" y="206289"/>
                      </a:lnTo>
                      <a:lnTo>
                        <a:pt x="281453" y="203545"/>
                      </a:lnTo>
                      <a:lnTo>
                        <a:pt x="278161" y="201351"/>
                      </a:lnTo>
                      <a:lnTo>
                        <a:pt x="271028" y="190378"/>
                      </a:lnTo>
                      <a:lnTo>
                        <a:pt x="267188" y="190378"/>
                      </a:lnTo>
                      <a:lnTo>
                        <a:pt x="262799" y="188732"/>
                      </a:lnTo>
                      <a:lnTo>
                        <a:pt x="259507" y="184892"/>
                      </a:lnTo>
                      <a:lnTo>
                        <a:pt x="258410" y="184892"/>
                      </a:lnTo>
                      <a:lnTo>
                        <a:pt x="255118" y="179954"/>
                      </a:lnTo>
                      <a:lnTo>
                        <a:pt x="235367" y="172273"/>
                      </a:lnTo>
                      <a:lnTo>
                        <a:pt x="228783" y="172822"/>
                      </a:lnTo>
                      <a:lnTo>
                        <a:pt x="157460" y="153071"/>
                      </a:lnTo>
                      <a:lnTo>
                        <a:pt x="156362" y="150876"/>
                      </a:lnTo>
                      <a:lnTo>
                        <a:pt x="147584" y="147035"/>
                      </a:lnTo>
                      <a:lnTo>
                        <a:pt x="143744" y="142098"/>
                      </a:lnTo>
                      <a:lnTo>
                        <a:pt x="142646" y="136612"/>
                      </a:lnTo>
                      <a:lnTo>
                        <a:pt x="130028" y="135514"/>
                      </a:lnTo>
                      <a:lnTo>
                        <a:pt x="128930" y="139903"/>
                      </a:lnTo>
                      <a:lnTo>
                        <a:pt x="126736" y="136063"/>
                      </a:lnTo>
                      <a:lnTo>
                        <a:pt x="116861" y="130028"/>
                      </a:lnTo>
                      <a:lnTo>
                        <a:pt x="115214" y="126187"/>
                      </a:lnTo>
                      <a:lnTo>
                        <a:pt x="108082" y="122895"/>
                      </a:lnTo>
                      <a:lnTo>
                        <a:pt x="107534" y="118506"/>
                      </a:lnTo>
                      <a:lnTo>
                        <a:pt x="107534" y="110825"/>
                      </a:lnTo>
                      <a:lnTo>
                        <a:pt x="110826" y="103144"/>
                      </a:lnTo>
                      <a:lnTo>
                        <a:pt x="109728" y="97658"/>
                      </a:lnTo>
                      <a:lnTo>
                        <a:pt x="98207" y="130028"/>
                      </a:lnTo>
                      <a:lnTo>
                        <a:pt x="90526" y="139355"/>
                      </a:lnTo>
                      <a:lnTo>
                        <a:pt x="77907" y="141001"/>
                      </a:lnTo>
                      <a:lnTo>
                        <a:pt x="74616" y="139355"/>
                      </a:lnTo>
                      <a:lnTo>
                        <a:pt x="72969" y="137160"/>
                      </a:lnTo>
                      <a:lnTo>
                        <a:pt x="70226" y="122895"/>
                      </a:lnTo>
                      <a:lnTo>
                        <a:pt x="71323" y="120152"/>
                      </a:lnTo>
                      <a:lnTo>
                        <a:pt x="70775" y="112471"/>
                      </a:lnTo>
                      <a:lnTo>
                        <a:pt x="66386" y="112471"/>
                      </a:lnTo>
                      <a:lnTo>
                        <a:pt x="60900" y="103144"/>
                      </a:lnTo>
                      <a:lnTo>
                        <a:pt x="53767" y="98755"/>
                      </a:lnTo>
                      <a:lnTo>
                        <a:pt x="44989" y="99304"/>
                      </a:lnTo>
                      <a:lnTo>
                        <a:pt x="38954" y="97109"/>
                      </a:lnTo>
                      <a:lnTo>
                        <a:pt x="40051" y="90526"/>
                      </a:lnTo>
                      <a:lnTo>
                        <a:pt x="46086" y="87782"/>
                      </a:lnTo>
                      <a:lnTo>
                        <a:pt x="55962" y="87234"/>
                      </a:lnTo>
                      <a:lnTo>
                        <a:pt x="65288" y="89428"/>
                      </a:lnTo>
                      <a:lnTo>
                        <a:pt x="85588" y="79553"/>
                      </a:lnTo>
                      <a:lnTo>
                        <a:pt x="92720" y="82296"/>
                      </a:lnTo>
                      <a:lnTo>
                        <a:pt x="100950" y="82296"/>
                      </a:lnTo>
                      <a:lnTo>
                        <a:pt x="107534" y="80101"/>
                      </a:lnTo>
                      <a:lnTo>
                        <a:pt x="107534" y="72969"/>
                      </a:lnTo>
                      <a:lnTo>
                        <a:pt x="110277" y="68580"/>
                      </a:lnTo>
                      <a:lnTo>
                        <a:pt x="110826" y="63642"/>
                      </a:lnTo>
                      <a:lnTo>
                        <a:pt x="65288" y="73518"/>
                      </a:lnTo>
                      <a:lnTo>
                        <a:pt x="58705" y="71872"/>
                      </a:lnTo>
                      <a:lnTo>
                        <a:pt x="52670" y="73518"/>
                      </a:lnTo>
                      <a:lnTo>
                        <a:pt x="43343" y="68031"/>
                      </a:lnTo>
                      <a:lnTo>
                        <a:pt x="36211" y="50475"/>
                      </a:lnTo>
                      <a:lnTo>
                        <a:pt x="31821" y="46634"/>
                      </a:lnTo>
                      <a:lnTo>
                        <a:pt x="25238" y="43343"/>
                      </a:lnTo>
                      <a:lnTo>
                        <a:pt x="18105" y="43891"/>
                      </a:lnTo>
                      <a:lnTo>
                        <a:pt x="13716" y="41148"/>
                      </a:lnTo>
                      <a:lnTo>
                        <a:pt x="12070" y="45537"/>
                      </a:lnTo>
                      <a:lnTo>
                        <a:pt x="0" y="40051"/>
                      </a:lnTo>
                      <a:lnTo>
                        <a:pt x="10973" y="19202"/>
                      </a:lnTo>
                      <a:lnTo>
                        <a:pt x="13716" y="17557"/>
                      </a:lnTo>
                      <a:lnTo>
                        <a:pt x="32918" y="13716"/>
                      </a:lnTo>
                      <a:lnTo>
                        <a:pt x="45537" y="2743"/>
                      </a:lnTo>
                      <a:lnTo>
                        <a:pt x="54315" y="0"/>
                      </a:lnTo>
                      <a:lnTo>
                        <a:pt x="73518" y="2743"/>
                      </a:lnTo>
                      <a:lnTo>
                        <a:pt x="92172" y="16459"/>
                      </a:lnTo>
                      <a:lnTo>
                        <a:pt x="115214" y="16459"/>
                      </a:lnTo>
                      <a:lnTo>
                        <a:pt x="117409" y="27432"/>
                      </a:lnTo>
                      <a:lnTo>
                        <a:pt x="122347" y="34016"/>
                      </a:lnTo>
                      <a:lnTo>
                        <a:pt x="122896" y="44989"/>
                      </a:lnTo>
                      <a:lnTo>
                        <a:pt x="119055" y="61996"/>
                      </a:lnTo>
                      <a:lnTo>
                        <a:pt x="123444" y="78455"/>
                      </a:lnTo>
                      <a:lnTo>
                        <a:pt x="132223" y="91074"/>
                      </a:lnTo>
                      <a:lnTo>
                        <a:pt x="133320" y="87234"/>
                      </a:lnTo>
                      <a:lnTo>
                        <a:pt x="133868" y="81747"/>
                      </a:lnTo>
                      <a:lnTo>
                        <a:pt x="141001" y="84491"/>
                      </a:lnTo>
                      <a:lnTo>
                        <a:pt x="149779" y="105887"/>
                      </a:lnTo>
                      <a:lnTo>
                        <a:pt x="161300" y="113020"/>
                      </a:lnTo>
                      <a:lnTo>
                        <a:pt x="175565" y="112471"/>
                      </a:lnTo>
                      <a:lnTo>
                        <a:pt x="178857" y="104242"/>
                      </a:lnTo>
                      <a:lnTo>
                        <a:pt x="188184" y="98755"/>
                      </a:lnTo>
                      <a:lnTo>
                        <a:pt x="189830" y="93269"/>
                      </a:lnTo>
                      <a:lnTo>
                        <a:pt x="202997" y="82296"/>
                      </a:lnTo>
                      <a:lnTo>
                        <a:pt x="207386" y="71323"/>
                      </a:lnTo>
                      <a:lnTo>
                        <a:pt x="230978" y="66934"/>
                      </a:lnTo>
                      <a:lnTo>
                        <a:pt x="236464" y="62545"/>
                      </a:lnTo>
                      <a:lnTo>
                        <a:pt x="235915" y="55961"/>
                      </a:lnTo>
                      <a:lnTo>
                        <a:pt x="260604" y="39502"/>
                      </a:lnTo>
                      <a:lnTo>
                        <a:pt x="264993" y="41697"/>
                      </a:lnTo>
                      <a:lnTo>
                        <a:pt x="267737" y="45537"/>
                      </a:lnTo>
                      <a:lnTo>
                        <a:pt x="293522" y="54315"/>
                      </a:lnTo>
                      <a:lnTo>
                        <a:pt x="296266" y="57059"/>
                      </a:lnTo>
                      <a:lnTo>
                        <a:pt x="312176" y="61996"/>
                      </a:lnTo>
                      <a:lnTo>
                        <a:pt x="328636" y="72421"/>
                      </a:lnTo>
                      <a:lnTo>
                        <a:pt x="336865" y="74615"/>
                      </a:lnTo>
                      <a:lnTo>
                        <a:pt x="343449" y="74066"/>
                      </a:lnTo>
                      <a:lnTo>
                        <a:pt x="346741" y="72421"/>
                      </a:lnTo>
                      <a:lnTo>
                        <a:pt x="352227" y="74615"/>
                      </a:lnTo>
                      <a:lnTo>
                        <a:pt x="356068" y="74066"/>
                      </a:lnTo>
                      <a:lnTo>
                        <a:pt x="358811" y="74615"/>
                      </a:lnTo>
                      <a:lnTo>
                        <a:pt x="365943" y="78455"/>
                      </a:lnTo>
                      <a:lnTo>
                        <a:pt x="369784" y="79004"/>
                      </a:lnTo>
                      <a:lnTo>
                        <a:pt x="370881" y="80101"/>
                      </a:lnTo>
                      <a:lnTo>
                        <a:pt x="370881" y="82296"/>
                      </a:lnTo>
                      <a:lnTo>
                        <a:pt x="371978" y="83393"/>
                      </a:lnTo>
                      <a:lnTo>
                        <a:pt x="375818" y="83393"/>
                      </a:lnTo>
                      <a:lnTo>
                        <a:pt x="377465" y="82296"/>
                      </a:lnTo>
                      <a:lnTo>
                        <a:pt x="381854" y="82845"/>
                      </a:lnTo>
                      <a:lnTo>
                        <a:pt x="381854" y="238110"/>
                      </a:lnTo>
                      <a:lnTo>
                        <a:pt x="380208" y="240853"/>
                      </a:lnTo>
                      <a:lnTo>
                        <a:pt x="385146" y="252374"/>
                      </a:lnTo>
                      <a:lnTo>
                        <a:pt x="390084" y="329733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418" name="Graphic 7">
                  <a:extLst>
                    <a:ext uri="{FF2B5EF4-FFF2-40B4-BE49-F238E27FC236}">
                      <a16:creationId xmlns:a16="http://schemas.microsoft.com/office/drawing/2014/main" id="{954281AD-784A-BF5F-08C8-FAD031F2456E}"/>
                    </a:ext>
                  </a:extLst>
                </p:cNvPr>
                <p:cNvSpPr/>
                <p:nvPr/>
              </p:nvSpPr>
              <p:spPr>
                <a:xfrm>
                  <a:off x="8863674" y="4732402"/>
                  <a:ext cx="47578" cy="42006"/>
                </a:xfrm>
                <a:custGeom>
                  <a:avLst/>
                  <a:gdLst>
                    <a:gd name="connsiteX0" fmla="*/ 58156 w 60898"/>
                    <a:gd name="connsiteY0" fmla="*/ 20300 h 53766"/>
                    <a:gd name="connsiteX1" fmla="*/ 57607 w 60898"/>
                    <a:gd name="connsiteY1" fmla="*/ 19751 h 53766"/>
                    <a:gd name="connsiteX2" fmla="*/ 57059 w 60898"/>
                    <a:gd name="connsiteY2" fmla="*/ 18105 h 53766"/>
                    <a:gd name="connsiteX3" fmla="*/ 56510 w 60898"/>
                    <a:gd name="connsiteY3" fmla="*/ 17008 h 53766"/>
                    <a:gd name="connsiteX4" fmla="*/ 56510 w 60898"/>
                    <a:gd name="connsiteY4" fmla="*/ 15910 h 53766"/>
                    <a:gd name="connsiteX5" fmla="*/ 55961 w 60898"/>
                    <a:gd name="connsiteY5" fmla="*/ 15910 h 53766"/>
                    <a:gd name="connsiteX6" fmla="*/ 55413 w 60898"/>
                    <a:gd name="connsiteY6" fmla="*/ 15362 h 53766"/>
                    <a:gd name="connsiteX7" fmla="*/ 55413 w 60898"/>
                    <a:gd name="connsiteY7" fmla="*/ 14265 h 53766"/>
                    <a:gd name="connsiteX8" fmla="*/ 55413 w 60898"/>
                    <a:gd name="connsiteY8" fmla="*/ 13716 h 53766"/>
                    <a:gd name="connsiteX9" fmla="*/ 54315 w 60898"/>
                    <a:gd name="connsiteY9" fmla="*/ 13716 h 53766"/>
                    <a:gd name="connsiteX10" fmla="*/ 53767 w 60898"/>
                    <a:gd name="connsiteY10" fmla="*/ 12070 h 53766"/>
                    <a:gd name="connsiteX11" fmla="*/ 53218 w 60898"/>
                    <a:gd name="connsiteY11" fmla="*/ 12070 h 53766"/>
                    <a:gd name="connsiteX12" fmla="*/ 53218 w 60898"/>
                    <a:gd name="connsiteY12" fmla="*/ 12070 h 53766"/>
                    <a:gd name="connsiteX13" fmla="*/ 53218 w 60898"/>
                    <a:gd name="connsiteY13" fmla="*/ 11521 h 53766"/>
                    <a:gd name="connsiteX14" fmla="*/ 53218 w 60898"/>
                    <a:gd name="connsiteY14" fmla="*/ 11521 h 53766"/>
                    <a:gd name="connsiteX15" fmla="*/ 53218 w 60898"/>
                    <a:gd name="connsiteY15" fmla="*/ 10973 h 53766"/>
                    <a:gd name="connsiteX16" fmla="*/ 52670 w 60898"/>
                    <a:gd name="connsiteY16" fmla="*/ 8778 h 53766"/>
                    <a:gd name="connsiteX17" fmla="*/ 54315 w 60898"/>
                    <a:gd name="connsiteY17" fmla="*/ 8230 h 53766"/>
                    <a:gd name="connsiteX18" fmla="*/ 54864 w 60898"/>
                    <a:gd name="connsiteY18" fmla="*/ 8230 h 53766"/>
                    <a:gd name="connsiteX19" fmla="*/ 55413 w 60898"/>
                    <a:gd name="connsiteY19" fmla="*/ 8230 h 53766"/>
                    <a:gd name="connsiteX20" fmla="*/ 56510 w 60898"/>
                    <a:gd name="connsiteY20" fmla="*/ 8778 h 53766"/>
                    <a:gd name="connsiteX21" fmla="*/ 57059 w 60898"/>
                    <a:gd name="connsiteY21" fmla="*/ 9327 h 53766"/>
                    <a:gd name="connsiteX22" fmla="*/ 57607 w 60898"/>
                    <a:gd name="connsiteY22" fmla="*/ 9327 h 53766"/>
                    <a:gd name="connsiteX23" fmla="*/ 58156 w 60898"/>
                    <a:gd name="connsiteY23" fmla="*/ 8778 h 53766"/>
                    <a:gd name="connsiteX24" fmla="*/ 58705 w 60898"/>
                    <a:gd name="connsiteY24" fmla="*/ 8230 h 53766"/>
                    <a:gd name="connsiteX25" fmla="*/ 59802 w 60898"/>
                    <a:gd name="connsiteY25" fmla="*/ 8230 h 53766"/>
                    <a:gd name="connsiteX26" fmla="*/ 60350 w 60898"/>
                    <a:gd name="connsiteY26" fmla="*/ 7681 h 53766"/>
                    <a:gd name="connsiteX27" fmla="*/ 60350 w 60898"/>
                    <a:gd name="connsiteY27" fmla="*/ 7132 h 53766"/>
                    <a:gd name="connsiteX28" fmla="*/ 60350 w 60898"/>
                    <a:gd name="connsiteY28" fmla="*/ 7132 h 53766"/>
                    <a:gd name="connsiteX29" fmla="*/ 60350 w 60898"/>
                    <a:gd name="connsiteY29" fmla="*/ 6035 h 53766"/>
                    <a:gd name="connsiteX30" fmla="*/ 60350 w 60898"/>
                    <a:gd name="connsiteY30" fmla="*/ 6035 h 53766"/>
                    <a:gd name="connsiteX31" fmla="*/ 60350 w 60898"/>
                    <a:gd name="connsiteY31" fmla="*/ 6035 h 53766"/>
                    <a:gd name="connsiteX32" fmla="*/ 60350 w 60898"/>
                    <a:gd name="connsiteY32" fmla="*/ 5486 h 53766"/>
                    <a:gd name="connsiteX33" fmla="*/ 60899 w 60898"/>
                    <a:gd name="connsiteY33" fmla="*/ 4389 h 53766"/>
                    <a:gd name="connsiteX34" fmla="*/ 60899 w 60898"/>
                    <a:gd name="connsiteY34" fmla="*/ 3841 h 53766"/>
                    <a:gd name="connsiteX35" fmla="*/ 60899 w 60898"/>
                    <a:gd name="connsiteY35" fmla="*/ 3292 h 53766"/>
                    <a:gd name="connsiteX36" fmla="*/ 60899 w 60898"/>
                    <a:gd name="connsiteY36" fmla="*/ 2743 h 53766"/>
                    <a:gd name="connsiteX37" fmla="*/ 59253 w 60898"/>
                    <a:gd name="connsiteY37" fmla="*/ 1646 h 53766"/>
                    <a:gd name="connsiteX38" fmla="*/ 58705 w 60898"/>
                    <a:gd name="connsiteY38" fmla="*/ 1646 h 53766"/>
                    <a:gd name="connsiteX39" fmla="*/ 57607 w 60898"/>
                    <a:gd name="connsiteY39" fmla="*/ 549 h 53766"/>
                    <a:gd name="connsiteX40" fmla="*/ 57607 w 60898"/>
                    <a:gd name="connsiteY40" fmla="*/ 1097 h 53766"/>
                    <a:gd name="connsiteX41" fmla="*/ 57607 w 60898"/>
                    <a:gd name="connsiteY41" fmla="*/ 1097 h 53766"/>
                    <a:gd name="connsiteX42" fmla="*/ 57059 w 60898"/>
                    <a:gd name="connsiteY42" fmla="*/ 1646 h 53766"/>
                    <a:gd name="connsiteX43" fmla="*/ 57059 w 60898"/>
                    <a:gd name="connsiteY43" fmla="*/ 2194 h 53766"/>
                    <a:gd name="connsiteX44" fmla="*/ 55961 w 60898"/>
                    <a:gd name="connsiteY44" fmla="*/ 2743 h 53766"/>
                    <a:gd name="connsiteX45" fmla="*/ 55413 w 60898"/>
                    <a:gd name="connsiteY45" fmla="*/ 2743 h 53766"/>
                    <a:gd name="connsiteX46" fmla="*/ 53767 w 60898"/>
                    <a:gd name="connsiteY46" fmla="*/ 4389 h 53766"/>
                    <a:gd name="connsiteX47" fmla="*/ 52670 w 60898"/>
                    <a:gd name="connsiteY47" fmla="*/ 3841 h 53766"/>
                    <a:gd name="connsiteX48" fmla="*/ 52121 w 60898"/>
                    <a:gd name="connsiteY48" fmla="*/ 3841 h 53766"/>
                    <a:gd name="connsiteX49" fmla="*/ 51572 w 60898"/>
                    <a:gd name="connsiteY49" fmla="*/ 3292 h 53766"/>
                    <a:gd name="connsiteX50" fmla="*/ 51572 w 60898"/>
                    <a:gd name="connsiteY50" fmla="*/ 1097 h 53766"/>
                    <a:gd name="connsiteX51" fmla="*/ 52121 w 60898"/>
                    <a:gd name="connsiteY51" fmla="*/ 549 h 53766"/>
                    <a:gd name="connsiteX52" fmla="*/ 52121 w 60898"/>
                    <a:gd name="connsiteY52" fmla="*/ 0 h 53766"/>
                    <a:gd name="connsiteX53" fmla="*/ 46634 w 60898"/>
                    <a:gd name="connsiteY53" fmla="*/ 4389 h 53766"/>
                    <a:gd name="connsiteX54" fmla="*/ 45537 w 60898"/>
                    <a:gd name="connsiteY54" fmla="*/ 4389 h 53766"/>
                    <a:gd name="connsiteX55" fmla="*/ 42245 w 60898"/>
                    <a:gd name="connsiteY55" fmla="*/ 6584 h 53766"/>
                    <a:gd name="connsiteX56" fmla="*/ 36759 w 60898"/>
                    <a:gd name="connsiteY56" fmla="*/ 7132 h 53766"/>
                    <a:gd name="connsiteX57" fmla="*/ 34016 w 60898"/>
                    <a:gd name="connsiteY57" fmla="*/ 8778 h 53766"/>
                    <a:gd name="connsiteX58" fmla="*/ 34016 w 60898"/>
                    <a:gd name="connsiteY58" fmla="*/ 8778 h 53766"/>
                    <a:gd name="connsiteX59" fmla="*/ 34016 w 60898"/>
                    <a:gd name="connsiteY59" fmla="*/ 9327 h 53766"/>
                    <a:gd name="connsiteX60" fmla="*/ 33467 w 60898"/>
                    <a:gd name="connsiteY60" fmla="*/ 9875 h 53766"/>
                    <a:gd name="connsiteX61" fmla="*/ 33467 w 60898"/>
                    <a:gd name="connsiteY61" fmla="*/ 10973 h 53766"/>
                    <a:gd name="connsiteX62" fmla="*/ 33467 w 60898"/>
                    <a:gd name="connsiteY62" fmla="*/ 10973 h 53766"/>
                    <a:gd name="connsiteX63" fmla="*/ 32918 w 60898"/>
                    <a:gd name="connsiteY63" fmla="*/ 11521 h 53766"/>
                    <a:gd name="connsiteX64" fmla="*/ 33467 w 60898"/>
                    <a:gd name="connsiteY64" fmla="*/ 12619 h 53766"/>
                    <a:gd name="connsiteX65" fmla="*/ 32918 w 60898"/>
                    <a:gd name="connsiteY65" fmla="*/ 12619 h 53766"/>
                    <a:gd name="connsiteX66" fmla="*/ 32918 w 60898"/>
                    <a:gd name="connsiteY66" fmla="*/ 12619 h 53766"/>
                    <a:gd name="connsiteX67" fmla="*/ 32918 w 60898"/>
                    <a:gd name="connsiteY67" fmla="*/ 12619 h 53766"/>
                    <a:gd name="connsiteX68" fmla="*/ 32918 w 60898"/>
                    <a:gd name="connsiteY68" fmla="*/ 13716 h 53766"/>
                    <a:gd name="connsiteX69" fmla="*/ 32370 w 60898"/>
                    <a:gd name="connsiteY69" fmla="*/ 14265 h 53766"/>
                    <a:gd name="connsiteX70" fmla="*/ 31273 w 60898"/>
                    <a:gd name="connsiteY70" fmla="*/ 14265 h 53766"/>
                    <a:gd name="connsiteX71" fmla="*/ 31273 w 60898"/>
                    <a:gd name="connsiteY71" fmla="*/ 14813 h 53766"/>
                    <a:gd name="connsiteX72" fmla="*/ 30724 w 60898"/>
                    <a:gd name="connsiteY72" fmla="*/ 15362 h 53766"/>
                    <a:gd name="connsiteX73" fmla="*/ 30724 w 60898"/>
                    <a:gd name="connsiteY73" fmla="*/ 15910 h 53766"/>
                    <a:gd name="connsiteX74" fmla="*/ 30175 w 60898"/>
                    <a:gd name="connsiteY74" fmla="*/ 16459 h 53766"/>
                    <a:gd name="connsiteX75" fmla="*/ 30175 w 60898"/>
                    <a:gd name="connsiteY75" fmla="*/ 16459 h 53766"/>
                    <a:gd name="connsiteX76" fmla="*/ 29627 w 60898"/>
                    <a:gd name="connsiteY76" fmla="*/ 16459 h 53766"/>
                    <a:gd name="connsiteX77" fmla="*/ 30175 w 60898"/>
                    <a:gd name="connsiteY77" fmla="*/ 17008 h 53766"/>
                    <a:gd name="connsiteX78" fmla="*/ 29627 w 60898"/>
                    <a:gd name="connsiteY78" fmla="*/ 17008 h 53766"/>
                    <a:gd name="connsiteX79" fmla="*/ 29078 w 60898"/>
                    <a:gd name="connsiteY79" fmla="*/ 17008 h 53766"/>
                    <a:gd name="connsiteX80" fmla="*/ 29078 w 60898"/>
                    <a:gd name="connsiteY80" fmla="*/ 17557 h 53766"/>
                    <a:gd name="connsiteX81" fmla="*/ 29078 w 60898"/>
                    <a:gd name="connsiteY81" fmla="*/ 18105 h 53766"/>
                    <a:gd name="connsiteX82" fmla="*/ 29627 w 60898"/>
                    <a:gd name="connsiteY82" fmla="*/ 18105 h 53766"/>
                    <a:gd name="connsiteX83" fmla="*/ 29627 w 60898"/>
                    <a:gd name="connsiteY83" fmla="*/ 19202 h 53766"/>
                    <a:gd name="connsiteX84" fmla="*/ 29078 w 60898"/>
                    <a:gd name="connsiteY84" fmla="*/ 19202 h 53766"/>
                    <a:gd name="connsiteX85" fmla="*/ 29078 w 60898"/>
                    <a:gd name="connsiteY85" fmla="*/ 19751 h 53766"/>
                    <a:gd name="connsiteX86" fmla="*/ 28529 w 60898"/>
                    <a:gd name="connsiteY86" fmla="*/ 19751 h 53766"/>
                    <a:gd name="connsiteX87" fmla="*/ 27981 w 60898"/>
                    <a:gd name="connsiteY87" fmla="*/ 20300 h 53766"/>
                    <a:gd name="connsiteX88" fmla="*/ 27432 w 60898"/>
                    <a:gd name="connsiteY88" fmla="*/ 20300 h 53766"/>
                    <a:gd name="connsiteX89" fmla="*/ 26883 w 60898"/>
                    <a:gd name="connsiteY89" fmla="*/ 20300 h 53766"/>
                    <a:gd name="connsiteX90" fmla="*/ 26883 w 60898"/>
                    <a:gd name="connsiteY90" fmla="*/ 20848 h 53766"/>
                    <a:gd name="connsiteX91" fmla="*/ 26335 w 60898"/>
                    <a:gd name="connsiteY91" fmla="*/ 20848 h 53766"/>
                    <a:gd name="connsiteX92" fmla="*/ 26335 w 60898"/>
                    <a:gd name="connsiteY92" fmla="*/ 20300 h 53766"/>
                    <a:gd name="connsiteX93" fmla="*/ 26335 w 60898"/>
                    <a:gd name="connsiteY93" fmla="*/ 19202 h 53766"/>
                    <a:gd name="connsiteX94" fmla="*/ 26335 w 60898"/>
                    <a:gd name="connsiteY94" fmla="*/ 18654 h 53766"/>
                    <a:gd name="connsiteX95" fmla="*/ 26335 w 60898"/>
                    <a:gd name="connsiteY95" fmla="*/ 18654 h 53766"/>
                    <a:gd name="connsiteX96" fmla="*/ 25786 w 60898"/>
                    <a:gd name="connsiteY96" fmla="*/ 17557 h 53766"/>
                    <a:gd name="connsiteX97" fmla="*/ 25786 w 60898"/>
                    <a:gd name="connsiteY97" fmla="*/ 17557 h 53766"/>
                    <a:gd name="connsiteX98" fmla="*/ 25786 w 60898"/>
                    <a:gd name="connsiteY98" fmla="*/ 17008 h 53766"/>
                    <a:gd name="connsiteX99" fmla="*/ 25238 w 60898"/>
                    <a:gd name="connsiteY99" fmla="*/ 17008 h 53766"/>
                    <a:gd name="connsiteX100" fmla="*/ 25238 w 60898"/>
                    <a:gd name="connsiteY100" fmla="*/ 16459 h 53766"/>
                    <a:gd name="connsiteX101" fmla="*/ 24140 w 60898"/>
                    <a:gd name="connsiteY101" fmla="*/ 15910 h 53766"/>
                    <a:gd name="connsiteX102" fmla="*/ 24140 w 60898"/>
                    <a:gd name="connsiteY102" fmla="*/ 15910 h 53766"/>
                    <a:gd name="connsiteX103" fmla="*/ 23592 w 60898"/>
                    <a:gd name="connsiteY103" fmla="*/ 16459 h 53766"/>
                    <a:gd name="connsiteX104" fmla="*/ 23043 w 60898"/>
                    <a:gd name="connsiteY104" fmla="*/ 16459 h 53766"/>
                    <a:gd name="connsiteX105" fmla="*/ 22494 w 60898"/>
                    <a:gd name="connsiteY105" fmla="*/ 17008 h 53766"/>
                    <a:gd name="connsiteX106" fmla="*/ 22494 w 60898"/>
                    <a:gd name="connsiteY106" fmla="*/ 17557 h 53766"/>
                    <a:gd name="connsiteX107" fmla="*/ 21397 w 60898"/>
                    <a:gd name="connsiteY107" fmla="*/ 18105 h 53766"/>
                    <a:gd name="connsiteX108" fmla="*/ 20849 w 60898"/>
                    <a:gd name="connsiteY108" fmla="*/ 18105 h 53766"/>
                    <a:gd name="connsiteX109" fmla="*/ 20849 w 60898"/>
                    <a:gd name="connsiteY109" fmla="*/ 17557 h 53766"/>
                    <a:gd name="connsiteX110" fmla="*/ 19751 w 60898"/>
                    <a:gd name="connsiteY110" fmla="*/ 17557 h 53766"/>
                    <a:gd name="connsiteX111" fmla="*/ 19202 w 60898"/>
                    <a:gd name="connsiteY111" fmla="*/ 16459 h 53766"/>
                    <a:gd name="connsiteX112" fmla="*/ 18654 w 60898"/>
                    <a:gd name="connsiteY112" fmla="*/ 15362 h 53766"/>
                    <a:gd name="connsiteX113" fmla="*/ 15362 w 60898"/>
                    <a:gd name="connsiteY113" fmla="*/ 16459 h 53766"/>
                    <a:gd name="connsiteX114" fmla="*/ 5486 w 60898"/>
                    <a:gd name="connsiteY114" fmla="*/ 25786 h 53766"/>
                    <a:gd name="connsiteX115" fmla="*/ 4389 w 60898"/>
                    <a:gd name="connsiteY115" fmla="*/ 35662 h 53766"/>
                    <a:gd name="connsiteX116" fmla="*/ 5486 w 60898"/>
                    <a:gd name="connsiteY116" fmla="*/ 40051 h 53766"/>
                    <a:gd name="connsiteX117" fmla="*/ 4938 w 60898"/>
                    <a:gd name="connsiteY117" fmla="*/ 43891 h 53766"/>
                    <a:gd name="connsiteX118" fmla="*/ 0 w 60898"/>
                    <a:gd name="connsiteY118" fmla="*/ 49926 h 53766"/>
                    <a:gd name="connsiteX119" fmla="*/ 3841 w 60898"/>
                    <a:gd name="connsiteY119" fmla="*/ 53767 h 53766"/>
                    <a:gd name="connsiteX120" fmla="*/ 14813 w 60898"/>
                    <a:gd name="connsiteY120" fmla="*/ 53218 h 53766"/>
                    <a:gd name="connsiteX121" fmla="*/ 42794 w 60898"/>
                    <a:gd name="connsiteY121" fmla="*/ 41697 h 53766"/>
                    <a:gd name="connsiteX122" fmla="*/ 54864 w 60898"/>
                    <a:gd name="connsiteY122" fmla="*/ 27981 h 53766"/>
                    <a:gd name="connsiteX123" fmla="*/ 58156 w 60898"/>
                    <a:gd name="connsiteY123" fmla="*/ 20300 h 537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</a:cxnLst>
                  <a:rect l="l" t="t" r="r" b="b"/>
                  <a:pathLst>
                    <a:path w="60898" h="53766">
                      <a:moveTo>
                        <a:pt x="58156" y="20300"/>
                      </a:moveTo>
                      <a:lnTo>
                        <a:pt x="57607" y="19751"/>
                      </a:lnTo>
                      <a:lnTo>
                        <a:pt x="57059" y="18105"/>
                      </a:lnTo>
                      <a:lnTo>
                        <a:pt x="56510" y="17008"/>
                      </a:lnTo>
                      <a:lnTo>
                        <a:pt x="56510" y="15910"/>
                      </a:lnTo>
                      <a:lnTo>
                        <a:pt x="55961" y="15910"/>
                      </a:lnTo>
                      <a:lnTo>
                        <a:pt x="55413" y="15362"/>
                      </a:lnTo>
                      <a:lnTo>
                        <a:pt x="55413" y="14265"/>
                      </a:lnTo>
                      <a:lnTo>
                        <a:pt x="55413" y="13716"/>
                      </a:lnTo>
                      <a:lnTo>
                        <a:pt x="54315" y="13716"/>
                      </a:lnTo>
                      <a:lnTo>
                        <a:pt x="53767" y="12070"/>
                      </a:lnTo>
                      <a:lnTo>
                        <a:pt x="53218" y="12070"/>
                      </a:lnTo>
                      <a:lnTo>
                        <a:pt x="53218" y="12070"/>
                      </a:lnTo>
                      <a:lnTo>
                        <a:pt x="53218" y="11521"/>
                      </a:lnTo>
                      <a:lnTo>
                        <a:pt x="53218" y="11521"/>
                      </a:lnTo>
                      <a:lnTo>
                        <a:pt x="53218" y="10973"/>
                      </a:lnTo>
                      <a:lnTo>
                        <a:pt x="52670" y="8778"/>
                      </a:lnTo>
                      <a:lnTo>
                        <a:pt x="54315" y="8230"/>
                      </a:lnTo>
                      <a:lnTo>
                        <a:pt x="54864" y="8230"/>
                      </a:lnTo>
                      <a:lnTo>
                        <a:pt x="55413" y="8230"/>
                      </a:lnTo>
                      <a:lnTo>
                        <a:pt x="56510" y="8778"/>
                      </a:lnTo>
                      <a:lnTo>
                        <a:pt x="57059" y="9327"/>
                      </a:lnTo>
                      <a:lnTo>
                        <a:pt x="57607" y="9327"/>
                      </a:lnTo>
                      <a:lnTo>
                        <a:pt x="58156" y="8778"/>
                      </a:lnTo>
                      <a:lnTo>
                        <a:pt x="58705" y="8230"/>
                      </a:lnTo>
                      <a:lnTo>
                        <a:pt x="59802" y="8230"/>
                      </a:lnTo>
                      <a:lnTo>
                        <a:pt x="60350" y="7681"/>
                      </a:lnTo>
                      <a:lnTo>
                        <a:pt x="60350" y="7132"/>
                      </a:lnTo>
                      <a:lnTo>
                        <a:pt x="60350" y="7132"/>
                      </a:lnTo>
                      <a:lnTo>
                        <a:pt x="60350" y="6035"/>
                      </a:lnTo>
                      <a:lnTo>
                        <a:pt x="60350" y="6035"/>
                      </a:lnTo>
                      <a:lnTo>
                        <a:pt x="60350" y="6035"/>
                      </a:lnTo>
                      <a:lnTo>
                        <a:pt x="60350" y="5486"/>
                      </a:lnTo>
                      <a:lnTo>
                        <a:pt x="60899" y="4389"/>
                      </a:lnTo>
                      <a:lnTo>
                        <a:pt x="60899" y="3841"/>
                      </a:lnTo>
                      <a:lnTo>
                        <a:pt x="60899" y="3292"/>
                      </a:lnTo>
                      <a:lnTo>
                        <a:pt x="60899" y="2743"/>
                      </a:lnTo>
                      <a:lnTo>
                        <a:pt x="59253" y="1646"/>
                      </a:lnTo>
                      <a:lnTo>
                        <a:pt x="58705" y="1646"/>
                      </a:lnTo>
                      <a:lnTo>
                        <a:pt x="57607" y="549"/>
                      </a:lnTo>
                      <a:lnTo>
                        <a:pt x="57607" y="1097"/>
                      </a:lnTo>
                      <a:lnTo>
                        <a:pt x="57607" y="1097"/>
                      </a:lnTo>
                      <a:lnTo>
                        <a:pt x="57059" y="1646"/>
                      </a:lnTo>
                      <a:lnTo>
                        <a:pt x="57059" y="2194"/>
                      </a:lnTo>
                      <a:lnTo>
                        <a:pt x="55961" y="2743"/>
                      </a:lnTo>
                      <a:lnTo>
                        <a:pt x="55413" y="2743"/>
                      </a:lnTo>
                      <a:lnTo>
                        <a:pt x="53767" y="4389"/>
                      </a:lnTo>
                      <a:lnTo>
                        <a:pt x="52670" y="3841"/>
                      </a:lnTo>
                      <a:lnTo>
                        <a:pt x="52121" y="3841"/>
                      </a:lnTo>
                      <a:lnTo>
                        <a:pt x="51572" y="3292"/>
                      </a:lnTo>
                      <a:lnTo>
                        <a:pt x="51572" y="1097"/>
                      </a:lnTo>
                      <a:lnTo>
                        <a:pt x="52121" y="549"/>
                      </a:lnTo>
                      <a:lnTo>
                        <a:pt x="52121" y="0"/>
                      </a:lnTo>
                      <a:lnTo>
                        <a:pt x="46634" y="4389"/>
                      </a:lnTo>
                      <a:lnTo>
                        <a:pt x="45537" y="4389"/>
                      </a:lnTo>
                      <a:lnTo>
                        <a:pt x="42245" y="6584"/>
                      </a:lnTo>
                      <a:lnTo>
                        <a:pt x="36759" y="7132"/>
                      </a:lnTo>
                      <a:lnTo>
                        <a:pt x="34016" y="8778"/>
                      </a:lnTo>
                      <a:lnTo>
                        <a:pt x="34016" y="8778"/>
                      </a:lnTo>
                      <a:lnTo>
                        <a:pt x="34016" y="9327"/>
                      </a:lnTo>
                      <a:lnTo>
                        <a:pt x="33467" y="9875"/>
                      </a:lnTo>
                      <a:lnTo>
                        <a:pt x="33467" y="10973"/>
                      </a:lnTo>
                      <a:lnTo>
                        <a:pt x="33467" y="10973"/>
                      </a:lnTo>
                      <a:lnTo>
                        <a:pt x="32918" y="11521"/>
                      </a:lnTo>
                      <a:lnTo>
                        <a:pt x="33467" y="12619"/>
                      </a:lnTo>
                      <a:lnTo>
                        <a:pt x="32918" y="12619"/>
                      </a:lnTo>
                      <a:lnTo>
                        <a:pt x="32918" y="12619"/>
                      </a:lnTo>
                      <a:lnTo>
                        <a:pt x="32918" y="12619"/>
                      </a:lnTo>
                      <a:lnTo>
                        <a:pt x="32918" y="13716"/>
                      </a:lnTo>
                      <a:lnTo>
                        <a:pt x="32370" y="14265"/>
                      </a:lnTo>
                      <a:lnTo>
                        <a:pt x="31273" y="14265"/>
                      </a:lnTo>
                      <a:lnTo>
                        <a:pt x="31273" y="14813"/>
                      </a:lnTo>
                      <a:lnTo>
                        <a:pt x="30724" y="15362"/>
                      </a:lnTo>
                      <a:lnTo>
                        <a:pt x="30724" y="15910"/>
                      </a:lnTo>
                      <a:lnTo>
                        <a:pt x="30175" y="16459"/>
                      </a:lnTo>
                      <a:lnTo>
                        <a:pt x="30175" y="16459"/>
                      </a:lnTo>
                      <a:lnTo>
                        <a:pt x="29627" y="16459"/>
                      </a:lnTo>
                      <a:lnTo>
                        <a:pt x="30175" y="17008"/>
                      </a:lnTo>
                      <a:lnTo>
                        <a:pt x="29627" y="17008"/>
                      </a:lnTo>
                      <a:lnTo>
                        <a:pt x="29078" y="17008"/>
                      </a:lnTo>
                      <a:lnTo>
                        <a:pt x="29078" y="17557"/>
                      </a:lnTo>
                      <a:lnTo>
                        <a:pt x="29078" y="18105"/>
                      </a:lnTo>
                      <a:lnTo>
                        <a:pt x="29627" y="18105"/>
                      </a:lnTo>
                      <a:lnTo>
                        <a:pt x="29627" y="19202"/>
                      </a:lnTo>
                      <a:lnTo>
                        <a:pt x="29078" y="19202"/>
                      </a:lnTo>
                      <a:lnTo>
                        <a:pt x="29078" y="19751"/>
                      </a:lnTo>
                      <a:lnTo>
                        <a:pt x="28529" y="19751"/>
                      </a:lnTo>
                      <a:lnTo>
                        <a:pt x="27981" y="20300"/>
                      </a:lnTo>
                      <a:lnTo>
                        <a:pt x="27432" y="20300"/>
                      </a:lnTo>
                      <a:lnTo>
                        <a:pt x="26883" y="20300"/>
                      </a:lnTo>
                      <a:lnTo>
                        <a:pt x="26883" y="20848"/>
                      </a:lnTo>
                      <a:lnTo>
                        <a:pt x="26335" y="20848"/>
                      </a:lnTo>
                      <a:lnTo>
                        <a:pt x="26335" y="20300"/>
                      </a:lnTo>
                      <a:lnTo>
                        <a:pt x="26335" y="19202"/>
                      </a:lnTo>
                      <a:lnTo>
                        <a:pt x="26335" y="18654"/>
                      </a:lnTo>
                      <a:lnTo>
                        <a:pt x="26335" y="18654"/>
                      </a:lnTo>
                      <a:lnTo>
                        <a:pt x="25786" y="17557"/>
                      </a:lnTo>
                      <a:lnTo>
                        <a:pt x="25786" y="17557"/>
                      </a:lnTo>
                      <a:lnTo>
                        <a:pt x="25786" y="17008"/>
                      </a:lnTo>
                      <a:lnTo>
                        <a:pt x="25238" y="17008"/>
                      </a:lnTo>
                      <a:lnTo>
                        <a:pt x="25238" y="16459"/>
                      </a:lnTo>
                      <a:lnTo>
                        <a:pt x="24140" y="15910"/>
                      </a:lnTo>
                      <a:lnTo>
                        <a:pt x="24140" y="15910"/>
                      </a:lnTo>
                      <a:lnTo>
                        <a:pt x="23592" y="16459"/>
                      </a:lnTo>
                      <a:lnTo>
                        <a:pt x="23043" y="16459"/>
                      </a:lnTo>
                      <a:lnTo>
                        <a:pt x="22494" y="17008"/>
                      </a:lnTo>
                      <a:lnTo>
                        <a:pt x="22494" y="17557"/>
                      </a:lnTo>
                      <a:lnTo>
                        <a:pt x="21397" y="18105"/>
                      </a:lnTo>
                      <a:lnTo>
                        <a:pt x="20849" y="18105"/>
                      </a:lnTo>
                      <a:lnTo>
                        <a:pt x="20849" y="17557"/>
                      </a:lnTo>
                      <a:lnTo>
                        <a:pt x="19751" y="17557"/>
                      </a:lnTo>
                      <a:lnTo>
                        <a:pt x="19202" y="16459"/>
                      </a:lnTo>
                      <a:lnTo>
                        <a:pt x="18654" y="15362"/>
                      </a:lnTo>
                      <a:lnTo>
                        <a:pt x="15362" y="16459"/>
                      </a:lnTo>
                      <a:lnTo>
                        <a:pt x="5486" y="25786"/>
                      </a:lnTo>
                      <a:lnTo>
                        <a:pt x="4389" y="35662"/>
                      </a:lnTo>
                      <a:lnTo>
                        <a:pt x="5486" y="40051"/>
                      </a:lnTo>
                      <a:lnTo>
                        <a:pt x="4938" y="43891"/>
                      </a:lnTo>
                      <a:lnTo>
                        <a:pt x="0" y="49926"/>
                      </a:lnTo>
                      <a:lnTo>
                        <a:pt x="3841" y="53767"/>
                      </a:lnTo>
                      <a:lnTo>
                        <a:pt x="14813" y="53218"/>
                      </a:lnTo>
                      <a:lnTo>
                        <a:pt x="42794" y="41697"/>
                      </a:lnTo>
                      <a:lnTo>
                        <a:pt x="54864" y="27981"/>
                      </a:lnTo>
                      <a:lnTo>
                        <a:pt x="58156" y="20300"/>
                      </a:lnTo>
                      <a:close/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15" name="Group 195">
              <a:extLst>
                <a:ext uri="{FF2B5EF4-FFF2-40B4-BE49-F238E27FC236}">
                  <a16:creationId xmlns:a16="http://schemas.microsoft.com/office/drawing/2014/main" id="{002671AC-3A57-06EF-C0E2-4731D3FD5428}"/>
                </a:ext>
              </a:extLst>
            </p:cNvPr>
            <p:cNvGrpSpPr/>
            <p:nvPr/>
          </p:nvGrpSpPr>
          <p:grpSpPr>
            <a:xfrm>
              <a:off x="4724277" y="3294735"/>
              <a:ext cx="2267516" cy="2258086"/>
              <a:chOff x="4724277" y="3294735"/>
              <a:chExt cx="2267516" cy="2258086"/>
            </a:xfrm>
            <a:grpFill/>
          </p:grpSpPr>
          <p:sp>
            <p:nvSpPr>
              <p:cNvPr id="161" name="Graphic 7">
                <a:extLst>
                  <a:ext uri="{FF2B5EF4-FFF2-40B4-BE49-F238E27FC236}">
                    <a16:creationId xmlns:a16="http://schemas.microsoft.com/office/drawing/2014/main" id="{EF8855EE-75DC-C862-D52C-20C486017B13}"/>
                  </a:ext>
                </a:extLst>
              </p:cNvPr>
              <p:cNvSpPr/>
              <p:nvPr/>
            </p:nvSpPr>
            <p:spPr>
              <a:xfrm>
                <a:off x="6957074" y="3853685"/>
                <a:ext cx="9001" cy="14145"/>
              </a:xfrm>
              <a:custGeom>
                <a:avLst/>
                <a:gdLst>
                  <a:gd name="connsiteX0" fmla="*/ 1097 w 11521"/>
                  <a:gd name="connsiteY0" fmla="*/ 18105 h 18105"/>
                  <a:gd name="connsiteX1" fmla="*/ 1646 w 11521"/>
                  <a:gd name="connsiteY1" fmla="*/ 17008 h 18105"/>
                  <a:gd name="connsiteX2" fmla="*/ 3292 w 11521"/>
                  <a:gd name="connsiteY2" fmla="*/ 16459 h 18105"/>
                  <a:gd name="connsiteX3" fmla="*/ 5486 w 11521"/>
                  <a:gd name="connsiteY3" fmla="*/ 13716 h 18105"/>
                  <a:gd name="connsiteX4" fmla="*/ 5486 w 11521"/>
                  <a:gd name="connsiteY4" fmla="*/ 11521 h 18105"/>
                  <a:gd name="connsiteX5" fmla="*/ 6584 w 11521"/>
                  <a:gd name="connsiteY5" fmla="*/ 10424 h 18105"/>
                  <a:gd name="connsiteX6" fmla="*/ 10973 w 11521"/>
                  <a:gd name="connsiteY6" fmla="*/ 6035 h 18105"/>
                  <a:gd name="connsiteX7" fmla="*/ 11522 w 11521"/>
                  <a:gd name="connsiteY7" fmla="*/ 4389 h 18105"/>
                  <a:gd name="connsiteX8" fmla="*/ 10424 w 11521"/>
                  <a:gd name="connsiteY8" fmla="*/ 4389 h 18105"/>
                  <a:gd name="connsiteX9" fmla="*/ 10973 w 11521"/>
                  <a:gd name="connsiteY9" fmla="*/ 1097 h 18105"/>
                  <a:gd name="connsiteX10" fmla="*/ 10424 w 11521"/>
                  <a:gd name="connsiteY10" fmla="*/ 0 h 18105"/>
                  <a:gd name="connsiteX11" fmla="*/ 8230 w 11521"/>
                  <a:gd name="connsiteY11" fmla="*/ 1097 h 18105"/>
                  <a:gd name="connsiteX12" fmla="*/ 4938 w 11521"/>
                  <a:gd name="connsiteY12" fmla="*/ 8778 h 18105"/>
                  <a:gd name="connsiteX13" fmla="*/ 1097 w 11521"/>
                  <a:gd name="connsiteY13" fmla="*/ 11521 h 18105"/>
                  <a:gd name="connsiteX14" fmla="*/ 1646 w 11521"/>
                  <a:gd name="connsiteY14" fmla="*/ 13167 h 18105"/>
                  <a:gd name="connsiteX15" fmla="*/ 0 w 11521"/>
                  <a:gd name="connsiteY15" fmla="*/ 16459 h 18105"/>
                  <a:gd name="connsiteX16" fmla="*/ 1097 w 11521"/>
                  <a:gd name="connsiteY16" fmla="*/ 18105 h 181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1521" h="18105">
                    <a:moveTo>
                      <a:pt x="1097" y="18105"/>
                    </a:moveTo>
                    <a:lnTo>
                      <a:pt x="1646" y="17008"/>
                    </a:lnTo>
                    <a:lnTo>
                      <a:pt x="3292" y="16459"/>
                    </a:lnTo>
                    <a:lnTo>
                      <a:pt x="5486" y="13716"/>
                    </a:lnTo>
                    <a:lnTo>
                      <a:pt x="5486" y="11521"/>
                    </a:lnTo>
                    <a:lnTo>
                      <a:pt x="6584" y="10424"/>
                    </a:lnTo>
                    <a:lnTo>
                      <a:pt x="10973" y="6035"/>
                    </a:lnTo>
                    <a:lnTo>
                      <a:pt x="11522" y="4389"/>
                    </a:lnTo>
                    <a:lnTo>
                      <a:pt x="10424" y="4389"/>
                    </a:lnTo>
                    <a:lnTo>
                      <a:pt x="10973" y="1097"/>
                    </a:lnTo>
                    <a:lnTo>
                      <a:pt x="10424" y="0"/>
                    </a:lnTo>
                    <a:lnTo>
                      <a:pt x="8230" y="1097"/>
                    </a:lnTo>
                    <a:lnTo>
                      <a:pt x="4938" y="8778"/>
                    </a:lnTo>
                    <a:lnTo>
                      <a:pt x="1097" y="11521"/>
                    </a:lnTo>
                    <a:lnTo>
                      <a:pt x="1646" y="13167"/>
                    </a:lnTo>
                    <a:lnTo>
                      <a:pt x="0" y="16459"/>
                    </a:lnTo>
                    <a:lnTo>
                      <a:pt x="1097" y="18105"/>
                    </a:lnTo>
                  </a:path>
                </a:pathLst>
              </a:custGeom>
              <a:grpFill/>
              <a:ln w="127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grpSp>
            <p:nvGrpSpPr>
              <p:cNvPr id="162" name="Group 197">
                <a:extLst>
                  <a:ext uri="{FF2B5EF4-FFF2-40B4-BE49-F238E27FC236}">
                    <a16:creationId xmlns:a16="http://schemas.microsoft.com/office/drawing/2014/main" id="{2CF5F94E-6EA2-DCB6-2C94-A39FE93B14A8}"/>
                  </a:ext>
                </a:extLst>
              </p:cNvPr>
              <p:cNvGrpSpPr/>
              <p:nvPr/>
            </p:nvGrpSpPr>
            <p:grpSpPr>
              <a:xfrm>
                <a:off x="4724277" y="3294735"/>
                <a:ext cx="2267516" cy="2258086"/>
                <a:chOff x="4724277" y="3294735"/>
                <a:chExt cx="2267516" cy="2258086"/>
              </a:xfrm>
              <a:grpFill/>
            </p:grpSpPr>
            <p:sp>
              <p:nvSpPr>
                <p:cNvPr id="163" name="Graphic 7">
                  <a:extLst>
                    <a:ext uri="{FF2B5EF4-FFF2-40B4-BE49-F238E27FC236}">
                      <a16:creationId xmlns:a16="http://schemas.microsoft.com/office/drawing/2014/main" id="{CD492B9A-562F-2E60-31C8-D9E766483A57}"/>
                    </a:ext>
                  </a:extLst>
                </p:cNvPr>
                <p:cNvSpPr/>
                <p:nvPr/>
              </p:nvSpPr>
              <p:spPr>
                <a:xfrm>
                  <a:off x="6763756" y="3720806"/>
                  <a:ext cx="228037" cy="258899"/>
                </a:xfrm>
                <a:custGeom>
                  <a:avLst/>
                  <a:gdLst>
                    <a:gd name="connsiteX0" fmla="*/ 161849 w 291876"/>
                    <a:gd name="connsiteY0" fmla="*/ 0 h 331378"/>
                    <a:gd name="connsiteX1" fmla="*/ 139354 w 291876"/>
                    <a:gd name="connsiteY1" fmla="*/ 1097 h 331378"/>
                    <a:gd name="connsiteX2" fmla="*/ 143744 w 291876"/>
                    <a:gd name="connsiteY2" fmla="*/ 23043 h 331378"/>
                    <a:gd name="connsiteX3" fmla="*/ 141001 w 291876"/>
                    <a:gd name="connsiteY3" fmla="*/ 26883 h 331378"/>
                    <a:gd name="connsiteX4" fmla="*/ 143744 w 291876"/>
                    <a:gd name="connsiteY4" fmla="*/ 27981 h 331378"/>
                    <a:gd name="connsiteX5" fmla="*/ 146487 w 291876"/>
                    <a:gd name="connsiteY5" fmla="*/ 27432 h 331378"/>
                    <a:gd name="connsiteX6" fmla="*/ 144841 w 291876"/>
                    <a:gd name="connsiteY6" fmla="*/ 35662 h 331378"/>
                    <a:gd name="connsiteX7" fmla="*/ 134417 w 291876"/>
                    <a:gd name="connsiteY7" fmla="*/ 36210 h 331378"/>
                    <a:gd name="connsiteX8" fmla="*/ 120152 w 291876"/>
                    <a:gd name="connsiteY8" fmla="*/ 88880 h 331378"/>
                    <a:gd name="connsiteX9" fmla="*/ 139354 w 291876"/>
                    <a:gd name="connsiteY9" fmla="*/ 117958 h 331378"/>
                    <a:gd name="connsiteX10" fmla="*/ 113020 w 291876"/>
                    <a:gd name="connsiteY10" fmla="*/ 198059 h 331378"/>
                    <a:gd name="connsiteX11" fmla="*/ 0 w 291876"/>
                    <a:gd name="connsiteY11" fmla="*/ 237013 h 331378"/>
                    <a:gd name="connsiteX12" fmla="*/ 38953 w 291876"/>
                    <a:gd name="connsiteY12" fmla="*/ 331378 h 331378"/>
                    <a:gd name="connsiteX13" fmla="*/ 80101 w 291876"/>
                    <a:gd name="connsiteY13" fmla="*/ 316565 h 331378"/>
                    <a:gd name="connsiteX14" fmla="*/ 103144 w 291876"/>
                    <a:gd name="connsiteY14" fmla="*/ 317114 h 331378"/>
                    <a:gd name="connsiteX15" fmla="*/ 105339 w 291876"/>
                    <a:gd name="connsiteY15" fmla="*/ 318211 h 331378"/>
                    <a:gd name="connsiteX16" fmla="*/ 110277 w 291876"/>
                    <a:gd name="connsiteY16" fmla="*/ 318760 h 331378"/>
                    <a:gd name="connsiteX17" fmla="*/ 117958 w 291876"/>
                    <a:gd name="connsiteY17" fmla="*/ 312725 h 331378"/>
                    <a:gd name="connsiteX18" fmla="*/ 123444 w 291876"/>
                    <a:gd name="connsiteY18" fmla="*/ 303946 h 331378"/>
                    <a:gd name="connsiteX19" fmla="*/ 122895 w 291876"/>
                    <a:gd name="connsiteY19" fmla="*/ 295168 h 331378"/>
                    <a:gd name="connsiteX20" fmla="*/ 133319 w 291876"/>
                    <a:gd name="connsiteY20" fmla="*/ 284195 h 331378"/>
                    <a:gd name="connsiteX21" fmla="*/ 153070 w 291876"/>
                    <a:gd name="connsiteY21" fmla="*/ 279806 h 331378"/>
                    <a:gd name="connsiteX22" fmla="*/ 159654 w 291876"/>
                    <a:gd name="connsiteY22" fmla="*/ 280355 h 331378"/>
                    <a:gd name="connsiteX23" fmla="*/ 165141 w 291876"/>
                    <a:gd name="connsiteY23" fmla="*/ 277612 h 331378"/>
                    <a:gd name="connsiteX24" fmla="*/ 171176 w 291876"/>
                    <a:gd name="connsiteY24" fmla="*/ 271028 h 331378"/>
                    <a:gd name="connsiteX25" fmla="*/ 175016 w 291876"/>
                    <a:gd name="connsiteY25" fmla="*/ 255118 h 331378"/>
                    <a:gd name="connsiteX26" fmla="*/ 178857 w 291876"/>
                    <a:gd name="connsiteY26" fmla="*/ 247985 h 331378"/>
                    <a:gd name="connsiteX27" fmla="*/ 184343 w 291876"/>
                    <a:gd name="connsiteY27" fmla="*/ 244145 h 331378"/>
                    <a:gd name="connsiteX28" fmla="*/ 190927 w 291876"/>
                    <a:gd name="connsiteY28" fmla="*/ 241402 h 331378"/>
                    <a:gd name="connsiteX29" fmla="*/ 193121 w 291876"/>
                    <a:gd name="connsiteY29" fmla="*/ 238658 h 331378"/>
                    <a:gd name="connsiteX30" fmla="*/ 197510 w 291876"/>
                    <a:gd name="connsiteY30" fmla="*/ 239756 h 331378"/>
                    <a:gd name="connsiteX31" fmla="*/ 211226 w 291876"/>
                    <a:gd name="connsiteY31" fmla="*/ 238110 h 331378"/>
                    <a:gd name="connsiteX32" fmla="*/ 216164 w 291876"/>
                    <a:gd name="connsiteY32" fmla="*/ 235366 h 331378"/>
                    <a:gd name="connsiteX33" fmla="*/ 217810 w 291876"/>
                    <a:gd name="connsiteY33" fmla="*/ 232075 h 331378"/>
                    <a:gd name="connsiteX34" fmla="*/ 216164 w 291876"/>
                    <a:gd name="connsiteY34" fmla="*/ 224942 h 331378"/>
                    <a:gd name="connsiteX35" fmla="*/ 214518 w 291876"/>
                    <a:gd name="connsiteY35" fmla="*/ 223297 h 331378"/>
                    <a:gd name="connsiteX36" fmla="*/ 213970 w 291876"/>
                    <a:gd name="connsiteY36" fmla="*/ 208483 h 331378"/>
                    <a:gd name="connsiteX37" fmla="*/ 215067 w 291876"/>
                    <a:gd name="connsiteY37" fmla="*/ 201351 h 331378"/>
                    <a:gd name="connsiteX38" fmla="*/ 214518 w 291876"/>
                    <a:gd name="connsiteY38" fmla="*/ 195316 h 331378"/>
                    <a:gd name="connsiteX39" fmla="*/ 228783 w 291876"/>
                    <a:gd name="connsiteY39" fmla="*/ 176662 h 331378"/>
                    <a:gd name="connsiteX40" fmla="*/ 232075 w 291876"/>
                    <a:gd name="connsiteY40" fmla="*/ 174467 h 331378"/>
                    <a:gd name="connsiteX41" fmla="*/ 233721 w 291876"/>
                    <a:gd name="connsiteY41" fmla="*/ 176113 h 331378"/>
                    <a:gd name="connsiteX42" fmla="*/ 235366 w 291876"/>
                    <a:gd name="connsiteY42" fmla="*/ 179405 h 331378"/>
                    <a:gd name="connsiteX43" fmla="*/ 237013 w 291876"/>
                    <a:gd name="connsiteY43" fmla="*/ 180502 h 331378"/>
                    <a:gd name="connsiteX44" fmla="*/ 241402 w 291876"/>
                    <a:gd name="connsiteY44" fmla="*/ 181600 h 331378"/>
                    <a:gd name="connsiteX45" fmla="*/ 243047 w 291876"/>
                    <a:gd name="connsiteY45" fmla="*/ 179954 h 331378"/>
                    <a:gd name="connsiteX46" fmla="*/ 261701 w 291876"/>
                    <a:gd name="connsiteY46" fmla="*/ 149230 h 331378"/>
                    <a:gd name="connsiteX47" fmla="*/ 271577 w 291876"/>
                    <a:gd name="connsiteY47" fmla="*/ 141549 h 331378"/>
                    <a:gd name="connsiteX48" fmla="*/ 288036 w 291876"/>
                    <a:gd name="connsiteY48" fmla="*/ 115214 h 331378"/>
                    <a:gd name="connsiteX49" fmla="*/ 291877 w 291876"/>
                    <a:gd name="connsiteY49" fmla="*/ 99304 h 331378"/>
                    <a:gd name="connsiteX50" fmla="*/ 289682 w 291876"/>
                    <a:gd name="connsiteY50" fmla="*/ 96012 h 331378"/>
                    <a:gd name="connsiteX51" fmla="*/ 286939 w 291876"/>
                    <a:gd name="connsiteY51" fmla="*/ 94366 h 331378"/>
                    <a:gd name="connsiteX52" fmla="*/ 285841 w 291876"/>
                    <a:gd name="connsiteY52" fmla="*/ 92171 h 331378"/>
                    <a:gd name="connsiteX53" fmla="*/ 277612 w 291876"/>
                    <a:gd name="connsiteY53" fmla="*/ 91074 h 331378"/>
                    <a:gd name="connsiteX54" fmla="*/ 270479 w 291876"/>
                    <a:gd name="connsiteY54" fmla="*/ 85039 h 331378"/>
                    <a:gd name="connsiteX55" fmla="*/ 267736 w 291876"/>
                    <a:gd name="connsiteY55" fmla="*/ 76810 h 331378"/>
                    <a:gd name="connsiteX56" fmla="*/ 261701 w 291876"/>
                    <a:gd name="connsiteY56" fmla="*/ 71323 h 331378"/>
                    <a:gd name="connsiteX57" fmla="*/ 260604 w 291876"/>
                    <a:gd name="connsiteY57" fmla="*/ 68031 h 331378"/>
                    <a:gd name="connsiteX58" fmla="*/ 250729 w 291876"/>
                    <a:gd name="connsiteY58" fmla="*/ 54864 h 331378"/>
                    <a:gd name="connsiteX59" fmla="*/ 242499 w 291876"/>
                    <a:gd name="connsiteY59" fmla="*/ 51023 h 331378"/>
                    <a:gd name="connsiteX60" fmla="*/ 237561 w 291876"/>
                    <a:gd name="connsiteY60" fmla="*/ 51023 h 331378"/>
                    <a:gd name="connsiteX61" fmla="*/ 227137 w 291876"/>
                    <a:gd name="connsiteY61" fmla="*/ 45537 h 331378"/>
                    <a:gd name="connsiteX62" fmla="*/ 215615 w 291876"/>
                    <a:gd name="connsiteY62" fmla="*/ 44440 h 331378"/>
                    <a:gd name="connsiteX63" fmla="*/ 195316 w 291876"/>
                    <a:gd name="connsiteY63" fmla="*/ 36210 h 331378"/>
                    <a:gd name="connsiteX64" fmla="*/ 187635 w 291876"/>
                    <a:gd name="connsiteY64" fmla="*/ 30175 h 331378"/>
                    <a:gd name="connsiteX65" fmla="*/ 182149 w 291876"/>
                    <a:gd name="connsiteY65" fmla="*/ 28529 h 331378"/>
                    <a:gd name="connsiteX66" fmla="*/ 172273 w 291876"/>
                    <a:gd name="connsiteY66" fmla="*/ 16459 h 331378"/>
                    <a:gd name="connsiteX67" fmla="*/ 171176 w 291876"/>
                    <a:gd name="connsiteY67" fmla="*/ 14265 h 331378"/>
                    <a:gd name="connsiteX68" fmla="*/ 164592 w 291876"/>
                    <a:gd name="connsiteY68" fmla="*/ 8778 h 331378"/>
                    <a:gd name="connsiteX69" fmla="*/ 161849 w 291876"/>
                    <a:gd name="connsiteY69" fmla="*/ 0 h 3313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</a:cxnLst>
                  <a:rect l="l" t="t" r="r" b="b"/>
                  <a:pathLst>
                    <a:path w="291876" h="331378">
                      <a:moveTo>
                        <a:pt x="161849" y="0"/>
                      </a:moveTo>
                      <a:lnTo>
                        <a:pt x="139354" y="1097"/>
                      </a:lnTo>
                      <a:lnTo>
                        <a:pt x="143744" y="23043"/>
                      </a:lnTo>
                      <a:lnTo>
                        <a:pt x="141001" y="26883"/>
                      </a:lnTo>
                      <a:lnTo>
                        <a:pt x="143744" y="27981"/>
                      </a:lnTo>
                      <a:lnTo>
                        <a:pt x="146487" y="27432"/>
                      </a:lnTo>
                      <a:lnTo>
                        <a:pt x="144841" y="35662"/>
                      </a:lnTo>
                      <a:lnTo>
                        <a:pt x="134417" y="36210"/>
                      </a:lnTo>
                      <a:lnTo>
                        <a:pt x="120152" y="88880"/>
                      </a:lnTo>
                      <a:lnTo>
                        <a:pt x="139354" y="117958"/>
                      </a:lnTo>
                      <a:lnTo>
                        <a:pt x="113020" y="198059"/>
                      </a:lnTo>
                      <a:lnTo>
                        <a:pt x="0" y="237013"/>
                      </a:lnTo>
                      <a:lnTo>
                        <a:pt x="38953" y="331378"/>
                      </a:lnTo>
                      <a:lnTo>
                        <a:pt x="80101" y="316565"/>
                      </a:lnTo>
                      <a:lnTo>
                        <a:pt x="103144" y="317114"/>
                      </a:lnTo>
                      <a:lnTo>
                        <a:pt x="105339" y="318211"/>
                      </a:lnTo>
                      <a:lnTo>
                        <a:pt x="110277" y="318760"/>
                      </a:lnTo>
                      <a:lnTo>
                        <a:pt x="117958" y="312725"/>
                      </a:lnTo>
                      <a:lnTo>
                        <a:pt x="123444" y="303946"/>
                      </a:lnTo>
                      <a:lnTo>
                        <a:pt x="122895" y="295168"/>
                      </a:lnTo>
                      <a:lnTo>
                        <a:pt x="133319" y="284195"/>
                      </a:lnTo>
                      <a:lnTo>
                        <a:pt x="153070" y="279806"/>
                      </a:lnTo>
                      <a:lnTo>
                        <a:pt x="159654" y="280355"/>
                      </a:lnTo>
                      <a:lnTo>
                        <a:pt x="165141" y="277612"/>
                      </a:lnTo>
                      <a:lnTo>
                        <a:pt x="171176" y="271028"/>
                      </a:lnTo>
                      <a:lnTo>
                        <a:pt x="175016" y="255118"/>
                      </a:lnTo>
                      <a:lnTo>
                        <a:pt x="178857" y="247985"/>
                      </a:lnTo>
                      <a:lnTo>
                        <a:pt x="184343" y="244145"/>
                      </a:lnTo>
                      <a:lnTo>
                        <a:pt x="190927" y="241402"/>
                      </a:lnTo>
                      <a:lnTo>
                        <a:pt x="193121" y="238658"/>
                      </a:lnTo>
                      <a:lnTo>
                        <a:pt x="197510" y="239756"/>
                      </a:lnTo>
                      <a:lnTo>
                        <a:pt x="211226" y="238110"/>
                      </a:lnTo>
                      <a:lnTo>
                        <a:pt x="216164" y="235366"/>
                      </a:lnTo>
                      <a:lnTo>
                        <a:pt x="217810" y="232075"/>
                      </a:lnTo>
                      <a:lnTo>
                        <a:pt x="216164" y="224942"/>
                      </a:lnTo>
                      <a:lnTo>
                        <a:pt x="214518" y="223297"/>
                      </a:lnTo>
                      <a:lnTo>
                        <a:pt x="213970" y="208483"/>
                      </a:lnTo>
                      <a:lnTo>
                        <a:pt x="215067" y="201351"/>
                      </a:lnTo>
                      <a:lnTo>
                        <a:pt x="214518" y="195316"/>
                      </a:lnTo>
                      <a:lnTo>
                        <a:pt x="228783" y="176662"/>
                      </a:lnTo>
                      <a:lnTo>
                        <a:pt x="232075" y="174467"/>
                      </a:lnTo>
                      <a:lnTo>
                        <a:pt x="233721" y="176113"/>
                      </a:lnTo>
                      <a:lnTo>
                        <a:pt x="235366" y="179405"/>
                      </a:lnTo>
                      <a:lnTo>
                        <a:pt x="237013" y="180502"/>
                      </a:lnTo>
                      <a:lnTo>
                        <a:pt x="241402" y="181600"/>
                      </a:lnTo>
                      <a:lnTo>
                        <a:pt x="243047" y="179954"/>
                      </a:lnTo>
                      <a:lnTo>
                        <a:pt x="261701" y="149230"/>
                      </a:lnTo>
                      <a:lnTo>
                        <a:pt x="271577" y="141549"/>
                      </a:lnTo>
                      <a:lnTo>
                        <a:pt x="288036" y="115214"/>
                      </a:lnTo>
                      <a:lnTo>
                        <a:pt x="291877" y="99304"/>
                      </a:lnTo>
                      <a:lnTo>
                        <a:pt x="289682" y="96012"/>
                      </a:lnTo>
                      <a:lnTo>
                        <a:pt x="286939" y="94366"/>
                      </a:lnTo>
                      <a:lnTo>
                        <a:pt x="285841" y="92171"/>
                      </a:lnTo>
                      <a:lnTo>
                        <a:pt x="277612" y="91074"/>
                      </a:lnTo>
                      <a:lnTo>
                        <a:pt x="270479" y="85039"/>
                      </a:lnTo>
                      <a:lnTo>
                        <a:pt x="267736" y="76810"/>
                      </a:lnTo>
                      <a:lnTo>
                        <a:pt x="261701" y="71323"/>
                      </a:lnTo>
                      <a:lnTo>
                        <a:pt x="260604" y="68031"/>
                      </a:lnTo>
                      <a:lnTo>
                        <a:pt x="250729" y="54864"/>
                      </a:lnTo>
                      <a:lnTo>
                        <a:pt x="242499" y="51023"/>
                      </a:lnTo>
                      <a:lnTo>
                        <a:pt x="237561" y="51023"/>
                      </a:lnTo>
                      <a:lnTo>
                        <a:pt x="227137" y="45537"/>
                      </a:lnTo>
                      <a:lnTo>
                        <a:pt x="215615" y="44440"/>
                      </a:lnTo>
                      <a:lnTo>
                        <a:pt x="195316" y="36210"/>
                      </a:lnTo>
                      <a:lnTo>
                        <a:pt x="187635" y="30175"/>
                      </a:lnTo>
                      <a:lnTo>
                        <a:pt x="182149" y="28529"/>
                      </a:lnTo>
                      <a:lnTo>
                        <a:pt x="172273" y="16459"/>
                      </a:lnTo>
                      <a:lnTo>
                        <a:pt x="171176" y="14265"/>
                      </a:lnTo>
                      <a:lnTo>
                        <a:pt x="164592" y="8778"/>
                      </a:lnTo>
                      <a:lnTo>
                        <a:pt x="161849" y="0"/>
                      </a:lnTo>
                      <a:close/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4" name="Graphic 7">
                  <a:extLst>
                    <a:ext uri="{FF2B5EF4-FFF2-40B4-BE49-F238E27FC236}">
                      <a16:creationId xmlns:a16="http://schemas.microsoft.com/office/drawing/2014/main" id="{4DBD77FF-8EEE-815C-6383-ED298CFA5EA7}"/>
                    </a:ext>
                  </a:extLst>
                </p:cNvPr>
                <p:cNvSpPr/>
                <p:nvPr/>
              </p:nvSpPr>
              <p:spPr>
                <a:xfrm>
                  <a:off x="6253244" y="3476908"/>
                  <a:ext cx="619387" cy="508798"/>
                </a:xfrm>
                <a:custGeom>
                  <a:avLst/>
                  <a:gdLst>
                    <a:gd name="connsiteX0" fmla="*/ 631485 w 792784"/>
                    <a:gd name="connsiteY0" fmla="*/ 320406 h 651235"/>
                    <a:gd name="connsiteX1" fmla="*/ 628742 w 792784"/>
                    <a:gd name="connsiteY1" fmla="*/ 324246 h 651235"/>
                    <a:gd name="connsiteX2" fmla="*/ 629290 w 792784"/>
                    <a:gd name="connsiteY2" fmla="*/ 326441 h 651235"/>
                    <a:gd name="connsiteX3" fmla="*/ 631485 w 792784"/>
                    <a:gd name="connsiteY3" fmla="*/ 328087 h 651235"/>
                    <a:gd name="connsiteX4" fmla="*/ 629290 w 792784"/>
                    <a:gd name="connsiteY4" fmla="*/ 331379 h 651235"/>
                    <a:gd name="connsiteX5" fmla="*/ 628742 w 792784"/>
                    <a:gd name="connsiteY5" fmla="*/ 336316 h 651235"/>
                    <a:gd name="connsiteX6" fmla="*/ 634776 w 792784"/>
                    <a:gd name="connsiteY6" fmla="*/ 335768 h 651235"/>
                    <a:gd name="connsiteX7" fmla="*/ 638068 w 792784"/>
                    <a:gd name="connsiteY7" fmla="*/ 337962 h 651235"/>
                    <a:gd name="connsiteX8" fmla="*/ 638068 w 792784"/>
                    <a:gd name="connsiteY8" fmla="*/ 343449 h 651235"/>
                    <a:gd name="connsiteX9" fmla="*/ 675376 w 792784"/>
                    <a:gd name="connsiteY9" fmla="*/ 391729 h 651235"/>
                    <a:gd name="connsiteX10" fmla="*/ 770839 w 792784"/>
                    <a:gd name="connsiteY10" fmla="*/ 403799 h 651235"/>
                    <a:gd name="connsiteX11" fmla="*/ 773582 w 792784"/>
                    <a:gd name="connsiteY11" fmla="*/ 401056 h 651235"/>
                    <a:gd name="connsiteX12" fmla="*/ 773582 w 792784"/>
                    <a:gd name="connsiteY12" fmla="*/ 402153 h 651235"/>
                    <a:gd name="connsiteX13" fmla="*/ 792785 w 792784"/>
                    <a:gd name="connsiteY13" fmla="*/ 430134 h 651235"/>
                    <a:gd name="connsiteX14" fmla="*/ 766450 w 792784"/>
                    <a:gd name="connsiteY14" fmla="*/ 510235 h 651235"/>
                    <a:gd name="connsiteX15" fmla="*/ 653430 w 792784"/>
                    <a:gd name="connsiteY15" fmla="*/ 549737 h 651235"/>
                    <a:gd name="connsiteX16" fmla="*/ 653430 w 792784"/>
                    <a:gd name="connsiteY16" fmla="*/ 549189 h 651235"/>
                    <a:gd name="connsiteX17" fmla="*/ 543702 w 792784"/>
                    <a:gd name="connsiteY17" fmla="*/ 565648 h 651235"/>
                    <a:gd name="connsiteX18" fmla="*/ 509687 w 792784"/>
                    <a:gd name="connsiteY18" fmla="*/ 582107 h 651235"/>
                    <a:gd name="connsiteX19" fmla="*/ 487741 w 792784"/>
                    <a:gd name="connsiteY19" fmla="*/ 611185 h 651235"/>
                    <a:gd name="connsiteX20" fmla="*/ 484449 w 792784"/>
                    <a:gd name="connsiteY20" fmla="*/ 624352 h 651235"/>
                    <a:gd name="connsiteX21" fmla="*/ 471830 w 792784"/>
                    <a:gd name="connsiteY21" fmla="*/ 630936 h 651235"/>
                    <a:gd name="connsiteX22" fmla="*/ 465795 w 792784"/>
                    <a:gd name="connsiteY22" fmla="*/ 630936 h 651235"/>
                    <a:gd name="connsiteX23" fmla="*/ 456468 w 792784"/>
                    <a:gd name="connsiteY23" fmla="*/ 614477 h 651235"/>
                    <a:gd name="connsiteX24" fmla="*/ 365394 w 792784"/>
                    <a:gd name="connsiteY24" fmla="*/ 611185 h 651235"/>
                    <a:gd name="connsiteX25" fmla="*/ 347289 w 792784"/>
                    <a:gd name="connsiteY25" fmla="*/ 624352 h 651235"/>
                    <a:gd name="connsiteX26" fmla="*/ 332476 w 792784"/>
                    <a:gd name="connsiteY26" fmla="*/ 625998 h 651235"/>
                    <a:gd name="connsiteX27" fmla="*/ 328635 w 792784"/>
                    <a:gd name="connsiteY27" fmla="*/ 628742 h 651235"/>
                    <a:gd name="connsiteX28" fmla="*/ 326441 w 792784"/>
                    <a:gd name="connsiteY28" fmla="*/ 633679 h 651235"/>
                    <a:gd name="connsiteX29" fmla="*/ 316565 w 792784"/>
                    <a:gd name="connsiteY29" fmla="*/ 639166 h 651235"/>
                    <a:gd name="connsiteX30" fmla="*/ 315468 w 792784"/>
                    <a:gd name="connsiteY30" fmla="*/ 644652 h 651235"/>
                    <a:gd name="connsiteX31" fmla="*/ 311627 w 792784"/>
                    <a:gd name="connsiteY31" fmla="*/ 647944 h 651235"/>
                    <a:gd name="connsiteX32" fmla="*/ 304495 w 792784"/>
                    <a:gd name="connsiteY32" fmla="*/ 651236 h 651235"/>
                    <a:gd name="connsiteX33" fmla="*/ 304495 w 792784"/>
                    <a:gd name="connsiteY33" fmla="*/ 651236 h 651235"/>
                    <a:gd name="connsiteX34" fmla="*/ 302849 w 792784"/>
                    <a:gd name="connsiteY34" fmla="*/ 646298 h 651235"/>
                    <a:gd name="connsiteX35" fmla="*/ 302849 w 792784"/>
                    <a:gd name="connsiteY35" fmla="*/ 639714 h 651235"/>
                    <a:gd name="connsiteX36" fmla="*/ 294620 w 792784"/>
                    <a:gd name="connsiteY36" fmla="*/ 625450 h 651235"/>
                    <a:gd name="connsiteX37" fmla="*/ 291876 w 792784"/>
                    <a:gd name="connsiteY37" fmla="*/ 623804 h 651235"/>
                    <a:gd name="connsiteX38" fmla="*/ 289133 w 792784"/>
                    <a:gd name="connsiteY38" fmla="*/ 619963 h 651235"/>
                    <a:gd name="connsiteX39" fmla="*/ 286390 w 792784"/>
                    <a:gd name="connsiteY39" fmla="*/ 607893 h 651235"/>
                    <a:gd name="connsiteX40" fmla="*/ 273771 w 792784"/>
                    <a:gd name="connsiteY40" fmla="*/ 595823 h 651235"/>
                    <a:gd name="connsiteX41" fmla="*/ 268285 w 792784"/>
                    <a:gd name="connsiteY41" fmla="*/ 592531 h 651235"/>
                    <a:gd name="connsiteX42" fmla="*/ 249631 w 792784"/>
                    <a:gd name="connsiteY42" fmla="*/ 562905 h 651235"/>
                    <a:gd name="connsiteX43" fmla="*/ 246888 w 792784"/>
                    <a:gd name="connsiteY43" fmla="*/ 560710 h 651235"/>
                    <a:gd name="connsiteX44" fmla="*/ 245791 w 792784"/>
                    <a:gd name="connsiteY44" fmla="*/ 559064 h 651235"/>
                    <a:gd name="connsiteX45" fmla="*/ 243047 w 792784"/>
                    <a:gd name="connsiteY45" fmla="*/ 543154 h 651235"/>
                    <a:gd name="connsiteX46" fmla="*/ 220553 w 792784"/>
                    <a:gd name="connsiteY46" fmla="*/ 510235 h 651235"/>
                    <a:gd name="connsiteX47" fmla="*/ 201351 w 792784"/>
                    <a:gd name="connsiteY47" fmla="*/ 496519 h 651235"/>
                    <a:gd name="connsiteX48" fmla="*/ 199705 w 792784"/>
                    <a:gd name="connsiteY48" fmla="*/ 497068 h 651235"/>
                    <a:gd name="connsiteX49" fmla="*/ 185989 w 792784"/>
                    <a:gd name="connsiteY49" fmla="*/ 489935 h 651235"/>
                    <a:gd name="connsiteX50" fmla="*/ 177759 w 792784"/>
                    <a:gd name="connsiteY50" fmla="*/ 481706 h 651235"/>
                    <a:gd name="connsiteX51" fmla="*/ 166787 w 792784"/>
                    <a:gd name="connsiteY51" fmla="*/ 437815 h 651235"/>
                    <a:gd name="connsiteX52" fmla="*/ 164592 w 792784"/>
                    <a:gd name="connsiteY52" fmla="*/ 433426 h 651235"/>
                    <a:gd name="connsiteX53" fmla="*/ 164043 w 792784"/>
                    <a:gd name="connsiteY53" fmla="*/ 429585 h 651235"/>
                    <a:gd name="connsiteX54" fmla="*/ 165689 w 792784"/>
                    <a:gd name="connsiteY54" fmla="*/ 427939 h 651235"/>
                    <a:gd name="connsiteX55" fmla="*/ 167884 w 792784"/>
                    <a:gd name="connsiteY55" fmla="*/ 413675 h 651235"/>
                    <a:gd name="connsiteX56" fmla="*/ 162946 w 792784"/>
                    <a:gd name="connsiteY56" fmla="*/ 399410 h 651235"/>
                    <a:gd name="connsiteX57" fmla="*/ 160203 w 792784"/>
                    <a:gd name="connsiteY57" fmla="*/ 396118 h 651235"/>
                    <a:gd name="connsiteX58" fmla="*/ 142098 w 792784"/>
                    <a:gd name="connsiteY58" fmla="*/ 356616 h 651235"/>
                    <a:gd name="connsiteX59" fmla="*/ 123993 w 792784"/>
                    <a:gd name="connsiteY59" fmla="*/ 340157 h 651235"/>
                    <a:gd name="connsiteX60" fmla="*/ 121798 w 792784"/>
                    <a:gd name="connsiteY60" fmla="*/ 339608 h 651235"/>
                    <a:gd name="connsiteX61" fmla="*/ 120701 w 792784"/>
                    <a:gd name="connsiteY61" fmla="*/ 337962 h 651235"/>
                    <a:gd name="connsiteX62" fmla="*/ 115763 w 792784"/>
                    <a:gd name="connsiteY62" fmla="*/ 334670 h 651235"/>
                    <a:gd name="connsiteX63" fmla="*/ 111374 w 792784"/>
                    <a:gd name="connsiteY63" fmla="*/ 334670 h 651235"/>
                    <a:gd name="connsiteX64" fmla="*/ 109179 w 792784"/>
                    <a:gd name="connsiteY64" fmla="*/ 335768 h 651235"/>
                    <a:gd name="connsiteX65" fmla="*/ 105887 w 792784"/>
                    <a:gd name="connsiteY65" fmla="*/ 334122 h 651235"/>
                    <a:gd name="connsiteX66" fmla="*/ 104790 w 792784"/>
                    <a:gd name="connsiteY66" fmla="*/ 329184 h 651235"/>
                    <a:gd name="connsiteX67" fmla="*/ 97109 w 792784"/>
                    <a:gd name="connsiteY67" fmla="*/ 318760 h 651235"/>
                    <a:gd name="connsiteX68" fmla="*/ 97109 w 792784"/>
                    <a:gd name="connsiteY68" fmla="*/ 312176 h 651235"/>
                    <a:gd name="connsiteX69" fmla="*/ 97658 w 792784"/>
                    <a:gd name="connsiteY69" fmla="*/ 310530 h 651235"/>
                    <a:gd name="connsiteX70" fmla="*/ 82845 w 792784"/>
                    <a:gd name="connsiteY70" fmla="*/ 276515 h 651235"/>
                    <a:gd name="connsiteX71" fmla="*/ 76810 w 792784"/>
                    <a:gd name="connsiteY71" fmla="*/ 273772 h 651235"/>
                    <a:gd name="connsiteX72" fmla="*/ 75164 w 792784"/>
                    <a:gd name="connsiteY72" fmla="*/ 271028 h 651235"/>
                    <a:gd name="connsiteX73" fmla="*/ 74066 w 792784"/>
                    <a:gd name="connsiteY73" fmla="*/ 266090 h 651235"/>
                    <a:gd name="connsiteX74" fmla="*/ 65837 w 792784"/>
                    <a:gd name="connsiteY74" fmla="*/ 256215 h 651235"/>
                    <a:gd name="connsiteX75" fmla="*/ 59802 w 792784"/>
                    <a:gd name="connsiteY75" fmla="*/ 239756 h 651235"/>
                    <a:gd name="connsiteX76" fmla="*/ 55413 w 792784"/>
                    <a:gd name="connsiteY76" fmla="*/ 234269 h 651235"/>
                    <a:gd name="connsiteX77" fmla="*/ 50475 w 792784"/>
                    <a:gd name="connsiteY77" fmla="*/ 230429 h 651235"/>
                    <a:gd name="connsiteX78" fmla="*/ 41697 w 792784"/>
                    <a:gd name="connsiteY78" fmla="*/ 218908 h 651235"/>
                    <a:gd name="connsiteX79" fmla="*/ 41148 w 792784"/>
                    <a:gd name="connsiteY79" fmla="*/ 215067 h 651235"/>
                    <a:gd name="connsiteX80" fmla="*/ 21397 w 792784"/>
                    <a:gd name="connsiteY80" fmla="*/ 179954 h 651235"/>
                    <a:gd name="connsiteX81" fmla="*/ 17556 w 792784"/>
                    <a:gd name="connsiteY81" fmla="*/ 177211 h 651235"/>
                    <a:gd name="connsiteX82" fmla="*/ 6035 w 792784"/>
                    <a:gd name="connsiteY82" fmla="*/ 176662 h 651235"/>
                    <a:gd name="connsiteX83" fmla="*/ 4938 w 792784"/>
                    <a:gd name="connsiteY83" fmla="*/ 175565 h 651235"/>
                    <a:gd name="connsiteX84" fmla="*/ 1646 w 792784"/>
                    <a:gd name="connsiteY84" fmla="*/ 176662 h 651235"/>
                    <a:gd name="connsiteX85" fmla="*/ 0 w 792784"/>
                    <a:gd name="connsiteY85" fmla="*/ 179405 h 651235"/>
                    <a:gd name="connsiteX86" fmla="*/ 7681 w 792784"/>
                    <a:gd name="connsiteY86" fmla="*/ 159654 h 651235"/>
                    <a:gd name="connsiteX87" fmla="*/ 9327 w 792784"/>
                    <a:gd name="connsiteY87" fmla="*/ 139355 h 651235"/>
                    <a:gd name="connsiteX88" fmla="*/ 12619 w 792784"/>
                    <a:gd name="connsiteY88" fmla="*/ 132222 h 651235"/>
                    <a:gd name="connsiteX89" fmla="*/ 12070 w 792784"/>
                    <a:gd name="connsiteY89" fmla="*/ 121798 h 651235"/>
                    <a:gd name="connsiteX90" fmla="*/ 13716 w 792784"/>
                    <a:gd name="connsiteY90" fmla="*/ 127833 h 651235"/>
                    <a:gd name="connsiteX91" fmla="*/ 55413 w 792784"/>
                    <a:gd name="connsiteY91" fmla="*/ 133319 h 651235"/>
                    <a:gd name="connsiteX92" fmla="*/ 67483 w 792784"/>
                    <a:gd name="connsiteY92" fmla="*/ 121250 h 651235"/>
                    <a:gd name="connsiteX93" fmla="*/ 77907 w 792784"/>
                    <a:gd name="connsiteY93" fmla="*/ 101498 h 651235"/>
                    <a:gd name="connsiteX94" fmla="*/ 106436 w 792784"/>
                    <a:gd name="connsiteY94" fmla="*/ 97109 h 651235"/>
                    <a:gd name="connsiteX95" fmla="*/ 111923 w 792784"/>
                    <a:gd name="connsiteY95" fmla="*/ 79553 h 651235"/>
                    <a:gd name="connsiteX96" fmla="*/ 127284 w 792784"/>
                    <a:gd name="connsiteY96" fmla="*/ 71323 h 651235"/>
                    <a:gd name="connsiteX97" fmla="*/ 127833 w 792784"/>
                    <a:gd name="connsiteY97" fmla="*/ 70226 h 651235"/>
                    <a:gd name="connsiteX98" fmla="*/ 86136 w 792784"/>
                    <a:gd name="connsiteY98" fmla="*/ 29078 h 651235"/>
                    <a:gd name="connsiteX99" fmla="*/ 159106 w 792784"/>
                    <a:gd name="connsiteY99" fmla="*/ 13716 h 651235"/>
                    <a:gd name="connsiteX100" fmla="*/ 170078 w 792784"/>
                    <a:gd name="connsiteY100" fmla="*/ 0 h 651235"/>
                    <a:gd name="connsiteX101" fmla="*/ 312176 w 792784"/>
                    <a:gd name="connsiteY101" fmla="*/ 65288 h 651235"/>
                    <a:gd name="connsiteX102" fmla="*/ 317663 w 792784"/>
                    <a:gd name="connsiteY102" fmla="*/ 78455 h 651235"/>
                    <a:gd name="connsiteX103" fmla="*/ 337414 w 792784"/>
                    <a:gd name="connsiteY103" fmla="*/ 80102 h 651235"/>
                    <a:gd name="connsiteX104" fmla="*/ 339059 w 792784"/>
                    <a:gd name="connsiteY104" fmla="*/ 81747 h 651235"/>
                    <a:gd name="connsiteX105" fmla="*/ 339059 w 792784"/>
                    <a:gd name="connsiteY105" fmla="*/ 108631 h 651235"/>
                    <a:gd name="connsiteX106" fmla="*/ 340705 w 792784"/>
                    <a:gd name="connsiteY106" fmla="*/ 110825 h 651235"/>
                    <a:gd name="connsiteX107" fmla="*/ 383499 w 792784"/>
                    <a:gd name="connsiteY107" fmla="*/ 130028 h 651235"/>
                    <a:gd name="connsiteX108" fmla="*/ 450434 w 792784"/>
                    <a:gd name="connsiteY108" fmla="*/ 133868 h 651235"/>
                    <a:gd name="connsiteX109" fmla="*/ 482255 w 792784"/>
                    <a:gd name="connsiteY109" fmla="*/ 143195 h 651235"/>
                    <a:gd name="connsiteX110" fmla="*/ 487192 w 792784"/>
                    <a:gd name="connsiteY110" fmla="*/ 147584 h 651235"/>
                    <a:gd name="connsiteX111" fmla="*/ 493227 w 792784"/>
                    <a:gd name="connsiteY111" fmla="*/ 158557 h 651235"/>
                    <a:gd name="connsiteX112" fmla="*/ 516270 w 792784"/>
                    <a:gd name="connsiteY112" fmla="*/ 158557 h 651235"/>
                    <a:gd name="connsiteX113" fmla="*/ 531632 w 792784"/>
                    <a:gd name="connsiteY113" fmla="*/ 188183 h 651235"/>
                    <a:gd name="connsiteX114" fmla="*/ 537667 w 792784"/>
                    <a:gd name="connsiteY114" fmla="*/ 190378 h 651235"/>
                    <a:gd name="connsiteX115" fmla="*/ 541508 w 792784"/>
                    <a:gd name="connsiteY115" fmla="*/ 198608 h 651235"/>
                    <a:gd name="connsiteX116" fmla="*/ 551383 w 792784"/>
                    <a:gd name="connsiteY116" fmla="*/ 205740 h 651235"/>
                    <a:gd name="connsiteX117" fmla="*/ 551383 w 792784"/>
                    <a:gd name="connsiteY117" fmla="*/ 206289 h 651235"/>
                    <a:gd name="connsiteX118" fmla="*/ 549737 w 792784"/>
                    <a:gd name="connsiteY118" fmla="*/ 208483 h 651235"/>
                    <a:gd name="connsiteX119" fmla="*/ 551383 w 792784"/>
                    <a:gd name="connsiteY119" fmla="*/ 211226 h 651235"/>
                    <a:gd name="connsiteX120" fmla="*/ 553029 w 792784"/>
                    <a:gd name="connsiteY120" fmla="*/ 217810 h 651235"/>
                    <a:gd name="connsiteX121" fmla="*/ 559064 w 792784"/>
                    <a:gd name="connsiteY121" fmla="*/ 219456 h 651235"/>
                    <a:gd name="connsiteX122" fmla="*/ 577169 w 792784"/>
                    <a:gd name="connsiteY122" fmla="*/ 232624 h 651235"/>
                    <a:gd name="connsiteX123" fmla="*/ 580461 w 792784"/>
                    <a:gd name="connsiteY123" fmla="*/ 238110 h 651235"/>
                    <a:gd name="connsiteX124" fmla="*/ 579364 w 792784"/>
                    <a:gd name="connsiteY124" fmla="*/ 245242 h 651235"/>
                    <a:gd name="connsiteX125" fmla="*/ 584302 w 792784"/>
                    <a:gd name="connsiteY125" fmla="*/ 252374 h 651235"/>
                    <a:gd name="connsiteX126" fmla="*/ 585399 w 792784"/>
                    <a:gd name="connsiteY126" fmla="*/ 257861 h 651235"/>
                    <a:gd name="connsiteX127" fmla="*/ 585399 w 792784"/>
                    <a:gd name="connsiteY127" fmla="*/ 260604 h 651235"/>
                    <a:gd name="connsiteX128" fmla="*/ 582107 w 792784"/>
                    <a:gd name="connsiteY128" fmla="*/ 264993 h 651235"/>
                    <a:gd name="connsiteX129" fmla="*/ 582107 w 792784"/>
                    <a:gd name="connsiteY129" fmla="*/ 273223 h 651235"/>
                    <a:gd name="connsiteX130" fmla="*/ 596920 w 792784"/>
                    <a:gd name="connsiteY130" fmla="*/ 290779 h 651235"/>
                    <a:gd name="connsiteX131" fmla="*/ 599115 w 792784"/>
                    <a:gd name="connsiteY131" fmla="*/ 303947 h 651235"/>
                    <a:gd name="connsiteX132" fmla="*/ 602955 w 792784"/>
                    <a:gd name="connsiteY132" fmla="*/ 308336 h 651235"/>
                    <a:gd name="connsiteX133" fmla="*/ 603504 w 792784"/>
                    <a:gd name="connsiteY133" fmla="*/ 312176 h 651235"/>
                    <a:gd name="connsiteX134" fmla="*/ 605150 w 792784"/>
                    <a:gd name="connsiteY134" fmla="*/ 313822 h 651235"/>
                    <a:gd name="connsiteX135" fmla="*/ 606247 w 792784"/>
                    <a:gd name="connsiteY135" fmla="*/ 317663 h 651235"/>
                    <a:gd name="connsiteX136" fmla="*/ 607893 w 792784"/>
                    <a:gd name="connsiteY136" fmla="*/ 317663 h 651235"/>
                    <a:gd name="connsiteX137" fmla="*/ 613380 w 792784"/>
                    <a:gd name="connsiteY137" fmla="*/ 325892 h 651235"/>
                    <a:gd name="connsiteX138" fmla="*/ 617220 w 792784"/>
                    <a:gd name="connsiteY138" fmla="*/ 326990 h 651235"/>
                    <a:gd name="connsiteX139" fmla="*/ 631485 w 792784"/>
                    <a:gd name="connsiteY139" fmla="*/ 320406 h 6512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</a:cxnLst>
                  <a:rect l="l" t="t" r="r" b="b"/>
                  <a:pathLst>
                    <a:path w="792784" h="651235">
                      <a:moveTo>
                        <a:pt x="631485" y="320406"/>
                      </a:moveTo>
                      <a:lnTo>
                        <a:pt x="628742" y="324246"/>
                      </a:lnTo>
                      <a:lnTo>
                        <a:pt x="629290" y="326441"/>
                      </a:lnTo>
                      <a:lnTo>
                        <a:pt x="631485" y="328087"/>
                      </a:lnTo>
                      <a:lnTo>
                        <a:pt x="629290" y="331379"/>
                      </a:lnTo>
                      <a:lnTo>
                        <a:pt x="628742" y="336316"/>
                      </a:lnTo>
                      <a:lnTo>
                        <a:pt x="634776" y="335768"/>
                      </a:lnTo>
                      <a:lnTo>
                        <a:pt x="638068" y="337962"/>
                      </a:lnTo>
                      <a:lnTo>
                        <a:pt x="638068" y="343449"/>
                      </a:lnTo>
                      <a:lnTo>
                        <a:pt x="675376" y="391729"/>
                      </a:lnTo>
                      <a:lnTo>
                        <a:pt x="770839" y="403799"/>
                      </a:lnTo>
                      <a:lnTo>
                        <a:pt x="773582" y="401056"/>
                      </a:lnTo>
                      <a:lnTo>
                        <a:pt x="773582" y="402153"/>
                      </a:lnTo>
                      <a:lnTo>
                        <a:pt x="792785" y="430134"/>
                      </a:lnTo>
                      <a:lnTo>
                        <a:pt x="766450" y="510235"/>
                      </a:lnTo>
                      <a:lnTo>
                        <a:pt x="653430" y="549737"/>
                      </a:lnTo>
                      <a:lnTo>
                        <a:pt x="653430" y="549189"/>
                      </a:lnTo>
                      <a:lnTo>
                        <a:pt x="543702" y="565648"/>
                      </a:lnTo>
                      <a:lnTo>
                        <a:pt x="509687" y="582107"/>
                      </a:lnTo>
                      <a:lnTo>
                        <a:pt x="487741" y="611185"/>
                      </a:lnTo>
                      <a:lnTo>
                        <a:pt x="484449" y="624352"/>
                      </a:lnTo>
                      <a:lnTo>
                        <a:pt x="471830" y="630936"/>
                      </a:lnTo>
                      <a:lnTo>
                        <a:pt x="465795" y="630936"/>
                      </a:lnTo>
                      <a:lnTo>
                        <a:pt x="456468" y="614477"/>
                      </a:lnTo>
                      <a:lnTo>
                        <a:pt x="365394" y="611185"/>
                      </a:lnTo>
                      <a:lnTo>
                        <a:pt x="347289" y="624352"/>
                      </a:lnTo>
                      <a:lnTo>
                        <a:pt x="332476" y="625998"/>
                      </a:lnTo>
                      <a:lnTo>
                        <a:pt x="328635" y="628742"/>
                      </a:lnTo>
                      <a:lnTo>
                        <a:pt x="326441" y="633679"/>
                      </a:lnTo>
                      <a:lnTo>
                        <a:pt x="316565" y="639166"/>
                      </a:lnTo>
                      <a:lnTo>
                        <a:pt x="315468" y="644652"/>
                      </a:lnTo>
                      <a:lnTo>
                        <a:pt x="311627" y="647944"/>
                      </a:lnTo>
                      <a:lnTo>
                        <a:pt x="304495" y="651236"/>
                      </a:lnTo>
                      <a:lnTo>
                        <a:pt x="304495" y="651236"/>
                      </a:lnTo>
                      <a:lnTo>
                        <a:pt x="302849" y="646298"/>
                      </a:lnTo>
                      <a:lnTo>
                        <a:pt x="302849" y="639714"/>
                      </a:lnTo>
                      <a:lnTo>
                        <a:pt x="294620" y="625450"/>
                      </a:lnTo>
                      <a:lnTo>
                        <a:pt x="291876" y="623804"/>
                      </a:lnTo>
                      <a:lnTo>
                        <a:pt x="289133" y="619963"/>
                      </a:lnTo>
                      <a:lnTo>
                        <a:pt x="286390" y="607893"/>
                      </a:lnTo>
                      <a:lnTo>
                        <a:pt x="273771" y="595823"/>
                      </a:lnTo>
                      <a:lnTo>
                        <a:pt x="268285" y="592531"/>
                      </a:lnTo>
                      <a:lnTo>
                        <a:pt x="249631" y="562905"/>
                      </a:lnTo>
                      <a:lnTo>
                        <a:pt x="246888" y="560710"/>
                      </a:lnTo>
                      <a:lnTo>
                        <a:pt x="245791" y="559064"/>
                      </a:lnTo>
                      <a:lnTo>
                        <a:pt x="243047" y="543154"/>
                      </a:lnTo>
                      <a:lnTo>
                        <a:pt x="220553" y="510235"/>
                      </a:lnTo>
                      <a:lnTo>
                        <a:pt x="201351" y="496519"/>
                      </a:lnTo>
                      <a:lnTo>
                        <a:pt x="199705" y="497068"/>
                      </a:lnTo>
                      <a:lnTo>
                        <a:pt x="185989" y="489935"/>
                      </a:lnTo>
                      <a:lnTo>
                        <a:pt x="177759" y="481706"/>
                      </a:lnTo>
                      <a:lnTo>
                        <a:pt x="166787" y="437815"/>
                      </a:lnTo>
                      <a:lnTo>
                        <a:pt x="164592" y="433426"/>
                      </a:lnTo>
                      <a:lnTo>
                        <a:pt x="164043" y="429585"/>
                      </a:lnTo>
                      <a:lnTo>
                        <a:pt x="165689" y="427939"/>
                      </a:lnTo>
                      <a:lnTo>
                        <a:pt x="167884" y="413675"/>
                      </a:lnTo>
                      <a:lnTo>
                        <a:pt x="162946" y="399410"/>
                      </a:lnTo>
                      <a:lnTo>
                        <a:pt x="160203" y="396118"/>
                      </a:lnTo>
                      <a:lnTo>
                        <a:pt x="142098" y="356616"/>
                      </a:lnTo>
                      <a:lnTo>
                        <a:pt x="123993" y="340157"/>
                      </a:lnTo>
                      <a:lnTo>
                        <a:pt x="121798" y="339608"/>
                      </a:lnTo>
                      <a:lnTo>
                        <a:pt x="120701" y="337962"/>
                      </a:lnTo>
                      <a:lnTo>
                        <a:pt x="115763" y="334670"/>
                      </a:lnTo>
                      <a:lnTo>
                        <a:pt x="111374" y="334670"/>
                      </a:lnTo>
                      <a:lnTo>
                        <a:pt x="109179" y="335768"/>
                      </a:lnTo>
                      <a:lnTo>
                        <a:pt x="105887" y="334122"/>
                      </a:lnTo>
                      <a:lnTo>
                        <a:pt x="104790" y="329184"/>
                      </a:lnTo>
                      <a:lnTo>
                        <a:pt x="97109" y="318760"/>
                      </a:lnTo>
                      <a:lnTo>
                        <a:pt x="97109" y="312176"/>
                      </a:lnTo>
                      <a:lnTo>
                        <a:pt x="97658" y="310530"/>
                      </a:lnTo>
                      <a:lnTo>
                        <a:pt x="82845" y="276515"/>
                      </a:lnTo>
                      <a:lnTo>
                        <a:pt x="76810" y="273772"/>
                      </a:lnTo>
                      <a:lnTo>
                        <a:pt x="75164" y="271028"/>
                      </a:lnTo>
                      <a:lnTo>
                        <a:pt x="74066" y="266090"/>
                      </a:lnTo>
                      <a:lnTo>
                        <a:pt x="65837" y="256215"/>
                      </a:lnTo>
                      <a:lnTo>
                        <a:pt x="59802" y="239756"/>
                      </a:lnTo>
                      <a:lnTo>
                        <a:pt x="55413" y="234269"/>
                      </a:lnTo>
                      <a:lnTo>
                        <a:pt x="50475" y="230429"/>
                      </a:lnTo>
                      <a:lnTo>
                        <a:pt x="41697" y="218908"/>
                      </a:lnTo>
                      <a:lnTo>
                        <a:pt x="41148" y="215067"/>
                      </a:lnTo>
                      <a:lnTo>
                        <a:pt x="21397" y="179954"/>
                      </a:lnTo>
                      <a:lnTo>
                        <a:pt x="17556" y="177211"/>
                      </a:lnTo>
                      <a:lnTo>
                        <a:pt x="6035" y="176662"/>
                      </a:lnTo>
                      <a:lnTo>
                        <a:pt x="4938" y="175565"/>
                      </a:lnTo>
                      <a:lnTo>
                        <a:pt x="1646" y="176662"/>
                      </a:lnTo>
                      <a:lnTo>
                        <a:pt x="0" y="179405"/>
                      </a:lnTo>
                      <a:lnTo>
                        <a:pt x="7681" y="159654"/>
                      </a:lnTo>
                      <a:lnTo>
                        <a:pt x="9327" y="139355"/>
                      </a:lnTo>
                      <a:lnTo>
                        <a:pt x="12619" y="132222"/>
                      </a:lnTo>
                      <a:lnTo>
                        <a:pt x="12070" y="121798"/>
                      </a:lnTo>
                      <a:lnTo>
                        <a:pt x="13716" y="127833"/>
                      </a:lnTo>
                      <a:lnTo>
                        <a:pt x="55413" y="133319"/>
                      </a:lnTo>
                      <a:lnTo>
                        <a:pt x="67483" y="121250"/>
                      </a:lnTo>
                      <a:lnTo>
                        <a:pt x="77907" y="101498"/>
                      </a:lnTo>
                      <a:lnTo>
                        <a:pt x="106436" y="97109"/>
                      </a:lnTo>
                      <a:lnTo>
                        <a:pt x="111923" y="79553"/>
                      </a:lnTo>
                      <a:lnTo>
                        <a:pt x="127284" y="71323"/>
                      </a:lnTo>
                      <a:lnTo>
                        <a:pt x="127833" y="70226"/>
                      </a:lnTo>
                      <a:lnTo>
                        <a:pt x="86136" y="29078"/>
                      </a:lnTo>
                      <a:lnTo>
                        <a:pt x="159106" y="13716"/>
                      </a:lnTo>
                      <a:lnTo>
                        <a:pt x="170078" y="0"/>
                      </a:lnTo>
                      <a:lnTo>
                        <a:pt x="312176" y="65288"/>
                      </a:lnTo>
                      <a:lnTo>
                        <a:pt x="317663" y="78455"/>
                      </a:lnTo>
                      <a:lnTo>
                        <a:pt x="337414" y="80102"/>
                      </a:lnTo>
                      <a:lnTo>
                        <a:pt x="339059" y="81747"/>
                      </a:lnTo>
                      <a:lnTo>
                        <a:pt x="339059" y="108631"/>
                      </a:lnTo>
                      <a:lnTo>
                        <a:pt x="340705" y="110825"/>
                      </a:lnTo>
                      <a:lnTo>
                        <a:pt x="383499" y="130028"/>
                      </a:lnTo>
                      <a:lnTo>
                        <a:pt x="450434" y="133868"/>
                      </a:lnTo>
                      <a:lnTo>
                        <a:pt x="482255" y="143195"/>
                      </a:lnTo>
                      <a:lnTo>
                        <a:pt x="487192" y="147584"/>
                      </a:lnTo>
                      <a:lnTo>
                        <a:pt x="493227" y="158557"/>
                      </a:lnTo>
                      <a:lnTo>
                        <a:pt x="516270" y="158557"/>
                      </a:lnTo>
                      <a:lnTo>
                        <a:pt x="531632" y="188183"/>
                      </a:lnTo>
                      <a:lnTo>
                        <a:pt x="537667" y="190378"/>
                      </a:lnTo>
                      <a:lnTo>
                        <a:pt x="541508" y="198608"/>
                      </a:lnTo>
                      <a:lnTo>
                        <a:pt x="551383" y="205740"/>
                      </a:lnTo>
                      <a:lnTo>
                        <a:pt x="551383" y="206289"/>
                      </a:lnTo>
                      <a:lnTo>
                        <a:pt x="549737" y="208483"/>
                      </a:lnTo>
                      <a:lnTo>
                        <a:pt x="551383" y="211226"/>
                      </a:lnTo>
                      <a:lnTo>
                        <a:pt x="553029" y="217810"/>
                      </a:lnTo>
                      <a:lnTo>
                        <a:pt x="559064" y="219456"/>
                      </a:lnTo>
                      <a:lnTo>
                        <a:pt x="577169" y="232624"/>
                      </a:lnTo>
                      <a:lnTo>
                        <a:pt x="580461" y="238110"/>
                      </a:lnTo>
                      <a:lnTo>
                        <a:pt x="579364" y="245242"/>
                      </a:lnTo>
                      <a:lnTo>
                        <a:pt x="584302" y="252374"/>
                      </a:lnTo>
                      <a:lnTo>
                        <a:pt x="585399" y="257861"/>
                      </a:lnTo>
                      <a:lnTo>
                        <a:pt x="585399" y="260604"/>
                      </a:lnTo>
                      <a:lnTo>
                        <a:pt x="582107" y="264993"/>
                      </a:lnTo>
                      <a:lnTo>
                        <a:pt x="582107" y="273223"/>
                      </a:lnTo>
                      <a:lnTo>
                        <a:pt x="596920" y="290779"/>
                      </a:lnTo>
                      <a:lnTo>
                        <a:pt x="599115" y="303947"/>
                      </a:lnTo>
                      <a:lnTo>
                        <a:pt x="602955" y="308336"/>
                      </a:lnTo>
                      <a:lnTo>
                        <a:pt x="603504" y="312176"/>
                      </a:lnTo>
                      <a:lnTo>
                        <a:pt x="605150" y="313822"/>
                      </a:lnTo>
                      <a:lnTo>
                        <a:pt x="606247" y="317663"/>
                      </a:lnTo>
                      <a:lnTo>
                        <a:pt x="607893" y="317663"/>
                      </a:lnTo>
                      <a:lnTo>
                        <a:pt x="613380" y="325892"/>
                      </a:lnTo>
                      <a:lnTo>
                        <a:pt x="617220" y="326990"/>
                      </a:lnTo>
                      <a:lnTo>
                        <a:pt x="631485" y="320406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grpSp>
              <p:nvGrpSpPr>
                <p:cNvPr id="165" name="Group 200">
                  <a:extLst>
                    <a:ext uri="{FF2B5EF4-FFF2-40B4-BE49-F238E27FC236}">
                      <a16:creationId xmlns:a16="http://schemas.microsoft.com/office/drawing/2014/main" id="{72341353-12B5-EB58-9E14-D1A01B64E329}"/>
                    </a:ext>
                  </a:extLst>
                </p:cNvPr>
                <p:cNvGrpSpPr/>
                <p:nvPr/>
              </p:nvGrpSpPr>
              <p:grpSpPr>
                <a:xfrm>
                  <a:off x="4724277" y="3294735"/>
                  <a:ext cx="2165927" cy="2258086"/>
                  <a:chOff x="4724277" y="3294735"/>
                  <a:chExt cx="2165927" cy="2258086"/>
                </a:xfrm>
                <a:grpFill/>
              </p:grpSpPr>
              <p:sp>
                <p:nvSpPr>
                  <p:cNvPr id="166" name="Graphic 7">
                    <a:extLst>
                      <a:ext uri="{FF2B5EF4-FFF2-40B4-BE49-F238E27FC236}">
                        <a16:creationId xmlns:a16="http://schemas.microsoft.com/office/drawing/2014/main" id="{13E881A4-A3F4-1D40-900B-3EB24CB2BC99}"/>
                      </a:ext>
                    </a:extLst>
                  </p:cNvPr>
                  <p:cNvSpPr/>
                  <p:nvPr/>
                </p:nvSpPr>
                <p:spPr>
                  <a:xfrm>
                    <a:off x="5959195" y="3497054"/>
                    <a:ext cx="327482" cy="323196"/>
                  </a:xfrm>
                  <a:custGeom>
                    <a:avLst/>
                    <a:gdLst>
                      <a:gd name="connsiteX0" fmla="*/ 17008 w 419160"/>
                      <a:gd name="connsiteY0" fmla="*/ 378013 h 413674"/>
                      <a:gd name="connsiteX1" fmla="*/ 17008 w 419160"/>
                      <a:gd name="connsiteY1" fmla="*/ 111923 h 413674"/>
                      <a:gd name="connsiteX2" fmla="*/ 5486 w 419160"/>
                      <a:gd name="connsiteY2" fmla="*/ 99853 h 413674"/>
                      <a:gd name="connsiteX3" fmla="*/ 7132 w 419160"/>
                      <a:gd name="connsiteY3" fmla="*/ 91074 h 413674"/>
                      <a:gd name="connsiteX4" fmla="*/ 1646 w 419160"/>
                      <a:gd name="connsiteY4" fmla="*/ 81747 h 413674"/>
                      <a:gd name="connsiteX5" fmla="*/ 0 w 419160"/>
                      <a:gd name="connsiteY5" fmla="*/ 67483 h 413674"/>
                      <a:gd name="connsiteX6" fmla="*/ 549 w 419160"/>
                      <a:gd name="connsiteY6" fmla="*/ 64739 h 413674"/>
                      <a:gd name="connsiteX7" fmla="*/ 3292 w 419160"/>
                      <a:gd name="connsiteY7" fmla="*/ 61448 h 413674"/>
                      <a:gd name="connsiteX8" fmla="*/ 9327 w 419160"/>
                      <a:gd name="connsiteY8" fmla="*/ 58156 h 413674"/>
                      <a:gd name="connsiteX9" fmla="*/ 9327 w 419160"/>
                      <a:gd name="connsiteY9" fmla="*/ 57059 h 413674"/>
                      <a:gd name="connsiteX10" fmla="*/ 7681 w 419160"/>
                      <a:gd name="connsiteY10" fmla="*/ 20848 h 413674"/>
                      <a:gd name="connsiteX11" fmla="*/ 5486 w 419160"/>
                      <a:gd name="connsiteY11" fmla="*/ 14813 h 413674"/>
                      <a:gd name="connsiteX12" fmla="*/ 5486 w 419160"/>
                      <a:gd name="connsiteY12" fmla="*/ 13167 h 413674"/>
                      <a:gd name="connsiteX13" fmla="*/ 10973 w 419160"/>
                      <a:gd name="connsiteY13" fmla="*/ 6584 h 413674"/>
                      <a:gd name="connsiteX14" fmla="*/ 13167 w 419160"/>
                      <a:gd name="connsiteY14" fmla="*/ 1097 h 413674"/>
                      <a:gd name="connsiteX15" fmla="*/ 17557 w 419160"/>
                      <a:gd name="connsiteY15" fmla="*/ 0 h 413674"/>
                      <a:gd name="connsiteX16" fmla="*/ 19751 w 419160"/>
                      <a:gd name="connsiteY16" fmla="*/ 3292 h 413674"/>
                      <a:gd name="connsiteX17" fmla="*/ 24689 w 419160"/>
                      <a:gd name="connsiteY17" fmla="*/ 4938 h 413674"/>
                      <a:gd name="connsiteX18" fmla="*/ 46634 w 419160"/>
                      <a:gd name="connsiteY18" fmla="*/ 1646 h 413674"/>
                      <a:gd name="connsiteX19" fmla="*/ 84491 w 419160"/>
                      <a:gd name="connsiteY19" fmla="*/ 7681 h 413674"/>
                      <a:gd name="connsiteX20" fmla="*/ 105887 w 419160"/>
                      <a:gd name="connsiteY20" fmla="*/ 18105 h 413674"/>
                      <a:gd name="connsiteX21" fmla="*/ 121249 w 419160"/>
                      <a:gd name="connsiteY21" fmla="*/ 20848 h 413674"/>
                      <a:gd name="connsiteX22" fmla="*/ 127285 w 419160"/>
                      <a:gd name="connsiteY22" fmla="*/ 25237 h 413674"/>
                      <a:gd name="connsiteX23" fmla="*/ 147035 w 419160"/>
                      <a:gd name="connsiteY23" fmla="*/ 26883 h 413674"/>
                      <a:gd name="connsiteX24" fmla="*/ 164043 w 419160"/>
                      <a:gd name="connsiteY24" fmla="*/ 35662 h 413674"/>
                      <a:gd name="connsiteX25" fmla="*/ 213421 w 419160"/>
                      <a:gd name="connsiteY25" fmla="*/ 8778 h 413674"/>
                      <a:gd name="connsiteX26" fmla="*/ 230977 w 419160"/>
                      <a:gd name="connsiteY26" fmla="*/ 5486 h 413674"/>
                      <a:gd name="connsiteX27" fmla="*/ 230429 w 419160"/>
                      <a:gd name="connsiteY27" fmla="*/ 7132 h 413674"/>
                      <a:gd name="connsiteX28" fmla="*/ 222199 w 419160"/>
                      <a:gd name="connsiteY28" fmla="*/ 10424 h 413674"/>
                      <a:gd name="connsiteX29" fmla="*/ 220553 w 419160"/>
                      <a:gd name="connsiteY29" fmla="*/ 13716 h 413674"/>
                      <a:gd name="connsiteX30" fmla="*/ 222748 w 419160"/>
                      <a:gd name="connsiteY30" fmla="*/ 13716 h 413674"/>
                      <a:gd name="connsiteX31" fmla="*/ 235367 w 419160"/>
                      <a:gd name="connsiteY31" fmla="*/ 10973 h 413674"/>
                      <a:gd name="connsiteX32" fmla="*/ 239207 w 419160"/>
                      <a:gd name="connsiteY32" fmla="*/ 8778 h 413674"/>
                      <a:gd name="connsiteX33" fmla="*/ 242499 w 419160"/>
                      <a:gd name="connsiteY33" fmla="*/ 4938 h 413674"/>
                      <a:gd name="connsiteX34" fmla="*/ 247437 w 419160"/>
                      <a:gd name="connsiteY34" fmla="*/ 6584 h 413674"/>
                      <a:gd name="connsiteX35" fmla="*/ 267736 w 419160"/>
                      <a:gd name="connsiteY35" fmla="*/ 7132 h 413674"/>
                      <a:gd name="connsiteX36" fmla="*/ 274320 w 419160"/>
                      <a:gd name="connsiteY36" fmla="*/ 3841 h 413674"/>
                      <a:gd name="connsiteX37" fmla="*/ 275966 w 419160"/>
                      <a:gd name="connsiteY37" fmla="*/ 5486 h 413674"/>
                      <a:gd name="connsiteX38" fmla="*/ 277612 w 419160"/>
                      <a:gd name="connsiteY38" fmla="*/ 9327 h 413674"/>
                      <a:gd name="connsiteX39" fmla="*/ 279806 w 419160"/>
                      <a:gd name="connsiteY39" fmla="*/ 10424 h 413674"/>
                      <a:gd name="connsiteX40" fmla="*/ 282001 w 419160"/>
                      <a:gd name="connsiteY40" fmla="*/ 13716 h 413674"/>
                      <a:gd name="connsiteX41" fmla="*/ 285293 w 419160"/>
                      <a:gd name="connsiteY41" fmla="*/ 16459 h 413674"/>
                      <a:gd name="connsiteX42" fmla="*/ 291877 w 419160"/>
                      <a:gd name="connsiteY42" fmla="*/ 19202 h 413674"/>
                      <a:gd name="connsiteX43" fmla="*/ 297911 w 419160"/>
                      <a:gd name="connsiteY43" fmla="*/ 26883 h 413674"/>
                      <a:gd name="connsiteX44" fmla="*/ 312176 w 419160"/>
                      <a:gd name="connsiteY44" fmla="*/ 26335 h 413674"/>
                      <a:gd name="connsiteX45" fmla="*/ 314919 w 419160"/>
                      <a:gd name="connsiteY45" fmla="*/ 24140 h 413674"/>
                      <a:gd name="connsiteX46" fmla="*/ 317663 w 419160"/>
                      <a:gd name="connsiteY46" fmla="*/ 23043 h 413674"/>
                      <a:gd name="connsiteX47" fmla="*/ 320954 w 419160"/>
                      <a:gd name="connsiteY47" fmla="*/ 27432 h 413674"/>
                      <a:gd name="connsiteX48" fmla="*/ 336865 w 419160"/>
                      <a:gd name="connsiteY48" fmla="*/ 25237 h 413674"/>
                      <a:gd name="connsiteX49" fmla="*/ 356616 w 419160"/>
                      <a:gd name="connsiteY49" fmla="*/ 14265 h 413674"/>
                      <a:gd name="connsiteX50" fmla="*/ 385145 w 419160"/>
                      <a:gd name="connsiteY50" fmla="*/ 98755 h 413674"/>
                      <a:gd name="connsiteX51" fmla="*/ 369235 w 419160"/>
                      <a:gd name="connsiteY51" fmla="*/ 150876 h 413674"/>
                      <a:gd name="connsiteX52" fmla="*/ 369783 w 419160"/>
                      <a:gd name="connsiteY52" fmla="*/ 155814 h 413674"/>
                      <a:gd name="connsiteX53" fmla="*/ 368686 w 419160"/>
                      <a:gd name="connsiteY53" fmla="*/ 159654 h 413674"/>
                      <a:gd name="connsiteX54" fmla="*/ 366491 w 419160"/>
                      <a:gd name="connsiteY54" fmla="*/ 162397 h 413674"/>
                      <a:gd name="connsiteX55" fmla="*/ 361005 w 419160"/>
                      <a:gd name="connsiteY55" fmla="*/ 165689 h 413674"/>
                      <a:gd name="connsiteX56" fmla="*/ 355519 w 419160"/>
                      <a:gd name="connsiteY56" fmla="*/ 165141 h 413674"/>
                      <a:gd name="connsiteX57" fmla="*/ 325343 w 419160"/>
                      <a:gd name="connsiteY57" fmla="*/ 128930 h 413674"/>
                      <a:gd name="connsiteX58" fmla="*/ 324246 w 419160"/>
                      <a:gd name="connsiteY58" fmla="*/ 119603 h 413674"/>
                      <a:gd name="connsiteX59" fmla="*/ 306141 w 419160"/>
                      <a:gd name="connsiteY59" fmla="*/ 92171 h 413674"/>
                      <a:gd name="connsiteX60" fmla="*/ 303398 w 419160"/>
                      <a:gd name="connsiteY60" fmla="*/ 77907 h 413674"/>
                      <a:gd name="connsiteX61" fmla="*/ 301203 w 419160"/>
                      <a:gd name="connsiteY61" fmla="*/ 74615 h 413674"/>
                      <a:gd name="connsiteX62" fmla="*/ 300655 w 419160"/>
                      <a:gd name="connsiteY62" fmla="*/ 71872 h 413674"/>
                      <a:gd name="connsiteX63" fmla="*/ 299009 w 419160"/>
                      <a:gd name="connsiteY63" fmla="*/ 70775 h 413674"/>
                      <a:gd name="connsiteX64" fmla="*/ 296266 w 419160"/>
                      <a:gd name="connsiteY64" fmla="*/ 73518 h 413674"/>
                      <a:gd name="connsiteX65" fmla="*/ 297363 w 419160"/>
                      <a:gd name="connsiteY65" fmla="*/ 77358 h 413674"/>
                      <a:gd name="connsiteX66" fmla="*/ 294071 w 419160"/>
                      <a:gd name="connsiteY66" fmla="*/ 81199 h 413674"/>
                      <a:gd name="connsiteX67" fmla="*/ 292974 w 419160"/>
                      <a:gd name="connsiteY67" fmla="*/ 88880 h 413674"/>
                      <a:gd name="connsiteX68" fmla="*/ 293522 w 419160"/>
                      <a:gd name="connsiteY68" fmla="*/ 92171 h 413674"/>
                      <a:gd name="connsiteX69" fmla="*/ 300106 w 419160"/>
                      <a:gd name="connsiteY69" fmla="*/ 97658 h 413674"/>
                      <a:gd name="connsiteX70" fmla="*/ 302849 w 419160"/>
                      <a:gd name="connsiteY70" fmla="*/ 105339 h 413674"/>
                      <a:gd name="connsiteX71" fmla="*/ 302301 w 419160"/>
                      <a:gd name="connsiteY71" fmla="*/ 113569 h 413674"/>
                      <a:gd name="connsiteX72" fmla="*/ 314371 w 419160"/>
                      <a:gd name="connsiteY72" fmla="*/ 138806 h 413674"/>
                      <a:gd name="connsiteX73" fmla="*/ 331379 w 419160"/>
                      <a:gd name="connsiteY73" fmla="*/ 157460 h 413674"/>
                      <a:gd name="connsiteX74" fmla="*/ 334122 w 419160"/>
                      <a:gd name="connsiteY74" fmla="*/ 158557 h 413674"/>
                      <a:gd name="connsiteX75" fmla="*/ 336316 w 419160"/>
                      <a:gd name="connsiteY75" fmla="*/ 175016 h 413674"/>
                      <a:gd name="connsiteX76" fmla="*/ 396667 w 419160"/>
                      <a:gd name="connsiteY76" fmla="*/ 303947 h 413674"/>
                      <a:gd name="connsiteX77" fmla="*/ 414223 w 419160"/>
                      <a:gd name="connsiteY77" fmla="*/ 320954 h 413674"/>
                      <a:gd name="connsiteX78" fmla="*/ 416418 w 419160"/>
                      <a:gd name="connsiteY78" fmla="*/ 322052 h 413674"/>
                      <a:gd name="connsiteX79" fmla="*/ 419161 w 419160"/>
                      <a:gd name="connsiteY79" fmla="*/ 325892 h 413674"/>
                      <a:gd name="connsiteX80" fmla="*/ 419161 w 419160"/>
                      <a:gd name="connsiteY80" fmla="*/ 327538 h 413674"/>
                      <a:gd name="connsiteX81" fmla="*/ 410383 w 419160"/>
                      <a:gd name="connsiteY81" fmla="*/ 325343 h 413674"/>
                      <a:gd name="connsiteX82" fmla="*/ 408737 w 419160"/>
                      <a:gd name="connsiteY82" fmla="*/ 325892 h 413674"/>
                      <a:gd name="connsiteX83" fmla="*/ 407639 w 419160"/>
                      <a:gd name="connsiteY83" fmla="*/ 327538 h 413674"/>
                      <a:gd name="connsiteX84" fmla="*/ 409834 w 419160"/>
                      <a:gd name="connsiteY84" fmla="*/ 334122 h 413674"/>
                      <a:gd name="connsiteX85" fmla="*/ 410383 w 419160"/>
                      <a:gd name="connsiteY85" fmla="*/ 351130 h 413674"/>
                      <a:gd name="connsiteX86" fmla="*/ 413126 w 419160"/>
                      <a:gd name="connsiteY86" fmla="*/ 359908 h 413674"/>
                      <a:gd name="connsiteX87" fmla="*/ 398313 w 419160"/>
                      <a:gd name="connsiteY87" fmla="*/ 373075 h 413674"/>
                      <a:gd name="connsiteX88" fmla="*/ 388986 w 419160"/>
                      <a:gd name="connsiteY88" fmla="*/ 369784 h 413674"/>
                      <a:gd name="connsiteX89" fmla="*/ 380207 w 419160"/>
                      <a:gd name="connsiteY89" fmla="*/ 390632 h 413674"/>
                      <a:gd name="connsiteX90" fmla="*/ 359908 w 419160"/>
                      <a:gd name="connsiteY90" fmla="*/ 395569 h 413674"/>
                      <a:gd name="connsiteX91" fmla="*/ 354970 w 419160"/>
                      <a:gd name="connsiteY91" fmla="*/ 412577 h 413674"/>
                      <a:gd name="connsiteX92" fmla="*/ 336865 w 419160"/>
                      <a:gd name="connsiteY92" fmla="*/ 413675 h 413674"/>
                      <a:gd name="connsiteX93" fmla="*/ 324246 w 419160"/>
                      <a:gd name="connsiteY93" fmla="*/ 404348 h 413674"/>
                      <a:gd name="connsiteX94" fmla="*/ 257861 w 419160"/>
                      <a:gd name="connsiteY94" fmla="*/ 404348 h 413674"/>
                      <a:gd name="connsiteX95" fmla="*/ 261153 w 419160"/>
                      <a:gd name="connsiteY95" fmla="*/ 396667 h 413674"/>
                      <a:gd name="connsiteX96" fmla="*/ 259507 w 419160"/>
                      <a:gd name="connsiteY96" fmla="*/ 396667 h 413674"/>
                      <a:gd name="connsiteX97" fmla="*/ 258409 w 419160"/>
                      <a:gd name="connsiteY97" fmla="*/ 396118 h 413674"/>
                      <a:gd name="connsiteX98" fmla="*/ 256215 w 419160"/>
                      <a:gd name="connsiteY98" fmla="*/ 395569 h 413674"/>
                      <a:gd name="connsiteX99" fmla="*/ 250729 w 419160"/>
                      <a:gd name="connsiteY99" fmla="*/ 404348 h 413674"/>
                      <a:gd name="connsiteX100" fmla="*/ 17008 w 419160"/>
                      <a:gd name="connsiteY100" fmla="*/ 403799 h 413674"/>
                      <a:gd name="connsiteX101" fmla="*/ 17008 w 419160"/>
                      <a:gd name="connsiteY101" fmla="*/ 378013 h 4136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  <a:cxn ang="0">
                        <a:pos x="connsiteX81" y="connsiteY81"/>
                      </a:cxn>
                      <a:cxn ang="0">
                        <a:pos x="connsiteX82" y="connsiteY82"/>
                      </a:cxn>
                      <a:cxn ang="0">
                        <a:pos x="connsiteX83" y="connsiteY83"/>
                      </a:cxn>
                      <a:cxn ang="0">
                        <a:pos x="connsiteX84" y="connsiteY84"/>
                      </a:cxn>
                      <a:cxn ang="0">
                        <a:pos x="connsiteX85" y="connsiteY85"/>
                      </a:cxn>
                      <a:cxn ang="0">
                        <a:pos x="connsiteX86" y="connsiteY86"/>
                      </a:cxn>
                      <a:cxn ang="0">
                        <a:pos x="connsiteX87" y="connsiteY87"/>
                      </a:cxn>
                      <a:cxn ang="0">
                        <a:pos x="connsiteX88" y="connsiteY88"/>
                      </a:cxn>
                      <a:cxn ang="0">
                        <a:pos x="connsiteX89" y="connsiteY89"/>
                      </a:cxn>
                      <a:cxn ang="0">
                        <a:pos x="connsiteX90" y="connsiteY90"/>
                      </a:cxn>
                      <a:cxn ang="0">
                        <a:pos x="connsiteX91" y="connsiteY91"/>
                      </a:cxn>
                      <a:cxn ang="0">
                        <a:pos x="connsiteX92" y="connsiteY92"/>
                      </a:cxn>
                      <a:cxn ang="0">
                        <a:pos x="connsiteX93" y="connsiteY93"/>
                      </a:cxn>
                      <a:cxn ang="0">
                        <a:pos x="connsiteX94" y="connsiteY94"/>
                      </a:cxn>
                      <a:cxn ang="0">
                        <a:pos x="connsiteX95" y="connsiteY95"/>
                      </a:cxn>
                      <a:cxn ang="0">
                        <a:pos x="connsiteX96" y="connsiteY96"/>
                      </a:cxn>
                      <a:cxn ang="0">
                        <a:pos x="connsiteX97" y="connsiteY97"/>
                      </a:cxn>
                      <a:cxn ang="0">
                        <a:pos x="connsiteX98" y="connsiteY98"/>
                      </a:cxn>
                      <a:cxn ang="0">
                        <a:pos x="connsiteX99" y="connsiteY99"/>
                      </a:cxn>
                      <a:cxn ang="0">
                        <a:pos x="connsiteX100" y="connsiteY100"/>
                      </a:cxn>
                      <a:cxn ang="0">
                        <a:pos x="connsiteX101" y="connsiteY101"/>
                      </a:cxn>
                    </a:cxnLst>
                    <a:rect l="l" t="t" r="r" b="b"/>
                    <a:pathLst>
                      <a:path w="419160" h="413674">
                        <a:moveTo>
                          <a:pt x="17008" y="378013"/>
                        </a:moveTo>
                        <a:lnTo>
                          <a:pt x="17008" y="111923"/>
                        </a:lnTo>
                        <a:lnTo>
                          <a:pt x="5486" y="99853"/>
                        </a:lnTo>
                        <a:lnTo>
                          <a:pt x="7132" y="91074"/>
                        </a:lnTo>
                        <a:lnTo>
                          <a:pt x="1646" y="81747"/>
                        </a:lnTo>
                        <a:lnTo>
                          <a:pt x="0" y="67483"/>
                        </a:lnTo>
                        <a:lnTo>
                          <a:pt x="549" y="64739"/>
                        </a:lnTo>
                        <a:lnTo>
                          <a:pt x="3292" y="61448"/>
                        </a:lnTo>
                        <a:lnTo>
                          <a:pt x="9327" y="58156"/>
                        </a:lnTo>
                        <a:lnTo>
                          <a:pt x="9327" y="57059"/>
                        </a:lnTo>
                        <a:lnTo>
                          <a:pt x="7681" y="20848"/>
                        </a:lnTo>
                        <a:lnTo>
                          <a:pt x="5486" y="14813"/>
                        </a:lnTo>
                        <a:lnTo>
                          <a:pt x="5486" y="13167"/>
                        </a:lnTo>
                        <a:lnTo>
                          <a:pt x="10973" y="6584"/>
                        </a:lnTo>
                        <a:lnTo>
                          <a:pt x="13167" y="1097"/>
                        </a:lnTo>
                        <a:lnTo>
                          <a:pt x="17557" y="0"/>
                        </a:lnTo>
                        <a:lnTo>
                          <a:pt x="19751" y="3292"/>
                        </a:lnTo>
                        <a:lnTo>
                          <a:pt x="24689" y="4938"/>
                        </a:lnTo>
                        <a:lnTo>
                          <a:pt x="46634" y="1646"/>
                        </a:lnTo>
                        <a:lnTo>
                          <a:pt x="84491" y="7681"/>
                        </a:lnTo>
                        <a:lnTo>
                          <a:pt x="105887" y="18105"/>
                        </a:lnTo>
                        <a:lnTo>
                          <a:pt x="121249" y="20848"/>
                        </a:lnTo>
                        <a:lnTo>
                          <a:pt x="127285" y="25237"/>
                        </a:lnTo>
                        <a:lnTo>
                          <a:pt x="147035" y="26883"/>
                        </a:lnTo>
                        <a:lnTo>
                          <a:pt x="164043" y="35662"/>
                        </a:lnTo>
                        <a:lnTo>
                          <a:pt x="213421" y="8778"/>
                        </a:lnTo>
                        <a:lnTo>
                          <a:pt x="230977" y="5486"/>
                        </a:lnTo>
                        <a:lnTo>
                          <a:pt x="230429" y="7132"/>
                        </a:lnTo>
                        <a:lnTo>
                          <a:pt x="222199" y="10424"/>
                        </a:lnTo>
                        <a:lnTo>
                          <a:pt x="220553" y="13716"/>
                        </a:lnTo>
                        <a:lnTo>
                          <a:pt x="222748" y="13716"/>
                        </a:lnTo>
                        <a:lnTo>
                          <a:pt x="235367" y="10973"/>
                        </a:lnTo>
                        <a:lnTo>
                          <a:pt x="239207" y="8778"/>
                        </a:lnTo>
                        <a:lnTo>
                          <a:pt x="242499" y="4938"/>
                        </a:lnTo>
                        <a:lnTo>
                          <a:pt x="247437" y="6584"/>
                        </a:lnTo>
                        <a:lnTo>
                          <a:pt x="267736" y="7132"/>
                        </a:lnTo>
                        <a:lnTo>
                          <a:pt x="274320" y="3841"/>
                        </a:lnTo>
                        <a:lnTo>
                          <a:pt x="275966" y="5486"/>
                        </a:lnTo>
                        <a:lnTo>
                          <a:pt x="277612" y="9327"/>
                        </a:lnTo>
                        <a:lnTo>
                          <a:pt x="279806" y="10424"/>
                        </a:lnTo>
                        <a:lnTo>
                          <a:pt x="282001" y="13716"/>
                        </a:lnTo>
                        <a:lnTo>
                          <a:pt x="285293" y="16459"/>
                        </a:lnTo>
                        <a:lnTo>
                          <a:pt x="291877" y="19202"/>
                        </a:lnTo>
                        <a:lnTo>
                          <a:pt x="297911" y="26883"/>
                        </a:lnTo>
                        <a:lnTo>
                          <a:pt x="312176" y="26335"/>
                        </a:lnTo>
                        <a:lnTo>
                          <a:pt x="314919" y="24140"/>
                        </a:lnTo>
                        <a:lnTo>
                          <a:pt x="317663" y="23043"/>
                        </a:lnTo>
                        <a:lnTo>
                          <a:pt x="320954" y="27432"/>
                        </a:lnTo>
                        <a:lnTo>
                          <a:pt x="336865" y="25237"/>
                        </a:lnTo>
                        <a:lnTo>
                          <a:pt x="356616" y="14265"/>
                        </a:lnTo>
                        <a:lnTo>
                          <a:pt x="385145" y="98755"/>
                        </a:lnTo>
                        <a:lnTo>
                          <a:pt x="369235" y="150876"/>
                        </a:lnTo>
                        <a:lnTo>
                          <a:pt x="369783" y="155814"/>
                        </a:lnTo>
                        <a:lnTo>
                          <a:pt x="368686" y="159654"/>
                        </a:lnTo>
                        <a:lnTo>
                          <a:pt x="366491" y="162397"/>
                        </a:lnTo>
                        <a:lnTo>
                          <a:pt x="361005" y="165689"/>
                        </a:lnTo>
                        <a:lnTo>
                          <a:pt x="355519" y="165141"/>
                        </a:lnTo>
                        <a:lnTo>
                          <a:pt x="325343" y="128930"/>
                        </a:lnTo>
                        <a:lnTo>
                          <a:pt x="324246" y="119603"/>
                        </a:lnTo>
                        <a:lnTo>
                          <a:pt x="306141" y="92171"/>
                        </a:lnTo>
                        <a:lnTo>
                          <a:pt x="303398" y="77907"/>
                        </a:lnTo>
                        <a:lnTo>
                          <a:pt x="301203" y="74615"/>
                        </a:lnTo>
                        <a:lnTo>
                          <a:pt x="300655" y="71872"/>
                        </a:lnTo>
                        <a:lnTo>
                          <a:pt x="299009" y="70775"/>
                        </a:lnTo>
                        <a:lnTo>
                          <a:pt x="296266" y="73518"/>
                        </a:lnTo>
                        <a:lnTo>
                          <a:pt x="297363" y="77358"/>
                        </a:lnTo>
                        <a:lnTo>
                          <a:pt x="294071" y="81199"/>
                        </a:lnTo>
                        <a:lnTo>
                          <a:pt x="292974" y="88880"/>
                        </a:lnTo>
                        <a:lnTo>
                          <a:pt x="293522" y="92171"/>
                        </a:lnTo>
                        <a:lnTo>
                          <a:pt x="300106" y="97658"/>
                        </a:lnTo>
                        <a:lnTo>
                          <a:pt x="302849" y="105339"/>
                        </a:lnTo>
                        <a:lnTo>
                          <a:pt x="302301" y="113569"/>
                        </a:lnTo>
                        <a:lnTo>
                          <a:pt x="314371" y="138806"/>
                        </a:lnTo>
                        <a:lnTo>
                          <a:pt x="331379" y="157460"/>
                        </a:lnTo>
                        <a:lnTo>
                          <a:pt x="334122" y="158557"/>
                        </a:lnTo>
                        <a:lnTo>
                          <a:pt x="336316" y="175016"/>
                        </a:lnTo>
                        <a:lnTo>
                          <a:pt x="396667" y="303947"/>
                        </a:lnTo>
                        <a:lnTo>
                          <a:pt x="414223" y="320954"/>
                        </a:lnTo>
                        <a:lnTo>
                          <a:pt x="416418" y="322052"/>
                        </a:lnTo>
                        <a:lnTo>
                          <a:pt x="419161" y="325892"/>
                        </a:lnTo>
                        <a:lnTo>
                          <a:pt x="419161" y="327538"/>
                        </a:lnTo>
                        <a:lnTo>
                          <a:pt x="410383" y="325343"/>
                        </a:lnTo>
                        <a:lnTo>
                          <a:pt x="408737" y="325892"/>
                        </a:lnTo>
                        <a:lnTo>
                          <a:pt x="407639" y="327538"/>
                        </a:lnTo>
                        <a:lnTo>
                          <a:pt x="409834" y="334122"/>
                        </a:lnTo>
                        <a:lnTo>
                          <a:pt x="410383" y="351130"/>
                        </a:lnTo>
                        <a:lnTo>
                          <a:pt x="413126" y="359908"/>
                        </a:lnTo>
                        <a:lnTo>
                          <a:pt x="398313" y="373075"/>
                        </a:lnTo>
                        <a:lnTo>
                          <a:pt x="388986" y="369784"/>
                        </a:lnTo>
                        <a:lnTo>
                          <a:pt x="380207" y="390632"/>
                        </a:lnTo>
                        <a:lnTo>
                          <a:pt x="359908" y="395569"/>
                        </a:lnTo>
                        <a:lnTo>
                          <a:pt x="354970" y="412577"/>
                        </a:lnTo>
                        <a:lnTo>
                          <a:pt x="336865" y="413675"/>
                        </a:lnTo>
                        <a:lnTo>
                          <a:pt x="324246" y="404348"/>
                        </a:lnTo>
                        <a:lnTo>
                          <a:pt x="257861" y="404348"/>
                        </a:lnTo>
                        <a:lnTo>
                          <a:pt x="261153" y="396667"/>
                        </a:lnTo>
                        <a:lnTo>
                          <a:pt x="259507" y="396667"/>
                        </a:lnTo>
                        <a:lnTo>
                          <a:pt x="258409" y="396118"/>
                        </a:lnTo>
                        <a:lnTo>
                          <a:pt x="256215" y="395569"/>
                        </a:lnTo>
                        <a:lnTo>
                          <a:pt x="250729" y="404348"/>
                        </a:lnTo>
                        <a:lnTo>
                          <a:pt x="17008" y="403799"/>
                        </a:lnTo>
                        <a:lnTo>
                          <a:pt x="17008" y="378013"/>
                        </a:lnTo>
                      </a:path>
                    </a:pathLst>
                  </a:custGeom>
                  <a:grpFill/>
                  <a:ln w="1270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endParaRPr>
                  </a:p>
                </p:txBody>
              </p:sp>
              <p:grpSp>
                <p:nvGrpSpPr>
                  <p:cNvPr id="167" name="Group 202">
                    <a:extLst>
                      <a:ext uri="{FF2B5EF4-FFF2-40B4-BE49-F238E27FC236}">
                        <a16:creationId xmlns:a16="http://schemas.microsoft.com/office/drawing/2014/main" id="{3567D800-CAB8-20B1-C868-F19E1DB1B935}"/>
                      </a:ext>
                    </a:extLst>
                  </p:cNvPr>
                  <p:cNvGrpSpPr/>
                  <p:nvPr/>
                </p:nvGrpSpPr>
                <p:grpSpPr>
                  <a:xfrm>
                    <a:off x="4724277" y="3294735"/>
                    <a:ext cx="2165927" cy="2258086"/>
                    <a:chOff x="4724277" y="3294735"/>
                    <a:chExt cx="2165927" cy="2258086"/>
                  </a:xfrm>
                  <a:grpFill/>
                </p:grpSpPr>
                <p:sp>
                  <p:nvSpPr>
                    <p:cNvPr id="168" name="Graphic 7">
                      <a:extLst>
                        <a:ext uri="{FF2B5EF4-FFF2-40B4-BE49-F238E27FC236}">
                          <a16:creationId xmlns:a16="http://schemas.microsoft.com/office/drawing/2014/main" id="{E4CB9381-D5D0-C1DA-83BF-ADB0C6210C5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579847" y="4969441"/>
                      <a:ext cx="393064" cy="386206"/>
                    </a:xfrm>
                    <a:custGeom>
                      <a:avLst/>
                      <a:gdLst>
                        <a:gd name="connsiteX0" fmla="*/ 236464 w 503102"/>
                        <a:gd name="connsiteY0" fmla="*/ 17557 h 494324"/>
                        <a:gd name="connsiteX1" fmla="*/ 83393 w 503102"/>
                        <a:gd name="connsiteY1" fmla="*/ 18654 h 494324"/>
                        <a:gd name="connsiteX2" fmla="*/ 74615 w 503102"/>
                        <a:gd name="connsiteY2" fmla="*/ 10424 h 494324"/>
                        <a:gd name="connsiteX3" fmla="*/ 65288 w 503102"/>
                        <a:gd name="connsiteY3" fmla="*/ 6584 h 494324"/>
                        <a:gd name="connsiteX4" fmla="*/ 61996 w 503102"/>
                        <a:gd name="connsiteY4" fmla="*/ 1097 h 494324"/>
                        <a:gd name="connsiteX5" fmla="*/ 39502 w 503102"/>
                        <a:gd name="connsiteY5" fmla="*/ 0 h 494324"/>
                        <a:gd name="connsiteX6" fmla="*/ 33467 w 503102"/>
                        <a:gd name="connsiteY6" fmla="*/ 2743 h 494324"/>
                        <a:gd name="connsiteX7" fmla="*/ 26335 w 503102"/>
                        <a:gd name="connsiteY7" fmla="*/ 9327 h 494324"/>
                        <a:gd name="connsiteX8" fmla="*/ 21946 w 503102"/>
                        <a:gd name="connsiteY8" fmla="*/ 11521 h 494324"/>
                        <a:gd name="connsiteX9" fmla="*/ 15362 w 503102"/>
                        <a:gd name="connsiteY9" fmla="*/ 7132 h 494324"/>
                        <a:gd name="connsiteX10" fmla="*/ 0 w 503102"/>
                        <a:gd name="connsiteY10" fmla="*/ 17557 h 494324"/>
                        <a:gd name="connsiteX11" fmla="*/ 0 w 503102"/>
                        <a:gd name="connsiteY11" fmla="*/ 37307 h 494324"/>
                        <a:gd name="connsiteX12" fmla="*/ 1646 w 503102"/>
                        <a:gd name="connsiteY12" fmla="*/ 43891 h 494324"/>
                        <a:gd name="connsiteX13" fmla="*/ 1646 w 503102"/>
                        <a:gd name="connsiteY13" fmla="*/ 50475 h 494324"/>
                        <a:gd name="connsiteX14" fmla="*/ 13167 w 503102"/>
                        <a:gd name="connsiteY14" fmla="*/ 69677 h 494324"/>
                        <a:gd name="connsiteX15" fmla="*/ 18654 w 503102"/>
                        <a:gd name="connsiteY15" fmla="*/ 74066 h 494324"/>
                        <a:gd name="connsiteX16" fmla="*/ 80101 w 503102"/>
                        <a:gd name="connsiteY16" fmla="*/ 185989 h 494324"/>
                        <a:gd name="connsiteX17" fmla="*/ 80650 w 503102"/>
                        <a:gd name="connsiteY17" fmla="*/ 190378 h 494324"/>
                        <a:gd name="connsiteX18" fmla="*/ 102596 w 503102"/>
                        <a:gd name="connsiteY18" fmla="*/ 226039 h 494324"/>
                        <a:gd name="connsiteX19" fmla="*/ 104242 w 503102"/>
                        <a:gd name="connsiteY19" fmla="*/ 297363 h 494324"/>
                        <a:gd name="connsiteX20" fmla="*/ 117409 w 503102"/>
                        <a:gd name="connsiteY20" fmla="*/ 325892 h 494324"/>
                        <a:gd name="connsiteX21" fmla="*/ 117958 w 503102"/>
                        <a:gd name="connsiteY21" fmla="*/ 356616 h 494324"/>
                        <a:gd name="connsiteX22" fmla="*/ 123993 w 503102"/>
                        <a:gd name="connsiteY22" fmla="*/ 373075 h 494324"/>
                        <a:gd name="connsiteX23" fmla="*/ 122347 w 503102"/>
                        <a:gd name="connsiteY23" fmla="*/ 380208 h 494324"/>
                        <a:gd name="connsiteX24" fmla="*/ 132771 w 503102"/>
                        <a:gd name="connsiteY24" fmla="*/ 425745 h 494324"/>
                        <a:gd name="connsiteX25" fmla="*/ 175565 w 503102"/>
                        <a:gd name="connsiteY25" fmla="*/ 477865 h 494324"/>
                        <a:gd name="connsiteX26" fmla="*/ 178308 w 503102"/>
                        <a:gd name="connsiteY26" fmla="*/ 477865 h 494324"/>
                        <a:gd name="connsiteX27" fmla="*/ 180503 w 503102"/>
                        <a:gd name="connsiteY27" fmla="*/ 478963 h 494324"/>
                        <a:gd name="connsiteX28" fmla="*/ 183794 w 503102"/>
                        <a:gd name="connsiteY28" fmla="*/ 478963 h 494324"/>
                        <a:gd name="connsiteX29" fmla="*/ 186538 w 503102"/>
                        <a:gd name="connsiteY29" fmla="*/ 476768 h 494324"/>
                        <a:gd name="connsiteX30" fmla="*/ 194767 w 503102"/>
                        <a:gd name="connsiteY30" fmla="*/ 464149 h 494324"/>
                        <a:gd name="connsiteX31" fmla="*/ 202997 w 503102"/>
                        <a:gd name="connsiteY31" fmla="*/ 463601 h 494324"/>
                        <a:gd name="connsiteX32" fmla="*/ 220553 w 503102"/>
                        <a:gd name="connsiteY32" fmla="*/ 475671 h 494324"/>
                        <a:gd name="connsiteX33" fmla="*/ 220553 w 503102"/>
                        <a:gd name="connsiteY33" fmla="*/ 484449 h 494324"/>
                        <a:gd name="connsiteX34" fmla="*/ 228234 w 503102"/>
                        <a:gd name="connsiteY34" fmla="*/ 493228 h 494324"/>
                        <a:gd name="connsiteX35" fmla="*/ 239207 w 503102"/>
                        <a:gd name="connsiteY35" fmla="*/ 494325 h 494324"/>
                        <a:gd name="connsiteX36" fmla="*/ 249631 w 503102"/>
                        <a:gd name="connsiteY36" fmla="*/ 491033 h 494324"/>
                        <a:gd name="connsiteX37" fmla="*/ 277063 w 503102"/>
                        <a:gd name="connsiteY37" fmla="*/ 493228 h 494324"/>
                        <a:gd name="connsiteX38" fmla="*/ 297363 w 503102"/>
                        <a:gd name="connsiteY38" fmla="*/ 476220 h 494324"/>
                        <a:gd name="connsiteX39" fmla="*/ 308884 w 503102"/>
                        <a:gd name="connsiteY39" fmla="*/ 471830 h 494324"/>
                        <a:gd name="connsiteX40" fmla="*/ 308884 w 503102"/>
                        <a:gd name="connsiteY40" fmla="*/ 201900 h 494324"/>
                        <a:gd name="connsiteX41" fmla="*/ 347289 w 503102"/>
                        <a:gd name="connsiteY41" fmla="*/ 201900 h 494324"/>
                        <a:gd name="connsiteX42" fmla="*/ 347289 w 503102"/>
                        <a:gd name="connsiteY42" fmla="*/ 61996 h 494324"/>
                        <a:gd name="connsiteX43" fmla="*/ 350581 w 503102"/>
                        <a:gd name="connsiteY43" fmla="*/ 59253 h 494324"/>
                        <a:gd name="connsiteX44" fmla="*/ 432877 w 503102"/>
                        <a:gd name="connsiteY44" fmla="*/ 47183 h 494324"/>
                        <a:gd name="connsiteX45" fmla="*/ 440009 w 503102"/>
                        <a:gd name="connsiteY45" fmla="*/ 49926 h 494324"/>
                        <a:gd name="connsiteX46" fmla="*/ 444947 w 503102"/>
                        <a:gd name="connsiteY46" fmla="*/ 58156 h 494324"/>
                        <a:gd name="connsiteX47" fmla="*/ 446593 w 503102"/>
                        <a:gd name="connsiteY47" fmla="*/ 68580 h 494324"/>
                        <a:gd name="connsiteX48" fmla="*/ 457017 w 503102"/>
                        <a:gd name="connsiteY48" fmla="*/ 55413 h 494324"/>
                        <a:gd name="connsiteX49" fmla="*/ 468539 w 503102"/>
                        <a:gd name="connsiteY49" fmla="*/ 47183 h 494324"/>
                        <a:gd name="connsiteX50" fmla="*/ 487192 w 503102"/>
                        <a:gd name="connsiteY50" fmla="*/ 42245 h 494324"/>
                        <a:gd name="connsiteX51" fmla="*/ 489935 w 503102"/>
                        <a:gd name="connsiteY51" fmla="*/ 38405 h 494324"/>
                        <a:gd name="connsiteX52" fmla="*/ 494873 w 503102"/>
                        <a:gd name="connsiteY52" fmla="*/ 35113 h 494324"/>
                        <a:gd name="connsiteX53" fmla="*/ 503103 w 503102"/>
                        <a:gd name="connsiteY53" fmla="*/ 34564 h 494324"/>
                        <a:gd name="connsiteX54" fmla="*/ 497617 w 503102"/>
                        <a:gd name="connsiteY54" fmla="*/ 25786 h 494324"/>
                        <a:gd name="connsiteX55" fmla="*/ 494873 w 503102"/>
                        <a:gd name="connsiteY55" fmla="*/ 23591 h 494324"/>
                        <a:gd name="connsiteX56" fmla="*/ 470733 w 503102"/>
                        <a:gd name="connsiteY56" fmla="*/ 21397 h 494324"/>
                        <a:gd name="connsiteX57" fmla="*/ 469087 w 503102"/>
                        <a:gd name="connsiteY57" fmla="*/ 19751 h 494324"/>
                        <a:gd name="connsiteX58" fmla="*/ 435071 w 503102"/>
                        <a:gd name="connsiteY58" fmla="*/ 27981 h 494324"/>
                        <a:gd name="connsiteX59" fmla="*/ 432877 w 503102"/>
                        <a:gd name="connsiteY59" fmla="*/ 29078 h 494324"/>
                        <a:gd name="connsiteX60" fmla="*/ 368137 w 503102"/>
                        <a:gd name="connsiteY60" fmla="*/ 45537 h 494324"/>
                        <a:gd name="connsiteX61" fmla="*/ 365394 w 503102"/>
                        <a:gd name="connsiteY61" fmla="*/ 43343 h 494324"/>
                        <a:gd name="connsiteX62" fmla="*/ 265542 w 503102"/>
                        <a:gd name="connsiteY62" fmla="*/ 31821 h 494324"/>
                        <a:gd name="connsiteX63" fmla="*/ 260604 w 503102"/>
                        <a:gd name="connsiteY63" fmla="*/ 25237 h 494324"/>
                        <a:gd name="connsiteX64" fmla="*/ 250180 w 503102"/>
                        <a:gd name="connsiteY64" fmla="*/ 17557 h 494324"/>
                        <a:gd name="connsiteX65" fmla="*/ 236464 w 503102"/>
                        <a:gd name="connsiteY65" fmla="*/ 17557 h 49432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  <a:cxn ang="0">
                          <a:pos x="connsiteX45" y="connsiteY45"/>
                        </a:cxn>
                        <a:cxn ang="0">
                          <a:pos x="connsiteX46" y="connsiteY46"/>
                        </a:cxn>
                        <a:cxn ang="0">
                          <a:pos x="connsiteX47" y="connsiteY47"/>
                        </a:cxn>
                        <a:cxn ang="0">
                          <a:pos x="connsiteX48" y="connsiteY48"/>
                        </a:cxn>
                        <a:cxn ang="0">
                          <a:pos x="connsiteX49" y="connsiteY49"/>
                        </a:cxn>
                        <a:cxn ang="0">
                          <a:pos x="connsiteX50" y="connsiteY50"/>
                        </a:cxn>
                        <a:cxn ang="0">
                          <a:pos x="connsiteX51" y="connsiteY51"/>
                        </a:cxn>
                        <a:cxn ang="0">
                          <a:pos x="connsiteX52" y="connsiteY52"/>
                        </a:cxn>
                        <a:cxn ang="0">
                          <a:pos x="connsiteX53" y="connsiteY53"/>
                        </a:cxn>
                        <a:cxn ang="0">
                          <a:pos x="connsiteX54" y="connsiteY54"/>
                        </a:cxn>
                        <a:cxn ang="0">
                          <a:pos x="connsiteX55" y="connsiteY55"/>
                        </a:cxn>
                        <a:cxn ang="0">
                          <a:pos x="connsiteX56" y="connsiteY56"/>
                        </a:cxn>
                        <a:cxn ang="0">
                          <a:pos x="connsiteX57" y="connsiteY57"/>
                        </a:cxn>
                        <a:cxn ang="0">
                          <a:pos x="connsiteX58" y="connsiteY58"/>
                        </a:cxn>
                        <a:cxn ang="0">
                          <a:pos x="connsiteX59" y="connsiteY59"/>
                        </a:cxn>
                        <a:cxn ang="0">
                          <a:pos x="connsiteX60" y="connsiteY60"/>
                        </a:cxn>
                        <a:cxn ang="0">
                          <a:pos x="connsiteX61" y="connsiteY61"/>
                        </a:cxn>
                        <a:cxn ang="0">
                          <a:pos x="connsiteX62" y="connsiteY62"/>
                        </a:cxn>
                        <a:cxn ang="0">
                          <a:pos x="connsiteX63" y="connsiteY63"/>
                        </a:cxn>
                        <a:cxn ang="0">
                          <a:pos x="connsiteX64" y="connsiteY64"/>
                        </a:cxn>
                        <a:cxn ang="0">
                          <a:pos x="connsiteX65" y="connsiteY65"/>
                        </a:cxn>
                      </a:cxnLst>
                      <a:rect l="l" t="t" r="r" b="b"/>
                      <a:pathLst>
                        <a:path w="503102" h="494324">
                          <a:moveTo>
                            <a:pt x="236464" y="17557"/>
                          </a:moveTo>
                          <a:lnTo>
                            <a:pt x="83393" y="18654"/>
                          </a:lnTo>
                          <a:lnTo>
                            <a:pt x="74615" y="10424"/>
                          </a:lnTo>
                          <a:lnTo>
                            <a:pt x="65288" y="6584"/>
                          </a:lnTo>
                          <a:lnTo>
                            <a:pt x="61996" y="1097"/>
                          </a:lnTo>
                          <a:lnTo>
                            <a:pt x="39502" y="0"/>
                          </a:lnTo>
                          <a:lnTo>
                            <a:pt x="33467" y="2743"/>
                          </a:lnTo>
                          <a:lnTo>
                            <a:pt x="26335" y="9327"/>
                          </a:lnTo>
                          <a:lnTo>
                            <a:pt x="21946" y="11521"/>
                          </a:lnTo>
                          <a:lnTo>
                            <a:pt x="15362" y="7132"/>
                          </a:lnTo>
                          <a:lnTo>
                            <a:pt x="0" y="17557"/>
                          </a:lnTo>
                          <a:lnTo>
                            <a:pt x="0" y="37307"/>
                          </a:lnTo>
                          <a:lnTo>
                            <a:pt x="1646" y="43891"/>
                          </a:lnTo>
                          <a:lnTo>
                            <a:pt x="1646" y="50475"/>
                          </a:lnTo>
                          <a:lnTo>
                            <a:pt x="13167" y="69677"/>
                          </a:lnTo>
                          <a:lnTo>
                            <a:pt x="18654" y="74066"/>
                          </a:lnTo>
                          <a:lnTo>
                            <a:pt x="80101" y="185989"/>
                          </a:lnTo>
                          <a:lnTo>
                            <a:pt x="80650" y="190378"/>
                          </a:lnTo>
                          <a:lnTo>
                            <a:pt x="102596" y="226039"/>
                          </a:lnTo>
                          <a:lnTo>
                            <a:pt x="104242" y="297363"/>
                          </a:lnTo>
                          <a:lnTo>
                            <a:pt x="117409" y="325892"/>
                          </a:lnTo>
                          <a:lnTo>
                            <a:pt x="117958" y="356616"/>
                          </a:lnTo>
                          <a:lnTo>
                            <a:pt x="123993" y="373075"/>
                          </a:lnTo>
                          <a:lnTo>
                            <a:pt x="122347" y="380208"/>
                          </a:lnTo>
                          <a:lnTo>
                            <a:pt x="132771" y="425745"/>
                          </a:lnTo>
                          <a:lnTo>
                            <a:pt x="175565" y="477865"/>
                          </a:lnTo>
                          <a:lnTo>
                            <a:pt x="178308" y="477865"/>
                          </a:lnTo>
                          <a:lnTo>
                            <a:pt x="180503" y="478963"/>
                          </a:lnTo>
                          <a:lnTo>
                            <a:pt x="183794" y="478963"/>
                          </a:lnTo>
                          <a:lnTo>
                            <a:pt x="186538" y="476768"/>
                          </a:lnTo>
                          <a:lnTo>
                            <a:pt x="194767" y="464149"/>
                          </a:lnTo>
                          <a:lnTo>
                            <a:pt x="202997" y="463601"/>
                          </a:lnTo>
                          <a:lnTo>
                            <a:pt x="220553" y="475671"/>
                          </a:lnTo>
                          <a:lnTo>
                            <a:pt x="220553" y="484449"/>
                          </a:lnTo>
                          <a:lnTo>
                            <a:pt x="228234" y="493228"/>
                          </a:lnTo>
                          <a:lnTo>
                            <a:pt x="239207" y="494325"/>
                          </a:lnTo>
                          <a:lnTo>
                            <a:pt x="249631" y="491033"/>
                          </a:lnTo>
                          <a:lnTo>
                            <a:pt x="277063" y="493228"/>
                          </a:lnTo>
                          <a:lnTo>
                            <a:pt x="297363" y="476220"/>
                          </a:lnTo>
                          <a:lnTo>
                            <a:pt x="308884" y="471830"/>
                          </a:lnTo>
                          <a:lnTo>
                            <a:pt x="308884" y="201900"/>
                          </a:lnTo>
                          <a:lnTo>
                            <a:pt x="347289" y="201900"/>
                          </a:lnTo>
                          <a:lnTo>
                            <a:pt x="347289" y="61996"/>
                          </a:lnTo>
                          <a:lnTo>
                            <a:pt x="350581" y="59253"/>
                          </a:lnTo>
                          <a:lnTo>
                            <a:pt x="432877" y="47183"/>
                          </a:lnTo>
                          <a:lnTo>
                            <a:pt x="440009" y="49926"/>
                          </a:lnTo>
                          <a:lnTo>
                            <a:pt x="444947" y="58156"/>
                          </a:lnTo>
                          <a:lnTo>
                            <a:pt x="446593" y="68580"/>
                          </a:lnTo>
                          <a:lnTo>
                            <a:pt x="457017" y="55413"/>
                          </a:lnTo>
                          <a:lnTo>
                            <a:pt x="468539" y="47183"/>
                          </a:lnTo>
                          <a:lnTo>
                            <a:pt x="487192" y="42245"/>
                          </a:lnTo>
                          <a:lnTo>
                            <a:pt x="489935" y="38405"/>
                          </a:lnTo>
                          <a:lnTo>
                            <a:pt x="494873" y="35113"/>
                          </a:lnTo>
                          <a:lnTo>
                            <a:pt x="503103" y="34564"/>
                          </a:lnTo>
                          <a:lnTo>
                            <a:pt x="497617" y="25786"/>
                          </a:lnTo>
                          <a:lnTo>
                            <a:pt x="494873" y="23591"/>
                          </a:lnTo>
                          <a:lnTo>
                            <a:pt x="470733" y="21397"/>
                          </a:lnTo>
                          <a:lnTo>
                            <a:pt x="469087" y="19751"/>
                          </a:lnTo>
                          <a:lnTo>
                            <a:pt x="435071" y="27981"/>
                          </a:lnTo>
                          <a:lnTo>
                            <a:pt x="432877" y="29078"/>
                          </a:lnTo>
                          <a:lnTo>
                            <a:pt x="368137" y="45537"/>
                          </a:lnTo>
                          <a:lnTo>
                            <a:pt x="365394" y="43343"/>
                          </a:lnTo>
                          <a:lnTo>
                            <a:pt x="265542" y="31821"/>
                          </a:lnTo>
                          <a:lnTo>
                            <a:pt x="260604" y="25237"/>
                          </a:lnTo>
                          <a:lnTo>
                            <a:pt x="250180" y="17557"/>
                          </a:lnTo>
                          <a:lnTo>
                            <a:pt x="236464" y="17557"/>
                          </a:lnTo>
                        </a:path>
                      </a:pathLst>
                    </a:custGeom>
                    <a:grpFill/>
                    <a:ln w="1270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69" name="Graphic 7">
                      <a:extLst>
                        <a:ext uri="{FF2B5EF4-FFF2-40B4-BE49-F238E27FC236}">
                          <a16:creationId xmlns:a16="http://schemas.microsoft.com/office/drawing/2014/main" id="{E9BAB866-E301-A31E-14CB-55A7BC98837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578132" y="4639814"/>
                      <a:ext cx="370346" cy="365203"/>
                    </a:xfrm>
                    <a:custGeom>
                      <a:avLst/>
                      <a:gdLst>
                        <a:gd name="connsiteX0" fmla="*/ 3292 w 474024"/>
                        <a:gd name="connsiteY0" fmla="*/ 407091 h 467441"/>
                        <a:gd name="connsiteX1" fmla="*/ 4389 w 474024"/>
                        <a:gd name="connsiteY1" fmla="*/ 385694 h 467441"/>
                        <a:gd name="connsiteX2" fmla="*/ 9875 w 474024"/>
                        <a:gd name="connsiteY2" fmla="*/ 379659 h 467441"/>
                        <a:gd name="connsiteX3" fmla="*/ 29627 w 474024"/>
                        <a:gd name="connsiteY3" fmla="*/ 307787 h 467441"/>
                        <a:gd name="connsiteX4" fmla="*/ 29627 w 474024"/>
                        <a:gd name="connsiteY4" fmla="*/ 302301 h 467441"/>
                        <a:gd name="connsiteX5" fmla="*/ 31821 w 474024"/>
                        <a:gd name="connsiteY5" fmla="*/ 299009 h 467441"/>
                        <a:gd name="connsiteX6" fmla="*/ 32370 w 474024"/>
                        <a:gd name="connsiteY6" fmla="*/ 294620 h 467441"/>
                        <a:gd name="connsiteX7" fmla="*/ 36759 w 474024"/>
                        <a:gd name="connsiteY7" fmla="*/ 284196 h 467441"/>
                        <a:gd name="connsiteX8" fmla="*/ 46634 w 474024"/>
                        <a:gd name="connsiteY8" fmla="*/ 274869 h 467441"/>
                        <a:gd name="connsiteX9" fmla="*/ 48280 w 474024"/>
                        <a:gd name="connsiteY9" fmla="*/ 265542 h 467441"/>
                        <a:gd name="connsiteX10" fmla="*/ 61996 w 474024"/>
                        <a:gd name="connsiteY10" fmla="*/ 259507 h 467441"/>
                        <a:gd name="connsiteX11" fmla="*/ 74066 w 474024"/>
                        <a:gd name="connsiteY11" fmla="*/ 243596 h 467441"/>
                        <a:gd name="connsiteX12" fmla="*/ 80101 w 474024"/>
                        <a:gd name="connsiteY12" fmla="*/ 197510 h 467441"/>
                        <a:gd name="connsiteX13" fmla="*/ 83393 w 474024"/>
                        <a:gd name="connsiteY13" fmla="*/ 192573 h 467441"/>
                        <a:gd name="connsiteX14" fmla="*/ 80101 w 474024"/>
                        <a:gd name="connsiteY14" fmla="*/ 179405 h 467441"/>
                        <a:gd name="connsiteX15" fmla="*/ 71872 w 474024"/>
                        <a:gd name="connsiteY15" fmla="*/ 172273 h 467441"/>
                        <a:gd name="connsiteX16" fmla="*/ 68580 w 474024"/>
                        <a:gd name="connsiteY16" fmla="*/ 164044 h 467441"/>
                        <a:gd name="connsiteX17" fmla="*/ 64739 w 474024"/>
                        <a:gd name="connsiteY17" fmla="*/ 159106 h 467441"/>
                        <a:gd name="connsiteX18" fmla="*/ 55961 w 474024"/>
                        <a:gd name="connsiteY18" fmla="*/ 127833 h 467441"/>
                        <a:gd name="connsiteX19" fmla="*/ 55961 w 474024"/>
                        <a:gd name="connsiteY19" fmla="*/ 123444 h 467441"/>
                        <a:gd name="connsiteX20" fmla="*/ 64191 w 474024"/>
                        <a:gd name="connsiteY20" fmla="*/ 113569 h 467441"/>
                        <a:gd name="connsiteX21" fmla="*/ 64191 w 474024"/>
                        <a:gd name="connsiteY21" fmla="*/ 102047 h 467441"/>
                        <a:gd name="connsiteX22" fmla="*/ 61996 w 474024"/>
                        <a:gd name="connsiteY22" fmla="*/ 92172 h 467441"/>
                        <a:gd name="connsiteX23" fmla="*/ 57059 w 474024"/>
                        <a:gd name="connsiteY23" fmla="*/ 86137 h 467441"/>
                        <a:gd name="connsiteX24" fmla="*/ 46086 w 474024"/>
                        <a:gd name="connsiteY24" fmla="*/ 47183 h 467441"/>
                        <a:gd name="connsiteX25" fmla="*/ 26883 w 474024"/>
                        <a:gd name="connsiteY25" fmla="*/ 18654 h 467441"/>
                        <a:gd name="connsiteX26" fmla="*/ 27432 w 474024"/>
                        <a:gd name="connsiteY26" fmla="*/ 17008 h 467441"/>
                        <a:gd name="connsiteX27" fmla="*/ 27981 w 474024"/>
                        <a:gd name="connsiteY27" fmla="*/ 14813 h 467441"/>
                        <a:gd name="connsiteX28" fmla="*/ 63642 w 474024"/>
                        <a:gd name="connsiteY28" fmla="*/ 1646 h 467441"/>
                        <a:gd name="connsiteX29" fmla="*/ 105339 w 474024"/>
                        <a:gd name="connsiteY29" fmla="*/ 0 h 467441"/>
                        <a:gd name="connsiteX30" fmla="*/ 110277 w 474024"/>
                        <a:gd name="connsiteY30" fmla="*/ 1646 h 467441"/>
                        <a:gd name="connsiteX31" fmla="*/ 175016 w 474024"/>
                        <a:gd name="connsiteY31" fmla="*/ 0 h 467441"/>
                        <a:gd name="connsiteX32" fmla="*/ 176662 w 474024"/>
                        <a:gd name="connsiteY32" fmla="*/ 549 h 467441"/>
                        <a:gd name="connsiteX33" fmla="*/ 179954 w 474024"/>
                        <a:gd name="connsiteY33" fmla="*/ 6035 h 467441"/>
                        <a:gd name="connsiteX34" fmla="*/ 182697 w 474024"/>
                        <a:gd name="connsiteY34" fmla="*/ 6035 h 467441"/>
                        <a:gd name="connsiteX35" fmla="*/ 185440 w 474024"/>
                        <a:gd name="connsiteY35" fmla="*/ 4938 h 467441"/>
                        <a:gd name="connsiteX36" fmla="*/ 201351 w 474024"/>
                        <a:gd name="connsiteY36" fmla="*/ 55961 h 467441"/>
                        <a:gd name="connsiteX37" fmla="*/ 223845 w 474024"/>
                        <a:gd name="connsiteY37" fmla="*/ 83942 h 467441"/>
                        <a:gd name="connsiteX38" fmla="*/ 232623 w 474024"/>
                        <a:gd name="connsiteY38" fmla="*/ 87234 h 467441"/>
                        <a:gd name="connsiteX39" fmla="*/ 241950 w 474024"/>
                        <a:gd name="connsiteY39" fmla="*/ 87234 h 467441"/>
                        <a:gd name="connsiteX40" fmla="*/ 264993 w 474024"/>
                        <a:gd name="connsiteY40" fmla="*/ 80650 h 467441"/>
                        <a:gd name="connsiteX41" fmla="*/ 290231 w 474024"/>
                        <a:gd name="connsiteY41" fmla="*/ 81747 h 467441"/>
                        <a:gd name="connsiteX42" fmla="*/ 292425 w 474024"/>
                        <a:gd name="connsiteY42" fmla="*/ 66386 h 467441"/>
                        <a:gd name="connsiteX43" fmla="*/ 294620 w 474024"/>
                        <a:gd name="connsiteY43" fmla="*/ 63642 h 467441"/>
                        <a:gd name="connsiteX44" fmla="*/ 299009 w 474024"/>
                        <a:gd name="connsiteY44" fmla="*/ 44440 h 467441"/>
                        <a:gd name="connsiteX45" fmla="*/ 328635 w 474024"/>
                        <a:gd name="connsiteY45" fmla="*/ 43891 h 467441"/>
                        <a:gd name="connsiteX46" fmla="*/ 329733 w 474024"/>
                        <a:gd name="connsiteY46" fmla="*/ 40051 h 467441"/>
                        <a:gd name="connsiteX47" fmla="*/ 345643 w 474024"/>
                        <a:gd name="connsiteY47" fmla="*/ 40051 h 467441"/>
                        <a:gd name="connsiteX48" fmla="*/ 345095 w 474024"/>
                        <a:gd name="connsiteY48" fmla="*/ 55413 h 467441"/>
                        <a:gd name="connsiteX49" fmla="*/ 378562 w 474024"/>
                        <a:gd name="connsiteY49" fmla="*/ 55961 h 467441"/>
                        <a:gd name="connsiteX50" fmla="*/ 382402 w 474024"/>
                        <a:gd name="connsiteY50" fmla="*/ 64191 h 467441"/>
                        <a:gd name="connsiteX51" fmla="*/ 386791 w 474024"/>
                        <a:gd name="connsiteY51" fmla="*/ 116861 h 467441"/>
                        <a:gd name="connsiteX52" fmla="*/ 384597 w 474024"/>
                        <a:gd name="connsiteY52" fmla="*/ 127833 h 467441"/>
                        <a:gd name="connsiteX53" fmla="*/ 385694 w 474024"/>
                        <a:gd name="connsiteY53" fmla="*/ 143195 h 467441"/>
                        <a:gd name="connsiteX54" fmla="*/ 401056 w 474024"/>
                        <a:gd name="connsiteY54" fmla="*/ 178857 h 467441"/>
                        <a:gd name="connsiteX55" fmla="*/ 399959 w 474024"/>
                        <a:gd name="connsiteY55" fmla="*/ 184343 h 467441"/>
                        <a:gd name="connsiteX56" fmla="*/ 389534 w 474024"/>
                        <a:gd name="connsiteY56" fmla="*/ 196413 h 467441"/>
                        <a:gd name="connsiteX57" fmla="*/ 388986 w 474024"/>
                        <a:gd name="connsiteY57" fmla="*/ 198059 h 467441"/>
                        <a:gd name="connsiteX58" fmla="*/ 390083 w 474024"/>
                        <a:gd name="connsiteY58" fmla="*/ 200254 h 467441"/>
                        <a:gd name="connsiteX59" fmla="*/ 391180 w 474024"/>
                        <a:gd name="connsiteY59" fmla="*/ 200802 h 467441"/>
                        <a:gd name="connsiteX60" fmla="*/ 393923 w 474024"/>
                        <a:gd name="connsiteY60" fmla="*/ 201351 h 467441"/>
                        <a:gd name="connsiteX61" fmla="*/ 397764 w 474024"/>
                        <a:gd name="connsiteY61" fmla="*/ 206289 h 467441"/>
                        <a:gd name="connsiteX62" fmla="*/ 402153 w 474024"/>
                        <a:gd name="connsiteY62" fmla="*/ 207386 h 467441"/>
                        <a:gd name="connsiteX63" fmla="*/ 403799 w 474024"/>
                        <a:gd name="connsiteY63" fmla="*/ 206289 h 467441"/>
                        <a:gd name="connsiteX64" fmla="*/ 407091 w 474024"/>
                        <a:gd name="connsiteY64" fmla="*/ 197510 h 467441"/>
                        <a:gd name="connsiteX65" fmla="*/ 410931 w 474024"/>
                        <a:gd name="connsiteY65" fmla="*/ 195865 h 467441"/>
                        <a:gd name="connsiteX66" fmla="*/ 445496 w 474024"/>
                        <a:gd name="connsiteY66" fmla="*/ 195865 h 467441"/>
                        <a:gd name="connsiteX67" fmla="*/ 453177 w 474024"/>
                        <a:gd name="connsiteY67" fmla="*/ 192573 h 467441"/>
                        <a:gd name="connsiteX68" fmla="*/ 458114 w 474024"/>
                        <a:gd name="connsiteY68" fmla="*/ 194219 h 467441"/>
                        <a:gd name="connsiteX69" fmla="*/ 460309 w 474024"/>
                        <a:gd name="connsiteY69" fmla="*/ 194219 h 467441"/>
                        <a:gd name="connsiteX70" fmla="*/ 466344 w 474024"/>
                        <a:gd name="connsiteY70" fmla="*/ 189830 h 467441"/>
                        <a:gd name="connsiteX71" fmla="*/ 467990 w 474024"/>
                        <a:gd name="connsiteY71" fmla="*/ 189830 h 467441"/>
                        <a:gd name="connsiteX72" fmla="*/ 470184 w 474024"/>
                        <a:gd name="connsiteY72" fmla="*/ 192024 h 467441"/>
                        <a:gd name="connsiteX73" fmla="*/ 470733 w 474024"/>
                        <a:gd name="connsiteY73" fmla="*/ 194767 h 467441"/>
                        <a:gd name="connsiteX74" fmla="*/ 469087 w 474024"/>
                        <a:gd name="connsiteY74" fmla="*/ 195316 h 467441"/>
                        <a:gd name="connsiteX75" fmla="*/ 468539 w 474024"/>
                        <a:gd name="connsiteY75" fmla="*/ 197510 h 467441"/>
                        <a:gd name="connsiteX76" fmla="*/ 469636 w 474024"/>
                        <a:gd name="connsiteY76" fmla="*/ 204094 h 467441"/>
                        <a:gd name="connsiteX77" fmla="*/ 464150 w 474024"/>
                        <a:gd name="connsiteY77" fmla="*/ 264445 h 467441"/>
                        <a:gd name="connsiteX78" fmla="*/ 465247 w 474024"/>
                        <a:gd name="connsiteY78" fmla="*/ 267188 h 467441"/>
                        <a:gd name="connsiteX79" fmla="*/ 467990 w 474024"/>
                        <a:gd name="connsiteY79" fmla="*/ 269382 h 467441"/>
                        <a:gd name="connsiteX80" fmla="*/ 474025 w 474024"/>
                        <a:gd name="connsiteY80" fmla="*/ 271577 h 467441"/>
                        <a:gd name="connsiteX81" fmla="*/ 392278 w 474024"/>
                        <a:gd name="connsiteY81" fmla="*/ 271577 h 467441"/>
                        <a:gd name="connsiteX82" fmla="*/ 392278 w 474024"/>
                        <a:gd name="connsiteY82" fmla="*/ 410383 h 467441"/>
                        <a:gd name="connsiteX83" fmla="*/ 397215 w 474024"/>
                        <a:gd name="connsiteY83" fmla="*/ 414223 h 467441"/>
                        <a:gd name="connsiteX84" fmla="*/ 399959 w 474024"/>
                        <a:gd name="connsiteY84" fmla="*/ 419710 h 467441"/>
                        <a:gd name="connsiteX85" fmla="*/ 428488 w 474024"/>
                        <a:gd name="connsiteY85" fmla="*/ 442204 h 467441"/>
                        <a:gd name="connsiteX86" fmla="*/ 431231 w 474024"/>
                        <a:gd name="connsiteY86" fmla="*/ 446593 h 467441"/>
                        <a:gd name="connsiteX87" fmla="*/ 437266 w 474024"/>
                        <a:gd name="connsiteY87" fmla="*/ 449885 h 467441"/>
                        <a:gd name="connsiteX88" fmla="*/ 435071 w 474024"/>
                        <a:gd name="connsiteY88" fmla="*/ 450982 h 467441"/>
                        <a:gd name="connsiteX89" fmla="*/ 370332 w 474024"/>
                        <a:gd name="connsiteY89" fmla="*/ 467441 h 467441"/>
                        <a:gd name="connsiteX90" fmla="*/ 367589 w 474024"/>
                        <a:gd name="connsiteY90" fmla="*/ 465247 h 467441"/>
                        <a:gd name="connsiteX91" fmla="*/ 267736 w 474024"/>
                        <a:gd name="connsiteY91" fmla="*/ 453725 h 467441"/>
                        <a:gd name="connsiteX92" fmla="*/ 262799 w 474024"/>
                        <a:gd name="connsiteY92" fmla="*/ 447142 h 467441"/>
                        <a:gd name="connsiteX93" fmla="*/ 252374 w 474024"/>
                        <a:gd name="connsiteY93" fmla="*/ 439461 h 467441"/>
                        <a:gd name="connsiteX94" fmla="*/ 85588 w 474024"/>
                        <a:gd name="connsiteY94" fmla="*/ 440558 h 467441"/>
                        <a:gd name="connsiteX95" fmla="*/ 76810 w 474024"/>
                        <a:gd name="connsiteY95" fmla="*/ 432329 h 467441"/>
                        <a:gd name="connsiteX96" fmla="*/ 67483 w 474024"/>
                        <a:gd name="connsiteY96" fmla="*/ 428488 h 467441"/>
                        <a:gd name="connsiteX97" fmla="*/ 64191 w 474024"/>
                        <a:gd name="connsiteY97" fmla="*/ 423002 h 467441"/>
                        <a:gd name="connsiteX98" fmla="*/ 41697 w 474024"/>
                        <a:gd name="connsiteY98" fmla="*/ 421904 h 467441"/>
                        <a:gd name="connsiteX99" fmla="*/ 35662 w 474024"/>
                        <a:gd name="connsiteY99" fmla="*/ 424648 h 467441"/>
                        <a:gd name="connsiteX100" fmla="*/ 28529 w 474024"/>
                        <a:gd name="connsiteY100" fmla="*/ 431231 h 467441"/>
                        <a:gd name="connsiteX101" fmla="*/ 24140 w 474024"/>
                        <a:gd name="connsiteY101" fmla="*/ 433426 h 467441"/>
                        <a:gd name="connsiteX102" fmla="*/ 17556 w 474024"/>
                        <a:gd name="connsiteY102" fmla="*/ 429037 h 467441"/>
                        <a:gd name="connsiteX103" fmla="*/ 2195 w 474024"/>
                        <a:gd name="connsiteY103" fmla="*/ 439461 h 467441"/>
                        <a:gd name="connsiteX104" fmla="*/ 0 w 474024"/>
                        <a:gd name="connsiteY104" fmla="*/ 413126 h 467441"/>
                        <a:gd name="connsiteX105" fmla="*/ 3292 w 474024"/>
                        <a:gd name="connsiteY105" fmla="*/ 414772 h 467441"/>
                        <a:gd name="connsiteX106" fmla="*/ 3292 w 474024"/>
                        <a:gd name="connsiteY106" fmla="*/ 407091 h 46744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  <a:cxn ang="0">
                          <a:pos x="connsiteX45" y="connsiteY45"/>
                        </a:cxn>
                        <a:cxn ang="0">
                          <a:pos x="connsiteX46" y="connsiteY46"/>
                        </a:cxn>
                        <a:cxn ang="0">
                          <a:pos x="connsiteX47" y="connsiteY47"/>
                        </a:cxn>
                        <a:cxn ang="0">
                          <a:pos x="connsiteX48" y="connsiteY48"/>
                        </a:cxn>
                        <a:cxn ang="0">
                          <a:pos x="connsiteX49" y="connsiteY49"/>
                        </a:cxn>
                        <a:cxn ang="0">
                          <a:pos x="connsiteX50" y="connsiteY50"/>
                        </a:cxn>
                        <a:cxn ang="0">
                          <a:pos x="connsiteX51" y="connsiteY51"/>
                        </a:cxn>
                        <a:cxn ang="0">
                          <a:pos x="connsiteX52" y="connsiteY52"/>
                        </a:cxn>
                        <a:cxn ang="0">
                          <a:pos x="connsiteX53" y="connsiteY53"/>
                        </a:cxn>
                        <a:cxn ang="0">
                          <a:pos x="connsiteX54" y="connsiteY54"/>
                        </a:cxn>
                        <a:cxn ang="0">
                          <a:pos x="connsiteX55" y="connsiteY55"/>
                        </a:cxn>
                        <a:cxn ang="0">
                          <a:pos x="connsiteX56" y="connsiteY56"/>
                        </a:cxn>
                        <a:cxn ang="0">
                          <a:pos x="connsiteX57" y="connsiteY57"/>
                        </a:cxn>
                        <a:cxn ang="0">
                          <a:pos x="connsiteX58" y="connsiteY58"/>
                        </a:cxn>
                        <a:cxn ang="0">
                          <a:pos x="connsiteX59" y="connsiteY59"/>
                        </a:cxn>
                        <a:cxn ang="0">
                          <a:pos x="connsiteX60" y="connsiteY60"/>
                        </a:cxn>
                        <a:cxn ang="0">
                          <a:pos x="connsiteX61" y="connsiteY61"/>
                        </a:cxn>
                        <a:cxn ang="0">
                          <a:pos x="connsiteX62" y="connsiteY62"/>
                        </a:cxn>
                        <a:cxn ang="0">
                          <a:pos x="connsiteX63" y="connsiteY63"/>
                        </a:cxn>
                        <a:cxn ang="0">
                          <a:pos x="connsiteX64" y="connsiteY64"/>
                        </a:cxn>
                        <a:cxn ang="0">
                          <a:pos x="connsiteX65" y="connsiteY65"/>
                        </a:cxn>
                        <a:cxn ang="0">
                          <a:pos x="connsiteX66" y="connsiteY66"/>
                        </a:cxn>
                        <a:cxn ang="0">
                          <a:pos x="connsiteX67" y="connsiteY67"/>
                        </a:cxn>
                        <a:cxn ang="0">
                          <a:pos x="connsiteX68" y="connsiteY68"/>
                        </a:cxn>
                        <a:cxn ang="0">
                          <a:pos x="connsiteX69" y="connsiteY69"/>
                        </a:cxn>
                        <a:cxn ang="0">
                          <a:pos x="connsiteX70" y="connsiteY70"/>
                        </a:cxn>
                        <a:cxn ang="0">
                          <a:pos x="connsiteX71" y="connsiteY71"/>
                        </a:cxn>
                        <a:cxn ang="0">
                          <a:pos x="connsiteX72" y="connsiteY72"/>
                        </a:cxn>
                        <a:cxn ang="0">
                          <a:pos x="connsiteX73" y="connsiteY73"/>
                        </a:cxn>
                        <a:cxn ang="0">
                          <a:pos x="connsiteX74" y="connsiteY74"/>
                        </a:cxn>
                        <a:cxn ang="0">
                          <a:pos x="connsiteX75" y="connsiteY75"/>
                        </a:cxn>
                        <a:cxn ang="0">
                          <a:pos x="connsiteX76" y="connsiteY76"/>
                        </a:cxn>
                        <a:cxn ang="0">
                          <a:pos x="connsiteX77" y="connsiteY77"/>
                        </a:cxn>
                        <a:cxn ang="0">
                          <a:pos x="connsiteX78" y="connsiteY78"/>
                        </a:cxn>
                        <a:cxn ang="0">
                          <a:pos x="connsiteX79" y="connsiteY79"/>
                        </a:cxn>
                        <a:cxn ang="0">
                          <a:pos x="connsiteX80" y="connsiteY80"/>
                        </a:cxn>
                        <a:cxn ang="0">
                          <a:pos x="connsiteX81" y="connsiteY81"/>
                        </a:cxn>
                        <a:cxn ang="0">
                          <a:pos x="connsiteX82" y="connsiteY82"/>
                        </a:cxn>
                        <a:cxn ang="0">
                          <a:pos x="connsiteX83" y="connsiteY83"/>
                        </a:cxn>
                        <a:cxn ang="0">
                          <a:pos x="connsiteX84" y="connsiteY84"/>
                        </a:cxn>
                        <a:cxn ang="0">
                          <a:pos x="connsiteX85" y="connsiteY85"/>
                        </a:cxn>
                        <a:cxn ang="0">
                          <a:pos x="connsiteX86" y="connsiteY86"/>
                        </a:cxn>
                        <a:cxn ang="0">
                          <a:pos x="connsiteX87" y="connsiteY87"/>
                        </a:cxn>
                        <a:cxn ang="0">
                          <a:pos x="connsiteX88" y="connsiteY88"/>
                        </a:cxn>
                        <a:cxn ang="0">
                          <a:pos x="connsiteX89" y="connsiteY89"/>
                        </a:cxn>
                        <a:cxn ang="0">
                          <a:pos x="connsiteX90" y="connsiteY90"/>
                        </a:cxn>
                        <a:cxn ang="0">
                          <a:pos x="connsiteX91" y="connsiteY91"/>
                        </a:cxn>
                        <a:cxn ang="0">
                          <a:pos x="connsiteX92" y="connsiteY92"/>
                        </a:cxn>
                        <a:cxn ang="0">
                          <a:pos x="connsiteX93" y="connsiteY93"/>
                        </a:cxn>
                        <a:cxn ang="0">
                          <a:pos x="connsiteX94" y="connsiteY94"/>
                        </a:cxn>
                        <a:cxn ang="0">
                          <a:pos x="connsiteX95" y="connsiteY95"/>
                        </a:cxn>
                        <a:cxn ang="0">
                          <a:pos x="connsiteX96" y="connsiteY96"/>
                        </a:cxn>
                        <a:cxn ang="0">
                          <a:pos x="connsiteX97" y="connsiteY97"/>
                        </a:cxn>
                        <a:cxn ang="0">
                          <a:pos x="connsiteX98" y="connsiteY98"/>
                        </a:cxn>
                        <a:cxn ang="0">
                          <a:pos x="connsiteX99" y="connsiteY99"/>
                        </a:cxn>
                        <a:cxn ang="0">
                          <a:pos x="connsiteX100" y="connsiteY100"/>
                        </a:cxn>
                        <a:cxn ang="0">
                          <a:pos x="connsiteX101" y="connsiteY101"/>
                        </a:cxn>
                        <a:cxn ang="0">
                          <a:pos x="connsiteX102" y="connsiteY102"/>
                        </a:cxn>
                        <a:cxn ang="0">
                          <a:pos x="connsiteX103" y="connsiteY103"/>
                        </a:cxn>
                        <a:cxn ang="0">
                          <a:pos x="connsiteX104" y="connsiteY104"/>
                        </a:cxn>
                        <a:cxn ang="0">
                          <a:pos x="connsiteX105" y="connsiteY105"/>
                        </a:cxn>
                        <a:cxn ang="0">
                          <a:pos x="connsiteX106" y="connsiteY106"/>
                        </a:cxn>
                      </a:cxnLst>
                      <a:rect l="l" t="t" r="r" b="b"/>
                      <a:pathLst>
                        <a:path w="474024" h="467441">
                          <a:moveTo>
                            <a:pt x="3292" y="407091"/>
                          </a:moveTo>
                          <a:lnTo>
                            <a:pt x="4389" y="385694"/>
                          </a:lnTo>
                          <a:lnTo>
                            <a:pt x="9875" y="379659"/>
                          </a:lnTo>
                          <a:lnTo>
                            <a:pt x="29627" y="307787"/>
                          </a:lnTo>
                          <a:lnTo>
                            <a:pt x="29627" y="302301"/>
                          </a:lnTo>
                          <a:lnTo>
                            <a:pt x="31821" y="299009"/>
                          </a:lnTo>
                          <a:lnTo>
                            <a:pt x="32370" y="294620"/>
                          </a:lnTo>
                          <a:lnTo>
                            <a:pt x="36759" y="284196"/>
                          </a:lnTo>
                          <a:lnTo>
                            <a:pt x="46634" y="274869"/>
                          </a:lnTo>
                          <a:lnTo>
                            <a:pt x="48280" y="265542"/>
                          </a:lnTo>
                          <a:lnTo>
                            <a:pt x="61996" y="259507"/>
                          </a:lnTo>
                          <a:lnTo>
                            <a:pt x="74066" y="243596"/>
                          </a:lnTo>
                          <a:lnTo>
                            <a:pt x="80101" y="197510"/>
                          </a:lnTo>
                          <a:lnTo>
                            <a:pt x="83393" y="192573"/>
                          </a:lnTo>
                          <a:lnTo>
                            <a:pt x="80101" y="179405"/>
                          </a:lnTo>
                          <a:lnTo>
                            <a:pt x="71872" y="172273"/>
                          </a:lnTo>
                          <a:lnTo>
                            <a:pt x="68580" y="164044"/>
                          </a:lnTo>
                          <a:lnTo>
                            <a:pt x="64739" y="159106"/>
                          </a:lnTo>
                          <a:lnTo>
                            <a:pt x="55961" y="127833"/>
                          </a:lnTo>
                          <a:lnTo>
                            <a:pt x="55961" y="123444"/>
                          </a:lnTo>
                          <a:lnTo>
                            <a:pt x="64191" y="113569"/>
                          </a:lnTo>
                          <a:lnTo>
                            <a:pt x="64191" y="102047"/>
                          </a:lnTo>
                          <a:lnTo>
                            <a:pt x="61996" y="92172"/>
                          </a:lnTo>
                          <a:lnTo>
                            <a:pt x="57059" y="86137"/>
                          </a:lnTo>
                          <a:lnTo>
                            <a:pt x="46086" y="47183"/>
                          </a:lnTo>
                          <a:lnTo>
                            <a:pt x="26883" y="18654"/>
                          </a:lnTo>
                          <a:lnTo>
                            <a:pt x="27432" y="17008"/>
                          </a:lnTo>
                          <a:lnTo>
                            <a:pt x="27981" y="14813"/>
                          </a:lnTo>
                          <a:lnTo>
                            <a:pt x="63642" y="1646"/>
                          </a:lnTo>
                          <a:lnTo>
                            <a:pt x="105339" y="0"/>
                          </a:lnTo>
                          <a:lnTo>
                            <a:pt x="110277" y="1646"/>
                          </a:lnTo>
                          <a:lnTo>
                            <a:pt x="175016" y="0"/>
                          </a:lnTo>
                          <a:lnTo>
                            <a:pt x="176662" y="549"/>
                          </a:lnTo>
                          <a:lnTo>
                            <a:pt x="179954" y="6035"/>
                          </a:lnTo>
                          <a:lnTo>
                            <a:pt x="182697" y="6035"/>
                          </a:lnTo>
                          <a:lnTo>
                            <a:pt x="185440" y="4938"/>
                          </a:lnTo>
                          <a:lnTo>
                            <a:pt x="201351" y="55961"/>
                          </a:lnTo>
                          <a:lnTo>
                            <a:pt x="223845" y="83942"/>
                          </a:lnTo>
                          <a:lnTo>
                            <a:pt x="232623" y="87234"/>
                          </a:lnTo>
                          <a:lnTo>
                            <a:pt x="241950" y="87234"/>
                          </a:lnTo>
                          <a:lnTo>
                            <a:pt x="264993" y="80650"/>
                          </a:lnTo>
                          <a:lnTo>
                            <a:pt x="290231" y="81747"/>
                          </a:lnTo>
                          <a:lnTo>
                            <a:pt x="292425" y="66386"/>
                          </a:lnTo>
                          <a:lnTo>
                            <a:pt x="294620" y="63642"/>
                          </a:lnTo>
                          <a:lnTo>
                            <a:pt x="299009" y="44440"/>
                          </a:lnTo>
                          <a:lnTo>
                            <a:pt x="328635" y="43891"/>
                          </a:lnTo>
                          <a:lnTo>
                            <a:pt x="329733" y="40051"/>
                          </a:lnTo>
                          <a:lnTo>
                            <a:pt x="345643" y="40051"/>
                          </a:lnTo>
                          <a:lnTo>
                            <a:pt x="345095" y="55413"/>
                          </a:lnTo>
                          <a:lnTo>
                            <a:pt x="378562" y="55961"/>
                          </a:lnTo>
                          <a:lnTo>
                            <a:pt x="382402" y="64191"/>
                          </a:lnTo>
                          <a:lnTo>
                            <a:pt x="386791" y="116861"/>
                          </a:lnTo>
                          <a:lnTo>
                            <a:pt x="384597" y="127833"/>
                          </a:lnTo>
                          <a:lnTo>
                            <a:pt x="385694" y="143195"/>
                          </a:lnTo>
                          <a:lnTo>
                            <a:pt x="401056" y="178857"/>
                          </a:lnTo>
                          <a:lnTo>
                            <a:pt x="399959" y="184343"/>
                          </a:lnTo>
                          <a:lnTo>
                            <a:pt x="389534" y="196413"/>
                          </a:lnTo>
                          <a:lnTo>
                            <a:pt x="388986" y="198059"/>
                          </a:lnTo>
                          <a:lnTo>
                            <a:pt x="390083" y="200254"/>
                          </a:lnTo>
                          <a:lnTo>
                            <a:pt x="391180" y="200802"/>
                          </a:lnTo>
                          <a:lnTo>
                            <a:pt x="393923" y="201351"/>
                          </a:lnTo>
                          <a:lnTo>
                            <a:pt x="397764" y="206289"/>
                          </a:lnTo>
                          <a:lnTo>
                            <a:pt x="402153" y="207386"/>
                          </a:lnTo>
                          <a:lnTo>
                            <a:pt x="403799" y="206289"/>
                          </a:lnTo>
                          <a:lnTo>
                            <a:pt x="407091" y="197510"/>
                          </a:lnTo>
                          <a:lnTo>
                            <a:pt x="410931" y="195865"/>
                          </a:lnTo>
                          <a:lnTo>
                            <a:pt x="445496" y="195865"/>
                          </a:lnTo>
                          <a:lnTo>
                            <a:pt x="453177" y="192573"/>
                          </a:lnTo>
                          <a:lnTo>
                            <a:pt x="458114" y="194219"/>
                          </a:lnTo>
                          <a:lnTo>
                            <a:pt x="460309" y="194219"/>
                          </a:lnTo>
                          <a:lnTo>
                            <a:pt x="466344" y="189830"/>
                          </a:lnTo>
                          <a:lnTo>
                            <a:pt x="467990" y="189830"/>
                          </a:lnTo>
                          <a:lnTo>
                            <a:pt x="470184" y="192024"/>
                          </a:lnTo>
                          <a:lnTo>
                            <a:pt x="470733" y="194767"/>
                          </a:lnTo>
                          <a:lnTo>
                            <a:pt x="469087" y="195316"/>
                          </a:lnTo>
                          <a:lnTo>
                            <a:pt x="468539" y="197510"/>
                          </a:lnTo>
                          <a:lnTo>
                            <a:pt x="469636" y="204094"/>
                          </a:lnTo>
                          <a:lnTo>
                            <a:pt x="464150" y="264445"/>
                          </a:lnTo>
                          <a:lnTo>
                            <a:pt x="465247" y="267188"/>
                          </a:lnTo>
                          <a:lnTo>
                            <a:pt x="467990" y="269382"/>
                          </a:lnTo>
                          <a:lnTo>
                            <a:pt x="474025" y="271577"/>
                          </a:lnTo>
                          <a:lnTo>
                            <a:pt x="392278" y="271577"/>
                          </a:lnTo>
                          <a:lnTo>
                            <a:pt x="392278" y="410383"/>
                          </a:lnTo>
                          <a:lnTo>
                            <a:pt x="397215" y="414223"/>
                          </a:lnTo>
                          <a:lnTo>
                            <a:pt x="399959" y="419710"/>
                          </a:lnTo>
                          <a:lnTo>
                            <a:pt x="428488" y="442204"/>
                          </a:lnTo>
                          <a:lnTo>
                            <a:pt x="431231" y="446593"/>
                          </a:lnTo>
                          <a:lnTo>
                            <a:pt x="437266" y="449885"/>
                          </a:lnTo>
                          <a:lnTo>
                            <a:pt x="435071" y="450982"/>
                          </a:lnTo>
                          <a:lnTo>
                            <a:pt x="370332" y="467441"/>
                          </a:lnTo>
                          <a:lnTo>
                            <a:pt x="367589" y="465247"/>
                          </a:lnTo>
                          <a:lnTo>
                            <a:pt x="267736" y="453725"/>
                          </a:lnTo>
                          <a:lnTo>
                            <a:pt x="262799" y="447142"/>
                          </a:lnTo>
                          <a:lnTo>
                            <a:pt x="252374" y="439461"/>
                          </a:lnTo>
                          <a:lnTo>
                            <a:pt x="85588" y="440558"/>
                          </a:lnTo>
                          <a:lnTo>
                            <a:pt x="76810" y="432329"/>
                          </a:lnTo>
                          <a:lnTo>
                            <a:pt x="67483" y="428488"/>
                          </a:lnTo>
                          <a:lnTo>
                            <a:pt x="64191" y="423002"/>
                          </a:lnTo>
                          <a:lnTo>
                            <a:pt x="41697" y="421904"/>
                          </a:lnTo>
                          <a:lnTo>
                            <a:pt x="35662" y="424648"/>
                          </a:lnTo>
                          <a:lnTo>
                            <a:pt x="28529" y="431231"/>
                          </a:lnTo>
                          <a:lnTo>
                            <a:pt x="24140" y="433426"/>
                          </a:lnTo>
                          <a:lnTo>
                            <a:pt x="17556" y="429037"/>
                          </a:lnTo>
                          <a:lnTo>
                            <a:pt x="2195" y="439461"/>
                          </a:lnTo>
                          <a:lnTo>
                            <a:pt x="0" y="413126"/>
                          </a:lnTo>
                          <a:lnTo>
                            <a:pt x="3292" y="414772"/>
                          </a:lnTo>
                          <a:lnTo>
                            <a:pt x="3292" y="407091"/>
                          </a:lnTo>
                        </a:path>
                      </a:pathLst>
                    </a:custGeom>
                    <a:grpFill/>
                    <a:ln w="1270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70" name="Graphic 7">
                      <a:extLst>
                        <a:ext uri="{FF2B5EF4-FFF2-40B4-BE49-F238E27FC236}">
                          <a16:creationId xmlns:a16="http://schemas.microsoft.com/office/drawing/2014/main" id="{B00B01B6-E967-D96C-2A10-02012CD1554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720869" y="5129324"/>
                      <a:ext cx="480508" cy="423497"/>
                    </a:xfrm>
                    <a:custGeom>
                      <a:avLst/>
                      <a:gdLst>
                        <a:gd name="connsiteX0" fmla="*/ 128382 w 615025"/>
                        <a:gd name="connsiteY0" fmla="*/ 109728 h 542055"/>
                        <a:gd name="connsiteX1" fmla="*/ 128382 w 615025"/>
                        <a:gd name="connsiteY1" fmla="*/ 267187 h 542055"/>
                        <a:gd name="connsiteX2" fmla="*/ 116860 w 615025"/>
                        <a:gd name="connsiteY2" fmla="*/ 271577 h 542055"/>
                        <a:gd name="connsiteX3" fmla="*/ 96561 w 615025"/>
                        <a:gd name="connsiteY3" fmla="*/ 288585 h 542055"/>
                        <a:gd name="connsiteX4" fmla="*/ 69129 w 615025"/>
                        <a:gd name="connsiteY4" fmla="*/ 286390 h 542055"/>
                        <a:gd name="connsiteX5" fmla="*/ 58705 w 615025"/>
                        <a:gd name="connsiteY5" fmla="*/ 289682 h 542055"/>
                        <a:gd name="connsiteX6" fmla="*/ 47732 w 615025"/>
                        <a:gd name="connsiteY6" fmla="*/ 288585 h 542055"/>
                        <a:gd name="connsiteX7" fmla="*/ 40051 w 615025"/>
                        <a:gd name="connsiteY7" fmla="*/ 279806 h 542055"/>
                        <a:gd name="connsiteX8" fmla="*/ 40051 w 615025"/>
                        <a:gd name="connsiteY8" fmla="*/ 271028 h 542055"/>
                        <a:gd name="connsiteX9" fmla="*/ 22494 w 615025"/>
                        <a:gd name="connsiteY9" fmla="*/ 258958 h 542055"/>
                        <a:gd name="connsiteX10" fmla="*/ 14265 w 615025"/>
                        <a:gd name="connsiteY10" fmla="*/ 259506 h 542055"/>
                        <a:gd name="connsiteX11" fmla="*/ 6035 w 615025"/>
                        <a:gd name="connsiteY11" fmla="*/ 272125 h 542055"/>
                        <a:gd name="connsiteX12" fmla="*/ 3292 w 615025"/>
                        <a:gd name="connsiteY12" fmla="*/ 274320 h 542055"/>
                        <a:gd name="connsiteX13" fmla="*/ 0 w 615025"/>
                        <a:gd name="connsiteY13" fmla="*/ 274320 h 542055"/>
                        <a:gd name="connsiteX14" fmla="*/ 1646 w 615025"/>
                        <a:gd name="connsiteY14" fmla="*/ 277063 h 542055"/>
                        <a:gd name="connsiteX15" fmla="*/ 1097 w 615025"/>
                        <a:gd name="connsiteY15" fmla="*/ 282000 h 542055"/>
                        <a:gd name="connsiteX16" fmla="*/ 9876 w 615025"/>
                        <a:gd name="connsiteY16" fmla="*/ 291876 h 542055"/>
                        <a:gd name="connsiteX17" fmla="*/ 66934 w 615025"/>
                        <a:gd name="connsiteY17" fmla="*/ 416417 h 542055"/>
                        <a:gd name="connsiteX18" fmla="*/ 68580 w 615025"/>
                        <a:gd name="connsiteY18" fmla="*/ 443849 h 542055"/>
                        <a:gd name="connsiteX19" fmla="*/ 61996 w 615025"/>
                        <a:gd name="connsiteY19" fmla="*/ 455371 h 542055"/>
                        <a:gd name="connsiteX20" fmla="*/ 53767 w 615025"/>
                        <a:gd name="connsiteY20" fmla="*/ 452079 h 542055"/>
                        <a:gd name="connsiteX21" fmla="*/ 52121 w 615025"/>
                        <a:gd name="connsiteY21" fmla="*/ 456468 h 542055"/>
                        <a:gd name="connsiteX22" fmla="*/ 51572 w 615025"/>
                        <a:gd name="connsiteY22" fmla="*/ 463601 h 542055"/>
                        <a:gd name="connsiteX23" fmla="*/ 53218 w 615025"/>
                        <a:gd name="connsiteY23" fmla="*/ 464149 h 542055"/>
                        <a:gd name="connsiteX24" fmla="*/ 57607 w 615025"/>
                        <a:gd name="connsiteY24" fmla="*/ 467441 h 542055"/>
                        <a:gd name="connsiteX25" fmla="*/ 59253 w 615025"/>
                        <a:gd name="connsiteY25" fmla="*/ 472379 h 542055"/>
                        <a:gd name="connsiteX26" fmla="*/ 56510 w 615025"/>
                        <a:gd name="connsiteY26" fmla="*/ 472927 h 542055"/>
                        <a:gd name="connsiteX27" fmla="*/ 60899 w 615025"/>
                        <a:gd name="connsiteY27" fmla="*/ 480060 h 542055"/>
                        <a:gd name="connsiteX28" fmla="*/ 63642 w 615025"/>
                        <a:gd name="connsiteY28" fmla="*/ 482254 h 542055"/>
                        <a:gd name="connsiteX29" fmla="*/ 73518 w 615025"/>
                        <a:gd name="connsiteY29" fmla="*/ 497068 h 542055"/>
                        <a:gd name="connsiteX30" fmla="*/ 73518 w 615025"/>
                        <a:gd name="connsiteY30" fmla="*/ 502554 h 542055"/>
                        <a:gd name="connsiteX31" fmla="*/ 70775 w 615025"/>
                        <a:gd name="connsiteY31" fmla="*/ 508041 h 542055"/>
                        <a:gd name="connsiteX32" fmla="*/ 70775 w 615025"/>
                        <a:gd name="connsiteY32" fmla="*/ 520659 h 542055"/>
                        <a:gd name="connsiteX33" fmla="*/ 74615 w 615025"/>
                        <a:gd name="connsiteY33" fmla="*/ 526694 h 542055"/>
                        <a:gd name="connsiteX34" fmla="*/ 75712 w 615025"/>
                        <a:gd name="connsiteY34" fmla="*/ 526145 h 542055"/>
                        <a:gd name="connsiteX35" fmla="*/ 75164 w 615025"/>
                        <a:gd name="connsiteY35" fmla="*/ 516270 h 542055"/>
                        <a:gd name="connsiteX36" fmla="*/ 76810 w 615025"/>
                        <a:gd name="connsiteY36" fmla="*/ 514075 h 542055"/>
                        <a:gd name="connsiteX37" fmla="*/ 87782 w 615025"/>
                        <a:gd name="connsiteY37" fmla="*/ 513527 h 542055"/>
                        <a:gd name="connsiteX38" fmla="*/ 88331 w 615025"/>
                        <a:gd name="connsiteY38" fmla="*/ 521757 h 542055"/>
                        <a:gd name="connsiteX39" fmla="*/ 87234 w 615025"/>
                        <a:gd name="connsiteY39" fmla="*/ 526145 h 542055"/>
                        <a:gd name="connsiteX40" fmla="*/ 90526 w 615025"/>
                        <a:gd name="connsiteY40" fmla="*/ 527791 h 542055"/>
                        <a:gd name="connsiteX41" fmla="*/ 103693 w 615025"/>
                        <a:gd name="connsiteY41" fmla="*/ 527243 h 542055"/>
                        <a:gd name="connsiteX42" fmla="*/ 106436 w 615025"/>
                        <a:gd name="connsiteY42" fmla="*/ 530535 h 542055"/>
                        <a:gd name="connsiteX43" fmla="*/ 105888 w 615025"/>
                        <a:gd name="connsiteY43" fmla="*/ 535473 h 542055"/>
                        <a:gd name="connsiteX44" fmla="*/ 114117 w 615025"/>
                        <a:gd name="connsiteY44" fmla="*/ 539861 h 542055"/>
                        <a:gd name="connsiteX45" fmla="*/ 119604 w 615025"/>
                        <a:gd name="connsiteY45" fmla="*/ 539313 h 542055"/>
                        <a:gd name="connsiteX46" fmla="*/ 125639 w 615025"/>
                        <a:gd name="connsiteY46" fmla="*/ 542056 h 542055"/>
                        <a:gd name="connsiteX47" fmla="*/ 133320 w 615025"/>
                        <a:gd name="connsiteY47" fmla="*/ 542056 h 542055"/>
                        <a:gd name="connsiteX48" fmla="*/ 139355 w 615025"/>
                        <a:gd name="connsiteY48" fmla="*/ 539861 h 542055"/>
                        <a:gd name="connsiteX49" fmla="*/ 146487 w 615025"/>
                        <a:gd name="connsiteY49" fmla="*/ 531083 h 542055"/>
                        <a:gd name="connsiteX50" fmla="*/ 159106 w 615025"/>
                        <a:gd name="connsiteY50" fmla="*/ 530535 h 542055"/>
                        <a:gd name="connsiteX51" fmla="*/ 161849 w 615025"/>
                        <a:gd name="connsiteY51" fmla="*/ 527791 h 542055"/>
                        <a:gd name="connsiteX52" fmla="*/ 167884 w 615025"/>
                        <a:gd name="connsiteY52" fmla="*/ 526694 h 542055"/>
                        <a:gd name="connsiteX53" fmla="*/ 180503 w 615025"/>
                        <a:gd name="connsiteY53" fmla="*/ 528888 h 542055"/>
                        <a:gd name="connsiteX54" fmla="*/ 182697 w 615025"/>
                        <a:gd name="connsiteY54" fmla="*/ 526145 h 542055"/>
                        <a:gd name="connsiteX55" fmla="*/ 196962 w 615025"/>
                        <a:gd name="connsiteY55" fmla="*/ 527791 h 542055"/>
                        <a:gd name="connsiteX56" fmla="*/ 201351 w 615025"/>
                        <a:gd name="connsiteY56" fmla="*/ 526145 h 542055"/>
                        <a:gd name="connsiteX57" fmla="*/ 202448 w 615025"/>
                        <a:gd name="connsiteY57" fmla="*/ 521208 h 542055"/>
                        <a:gd name="connsiteX58" fmla="*/ 212872 w 615025"/>
                        <a:gd name="connsiteY58" fmla="*/ 515722 h 542055"/>
                        <a:gd name="connsiteX59" fmla="*/ 216164 w 615025"/>
                        <a:gd name="connsiteY59" fmla="*/ 511881 h 542055"/>
                        <a:gd name="connsiteX60" fmla="*/ 233721 w 615025"/>
                        <a:gd name="connsiteY60" fmla="*/ 510784 h 542055"/>
                        <a:gd name="connsiteX61" fmla="*/ 249631 w 615025"/>
                        <a:gd name="connsiteY61" fmla="*/ 515722 h 542055"/>
                        <a:gd name="connsiteX62" fmla="*/ 255118 w 615025"/>
                        <a:gd name="connsiteY62" fmla="*/ 515172 h 542055"/>
                        <a:gd name="connsiteX63" fmla="*/ 260604 w 615025"/>
                        <a:gd name="connsiteY63" fmla="*/ 510235 h 542055"/>
                        <a:gd name="connsiteX64" fmla="*/ 269931 w 615025"/>
                        <a:gd name="connsiteY64" fmla="*/ 509138 h 542055"/>
                        <a:gd name="connsiteX65" fmla="*/ 314371 w 615025"/>
                        <a:gd name="connsiteY65" fmla="*/ 518465 h 542055"/>
                        <a:gd name="connsiteX66" fmla="*/ 319857 w 615025"/>
                        <a:gd name="connsiteY66" fmla="*/ 509686 h 542055"/>
                        <a:gd name="connsiteX67" fmla="*/ 328087 w 615025"/>
                        <a:gd name="connsiteY67" fmla="*/ 508589 h 542055"/>
                        <a:gd name="connsiteX68" fmla="*/ 347838 w 615025"/>
                        <a:gd name="connsiteY68" fmla="*/ 512978 h 542055"/>
                        <a:gd name="connsiteX69" fmla="*/ 347838 w 615025"/>
                        <a:gd name="connsiteY69" fmla="*/ 508041 h 542055"/>
                        <a:gd name="connsiteX70" fmla="*/ 345095 w 615025"/>
                        <a:gd name="connsiteY70" fmla="*/ 502006 h 542055"/>
                        <a:gd name="connsiteX71" fmla="*/ 350581 w 615025"/>
                        <a:gd name="connsiteY71" fmla="*/ 498713 h 542055"/>
                        <a:gd name="connsiteX72" fmla="*/ 386243 w 615025"/>
                        <a:gd name="connsiteY72" fmla="*/ 496519 h 542055"/>
                        <a:gd name="connsiteX73" fmla="*/ 572780 w 615025"/>
                        <a:gd name="connsiteY73" fmla="*/ 287487 h 542055"/>
                        <a:gd name="connsiteX74" fmla="*/ 579364 w 615025"/>
                        <a:gd name="connsiteY74" fmla="*/ 285293 h 542055"/>
                        <a:gd name="connsiteX75" fmla="*/ 593080 w 615025"/>
                        <a:gd name="connsiteY75" fmla="*/ 274320 h 542055"/>
                        <a:gd name="connsiteX76" fmla="*/ 599115 w 615025"/>
                        <a:gd name="connsiteY76" fmla="*/ 265541 h 542055"/>
                        <a:gd name="connsiteX77" fmla="*/ 615026 w 615025"/>
                        <a:gd name="connsiteY77" fmla="*/ 193121 h 542055"/>
                        <a:gd name="connsiteX78" fmla="*/ 586496 w 615025"/>
                        <a:gd name="connsiteY78" fmla="*/ 192573 h 542055"/>
                        <a:gd name="connsiteX79" fmla="*/ 581558 w 615025"/>
                        <a:gd name="connsiteY79" fmla="*/ 194767 h 542055"/>
                        <a:gd name="connsiteX80" fmla="*/ 577718 w 615025"/>
                        <a:gd name="connsiteY80" fmla="*/ 204642 h 542055"/>
                        <a:gd name="connsiteX81" fmla="*/ 572780 w 615025"/>
                        <a:gd name="connsiteY81" fmla="*/ 211226 h 542055"/>
                        <a:gd name="connsiteX82" fmla="*/ 548091 w 615025"/>
                        <a:gd name="connsiteY82" fmla="*/ 207934 h 542055"/>
                        <a:gd name="connsiteX83" fmla="*/ 540410 w 615025"/>
                        <a:gd name="connsiteY83" fmla="*/ 186538 h 542055"/>
                        <a:gd name="connsiteX84" fmla="*/ 553578 w 615025"/>
                        <a:gd name="connsiteY84" fmla="*/ 155265 h 542055"/>
                        <a:gd name="connsiteX85" fmla="*/ 562905 w 615025"/>
                        <a:gd name="connsiteY85" fmla="*/ 149230 h 542055"/>
                        <a:gd name="connsiteX86" fmla="*/ 578815 w 615025"/>
                        <a:gd name="connsiteY86" fmla="*/ 159106 h 542055"/>
                        <a:gd name="connsiteX87" fmla="*/ 583753 w 615025"/>
                        <a:gd name="connsiteY87" fmla="*/ 153070 h 542055"/>
                        <a:gd name="connsiteX88" fmla="*/ 567294 w 615025"/>
                        <a:gd name="connsiteY88" fmla="*/ 23591 h 542055"/>
                        <a:gd name="connsiteX89" fmla="*/ 566197 w 615025"/>
                        <a:gd name="connsiteY89" fmla="*/ 22494 h 542055"/>
                        <a:gd name="connsiteX90" fmla="*/ 562905 w 615025"/>
                        <a:gd name="connsiteY90" fmla="*/ 21946 h 542055"/>
                        <a:gd name="connsiteX91" fmla="*/ 552481 w 615025"/>
                        <a:gd name="connsiteY91" fmla="*/ 11521 h 542055"/>
                        <a:gd name="connsiteX92" fmla="*/ 538216 w 615025"/>
                        <a:gd name="connsiteY92" fmla="*/ 6583 h 542055"/>
                        <a:gd name="connsiteX93" fmla="*/ 521757 w 615025"/>
                        <a:gd name="connsiteY93" fmla="*/ 7680 h 542055"/>
                        <a:gd name="connsiteX94" fmla="*/ 491033 w 615025"/>
                        <a:gd name="connsiteY94" fmla="*/ 0 h 542055"/>
                        <a:gd name="connsiteX95" fmla="*/ 483352 w 615025"/>
                        <a:gd name="connsiteY95" fmla="*/ 2743 h 542055"/>
                        <a:gd name="connsiteX96" fmla="*/ 481706 w 615025"/>
                        <a:gd name="connsiteY96" fmla="*/ 4937 h 542055"/>
                        <a:gd name="connsiteX97" fmla="*/ 438912 w 615025"/>
                        <a:gd name="connsiteY97" fmla="*/ 27432 h 542055"/>
                        <a:gd name="connsiteX98" fmla="*/ 401605 w 615025"/>
                        <a:gd name="connsiteY98" fmla="*/ 60350 h 542055"/>
                        <a:gd name="connsiteX99" fmla="*/ 381853 w 615025"/>
                        <a:gd name="connsiteY99" fmla="*/ 88331 h 542055"/>
                        <a:gd name="connsiteX100" fmla="*/ 363200 w 615025"/>
                        <a:gd name="connsiteY100" fmla="*/ 101498 h 542055"/>
                        <a:gd name="connsiteX101" fmla="*/ 352776 w 615025"/>
                        <a:gd name="connsiteY101" fmla="*/ 114117 h 542055"/>
                        <a:gd name="connsiteX102" fmla="*/ 343449 w 615025"/>
                        <a:gd name="connsiteY102" fmla="*/ 137709 h 542055"/>
                        <a:gd name="connsiteX103" fmla="*/ 339608 w 615025"/>
                        <a:gd name="connsiteY103" fmla="*/ 142097 h 542055"/>
                        <a:gd name="connsiteX104" fmla="*/ 309433 w 615025"/>
                        <a:gd name="connsiteY104" fmla="*/ 149230 h 542055"/>
                        <a:gd name="connsiteX105" fmla="*/ 299557 w 615025"/>
                        <a:gd name="connsiteY105" fmla="*/ 148681 h 542055"/>
                        <a:gd name="connsiteX106" fmla="*/ 275417 w 615025"/>
                        <a:gd name="connsiteY106" fmla="*/ 136062 h 542055"/>
                        <a:gd name="connsiteX107" fmla="*/ 265542 w 615025"/>
                        <a:gd name="connsiteY107" fmla="*/ 134965 h 542055"/>
                        <a:gd name="connsiteX108" fmla="*/ 257861 w 615025"/>
                        <a:gd name="connsiteY108" fmla="*/ 137709 h 542055"/>
                        <a:gd name="connsiteX109" fmla="*/ 232075 w 615025"/>
                        <a:gd name="connsiteY109" fmla="*/ 169529 h 542055"/>
                        <a:gd name="connsiteX110" fmla="*/ 223845 w 615025"/>
                        <a:gd name="connsiteY110" fmla="*/ 174467 h 542055"/>
                        <a:gd name="connsiteX111" fmla="*/ 213970 w 615025"/>
                        <a:gd name="connsiteY111" fmla="*/ 189829 h 542055"/>
                        <a:gd name="connsiteX112" fmla="*/ 190378 w 615025"/>
                        <a:gd name="connsiteY112" fmla="*/ 195864 h 542055"/>
                        <a:gd name="connsiteX113" fmla="*/ 160203 w 615025"/>
                        <a:gd name="connsiteY113" fmla="*/ 191475 h 542055"/>
                        <a:gd name="connsiteX114" fmla="*/ 157460 w 615025"/>
                        <a:gd name="connsiteY114" fmla="*/ 185440 h 542055"/>
                        <a:gd name="connsiteX115" fmla="*/ 164592 w 615025"/>
                        <a:gd name="connsiteY115" fmla="*/ 161849 h 542055"/>
                        <a:gd name="connsiteX116" fmla="*/ 162946 w 615025"/>
                        <a:gd name="connsiteY116" fmla="*/ 145938 h 542055"/>
                        <a:gd name="connsiteX117" fmla="*/ 131125 w 615025"/>
                        <a:gd name="connsiteY117" fmla="*/ 109728 h 542055"/>
                        <a:gd name="connsiteX118" fmla="*/ 128382 w 615025"/>
                        <a:gd name="connsiteY118" fmla="*/ 109728 h 54205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  <a:cxn ang="0">
                          <a:pos x="connsiteX45" y="connsiteY45"/>
                        </a:cxn>
                        <a:cxn ang="0">
                          <a:pos x="connsiteX46" y="connsiteY46"/>
                        </a:cxn>
                        <a:cxn ang="0">
                          <a:pos x="connsiteX47" y="connsiteY47"/>
                        </a:cxn>
                        <a:cxn ang="0">
                          <a:pos x="connsiteX48" y="connsiteY48"/>
                        </a:cxn>
                        <a:cxn ang="0">
                          <a:pos x="connsiteX49" y="connsiteY49"/>
                        </a:cxn>
                        <a:cxn ang="0">
                          <a:pos x="connsiteX50" y="connsiteY50"/>
                        </a:cxn>
                        <a:cxn ang="0">
                          <a:pos x="connsiteX51" y="connsiteY51"/>
                        </a:cxn>
                        <a:cxn ang="0">
                          <a:pos x="connsiteX52" y="connsiteY52"/>
                        </a:cxn>
                        <a:cxn ang="0">
                          <a:pos x="connsiteX53" y="connsiteY53"/>
                        </a:cxn>
                        <a:cxn ang="0">
                          <a:pos x="connsiteX54" y="connsiteY54"/>
                        </a:cxn>
                        <a:cxn ang="0">
                          <a:pos x="connsiteX55" y="connsiteY55"/>
                        </a:cxn>
                        <a:cxn ang="0">
                          <a:pos x="connsiteX56" y="connsiteY56"/>
                        </a:cxn>
                        <a:cxn ang="0">
                          <a:pos x="connsiteX57" y="connsiteY57"/>
                        </a:cxn>
                        <a:cxn ang="0">
                          <a:pos x="connsiteX58" y="connsiteY58"/>
                        </a:cxn>
                        <a:cxn ang="0">
                          <a:pos x="connsiteX59" y="connsiteY59"/>
                        </a:cxn>
                        <a:cxn ang="0">
                          <a:pos x="connsiteX60" y="connsiteY60"/>
                        </a:cxn>
                        <a:cxn ang="0">
                          <a:pos x="connsiteX61" y="connsiteY61"/>
                        </a:cxn>
                        <a:cxn ang="0">
                          <a:pos x="connsiteX62" y="connsiteY62"/>
                        </a:cxn>
                        <a:cxn ang="0">
                          <a:pos x="connsiteX63" y="connsiteY63"/>
                        </a:cxn>
                        <a:cxn ang="0">
                          <a:pos x="connsiteX64" y="connsiteY64"/>
                        </a:cxn>
                        <a:cxn ang="0">
                          <a:pos x="connsiteX65" y="connsiteY65"/>
                        </a:cxn>
                        <a:cxn ang="0">
                          <a:pos x="connsiteX66" y="connsiteY66"/>
                        </a:cxn>
                        <a:cxn ang="0">
                          <a:pos x="connsiteX67" y="connsiteY67"/>
                        </a:cxn>
                        <a:cxn ang="0">
                          <a:pos x="connsiteX68" y="connsiteY68"/>
                        </a:cxn>
                        <a:cxn ang="0">
                          <a:pos x="connsiteX69" y="connsiteY69"/>
                        </a:cxn>
                        <a:cxn ang="0">
                          <a:pos x="connsiteX70" y="connsiteY70"/>
                        </a:cxn>
                        <a:cxn ang="0">
                          <a:pos x="connsiteX71" y="connsiteY71"/>
                        </a:cxn>
                        <a:cxn ang="0">
                          <a:pos x="connsiteX72" y="connsiteY72"/>
                        </a:cxn>
                        <a:cxn ang="0">
                          <a:pos x="connsiteX73" y="connsiteY73"/>
                        </a:cxn>
                        <a:cxn ang="0">
                          <a:pos x="connsiteX74" y="connsiteY74"/>
                        </a:cxn>
                        <a:cxn ang="0">
                          <a:pos x="connsiteX75" y="connsiteY75"/>
                        </a:cxn>
                        <a:cxn ang="0">
                          <a:pos x="connsiteX76" y="connsiteY76"/>
                        </a:cxn>
                        <a:cxn ang="0">
                          <a:pos x="connsiteX77" y="connsiteY77"/>
                        </a:cxn>
                        <a:cxn ang="0">
                          <a:pos x="connsiteX78" y="connsiteY78"/>
                        </a:cxn>
                        <a:cxn ang="0">
                          <a:pos x="connsiteX79" y="connsiteY79"/>
                        </a:cxn>
                        <a:cxn ang="0">
                          <a:pos x="connsiteX80" y="connsiteY80"/>
                        </a:cxn>
                        <a:cxn ang="0">
                          <a:pos x="connsiteX81" y="connsiteY81"/>
                        </a:cxn>
                        <a:cxn ang="0">
                          <a:pos x="connsiteX82" y="connsiteY82"/>
                        </a:cxn>
                        <a:cxn ang="0">
                          <a:pos x="connsiteX83" y="connsiteY83"/>
                        </a:cxn>
                        <a:cxn ang="0">
                          <a:pos x="connsiteX84" y="connsiteY84"/>
                        </a:cxn>
                        <a:cxn ang="0">
                          <a:pos x="connsiteX85" y="connsiteY85"/>
                        </a:cxn>
                        <a:cxn ang="0">
                          <a:pos x="connsiteX86" y="connsiteY86"/>
                        </a:cxn>
                        <a:cxn ang="0">
                          <a:pos x="connsiteX87" y="connsiteY87"/>
                        </a:cxn>
                        <a:cxn ang="0">
                          <a:pos x="connsiteX88" y="connsiteY88"/>
                        </a:cxn>
                        <a:cxn ang="0">
                          <a:pos x="connsiteX89" y="connsiteY89"/>
                        </a:cxn>
                        <a:cxn ang="0">
                          <a:pos x="connsiteX90" y="connsiteY90"/>
                        </a:cxn>
                        <a:cxn ang="0">
                          <a:pos x="connsiteX91" y="connsiteY91"/>
                        </a:cxn>
                        <a:cxn ang="0">
                          <a:pos x="connsiteX92" y="connsiteY92"/>
                        </a:cxn>
                        <a:cxn ang="0">
                          <a:pos x="connsiteX93" y="connsiteY93"/>
                        </a:cxn>
                        <a:cxn ang="0">
                          <a:pos x="connsiteX94" y="connsiteY94"/>
                        </a:cxn>
                        <a:cxn ang="0">
                          <a:pos x="connsiteX95" y="connsiteY95"/>
                        </a:cxn>
                        <a:cxn ang="0">
                          <a:pos x="connsiteX96" y="connsiteY96"/>
                        </a:cxn>
                        <a:cxn ang="0">
                          <a:pos x="connsiteX97" y="connsiteY97"/>
                        </a:cxn>
                        <a:cxn ang="0">
                          <a:pos x="connsiteX98" y="connsiteY98"/>
                        </a:cxn>
                        <a:cxn ang="0">
                          <a:pos x="connsiteX99" y="connsiteY99"/>
                        </a:cxn>
                        <a:cxn ang="0">
                          <a:pos x="connsiteX100" y="connsiteY100"/>
                        </a:cxn>
                        <a:cxn ang="0">
                          <a:pos x="connsiteX101" y="connsiteY101"/>
                        </a:cxn>
                        <a:cxn ang="0">
                          <a:pos x="connsiteX102" y="connsiteY102"/>
                        </a:cxn>
                        <a:cxn ang="0">
                          <a:pos x="connsiteX103" y="connsiteY103"/>
                        </a:cxn>
                        <a:cxn ang="0">
                          <a:pos x="connsiteX104" y="connsiteY104"/>
                        </a:cxn>
                        <a:cxn ang="0">
                          <a:pos x="connsiteX105" y="connsiteY105"/>
                        </a:cxn>
                        <a:cxn ang="0">
                          <a:pos x="connsiteX106" y="connsiteY106"/>
                        </a:cxn>
                        <a:cxn ang="0">
                          <a:pos x="connsiteX107" y="connsiteY107"/>
                        </a:cxn>
                        <a:cxn ang="0">
                          <a:pos x="connsiteX108" y="connsiteY108"/>
                        </a:cxn>
                        <a:cxn ang="0">
                          <a:pos x="connsiteX109" y="connsiteY109"/>
                        </a:cxn>
                        <a:cxn ang="0">
                          <a:pos x="connsiteX110" y="connsiteY110"/>
                        </a:cxn>
                        <a:cxn ang="0">
                          <a:pos x="connsiteX111" y="connsiteY111"/>
                        </a:cxn>
                        <a:cxn ang="0">
                          <a:pos x="connsiteX112" y="connsiteY112"/>
                        </a:cxn>
                        <a:cxn ang="0">
                          <a:pos x="connsiteX113" y="connsiteY113"/>
                        </a:cxn>
                        <a:cxn ang="0">
                          <a:pos x="connsiteX114" y="connsiteY114"/>
                        </a:cxn>
                        <a:cxn ang="0">
                          <a:pos x="connsiteX115" y="connsiteY115"/>
                        </a:cxn>
                        <a:cxn ang="0">
                          <a:pos x="connsiteX116" y="connsiteY116"/>
                        </a:cxn>
                        <a:cxn ang="0">
                          <a:pos x="connsiteX117" y="connsiteY117"/>
                        </a:cxn>
                        <a:cxn ang="0">
                          <a:pos x="connsiteX118" y="connsiteY118"/>
                        </a:cxn>
                      </a:cxnLst>
                      <a:rect l="l" t="t" r="r" b="b"/>
                      <a:pathLst>
                        <a:path w="615025" h="542055">
                          <a:moveTo>
                            <a:pt x="128382" y="109728"/>
                          </a:moveTo>
                          <a:lnTo>
                            <a:pt x="128382" y="267187"/>
                          </a:lnTo>
                          <a:lnTo>
                            <a:pt x="116860" y="271577"/>
                          </a:lnTo>
                          <a:lnTo>
                            <a:pt x="96561" y="288585"/>
                          </a:lnTo>
                          <a:lnTo>
                            <a:pt x="69129" y="286390"/>
                          </a:lnTo>
                          <a:lnTo>
                            <a:pt x="58705" y="289682"/>
                          </a:lnTo>
                          <a:lnTo>
                            <a:pt x="47732" y="288585"/>
                          </a:lnTo>
                          <a:lnTo>
                            <a:pt x="40051" y="279806"/>
                          </a:lnTo>
                          <a:lnTo>
                            <a:pt x="40051" y="271028"/>
                          </a:lnTo>
                          <a:lnTo>
                            <a:pt x="22494" y="258958"/>
                          </a:lnTo>
                          <a:lnTo>
                            <a:pt x="14265" y="259506"/>
                          </a:lnTo>
                          <a:lnTo>
                            <a:pt x="6035" y="272125"/>
                          </a:lnTo>
                          <a:lnTo>
                            <a:pt x="3292" y="274320"/>
                          </a:lnTo>
                          <a:lnTo>
                            <a:pt x="0" y="274320"/>
                          </a:lnTo>
                          <a:lnTo>
                            <a:pt x="1646" y="277063"/>
                          </a:lnTo>
                          <a:lnTo>
                            <a:pt x="1097" y="282000"/>
                          </a:lnTo>
                          <a:lnTo>
                            <a:pt x="9876" y="291876"/>
                          </a:lnTo>
                          <a:lnTo>
                            <a:pt x="66934" y="416417"/>
                          </a:lnTo>
                          <a:lnTo>
                            <a:pt x="68580" y="443849"/>
                          </a:lnTo>
                          <a:lnTo>
                            <a:pt x="61996" y="455371"/>
                          </a:lnTo>
                          <a:lnTo>
                            <a:pt x="53767" y="452079"/>
                          </a:lnTo>
                          <a:lnTo>
                            <a:pt x="52121" y="456468"/>
                          </a:lnTo>
                          <a:lnTo>
                            <a:pt x="51572" y="463601"/>
                          </a:lnTo>
                          <a:lnTo>
                            <a:pt x="53218" y="464149"/>
                          </a:lnTo>
                          <a:lnTo>
                            <a:pt x="57607" y="467441"/>
                          </a:lnTo>
                          <a:lnTo>
                            <a:pt x="59253" y="472379"/>
                          </a:lnTo>
                          <a:lnTo>
                            <a:pt x="56510" y="472927"/>
                          </a:lnTo>
                          <a:lnTo>
                            <a:pt x="60899" y="480060"/>
                          </a:lnTo>
                          <a:lnTo>
                            <a:pt x="63642" y="482254"/>
                          </a:lnTo>
                          <a:lnTo>
                            <a:pt x="73518" y="497068"/>
                          </a:lnTo>
                          <a:lnTo>
                            <a:pt x="73518" y="502554"/>
                          </a:lnTo>
                          <a:lnTo>
                            <a:pt x="70775" y="508041"/>
                          </a:lnTo>
                          <a:lnTo>
                            <a:pt x="70775" y="520659"/>
                          </a:lnTo>
                          <a:lnTo>
                            <a:pt x="74615" y="526694"/>
                          </a:lnTo>
                          <a:lnTo>
                            <a:pt x="75712" y="526145"/>
                          </a:lnTo>
                          <a:lnTo>
                            <a:pt x="75164" y="516270"/>
                          </a:lnTo>
                          <a:lnTo>
                            <a:pt x="76810" y="514075"/>
                          </a:lnTo>
                          <a:lnTo>
                            <a:pt x="87782" y="513527"/>
                          </a:lnTo>
                          <a:lnTo>
                            <a:pt x="88331" y="521757"/>
                          </a:lnTo>
                          <a:lnTo>
                            <a:pt x="87234" y="526145"/>
                          </a:lnTo>
                          <a:lnTo>
                            <a:pt x="90526" y="527791"/>
                          </a:lnTo>
                          <a:lnTo>
                            <a:pt x="103693" y="527243"/>
                          </a:lnTo>
                          <a:lnTo>
                            <a:pt x="106436" y="530535"/>
                          </a:lnTo>
                          <a:lnTo>
                            <a:pt x="105888" y="535473"/>
                          </a:lnTo>
                          <a:lnTo>
                            <a:pt x="114117" y="539861"/>
                          </a:lnTo>
                          <a:lnTo>
                            <a:pt x="119604" y="539313"/>
                          </a:lnTo>
                          <a:lnTo>
                            <a:pt x="125639" y="542056"/>
                          </a:lnTo>
                          <a:lnTo>
                            <a:pt x="133320" y="542056"/>
                          </a:lnTo>
                          <a:lnTo>
                            <a:pt x="139355" y="539861"/>
                          </a:lnTo>
                          <a:lnTo>
                            <a:pt x="146487" y="531083"/>
                          </a:lnTo>
                          <a:lnTo>
                            <a:pt x="159106" y="530535"/>
                          </a:lnTo>
                          <a:lnTo>
                            <a:pt x="161849" y="527791"/>
                          </a:lnTo>
                          <a:lnTo>
                            <a:pt x="167884" y="526694"/>
                          </a:lnTo>
                          <a:lnTo>
                            <a:pt x="180503" y="528888"/>
                          </a:lnTo>
                          <a:lnTo>
                            <a:pt x="182697" y="526145"/>
                          </a:lnTo>
                          <a:lnTo>
                            <a:pt x="196962" y="527791"/>
                          </a:lnTo>
                          <a:lnTo>
                            <a:pt x="201351" y="526145"/>
                          </a:lnTo>
                          <a:lnTo>
                            <a:pt x="202448" y="521208"/>
                          </a:lnTo>
                          <a:lnTo>
                            <a:pt x="212872" y="515722"/>
                          </a:lnTo>
                          <a:lnTo>
                            <a:pt x="216164" y="511881"/>
                          </a:lnTo>
                          <a:lnTo>
                            <a:pt x="233721" y="510784"/>
                          </a:lnTo>
                          <a:lnTo>
                            <a:pt x="249631" y="515722"/>
                          </a:lnTo>
                          <a:lnTo>
                            <a:pt x="255118" y="515172"/>
                          </a:lnTo>
                          <a:lnTo>
                            <a:pt x="260604" y="510235"/>
                          </a:lnTo>
                          <a:lnTo>
                            <a:pt x="269931" y="509138"/>
                          </a:lnTo>
                          <a:lnTo>
                            <a:pt x="314371" y="518465"/>
                          </a:lnTo>
                          <a:lnTo>
                            <a:pt x="319857" y="509686"/>
                          </a:lnTo>
                          <a:lnTo>
                            <a:pt x="328087" y="508589"/>
                          </a:lnTo>
                          <a:lnTo>
                            <a:pt x="347838" y="512978"/>
                          </a:lnTo>
                          <a:lnTo>
                            <a:pt x="347838" y="508041"/>
                          </a:lnTo>
                          <a:lnTo>
                            <a:pt x="345095" y="502006"/>
                          </a:lnTo>
                          <a:lnTo>
                            <a:pt x="350581" y="498713"/>
                          </a:lnTo>
                          <a:lnTo>
                            <a:pt x="386243" y="496519"/>
                          </a:lnTo>
                          <a:lnTo>
                            <a:pt x="572780" y="287487"/>
                          </a:lnTo>
                          <a:lnTo>
                            <a:pt x="579364" y="285293"/>
                          </a:lnTo>
                          <a:lnTo>
                            <a:pt x="593080" y="274320"/>
                          </a:lnTo>
                          <a:lnTo>
                            <a:pt x="599115" y="265541"/>
                          </a:lnTo>
                          <a:lnTo>
                            <a:pt x="615026" y="193121"/>
                          </a:lnTo>
                          <a:lnTo>
                            <a:pt x="586496" y="192573"/>
                          </a:lnTo>
                          <a:lnTo>
                            <a:pt x="581558" y="194767"/>
                          </a:lnTo>
                          <a:lnTo>
                            <a:pt x="577718" y="204642"/>
                          </a:lnTo>
                          <a:lnTo>
                            <a:pt x="572780" y="211226"/>
                          </a:lnTo>
                          <a:lnTo>
                            <a:pt x="548091" y="207934"/>
                          </a:lnTo>
                          <a:lnTo>
                            <a:pt x="540410" y="186538"/>
                          </a:lnTo>
                          <a:lnTo>
                            <a:pt x="553578" y="155265"/>
                          </a:lnTo>
                          <a:lnTo>
                            <a:pt x="562905" y="149230"/>
                          </a:lnTo>
                          <a:lnTo>
                            <a:pt x="578815" y="159106"/>
                          </a:lnTo>
                          <a:lnTo>
                            <a:pt x="583753" y="153070"/>
                          </a:lnTo>
                          <a:lnTo>
                            <a:pt x="567294" y="23591"/>
                          </a:lnTo>
                          <a:lnTo>
                            <a:pt x="566197" y="22494"/>
                          </a:lnTo>
                          <a:lnTo>
                            <a:pt x="562905" y="21946"/>
                          </a:lnTo>
                          <a:lnTo>
                            <a:pt x="552481" y="11521"/>
                          </a:lnTo>
                          <a:lnTo>
                            <a:pt x="538216" y="6583"/>
                          </a:lnTo>
                          <a:lnTo>
                            <a:pt x="521757" y="7680"/>
                          </a:lnTo>
                          <a:lnTo>
                            <a:pt x="491033" y="0"/>
                          </a:lnTo>
                          <a:lnTo>
                            <a:pt x="483352" y="2743"/>
                          </a:lnTo>
                          <a:lnTo>
                            <a:pt x="481706" y="4937"/>
                          </a:lnTo>
                          <a:lnTo>
                            <a:pt x="438912" y="27432"/>
                          </a:lnTo>
                          <a:lnTo>
                            <a:pt x="401605" y="60350"/>
                          </a:lnTo>
                          <a:lnTo>
                            <a:pt x="381853" y="88331"/>
                          </a:lnTo>
                          <a:lnTo>
                            <a:pt x="363200" y="101498"/>
                          </a:lnTo>
                          <a:lnTo>
                            <a:pt x="352776" y="114117"/>
                          </a:lnTo>
                          <a:lnTo>
                            <a:pt x="343449" y="137709"/>
                          </a:lnTo>
                          <a:lnTo>
                            <a:pt x="339608" y="142097"/>
                          </a:lnTo>
                          <a:lnTo>
                            <a:pt x="309433" y="149230"/>
                          </a:lnTo>
                          <a:lnTo>
                            <a:pt x="299557" y="148681"/>
                          </a:lnTo>
                          <a:lnTo>
                            <a:pt x="275417" y="136062"/>
                          </a:lnTo>
                          <a:lnTo>
                            <a:pt x="265542" y="134965"/>
                          </a:lnTo>
                          <a:lnTo>
                            <a:pt x="257861" y="137709"/>
                          </a:lnTo>
                          <a:lnTo>
                            <a:pt x="232075" y="169529"/>
                          </a:lnTo>
                          <a:lnTo>
                            <a:pt x="223845" y="174467"/>
                          </a:lnTo>
                          <a:lnTo>
                            <a:pt x="213970" y="189829"/>
                          </a:lnTo>
                          <a:lnTo>
                            <a:pt x="190378" y="195864"/>
                          </a:lnTo>
                          <a:lnTo>
                            <a:pt x="160203" y="191475"/>
                          </a:lnTo>
                          <a:lnTo>
                            <a:pt x="157460" y="185440"/>
                          </a:lnTo>
                          <a:lnTo>
                            <a:pt x="164592" y="161849"/>
                          </a:lnTo>
                          <a:lnTo>
                            <a:pt x="162946" y="145938"/>
                          </a:lnTo>
                          <a:lnTo>
                            <a:pt x="131125" y="109728"/>
                          </a:lnTo>
                          <a:lnTo>
                            <a:pt x="128382" y="109728"/>
                          </a:lnTo>
                        </a:path>
                      </a:pathLst>
                    </a:custGeom>
                    <a:grpFill/>
                    <a:ln w="1270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71" name="Graphic 7">
                      <a:extLst>
                        <a:ext uri="{FF2B5EF4-FFF2-40B4-BE49-F238E27FC236}">
                          <a16:creationId xmlns:a16="http://schemas.microsoft.com/office/drawing/2014/main" id="{44CFFFC0-B204-AEFD-A7C0-4E1ABFB4CB3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821172" y="4996446"/>
                      <a:ext cx="277331" cy="285904"/>
                    </a:xfrm>
                    <a:custGeom>
                      <a:avLst/>
                      <a:gdLst>
                        <a:gd name="connsiteX0" fmla="*/ 0 w 354970"/>
                        <a:gd name="connsiteY0" fmla="*/ 279807 h 365942"/>
                        <a:gd name="connsiteX1" fmla="*/ 0 w 354970"/>
                        <a:gd name="connsiteY1" fmla="*/ 167336 h 365942"/>
                        <a:gd name="connsiteX2" fmla="*/ 38405 w 354970"/>
                        <a:gd name="connsiteY2" fmla="*/ 167336 h 365942"/>
                        <a:gd name="connsiteX3" fmla="*/ 38405 w 354970"/>
                        <a:gd name="connsiteY3" fmla="*/ 27432 h 365942"/>
                        <a:gd name="connsiteX4" fmla="*/ 41697 w 354970"/>
                        <a:gd name="connsiteY4" fmla="*/ 24689 h 365942"/>
                        <a:gd name="connsiteX5" fmla="*/ 123993 w 354970"/>
                        <a:gd name="connsiteY5" fmla="*/ 12619 h 365942"/>
                        <a:gd name="connsiteX6" fmla="*/ 131125 w 354970"/>
                        <a:gd name="connsiteY6" fmla="*/ 15362 h 365942"/>
                        <a:gd name="connsiteX7" fmla="*/ 136063 w 354970"/>
                        <a:gd name="connsiteY7" fmla="*/ 23591 h 365942"/>
                        <a:gd name="connsiteX8" fmla="*/ 137709 w 354970"/>
                        <a:gd name="connsiteY8" fmla="*/ 34016 h 365942"/>
                        <a:gd name="connsiteX9" fmla="*/ 148133 w 354970"/>
                        <a:gd name="connsiteY9" fmla="*/ 20848 h 365942"/>
                        <a:gd name="connsiteX10" fmla="*/ 159654 w 354970"/>
                        <a:gd name="connsiteY10" fmla="*/ 12619 h 365942"/>
                        <a:gd name="connsiteX11" fmla="*/ 178308 w 354970"/>
                        <a:gd name="connsiteY11" fmla="*/ 7681 h 365942"/>
                        <a:gd name="connsiteX12" fmla="*/ 181051 w 354970"/>
                        <a:gd name="connsiteY12" fmla="*/ 3841 h 365942"/>
                        <a:gd name="connsiteX13" fmla="*/ 185989 w 354970"/>
                        <a:gd name="connsiteY13" fmla="*/ 549 h 365942"/>
                        <a:gd name="connsiteX14" fmla="*/ 194219 w 354970"/>
                        <a:gd name="connsiteY14" fmla="*/ 0 h 365942"/>
                        <a:gd name="connsiteX15" fmla="*/ 198608 w 354970"/>
                        <a:gd name="connsiteY15" fmla="*/ 1646 h 365942"/>
                        <a:gd name="connsiteX16" fmla="*/ 199156 w 354970"/>
                        <a:gd name="connsiteY16" fmla="*/ 7132 h 365942"/>
                        <a:gd name="connsiteX17" fmla="*/ 209581 w 354970"/>
                        <a:gd name="connsiteY17" fmla="*/ 26335 h 365942"/>
                        <a:gd name="connsiteX18" fmla="*/ 216713 w 354970"/>
                        <a:gd name="connsiteY18" fmla="*/ 32918 h 365942"/>
                        <a:gd name="connsiteX19" fmla="*/ 222748 w 354970"/>
                        <a:gd name="connsiteY19" fmla="*/ 50475 h 365942"/>
                        <a:gd name="connsiteX20" fmla="*/ 252374 w 354970"/>
                        <a:gd name="connsiteY20" fmla="*/ 84491 h 365942"/>
                        <a:gd name="connsiteX21" fmla="*/ 263347 w 354970"/>
                        <a:gd name="connsiteY21" fmla="*/ 87782 h 365942"/>
                        <a:gd name="connsiteX22" fmla="*/ 272125 w 354970"/>
                        <a:gd name="connsiteY22" fmla="*/ 93818 h 365942"/>
                        <a:gd name="connsiteX23" fmla="*/ 278709 w 354970"/>
                        <a:gd name="connsiteY23" fmla="*/ 102596 h 365942"/>
                        <a:gd name="connsiteX24" fmla="*/ 287488 w 354970"/>
                        <a:gd name="connsiteY24" fmla="*/ 105887 h 365942"/>
                        <a:gd name="connsiteX25" fmla="*/ 294071 w 354970"/>
                        <a:gd name="connsiteY25" fmla="*/ 113020 h 365942"/>
                        <a:gd name="connsiteX26" fmla="*/ 297912 w 354970"/>
                        <a:gd name="connsiteY26" fmla="*/ 140452 h 365942"/>
                        <a:gd name="connsiteX27" fmla="*/ 301752 w 354970"/>
                        <a:gd name="connsiteY27" fmla="*/ 149230 h 365942"/>
                        <a:gd name="connsiteX28" fmla="*/ 307238 w 354970"/>
                        <a:gd name="connsiteY28" fmla="*/ 155265 h 365942"/>
                        <a:gd name="connsiteX29" fmla="*/ 313273 w 354970"/>
                        <a:gd name="connsiteY29" fmla="*/ 159106 h 365942"/>
                        <a:gd name="connsiteX30" fmla="*/ 331379 w 354970"/>
                        <a:gd name="connsiteY30" fmla="*/ 160203 h 365942"/>
                        <a:gd name="connsiteX31" fmla="*/ 354970 w 354970"/>
                        <a:gd name="connsiteY31" fmla="*/ 172822 h 365942"/>
                        <a:gd name="connsiteX32" fmla="*/ 353324 w 354970"/>
                        <a:gd name="connsiteY32" fmla="*/ 175016 h 365942"/>
                        <a:gd name="connsiteX33" fmla="*/ 310530 w 354970"/>
                        <a:gd name="connsiteY33" fmla="*/ 197511 h 365942"/>
                        <a:gd name="connsiteX34" fmla="*/ 224394 w 354970"/>
                        <a:gd name="connsiteY34" fmla="*/ 284195 h 365942"/>
                        <a:gd name="connsiteX35" fmla="*/ 215067 w 354970"/>
                        <a:gd name="connsiteY35" fmla="*/ 307787 h 365942"/>
                        <a:gd name="connsiteX36" fmla="*/ 211226 w 354970"/>
                        <a:gd name="connsiteY36" fmla="*/ 312176 h 365942"/>
                        <a:gd name="connsiteX37" fmla="*/ 181051 w 354970"/>
                        <a:gd name="connsiteY37" fmla="*/ 319309 h 365942"/>
                        <a:gd name="connsiteX38" fmla="*/ 171176 w 354970"/>
                        <a:gd name="connsiteY38" fmla="*/ 318760 h 365942"/>
                        <a:gd name="connsiteX39" fmla="*/ 147036 w 354970"/>
                        <a:gd name="connsiteY39" fmla="*/ 306141 h 365942"/>
                        <a:gd name="connsiteX40" fmla="*/ 137160 w 354970"/>
                        <a:gd name="connsiteY40" fmla="*/ 305044 h 365942"/>
                        <a:gd name="connsiteX41" fmla="*/ 129479 w 354970"/>
                        <a:gd name="connsiteY41" fmla="*/ 307787 h 365942"/>
                        <a:gd name="connsiteX42" fmla="*/ 111374 w 354970"/>
                        <a:gd name="connsiteY42" fmla="*/ 326441 h 365942"/>
                        <a:gd name="connsiteX43" fmla="*/ 109180 w 354970"/>
                        <a:gd name="connsiteY43" fmla="*/ 332476 h 365942"/>
                        <a:gd name="connsiteX44" fmla="*/ 103144 w 354970"/>
                        <a:gd name="connsiteY44" fmla="*/ 339059 h 365942"/>
                        <a:gd name="connsiteX45" fmla="*/ 95464 w 354970"/>
                        <a:gd name="connsiteY45" fmla="*/ 344546 h 365942"/>
                        <a:gd name="connsiteX46" fmla="*/ 85588 w 354970"/>
                        <a:gd name="connsiteY46" fmla="*/ 359908 h 365942"/>
                        <a:gd name="connsiteX47" fmla="*/ 61996 w 354970"/>
                        <a:gd name="connsiteY47" fmla="*/ 365943 h 365942"/>
                        <a:gd name="connsiteX48" fmla="*/ 31821 w 354970"/>
                        <a:gd name="connsiteY48" fmla="*/ 361554 h 365942"/>
                        <a:gd name="connsiteX49" fmla="*/ 29078 w 354970"/>
                        <a:gd name="connsiteY49" fmla="*/ 355519 h 365942"/>
                        <a:gd name="connsiteX50" fmla="*/ 36210 w 354970"/>
                        <a:gd name="connsiteY50" fmla="*/ 331928 h 365942"/>
                        <a:gd name="connsiteX51" fmla="*/ 34564 w 354970"/>
                        <a:gd name="connsiteY51" fmla="*/ 316017 h 365942"/>
                        <a:gd name="connsiteX52" fmla="*/ 29627 w 354970"/>
                        <a:gd name="connsiteY52" fmla="*/ 307787 h 365942"/>
                        <a:gd name="connsiteX53" fmla="*/ 20848 w 354970"/>
                        <a:gd name="connsiteY53" fmla="*/ 300106 h 365942"/>
                        <a:gd name="connsiteX54" fmla="*/ 17557 w 354970"/>
                        <a:gd name="connsiteY54" fmla="*/ 294620 h 365942"/>
                        <a:gd name="connsiteX55" fmla="*/ 8778 w 354970"/>
                        <a:gd name="connsiteY55" fmla="*/ 286939 h 365942"/>
                        <a:gd name="connsiteX56" fmla="*/ 7132 w 354970"/>
                        <a:gd name="connsiteY56" fmla="*/ 284195 h 365942"/>
                        <a:gd name="connsiteX57" fmla="*/ 2743 w 354970"/>
                        <a:gd name="connsiteY57" fmla="*/ 279807 h 365942"/>
                        <a:gd name="connsiteX58" fmla="*/ 0 w 354970"/>
                        <a:gd name="connsiteY58" fmla="*/ 279807 h 36594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  <a:cxn ang="0">
                          <a:pos x="connsiteX45" y="connsiteY45"/>
                        </a:cxn>
                        <a:cxn ang="0">
                          <a:pos x="connsiteX46" y="connsiteY46"/>
                        </a:cxn>
                        <a:cxn ang="0">
                          <a:pos x="connsiteX47" y="connsiteY47"/>
                        </a:cxn>
                        <a:cxn ang="0">
                          <a:pos x="connsiteX48" y="connsiteY48"/>
                        </a:cxn>
                        <a:cxn ang="0">
                          <a:pos x="connsiteX49" y="connsiteY49"/>
                        </a:cxn>
                        <a:cxn ang="0">
                          <a:pos x="connsiteX50" y="connsiteY50"/>
                        </a:cxn>
                        <a:cxn ang="0">
                          <a:pos x="connsiteX51" y="connsiteY51"/>
                        </a:cxn>
                        <a:cxn ang="0">
                          <a:pos x="connsiteX52" y="connsiteY52"/>
                        </a:cxn>
                        <a:cxn ang="0">
                          <a:pos x="connsiteX53" y="connsiteY53"/>
                        </a:cxn>
                        <a:cxn ang="0">
                          <a:pos x="connsiteX54" y="connsiteY54"/>
                        </a:cxn>
                        <a:cxn ang="0">
                          <a:pos x="connsiteX55" y="connsiteY55"/>
                        </a:cxn>
                        <a:cxn ang="0">
                          <a:pos x="connsiteX56" y="connsiteY56"/>
                        </a:cxn>
                        <a:cxn ang="0">
                          <a:pos x="connsiteX57" y="connsiteY57"/>
                        </a:cxn>
                        <a:cxn ang="0">
                          <a:pos x="connsiteX58" y="connsiteY58"/>
                        </a:cxn>
                      </a:cxnLst>
                      <a:rect l="l" t="t" r="r" b="b"/>
                      <a:pathLst>
                        <a:path w="354970" h="365942">
                          <a:moveTo>
                            <a:pt x="0" y="279807"/>
                          </a:moveTo>
                          <a:lnTo>
                            <a:pt x="0" y="167336"/>
                          </a:lnTo>
                          <a:lnTo>
                            <a:pt x="38405" y="167336"/>
                          </a:lnTo>
                          <a:lnTo>
                            <a:pt x="38405" y="27432"/>
                          </a:lnTo>
                          <a:lnTo>
                            <a:pt x="41697" y="24689"/>
                          </a:lnTo>
                          <a:lnTo>
                            <a:pt x="123993" y="12619"/>
                          </a:lnTo>
                          <a:lnTo>
                            <a:pt x="131125" y="15362"/>
                          </a:lnTo>
                          <a:lnTo>
                            <a:pt x="136063" y="23591"/>
                          </a:lnTo>
                          <a:lnTo>
                            <a:pt x="137709" y="34016"/>
                          </a:lnTo>
                          <a:lnTo>
                            <a:pt x="148133" y="20848"/>
                          </a:lnTo>
                          <a:lnTo>
                            <a:pt x="159654" y="12619"/>
                          </a:lnTo>
                          <a:lnTo>
                            <a:pt x="178308" y="7681"/>
                          </a:lnTo>
                          <a:lnTo>
                            <a:pt x="181051" y="3841"/>
                          </a:lnTo>
                          <a:lnTo>
                            <a:pt x="185989" y="549"/>
                          </a:lnTo>
                          <a:lnTo>
                            <a:pt x="194219" y="0"/>
                          </a:lnTo>
                          <a:lnTo>
                            <a:pt x="198608" y="1646"/>
                          </a:lnTo>
                          <a:lnTo>
                            <a:pt x="199156" y="7132"/>
                          </a:lnTo>
                          <a:lnTo>
                            <a:pt x="209581" y="26335"/>
                          </a:lnTo>
                          <a:lnTo>
                            <a:pt x="216713" y="32918"/>
                          </a:lnTo>
                          <a:lnTo>
                            <a:pt x="222748" y="50475"/>
                          </a:lnTo>
                          <a:lnTo>
                            <a:pt x="252374" y="84491"/>
                          </a:lnTo>
                          <a:lnTo>
                            <a:pt x="263347" y="87782"/>
                          </a:lnTo>
                          <a:lnTo>
                            <a:pt x="272125" y="93818"/>
                          </a:lnTo>
                          <a:lnTo>
                            <a:pt x="278709" y="102596"/>
                          </a:lnTo>
                          <a:lnTo>
                            <a:pt x="287488" y="105887"/>
                          </a:lnTo>
                          <a:lnTo>
                            <a:pt x="294071" y="113020"/>
                          </a:lnTo>
                          <a:lnTo>
                            <a:pt x="297912" y="140452"/>
                          </a:lnTo>
                          <a:lnTo>
                            <a:pt x="301752" y="149230"/>
                          </a:lnTo>
                          <a:lnTo>
                            <a:pt x="307238" y="155265"/>
                          </a:lnTo>
                          <a:lnTo>
                            <a:pt x="313273" y="159106"/>
                          </a:lnTo>
                          <a:lnTo>
                            <a:pt x="331379" y="160203"/>
                          </a:lnTo>
                          <a:lnTo>
                            <a:pt x="354970" y="172822"/>
                          </a:lnTo>
                          <a:lnTo>
                            <a:pt x="353324" y="175016"/>
                          </a:lnTo>
                          <a:lnTo>
                            <a:pt x="310530" y="197511"/>
                          </a:lnTo>
                          <a:lnTo>
                            <a:pt x="224394" y="284195"/>
                          </a:lnTo>
                          <a:lnTo>
                            <a:pt x="215067" y="307787"/>
                          </a:lnTo>
                          <a:lnTo>
                            <a:pt x="211226" y="312176"/>
                          </a:lnTo>
                          <a:lnTo>
                            <a:pt x="181051" y="319309"/>
                          </a:lnTo>
                          <a:lnTo>
                            <a:pt x="171176" y="318760"/>
                          </a:lnTo>
                          <a:lnTo>
                            <a:pt x="147036" y="306141"/>
                          </a:lnTo>
                          <a:lnTo>
                            <a:pt x="137160" y="305044"/>
                          </a:lnTo>
                          <a:lnTo>
                            <a:pt x="129479" y="307787"/>
                          </a:lnTo>
                          <a:lnTo>
                            <a:pt x="111374" y="326441"/>
                          </a:lnTo>
                          <a:lnTo>
                            <a:pt x="109180" y="332476"/>
                          </a:lnTo>
                          <a:lnTo>
                            <a:pt x="103144" y="339059"/>
                          </a:lnTo>
                          <a:lnTo>
                            <a:pt x="95464" y="344546"/>
                          </a:lnTo>
                          <a:lnTo>
                            <a:pt x="85588" y="359908"/>
                          </a:lnTo>
                          <a:lnTo>
                            <a:pt x="61996" y="365943"/>
                          </a:lnTo>
                          <a:lnTo>
                            <a:pt x="31821" y="361554"/>
                          </a:lnTo>
                          <a:lnTo>
                            <a:pt x="29078" y="355519"/>
                          </a:lnTo>
                          <a:lnTo>
                            <a:pt x="36210" y="331928"/>
                          </a:lnTo>
                          <a:lnTo>
                            <a:pt x="34564" y="316017"/>
                          </a:lnTo>
                          <a:lnTo>
                            <a:pt x="29627" y="307787"/>
                          </a:lnTo>
                          <a:lnTo>
                            <a:pt x="20848" y="300106"/>
                          </a:lnTo>
                          <a:lnTo>
                            <a:pt x="17557" y="294620"/>
                          </a:lnTo>
                          <a:lnTo>
                            <a:pt x="8778" y="286939"/>
                          </a:lnTo>
                          <a:lnTo>
                            <a:pt x="7132" y="284195"/>
                          </a:lnTo>
                          <a:lnTo>
                            <a:pt x="2743" y="279807"/>
                          </a:lnTo>
                          <a:lnTo>
                            <a:pt x="0" y="279807"/>
                          </a:lnTo>
                        </a:path>
                      </a:pathLst>
                    </a:custGeom>
                    <a:grpFill/>
                    <a:ln w="1270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72" name="Graphic 7">
                      <a:extLst>
                        <a:ext uri="{FF2B5EF4-FFF2-40B4-BE49-F238E27FC236}">
                          <a16:creationId xmlns:a16="http://schemas.microsoft.com/office/drawing/2014/main" id="{C8230850-11B1-1795-726C-40EB503854A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033350" y="5337216"/>
                      <a:ext cx="68582" cy="70297"/>
                    </a:xfrm>
                    <a:custGeom>
                      <a:avLst/>
                      <a:gdLst>
                        <a:gd name="connsiteX0" fmla="*/ 86685 w 87782"/>
                        <a:gd name="connsiteY0" fmla="*/ 35112 h 89976"/>
                        <a:gd name="connsiteX1" fmla="*/ 87782 w 87782"/>
                        <a:gd name="connsiteY1" fmla="*/ 33467 h 89976"/>
                        <a:gd name="connsiteX2" fmla="*/ 87234 w 87782"/>
                        <a:gd name="connsiteY2" fmla="*/ 39502 h 89976"/>
                        <a:gd name="connsiteX3" fmla="*/ 70775 w 87782"/>
                        <a:gd name="connsiteY3" fmla="*/ 67482 h 89976"/>
                        <a:gd name="connsiteX4" fmla="*/ 51024 w 87782"/>
                        <a:gd name="connsiteY4" fmla="*/ 75712 h 89976"/>
                        <a:gd name="connsiteX5" fmla="*/ 44440 w 87782"/>
                        <a:gd name="connsiteY5" fmla="*/ 85588 h 89976"/>
                        <a:gd name="connsiteX6" fmla="*/ 38405 w 87782"/>
                        <a:gd name="connsiteY6" fmla="*/ 88331 h 89976"/>
                        <a:gd name="connsiteX7" fmla="*/ 29627 w 87782"/>
                        <a:gd name="connsiteY7" fmla="*/ 89976 h 89976"/>
                        <a:gd name="connsiteX8" fmla="*/ 8230 w 87782"/>
                        <a:gd name="connsiteY8" fmla="*/ 68580 h 89976"/>
                        <a:gd name="connsiteX9" fmla="*/ 0 w 87782"/>
                        <a:gd name="connsiteY9" fmla="*/ 50475 h 89976"/>
                        <a:gd name="connsiteX10" fmla="*/ 2743 w 87782"/>
                        <a:gd name="connsiteY10" fmla="*/ 42245 h 89976"/>
                        <a:gd name="connsiteX11" fmla="*/ 28529 w 87782"/>
                        <a:gd name="connsiteY11" fmla="*/ 10973 h 89976"/>
                        <a:gd name="connsiteX12" fmla="*/ 47732 w 87782"/>
                        <a:gd name="connsiteY12" fmla="*/ 1097 h 89976"/>
                        <a:gd name="connsiteX13" fmla="*/ 58156 w 87782"/>
                        <a:gd name="connsiteY13" fmla="*/ 0 h 89976"/>
                        <a:gd name="connsiteX14" fmla="*/ 65837 w 87782"/>
                        <a:gd name="connsiteY14" fmla="*/ 4389 h 89976"/>
                        <a:gd name="connsiteX15" fmla="*/ 83942 w 87782"/>
                        <a:gd name="connsiteY15" fmla="*/ 28529 h 89976"/>
                        <a:gd name="connsiteX16" fmla="*/ 86685 w 87782"/>
                        <a:gd name="connsiteY16" fmla="*/ 35112 h 8997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</a:cxnLst>
                      <a:rect l="l" t="t" r="r" b="b"/>
                      <a:pathLst>
                        <a:path w="87782" h="89976">
                          <a:moveTo>
                            <a:pt x="86685" y="35112"/>
                          </a:moveTo>
                          <a:lnTo>
                            <a:pt x="87782" y="33467"/>
                          </a:lnTo>
                          <a:lnTo>
                            <a:pt x="87234" y="39502"/>
                          </a:lnTo>
                          <a:lnTo>
                            <a:pt x="70775" y="67482"/>
                          </a:lnTo>
                          <a:lnTo>
                            <a:pt x="51024" y="75712"/>
                          </a:lnTo>
                          <a:lnTo>
                            <a:pt x="44440" y="85588"/>
                          </a:lnTo>
                          <a:lnTo>
                            <a:pt x="38405" y="88331"/>
                          </a:lnTo>
                          <a:lnTo>
                            <a:pt x="29627" y="89976"/>
                          </a:lnTo>
                          <a:lnTo>
                            <a:pt x="8230" y="68580"/>
                          </a:lnTo>
                          <a:lnTo>
                            <a:pt x="0" y="50475"/>
                          </a:lnTo>
                          <a:lnTo>
                            <a:pt x="2743" y="42245"/>
                          </a:lnTo>
                          <a:lnTo>
                            <a:pt x="28529" y="10973"/>
                          </a:lnTo>
                          <a:lnTo>
                            <a:pt x="47732" y="1097"/>
                          </a:lnTo>
                          <a:lnTo>
                            <a:pt x="58156" y="0"/>
                          </a:lnTo>
                          <a:lnTo>
                            <a:pt x="65837" y="4389"/>
                          </a:lnTo>
                          <a:lnTo>
                            <a:pt x="83942" y="28529"/>
                          </a:lnTo>
                          <a:lnTo>
                            <a:pt x="86685" y="35112"/>
                          </a:lnTo>
                        </a:path>
                      </a:pathLst>
                    </a:custGeom>
                    <a:grpFill/>
                    <a:ln w="1270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p:txBody>
                </p:sp>
                <p:grpSp>
                  <p:nvGrpSpPr>
                    <p:cNvPr id="173" name="Group 208">
                      <a:extLst>
                        <a:ext uri="{FF2B5EF4-FFF2-40B4-BE49-F238E27FC236}">
                          <a16:creationId xmlns:a16="http://schemas.microsoft.com/office/drawing/2014/main" id="{7BA25F82-CF1D-5890-095F-FEBE399E1085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4724277" y="3294735"/>
                      <a:ext cx="2165927" cy="1999616"/>
                      <a:chOff x="4724277" y="3294735"/>
                      <a:chExt cx="2165927" cy="1999616"/>
                    </a:xfrm>
                    <a:grpFill/>
                  </p:grpSpPr>
                  <p:sp>
                    <p:nvSpPr>
                      <p:cNvPr id="175" name="Graphic 7">
                        <a:extLst>
                          <a:ext uri="{FF2B5EF4-FFF2-40B4-BE49-F238E27FC236}">
                            <a16:creationId xmlns:a16="http://schemas.microsoft.com/office/drawing/2014/main" id="{BEE036CE-9689-8ED8-8077-24AC3796BEE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5486403" y="4358626"/>
                        <a:ext cx="13287" cy="16288"/>
                      </a:xfrm>
                      <a:custGeom>
                        <a:avLst/>
                        <a:gdLst>
                          <a:gd name="connsiteX0" fmla="*/ 17008 w 17007"/>
                          <a:gd name="connsiteY0" fmla="*/ 5486 h 20848"/>
                          <a:gd name="connsiteX1" fmla="*/ 17008 w 17007"/>
                          <a:gd name="connsiteY1" fmla="*/ 10424 h 20848"/>
                          <a:gd name="connsiteX2" fmla="*/ 14265 w 17007"/>
                          <a:gd name="connsiteY2" fmla="*/ 18105 h 20848"/>
                          <a:gd name="connsiteX3" fmla="*/ 12070 w 17007"/>
                          <a:gd name="connsiteY3" fmla="*/ 19751 h 20848"/>
                          <a:gd name="connsiteX4" fmla="*/ 9327 w 17007"/>
                          <a:gd name="connsiteY4" fmla="*/ 20848 h 20848"/>
                          <a:gd name="connsiteX5" fmla="*/ 3292 w 17007"/>
                          <a:gd name="connsiteY5" fmla="*/ 20848 h 20848"/>
                          <a:gd name="connsiteX6" fmla="*/ 0 w 17007"/>
                          <a:gd name="connsiteY6" fmla="*/ 17557 h 20848"/>
                          <a:gd name="connsiteX7" fmla="*/ 0 w 17007"/>
                          <a:gd name="connsiteY7" fmla="*/ 14265 h 20848"/>
                          <a:gd name="connsiteX8" fmla="*/ 6584 w 17007"/>
                          <a:gd name="connsiteY8" fmla="*/ 0 h 20848"/>
                          <a:gd name="connsiteX9" fmla="*/ 11521 w 17007"/>
                          <a:gd name="connsiteY9" fmla="*/ 0 h 20848"/>
                          <a:gd name="connsiteX10" fmla="*/ 17008 w 17007"/>
                          <a:gd name="connsiteY10" fmla="*/ 5486 h 2084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</a:cxnLst>
                        <a:rect l="l" t="t" r="r" b="b"/>
                        <a:pathLst>
                          <a:path w="17007" h="20848">
                            <a:moveTo>
                              <a:pt x="17008" y="5486"/>
                            </a:moveTo>
                            <a:lnTo>
                              <a:pt x="17008" y="10424"/>
                            </a:lnTo>
                            <a:lnTo>
                              <a:pt x="14265" y="18105"/>
                            </a:lnTo>
                            <a:lnTo>
                              <a:pt x="12070" y="19751"/>
                            </a:lnTo>
                            <a:lnTo>
                              <a:pt x="9327" y="20848"/>
                            </a:lnTo>
                            <a:lnTo>
                              <a:pt x="3292" y="20848"/>
                            </a:lnTo>
                            <a:lnTo>
                              <a:pt x="0" y="17557"/>
                            </a:lnTo>
                            <a:lnTo>
                              <a:pt x="0" y="14265"/>
                            </a:lnTo>
                            <a:lnTo>
                              <a:pt x="6584" y="0"/>
                            </a:lnTo>
                            <a:lnTo>
                              <a:pt x="11521" y="0"/>
                            </a:lnTo>
                            <a:lnTo>
                              <a:pt x="17008" y="5486"/>
                            </a:lnTo>
                          </a:path>
                        </a:pathLst>
                      </a:custGeom>
                      <a:grpFill/>
                      <a:ln w="1270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76" name="Graphic 7">
                        <a:extLst>
                          <a:ext uri="{FF2B5EF4-FFF2-40B4-BE49-F238E27FC236}">
                            <a16:creationId xmlns:a16="http://schemas.microsoft.com/office/drawing/2014/main" id="{351C24DE-D6AE-A04A-28FA-0FBC10DAF14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5402818" y="4510365"/>
                        <a:ext cx="2143" cy="3000"/>
                      </a:xfrm>
                      <a:custGeom>
                        <a:avLst/>
                        <a:gdLst>
                          <a:gd name="connsiteX0" fmla="*/ 0 w 2743"/>
                          <a:gd name="connsiteY0" fmla="*/ 0 h 3840"/>
                          <a:gd name="connsiteX1" fmla="*/ 1646 w 2743"/>
                          <a:gd name="connsiteY1" fmla="*/ 0 h 3840"/>
                          <a:gd name="connsiteX2" fmla="*/ 2195 w 2743"/>
                          <a:gd name="connsiteY2" fmla="*/ 1646 h 3840"/>
                          <a:gd name="connsiteX3" fmla="*/ 2743 w 2743"/>
                          <a:gd name="connsiteY3" fmla="*/ 3840 h 3840"/>
                          <a:gd name="connsiteX4" fmla="*/ 549 w 2743"/>
                          <a:gd name="connsiteY4" fmla="*/ 3292 h 3840"/>
                          <a:gd name="connsiteX5" fmla="*/ 0 w 2743"/>
                          <a:gd name="connsiteY5" fmla="*/ 0 h 384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</a:cxnLst>
                        <a:rect l="l" t="t" r="r" b="b"/>
                        <a:pathLst>
                          <a:path w="2743" h="3840">
                            <a:moveTo>
                              <a:pt x="0" y="0"/>
                            </a:moveTo>
                            <a:lnTo>
                              <a:pt x="1646" y="0"/>
                            </a:lnTo>
                            <a:lnTo>
                              <a:pt x="2195" y="1646"/>
                            </a:lnTo>
                            <a:lnTo>
                              <a:pt x="2743" y="3840"/>
                            </a:lnTo>
                            <a:lnTo>
                              <a:pt x="549" y="3292"/>
                            </a:lnTo>
                            <a:lnTo>
                              <a:pt x="0" y="0"/>
                            </a:lnTo>
                          </a:path>
                        </a:pathLst>
                      </a:custGeom>
                      <a:grpFill/>
                      <a:ln w="1270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77" name="Graphic 7">
                        <a:extLst>
                          <a:ext uri="{FF2B5EF4-FFF2-40B4-BE49-F238E27FC236}">
                            <a16:creationId xmlns:a16="http://schemas.microsoft.com/office/drawing/2014/main" id="{7BA4648C-B66A-4AA4-609B-0DD5D35E363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5630427" y="3768814"/>
                        <a:ext cx="313766" cy="484366"/>
                      </a:xfrm>
                      <a:custGeom>
                        <a:avLst/>
                        <a:gdLst>
                          <a:gd name="connsiteX0" fmla="*/ 61996 w 401604"/>
                          <a:gd name="connsiteY0" fmla="*/ 72420 h 619963"/>
                          <a:gd name="connsiteX1" fmla="*/ 66934 w 401604"/>
                          <a:gd name="connsiteY1" fmla="*/ 82845 h 619963"/>
                          <a:gd name="connsiteX2" fmla="*/ 66934 w 401604"/>
                          <a:gd name="connsiteY2" fmla="*/ 85039 h 619963"/>
                          <a:gd name="connsiteX3" fmla="*/ 71872 w 401604"/>
                          <a:gd name="connsiteY3" fmla="*/ 97109 h 619963"/>
                          <a:gd name="connsiteX4" fmla="*/ 78456 w 401604"/>
                          <a:gd name="connsiteY4" fmla="*/ 106436 h 619963"/>
                          <a:gd name="connsiteX5" fmla="*/ 99304 w 401604"/>
                          <a:gd name="connsiteY5" fmla="*/ 117958 h 619963"/>
                          <a:gd name="connsiteX6" fmla="*/ 89428 w 401604"/>
                          <a:gd name="connsiteY6" fmla="*/ 134417 h 619963"/>
                          <a:gd name="connsiteX7" fmla="*/ 75164 w 401604"/>
                          <a:gd name="connsiteY7" fmla="*/ 256763 h 619963"/>
                          <a:gd name="connsiteX8" fmla="*/ 12070 w 401604"/>
                          <a:gd name="connsiteY8" fmla="*/ 328087 h 619963"/>
                          <a:gd name="connsiteX9" fmla="*/ 12070 w 401604"/>
                          <a:gd name="connsiteY9" fmla="*/ 335219 h 619963"/>
                          <a:gd name="connsiteX10" fmla="*/ 7681 w 401604"/>
                          <a:gd name="connsiteY10" fmla="*/ 336865 h 619963"/>
                          <a:gd name="connsiteX11" fmla="*/ 8230 w 401604"/>
                          <a:gd name="connsiteY11" fmla="*/ 343997 h 619963"/>
                          <a:gd name="connsiteX12" fmla="*/ 2743 w 401604"/>
                          <a:gd name="connsiteY12" fmla="*/ 344546 h 619963"/>
                          <a:gd name="connsiteX13" fmla="*/ 0 w 401604"/>
                          <a:gd name="connsiteY13" fmla="*/ 347838 h 619963"/>
                          <a:gd name="connsiteX14" fmla="*/ 1097 w 401604"/>
                          <a:gd name="connsiteY14" fmla="*/ 355519 h 619963"/>
                          <a:gd name="connsiteX15" fmla="*/ 12070 w 401604"/>
                          <a:gd name="connsiteY15" fmla="*/ 359359 h 619963"/>
                          <a:gd name="connsiteX16" fmla="*/ 15362 w 401604"/>
                          <a:gd name="connsiteY16" fmla="*/ 362651 h 619963"/>
                          <a:gd name="connsiteX17" fmla="*/ 20300 w 401604"/>
                          <a:gd name="connsiteY17" fmla="*/ 365943 h 619963"/>
                          <a:gd name="connsiteX18" fmla="*/ 24689 w 401604"/>
                          <a:gd name="connsiteY18" fmla="*/ 371429 h 619963"/>
                          <a:gd name="connsiteX19" fmla="*/ 26883 w 401604"/>
                          <a:gd name="connsiteY19" fmla="*/ 386242 h 619963"/>
                          <a:gd name="connsiteX20" fmla="*/ 38405 w 401604"/>
                          <a:gd name="connsiteY20" fmla="*/ 387888 h 619963"/>
                          <a:gd name="connsiteX21" fmla="*/ 46634 w 401604"/>
                          <a:gd name="connsiteY21" fmla="*/ 386791 h 619963"/>
                          <a:gd name="connsiteX22" fmla="*/ 56510 w 401604"/>
                          <a:gd name="connsiteY22" fmla="*/ 390631 h 619963"/>
                          <a:gd name="connsiteX23" fmla="*/ 61448 w 401604"/>
                          <a:gd name="connsiteY23" fmla="*/ 388986 h 619963"/>
                          <a:gd name="connsiteX24" fmla="*/ 66385 w 401604"/>
                          <a:gd name="connsiteY24" fmla="*/ 398861 h 619963"/>
                          <a:gd name="connsiteX25" fmla="*/ 64191 w 401604"/>
                          <a:gd name="connsiteY25" fmla="*/ 402153 h 619963"/>
                          <a:gd name="connsiteX26" fmla="*/ 63094 w 401604"/>
                          <a:gd name="connsiteY26" fmla="*/ 407639 h 619963"/>
                          <a:gd name="connsiteX27" fmla="*/ 56510 w 401604"/>
                          <a:gd name="connsiteY27" fmla="*/ 413126 h 619963"/>
                          <a:gd name="connsiteX28" fmla="*/ 46634 w 401604"/>
                          <a:gd name="connsiteY28" fmla="*/ 415869 h 619963"/>
                          <a:gd name="connsiteX29" fmla="*/ 48280 w 401604"/>
                          <a:gd name="connsiteY29" fmla="*/ 418612 h 619963"/>
                          <a:gd name="connsiteX30" fmla="*/ 52121 w 401604"/>
                          <a:gd name="connsiteY30" fmla="*/ 438363 h 619963"/>
                          <a:gd name="connsiteX31" fmla="*/ 57607 w 401604"/>
                          <a:gd name="connsiteY31" fmla="*/ 449336 h 619963"/>
                          <a:gd name="connsiteX32" fmla="*/ 53767 w 401604"/>
                          <a:gd name="connsiteY32" fmla="*/ 483900 h 619963"/>
                          <a:gd name="connsiteX33" fmla="*/ 70775 w 401604"/>
                          <a:gd name="connsiteY33" fmla="*/ 511881 h 619963"/>
                          <a:gd name="connsiteX34" fmla="*/ 72969 w 401604"/>
                          <a:gd name="connsiteY34" fmla="*/ 522305 h 619963"/>
                          <a:gd name="connsiteX35" fmla="*/ 71872 w 401604"/>
                          <a:gd name="connsiteY35" fmla="*/ 524500 h 619963"/>
                          <a:gd name="connsiteX36" fmla="*/ 69129 w 401604"/>
                          <a:gd name="connsiteY36" fmla="*/ 525048 h 619963"/>
                          <a:gd name="connsiteX37" fmla="*/ 45537 w 401604"/>
                          <a:gd name="connsiteY37" fmla="*/ 521757 h 619963"/>
                          <a:gd name="connsiteX38" fmla="*/ 32918 w 401604"/>
                          <a:gd name="connsiteY38" fmla="*/ 523402 h 619963"/>
                          <a:gd name="connsiteX39" fmla="*/ 29627 w 401604"/>
                          <a:gd name="connsiteY39" fmla="*/ 524500 h 619963"/>
                          <a:gd name="connsiteX40" fmla="*/ 26883 w 401604"/>
                          <a:gd name="connsiteY40" fmla="*/ 528889 h 619963"/>
                          <a:gd name="connsiteX41" fmla="*/ 26335 w 401604"/>
                          <a:gd name="connsiteY41" fmla="*/ 539313 h 619963"/>
                          <a:gd name="connsiteX42" fmla="*/ 27981 w 401604"/>
                          <a:gd name="connsiteY42" fmla="*/ 546994 h 619963"/>
                          <a:gd name="connsiteX43" fmla="*/ 35113 w 401604"/>
                          <a:gd name="connsiteY43" fmla="*/ 556870 h 619963"/>
                          <a:gd name="connsiteX44" fmla="*/ 40051 w 401604"/>
                          <a:gd name="connsiteY44" fmla="*/ 560710 h 619963"/>
                          <a:gd name="connsiteX45" fmla="*/ 54315 w 401604"/>
                          <a:gd name="connsiteY45" fmla="*/ 565099 h 619963"/>
                          <a:gd name="connsiteX46" fmla="*/ 57059 w 401604"/>
                          <a:gd name="connsiteY46" fmla="*/ 567294 h 619963"/>
                          <a:gd name="connsiteX47" fmla="*/ 72969 w 401604"/>
                          <a:gd name="connsiteY47" fmla="*/ 618317 h 619963"/>
                          <a:gd name="connsiteX48" fmla="*/ 74615 w 401604"/>
                          <a:gd name="connsiteY48" fmla="*/ 619963 h 619963"/>
                          <a:gd name="connsiteX49" fmla="*/ 77358 w 401604"/>
                          <a:gd name="connsiteY49" fmla="*/ 617769 h 619963"/>
                          <a:gd name="connsiteX50" fmla="*/ 91074 w 401604"/>
                          <a:gd name="connsiteY50" fmla="*/ 616671 h 619963"/>
                          <a:gd name="connsiteX51" fmla="*/ 94915 w 401604"/>
                          <a:gd name="connsiteY51" fmla="*/ 617769 h 619963"/>
                          <a:gd name="connsiteX52" fmla="*/ 98755 w 401604"/>
                          <a:gd name="connsiteY52" fmla="*/ 617769 h 619963"/>
                          <a:gd name="connsiteX53" fmla="*/ 104790 w 401604"/>
                          <a:gd name="connsiteY53" fmla="*/ 611734 h 619963"/>
                          <a:gd name="connsiteX54" fmla="*/ 114117 w 401604"/>
                          <a:gd name="connsiteY54" fmla="*/ 610636 h 619963"/>
                          <a:gd name="connsiteX55" fmla="*/ 115763 w 401604"/>
                          <a:gd name="connsiteY55" fmla="*/ 605698 h 619963"/>
                          <a:gd name="connsiteX56" fmla="*/ 117958 w 401604"/>
                          <a:gd name="connsiteY56" fmla="*/ 605150 h 619963"/>
                          <a:gd name="connsiteX57" fmla="*/ 119055 w 401604"/>
                          <a:gd name="connsiteY57" fmla="*/ 604053 h 619963"/>
                          <a:gd name="connsiteX58" fmla="*/ 121798 w 401604"/>
                          <a:gd name="connsiteY58" fmla="*/ 604053 h 619963"/>
                          <a:gd name="connsiteX59" fmla="*/ 123444 w 401604"/>
                          <a:gd name="connsiteY59" fmla="*/ 604601 h 619963"/>
                          <a:gd name="connsiteX60" fmla="*/ 125639 w 401604"/>
                          <a:gd name="connsiteY60" fmla="*/ 608990 h 619963"/>
                          <a:gd name="connsiteX61" fmla="*/ 127833 w 401604"/>
                          <a:gd name="connsiteY61" fmla="*/ 610087 h 619963"/>
                          <a:gd name="connsiteX62" fmla="*/ 132771 w 401604"/>
                          <a:gd name="connsiteY62" fmla="*/ 615025 h 619963"/>
                          <a:gd name="connsiteX63" fmla="*/ 135514 w 401604"/>
                          <a:gd name="connsiteY63" fmla="*/ 613928 h 619963"/>
                          <a:gd name="connsiteX64" fmla="*/ 136612 w 401604"/>
                          <a:gd name="connsiteY64" fmla="*/ 611185 h 619963"/>
                          <a:gd name="connsiteX65" fmla="*/ 147036 w 401604"/>
                          <a:gd name="connsiteY65" fmla="*/ 608442 h 619963"/>
                          <a:gd name="connsiteX66" fmla="*/ 152522 w 401604"/>
                          <a:gd name="connsiteY66" fmla="*/ 604053 h 619963"/>
                          <a:gd name="connsiteX67" fmla="*/ 166787 w 401604"/>
                          <a:gd name="connsiteY67" fmla="*/ 598566 h 619963"/>
                          <a:gd name="connsiteX68" fmla="*/ 176662 w 401604"/>
                          <a:gd name="connsiteY68" fmla="*/ 599115 h 619963"/>
                          <a:gd name="connsiteX69" fmla="*/ 182149 w 401604"/>
                          <a:gd name="connsiteY69" fmla="*/ 596371 h 619963"/>
                          <a:gd name="connsiteX70" fmla="*/ 199156 w 401604"/>
                          <a:gd name="connsiteY70" fmla="*/ 596371 h 619963"/>
                          <a:gd name="connsiteX71" fmla="*/ 199705 w 401604"/>
                          <a:gd name="connsiteY71" fmla="*/ 595274 h 619963"/>
                          <a:gd name="connsiteX72" fmla="*/ 200802 w 401604"/>
                          <a:gd name="connsiteY72" fmla="*/ 591434 h 619963"/>
                          <a:gd name="connsiteX73" fmla="*/ 202448 w 401604"/>
                          <a:gd name="connsiteY73" fmla="*/ 589239 h 619963"/>
                          <a:gd name="connsiteX74" fmla="*/ 205740 w 401604"/>
                          <a:gd name="connsiteY74" fmla="*/ 588691 h 619963"/>
                          <a:gd name="connsiteX75" fmla="*/ 209032 w 401604"/>
                          <a:gd name="connsiteY75" fmla="*/ 586496 h 619963"/>
                          <a:gd name="connsiteX76" fmla="*/ 211226 w 401604"/>
                          <a:gd name="connsiteY76" fmla="*/ 581010 h 619963"/>
                          <a:gd name="connsiteX77" fmla="*/ 213970 w 401604"/>
                          <a:gd name="connsiteY77" fmla="*/ 578815 h 619963"/>
                          <a:gd name="connsiteX78" fmla="*/ 216164 w 401604"/>
                          <a:gd name="connsiteY78" fmla="*/ 576072 h 619963"/>
                          <a:gd name="connsiteX79" fmla="*/ 213970 w 401604"/>
                          <a:gd name="connsiteY79" fmla="*/ 571134 h 619963"/>
                          <a:gd name="connsiteX80" fmla="*/ 210129 w 401604"/>
                          <a:gd name="connsiteY80" fmla="*/ 567842 h 619963"/>
                          <a:gd name="connsiteX81" fmla="*/ 210129 w 401604"/>
                          <a:gd name="connsiteY81" fmla="*/ 565648 h 619963"/>
                          <a:gd name="connsiteX82" fmla="*/ 211226 w 401604"/>
                          <a:gd name="connsiteY82" fmla="*/ 563453 h 619963"/>
                          <a:gd name="connsiteX83" fmla="*/ 258409 w 401604"/>
                          <a:gd name="connsiteY83" fmla="*/ 555223 h 619963"/>
                          <a:gd name="connsiteX84" fmla="*/ 262250 w 401604"/>
                          <a:gd name="connsiteY84" fmla="*/ 556321 h 619963"/>
                          <a:gd name="connsiteX85" fmla="*/ 269382 w 401604"/>
                          <a:gd name="connsiteY85" fmla="*/ 552480 h 619963"/>
                          <a:gd name="connsiteX86" fmla="*/ 272674 w 401604"/>
                          <a:gd name="connsiteY86" fmla="*/ 547543 h 619963"/>
                          <a:gd name="connsiteX87" fmla="*/ 285293 w 401604"/>
                          <a:gd name="connsiteY87" fmla="*/ 542605 h 619963"/>
                          <a:gd name="connsiteX88" fmla="*/ 287488 w 401604"/>
                          <a:gd name="connsiteY88" fmla="*/ 539862 h 619963"/>
                          <a:gd name="connsiteX89" fmla="*/ 290231 w 401604"/>
                          <a:gd name="connsiteY89" fmla="*/ 532729 h 619963"/>
                          <a:gd name="connsiteX90" fmla="*/ 301204 w 401604"/>
                          <a:gd name="connsiteY90" fmla="*/ 522305 h 619963"/>
                          <a:gd name="connsiteX91" fmla="*/ 304495 w 401604"/>
                          <a:gd name="connsiteY91" fmla="*/ 521208 h 619963"/>
                          <a:gd name="connsiteX92" fmla="*/ 306690 w 401604"/>
                          <a:gd name="connsiteY92" fmla="*/ 519562 h 619963"/>
                          <a:gd name="connsiteX93" fmla="*/ 311628 w 401604"/>
                          <a:gd name="connsiteY93" fmla="*/ 512978 h 619963"/>
                          <a:gd name="connsiteX94" fmla="*/ 316017 w 401604"/>
                          <a:gd name="connsiteY94" fmla="*/ 511332 h 619963"/>
                          <a:gd name="connsiteX95" fmla="*/ 316017 w 401604"/>
                          <a:gd name="connsiteY95" fmla="*/ 500908 h 619963"/>
                          <a:gd name="connsiteX96" fmla="*/ 319309 w 401604"/>
                          <a:gd name="connsiteY96" fmla="*/ 493227 h 619963"/>
                          <a:gd name="connsiteX97" fmla="*/ 323149 w 401604"/>
                          <a:gd name="connsiteY97" fmla="*/ 488838 h 619963"/>
                          <a:gd name="connsiteX98" fmla="*/ 358262 w 401604"/>
                          <a:gd name="connsiteY98" fmla="*/ 480060 h 619963"/>
                          <a:gd name="connsiteX99" fmla="*/ 356068 w 401604"/>
                          <a:gd name="connsiteY99" fmla="*/ 467990 h 619963"/>
                          <a:gd name="connsiteX100" fmla="*/ 353324 w 401604"/>
                          <a:gd name="connsiteY100" fmla="*/ 465247 h 619963"/>
                          <a:gd name="connsiteX101" fmla="*/ 349484 w 401604"/>
                          <a:gd name="connsiteY101" fmla="*/ 462503 h 619963"/>
                          <a:gd name="connsiteX102" fmla="*/ 348935 w 401604"/>
                          <a:gd name="connsiteY102" fmla="*/ 461406 h 619963"/>
                          <a:gd name="connsiteX103" fmla="*/ 337414 w 401604"/>
                          <a:gd name="connsiteY103" fmla="*/ 426842 h 619963"/>
                          <a:gd name="connsiteX104" fmla="*/ 337414 w 401604"/>
                          <a:gd name="connsiteY104" fmla="*/ 415869 h 619963"/>
                          <a:gd name="connsiteX105" fmla="*/ 323698 w 401604"/>
                          <a:gd name="connsiteY105" fmla="*/ 419710 h 619963"/>
                          <a:gd name="connsiteX106" fmla="*/ 320954 w 401604"/>
                          <a:gd name="connsiteY106" fmla="*/ 419710 h 619963"/>
                          <a:gd name="connsiteX107" fmla="*/ 322052 w 401604"/>
                          <a:gd name="connsiteY107" fmla="*/ 405445 h 619963"/>
                          <a:gd name="connsiteX108" fmla="*/ 328087 w 401604"/>
                          <a:gd name="connsiteY108" fmla="*/ 391729 h 619963"/>
                          <a:gd name="connsiteX109" fmla="*/ 329184 w 401604"/>
                          <a:gd name="connsiteY109" fmla="*/ 374721 h 619963"/>
                          <a:gd name="connsiteX110" fmla="*/ 330830 w 401604"/>
                          <a:gd name="connsiteY110" fmla="*/ 371978 h 619963"/>
                          <a:gd name="connsiteX111" fmla="*/ 336316 w 401604"/>
                          <a:gd name="connsiteY111" fmla="*/ 369235 h 619963"/>
                          <a:gd name="connsiteX112" fmla="*/ 336865 w 401604"/>
                          <a:gd name="connsiteY112" fmla="*/ 368137 h 619963"/>
                          <a:gd name="connsiteX113" fmla="*/ 337414 w 401604"/>
                          <a:gd name="connsiteY113" fmla="*/ 364846 h 619963"/>
                          <a:gd name="connsiteX114" fmla="*/ 336865 w 401604"/>
                          <a:gd name="connsiteY114" fmla="*/ 350581 h 619963"/>
                          <a:gd name="connsiteX115" fmla="*/ 359359 w 401604"/>
                          <a:gd name="connsiteY115" fmla="*/ 318760 h 619963"/>
                          <a:gd name="connsiteX116" fmla="*/ 361554 w 401604"/>
                          <a:gd name="connsiteY116" fmla="*/ 305592 h 619963"/>
                          <a:gd name="connsiteX117" fmla="*/ 362651 w 401604"/>
                          <a:gd name="connsiteY117" fmla="*/ 303946 h 619963"/>
                          <a:gd name="connsiteX118" fmla="*/ 401056 w 401604"/>
                          <a:gd name="connsiteY118" fmla="*/ 301752 h 619963"/>
                          <a:gd name="connsiteX119" fmla="*/ 401605 w 401604"/>
                          <a:gd name="connsiteY119" fmla="*/ 155814 h 619963"/>
                          <a:gd name="connsiteX120" fmla="*/ 395569 w 401604"/>
                          <a:gd name="connsiteY120" fmla="*/ 154716 h 619963"/>
                          <a:gd name="connsiteX121" fmla="*/ 99853 w 401604"/>
                          <a:gd name="connsiteY121" fmla="*/ 0 h 619963"/>
                          <a:gd name="connsiteX122" fmla="*/ 61996 w 401604"/>
                          <a:gd name="connsiteY122" fmla="*/ 13716 h 619963"/>
                          <a:gd name="connsiteX123" fmla="*/ 61996 w 401604"/>
                          <a:gd name="connsiteY123" fmla="*/ 72420 h 61996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  <a:cxn ang="0">
                            <a:pos x="connsiteX43" y="connsiteY43"/>
                          </a:cxn>
                          <a:cxn ang="0">
                            <a:pos x="connsiteX44" y="connsiteY44"/>
                          </a:cxn>
                          <a:cxn ang="0">
                            <a:pos x="connsiteX45" y="connsiteY45"/>
                          </a:cxn>
                          <a:cxn ang="0">
                            <a:pos x="connsiteX46" y="connsiteY46"/>
                          </a:cxn>
                          <a:cxn ang="0">
                            <a:pos x="connsiteX47" y="connsiteY47"/>
                          </a:cxn>
                          <a:cxn ang="0">
                            <a:pos x="connsiteX48" y="connsiteY48"/>
                          </a:cxn>
                          <a:cxn ang="0">
                            <a:pos x="connsiteX49" y="connsiteY49"/>
                          </a:cxn>
                          <a:cxn ang="0">
                            <a:pos x="connsiteX50" y="connsiteY50"/>
                          </a:cxn>
                          <a:cxn ang="0">
                            <a:pos x="connsiteX51" y="connsiteY51"/>
                          </a:cxn>
                          <a:cxn ang="0">
                            <a:pos x="connsiteX52" y="connsiteY52"/>
                          </a:cxn>
                          <a:cxn ang="0">
                            <a:pos x="connsiteX53" y="connsiteY53"/>
                          </a:cxn>
                          <a:cxn ang="0">
                            <a:pos x="connsiteX54" y="connsiteY54"/>
                          </a:cxn>
                          <a:cxn ang="0">
                            <a:pos x="connsiteX55" y="connsiteY55"/>
                          </a:cxn>
                          <a:cxn ang="0">
                            <a:pos x="connsiteX56" y="connsiteY56"/>
                          </a:cxn>
                          <a:cxn ang="0">
                            <a:pos x="connsiteX57" y="connsiteY57"/>
                          </a:cxn>
                          <a:cxn ang="0">
                            <a:pos x="connsiteX58" y="connsiteY58"/>
                          </a:cxn>
                          <a:cxn ang="0">
                            <a:pos x="connsiteX59" y="connsiteY59"/>
                          </a:cxn>
                          <a:cxn ang="0">
                            <a:pos x="connsiteX60" y="connsiteY60"/>
                          </a:cxn>
                          <a:cxn ang="0">
                            <a:pos x="connsiteX61" y="connsiteY61"/>
                          </a:cxn>
                          <a:cxn ang="0">
                            <a:pos x="connsiteX62" y="connsiteY62"/>
                          </a:cxn>
                          <a:cxn ang="0">
                            <a:pos x="connsiteX63" y="connsiteY63"/>
                          </a:cxn>
                          <a:cxn ang="0">
                            <a:pos x="connsiteX64" y="connsiteY64"/>
                          </a:cxn>
                          <a:cxn ang="0">
                            <a:pos x="connsiteX65" y="connsiteY65"/>
                          </a:cxn>
                          <a:cxn ang="0">
                            <a:pos x="connsiteX66" y="connsiteY66"/>
                          </a:cxn>
                          <a:cxn ang="0">
                            <a:pos x="connsiteX67" y="connsiteY67"/>
                          </a:cxn>
                          <a:cxn ang="0">
                            <a:pos x="connsiteX68" y="connsiteY68"/>
                          </a:cxn>
                          <a:cxn ang="0">
                            <a:pos x="connsiteX69" y="connsiteY69"/>
                          </a:cxn>
                          <a:cxn ang="0">
                            <a:pos x="connsiteX70" y="connsiteY70"/>
                          </a:cxn>
                          <a:cxn ang="0">
                            <a:pos x="connsiteX71" y="connsiteY71"/>
                          </a:cxn>
                          <a:cxn ang="0">
                            <a:pos x="connsiteX72" y="connsiteY72"/>
                          </a:cxn>
                          <a:cxn ang="0">
                            <a:pos x="connsiteX73" y="connsiteY73"/>
                          </a:cxn>
                          <a:cxn ang="0">
                            <a:pos x="connsiteX74" y="connsiteY74"/>
                          </a:cxn>
                          <a:cxn ang="0">
                            <a:pos x="connsiteX75" y="connsiteY75"/>
                          </a:cxn>
                          <a:cxn ang="0">
                            <a:pos x="connsiteX76" y="connsiteY76"/>
                          </a:cxn>
                          <a:cxn ang="0">
                            <a:pos x="connsiteX77" y="connsiteY77"/>
                          </a:cxn>
                          <a:cxn ang="0">
                            <a:pos x="connsiteX78" y="connsiteY78"/>
                          </a:cxn>
                          <a:cxn ang="0">
                            <a:pos x="connsiteX79" y="connsiteY79"/>
                          </a:cxn>
                          <a:cxn ang="0">
                            <a:pos x="connsiteX80" y="connsiteY80"/>
                          </a:cxn>
                          <a:cxn ang="0">
                            <a:pos x="connsiteX81" y="connsiteY81"/>
                          </a:cxn>
                          <a:cxn ang="0">
                            <a:pos x="connsiteX82" y="connsiteY82"/>
                          </a:cxn>
                          <a:cxn ang="0">
                            <a:pos x="connsiteX83" y="connsiteY83"/>
                          </a:cxn>
                          <a:cxn ang="0">
                            <a:pos x="connsiteX84" y="connsiteY84"/>
                          </a:cxn>
                          <a:cxn ang="0">
                            <a:pos x="connsiteX85" y="connsiteY85"/>
                          </a:cxn>
                          <a:cxn ang="0">
                            <a:pos x="connsiteX86" y="connsiteY86"/>
                          </a:cxn>
                          <a:cxn ang="0">
                            <a:pos x="connsiteX87" y="connsiteY87"/>
                          </a:cxn>
                          <a:cxn ang="0">
                            <a:pos x="connsiteX88" y="connsiteY88"/>
                          </a:cxn>
                          <a:cxn ang="0">
                            <a:pos x="connsiteX89" y="connsiteY89"/>
                          </a:cxn>
                          <a:cxn ang="0">
                            <a:pos x="connsiteX90" y="connsiteY90"/>
                          </a:cxn>
                          <a:cxn ang="0">
                            <a:pos x="connsiteX91" y="connsiteY91"/>
                          </a:cxn>
                          <a:cxn ang="0">
                            <a:pos x="connsiteX92" y="connsiteY92"/>
                          </a:cxn>
                          <a:cxn ang="0">
                            <a:pos x="connsiteX93" y="connsiteY93"/>
                          </a:cxn>
                          <a:cxn ang="0">
                            <a:pos x="connsiteX94" y="connsiteY94"/>
                          </a:cxn>
                          <a:cxn ang="0">
                            <a:pos x="connsiteX95" y="connsiteY95"/>
                          </a:cxn>
                          <a:cxn ang="0">
                            <a:pos x="connsiteX96" y="connsiteY96"/>
                          </a:cxn>
                          <a:cxn ang="0">
                            <a:pos x="connsiteX97" y="connsiteY97"/>
                          </a:cxn>
                          <a:cxn ang="0">
                            <a:pos x="connsiteX98" y="connsiteY98"/>
                          </a:cxn>
                          <a:cxn ang="0">
                            <a:pos x="connsiteX99" y="connsiteY99"/>
                          </a:cxn>
                          <a:cxn ang="0">
                            <a:pos x="connsiteX100" y="connsiteY100"/>
                          </a:cxn>
                          <a:cxn ang="0">
                            <a:pos x="connsiteX101" y="connsiteY101"/>
                          </a:cxn>
                          <a:cxn ang="0">
                            <a:pos x="connsiteX102" y="connsiteY102"/>
                          </a:cxn>
                          <a:cxn ang="0">
                            <a:pos x="connsiteX103" y="connsiteY103"/>
                          </a:cxn>
                          <a:cxn ang="0">
                            <a:pos x="connsiteX104" y="connsiteY104"/>
                          </a:cxn>
                          <a:cxn ang="0">
                            <a:pos x="connsiteX105" y="connsiteY105"/>
                          </a:cxn>
                          <a:cxn ang="0">
                            <a:pos x="connsiteX106" y="connsiteY106"/>
                          </a:cxn>
                          <a:cxn ang="0">
                            <a:pos x="connsiteX107" y="connsiteY107"/>
                          </a:cxn>
                          <a:cxn ang="0">
                            <a:pos x="connsiteX108" y="connsiteY108"/>
                          </a:cxn>
                          <a:cxn ang="0">
                            <a:pos x="connsiteX109" y="connsiteY109"/>
                          </a:cxn>
                          <a:cxn ang="0">
                            <a:pos x="connsiteX110" y="connsiteY110"/>
                          </a:cxn>
                          <a:cxn ang="0">
                            <a:pos x="connsiteX111" y="connsiteY111"/>
                          </a:cxn>
                          <a:cxn ang="0">
                            <a:pos x="connsiteX112" y="connsiteY112"/>
                          </a:cxn>
                          <a:cxn ang="0">
                            <a:pos x="connsiteX113" y="connsiteY113"/>
                          </a:cxn>
                          <a:cxn ang="0">
                            <a:pos x="connsiteX114" y="connsiteY114"/>
                          </a:cxn>
                          <a:cxn ang="0">
                            <a:pos x="connsiteX115" y="connsiteY115"/>
                          </a:cxn>
                          <a:cxn ang="0">
                            <a:pos x="connsiteX116" y="connsiteY116"/>
                          </a:cxn>
                          <a:cxn ang="0">
                            <a:pos x="connsiteX117" y="connsiteY117"/>
                          </a:cxn>
                          <a:cxn ang="0">
                            <a:pos x="connsiteX118" y="connsiteY118"/>
                          </a:cxn>
                          <a:cxn ang="0">
                            <a:pos x="connsiteX119" y="connsiteY119"/>
                          </a:cxn>
                          <a:cxn ang="0">
                            <a:pos x="connsiteX120" y="connsiteY120"/>
                          </a:cxn>
                          <a:cxn ang="0">
                            <a:pos x="connsiteX121" y="connsiteY121"/>
                          </a:cxn>
                          <a:cxn ang="0">
                            <a:pos x="connsiteX122" y="connsiteY122"/>
                          </a:cxn>
                          <a:cxn ang="0">
                            <a:pos x="connsiteX123" y="connsiteY123"/>
                          </a:cxn>
                        </a:cxnLst>
                        <a:rect l="l" t="t" r="r" b="b"/>
                        <a:pathLst>
                          <a:path w="401604" h="619963">
                            <a:moveTo>
                              <a:pt x="61996" y="72420"/>
                            </a:moveTo>
                            <a:lnTo>
                              <a:pt x="66934" y="82845"/>
                            </a:lnTo>
                            <a:lnTo>
                              <a:pt x="66934" y="85039"/>
                            </a:lnTo>
                            <a:lnTo>
                              <a:pt x="71872" y="97109"/>
                            </a:lnTo>
                            <a:lnTo>
                              <a:pt x="78456" y="106436"/>
                            </a:lnTo>
                            <a:lnTo>
                              <a:pt x="99304" y="117958"/>
                            </a:lnTo>
                            <a:lnTo>
                              <a:pt x="89428" y="134417"/>
                            </a:lnTo>
                            <a:lnTo>
                              <a:pt x="75164" y="256763"/>
                            </a:lnTo>
                            <a:lnTo>
                              <a:pt x="12070" y="328087"/>
                            </a:lnTo>
                            <a:lnTo>
                              <a:pt x="12070" y="335219"/>
                            </a:lnTo>
                            <a:lnTo>
                              <a:pt x="7681" y="336865"/>
                            </a:lnTo>
                            <a:lnTo>
                              <a:pt x="8230" y="343997"/>
                            </a:lnTo>
                            <a:lnTo>
                              <a:pt x="2743" y="344546"/>
                            </a:lnTo>
                            <a:lnTo>
                              <a:pt x="0" y="347838"/>
                            </a:lnTo>
                            <a:lnTo>
                              <a:pt x="1097" y="355519"/>
                            </a:lnTo>
                            <a:lnTo>
                              <a:pt x="12070" y="359359"/>
                            </a:lnTo>
                            <a:lnTo>
                              <a:pt x="15362" y="362651"/>
                            </a:lnTo>
                            <a:lnTo>
                              <a:pt x="20300" y="365943"/>
                            </a:lnTo>
                            <a:lnTo>
                              <a:pt x="24689" y="371429"/>
                            </a:lnTo>
                            <a:lnTo>
                              <a:pt x="26883" y="386242"/>
                            </a:lnTo>
                            <a:lnTo>
                              <a:pt x="38405" y="387888"/>
                            </a:lnTo>
                            <a:lnTo>
                              <a:pt x="46634" y="386791"/>
                            </a:lnTo>
                            <a:lnTo>
                              <a:pt x="56510" y="390631"/>
                            </a:lnTo>
                            <a:lnTo>
                              <a:pt x="61448" y="388986"/>
                            </a:lnTo>
                            <a:lnTo>
                              <a:pt x="66385" y="398861"/>
                            </a:lnTo>
                            <a:lnTo>
                              <a:pt x="64191" y="402153"/>
                            </a:lnTo>
                            <a:lnTo>
                              <a:pt x="63094" y="407639"/>
                            </a:lnTo>
                            <a:lnTo>
                              <a:pt x="56510" y="413126"/>
                            </a:lnTo>
                            <a:lnTo>
                              <a:pt x="46634" y="415869"/>
                            </a:lnTo>
                            <a:lnTo>
                              <a:pt x="48280" y="418612"/>
                            </a:lnTo>
                            <a:lnTo>
                              <a:pt x="52121" y="438363"/>
                            </a:lnTo>
                            <a:lnTo>
                              <a:pt x="57607" y="449336"/>
                            </a:lnTo>
                            <a:lnTo>
                              <a:pt x="53767" y="483900"/>
                            </a:lnTo>
                            <a:lnTo>
                              <a:pt x="70775" y="511881"/>
                            </a:lnTo>
                            <a:lnTo>
                              <a:pt x="72969" y="522305"/>
                            </a:lnTo>
                            <a:lnTo>
                              <a:pt x="71872" y="524500"/>
                            </a:lnTo>
                            <a:lnTo>
                              <a:pt x="69129" y="525048"/>
                            </a:lnTo>
                            <a:lnTo>
                              <a:pt x="45537" y="521757"/>
                            </a:lnTo>
                            <a:lnTo>
                              <a:pt x="32918" y="523402"/>
                            </a:lnTo>
                            <a:lnTo>
                              <a:pt x="29627" y="524500"/>
                            </a:lnTo>
                            <a:lnTo>
                              <a:pt x="26883" y="528889"/>
                            </a:lnTo>
                            <a:lnTo>
                              <a:pt x="26335" y="539313"/>
                            </a:lnTo>
                            <a:lnTo>
                              <a:pt x="27981" y="546994"/>
                            </a:lnTo>
                            <a:lnTo>
                              <a:pt x="35113" y="556870"/>
                            </a:lnTo>
                            <a:lnTo>
                              <a:pt x="40051" y="560710"/>
                            </a:lnTo>
                            <a:lnTo>
                              <a:pt x="54315" y="565099"/>
                            </a:lnTo>
                            <a:lnTo>
                              <a:pt x="57059" y="567294"/>
                            </a:lnTo>
                            <a:lnTo>
                              <a:pt x="72969" y="618317"/>
                            </a:lnTo>
                            <a:lnTo>
                              <a:pt x="74615" y="619963"/>
                            </a:lnTo>
                            <a:lnTo>
                              <a:pt x="77358" y="617769"/>
                            </a:lnTo>
                            <a:lnTo>
                              <a:pt x="91074" y="616671"/>
                            </a:lnTo>
                            <a:lnTo>
                              <a:pt x="94915" y="617769"/>
                            </a:lnTo>
                            <a:lnTo>
                              <a:pt x="98755" y="617769"/>
                            </a:lnTo>
                            <a:lnTo>
                              <a:pt x="104790" y="611734"/>
                            </a:lnTo>
                            <a:lnTo>
                              <a:pt x="114117" y="610636"/>
                            </a:lnTo>
                            <a:lnTo>
                              <a:pt x="115763" y="605698"/>
                            </a:lnTo>
                            <a:lnTo>
                              <a:pt x="117958" y="605150"/>
                            </a:lnTo>
                            <a:lnTo>
                              <a:pt x="119055" y="604053"/>
                            </a:lnTo>
                            <a:lnTo>
                              <a:pt x="121798" y="604053"/>
                            </a:lnTo>
                            <a:lnTo>
                              <a:pt x="123444" y="604601"/>
                            </a:lnTo>
                            <a:lnTo>
                              <a:pt x="125639" y="608990"/>
                            </a:lnTo>
                            <a:lnTo>
                              <a:pt x="127833" y="610087"/>
                            </a:lnTo>
                            <a:lnTo>
                              <a:pt x="132771" y="615025"/>
                            </a:lnTo>
                            <a:lnTo>
                              <a:pt x="135514" y="613928"/>
                            </a:lnTo>
                            <a:lnTo>
                              <a:pt x="136612" y="611185"/>
                            </a:lnTo>
                            <a:lnTo>
                              <a:pt x="147036" y="608442"/>
                            </a:lnTo>
                            <a:lnTo>
                              <a:pt x="152522" y="604053"/>
                            </a:lnTo>
                            <a:lnTo>
                              <a:pt x="166787" y="598566"/>
                            </a:lnTo>
                            <a:lnTo>
                              <a:pt x="176662" y="599115"/>
                            </a:lnTo>
                            <a:lnTo>
                              <a:pt x="182149" y="596371"/>
                            </a:lnTo>
                            <a:lnTo>
                              <a:pt x="199156" y="596371"/>
                            </a:lnTo>
                            <a:lnTo>
                              <a:pt x="199705" y="595274"/>
                            </a:lnTo>
                            <a:lnTo>
                              <a:pt x="200802" y="591434"/>
                            </a:lnTo>
                            <a:lnTo>
                              <a:pt x="202448" y="589239"/>
                            </a:lnTo>
                            <a:lnTo>
                              <a:pt x="205740" y="588691"/>
                            </a:lnTo>
                            <a:lnTo>
                              <a:pt x="209032" y="586496"/>
                            </a:lnTo>
                            <a:lnTo>
                              <a:pt x="211226" y="581010"/>
                            </a:lnTo>
                            <a:lnTo>
                              <a:pt x="213970" y="578815"/>
                            </a:lnTo>
                            <a:lnTo>
                              <a:pt x="216164" y="576072"/>
                            </a:lnTo>
                            <a:lnTo>
                              <a:pt x="213970" y="571134"/>
                            </a:lnTo>
                            <a:lnTo>
                              <a:pt x="210129" y="567842"/>
                            </a:lnTo>
                            <a:lnTo>
                              <a:pt x="210129" y="565648"/>
                            </a:lnTo>
                            <a:lnTo>
                              <a:pt x="211226" y="563453"/>
                            </a:lnTo>
                            <a:lnTo>
                              <a:pt x="258409" y="555223"/>
                            </a:lnTo>
                            <a:lnTo>
                              <a:pt x="262250" y="556321"/>
                            </a:lnTo>
                            <a:lnTo>
                              <a:pt x="269382" y="552480"/>
                            </a:lnTo>
                            <a:lnTo>
                              <a:pt x="272674" y="547543"/>
                            </a:lnTo>
                            <a:lnTo>
                              <a:pt x="285293" y="542605"/>
                            </a:lnTo>
                            <a:lnTo>
                              <a:pt x="287488" y="539862"/>
                            </a:lnTo>
                            <a:lnTo>
                              <a:pt x="290231" y="532729"/>
                            </a:lnTo>
                            <a:lnTo>
                              <a:pt x="301204" y="522305"/>
                            </a:lnTo>
                            <a:lnTo>
                              <a:pt x="304495" y="521208"/>
                            </a:lnTo>
                            <a:lnTo>
                              <a:pt x="306690" y="519562"/>
                            </a:lnTo>
                            <a:lnTo>
                              <a:pt x="311628" y="512978"/>
                            </a:lnTo>
                            <a:lnTo>
                              <a:pt x="316017" y="511332"/>
                            </a:lnTo>
                            <a:lnTo>
                              <a:pt x="316017" y="500908"/>
                            </a:lnTo>
                            <a:lnTo>
                              <a:pt x="319309" y="493227"/>
                            </a:lnTo>
                            <a:lnTo>
                              <a:pt x="323149" y="488838"/>
                            </a:lnTo>
                            <a:lnTo>
                              <a:pt x="358262" y="480060"/>
                            </a:lnTo>
                            <a:lnTo>
                              <a:pt x="356068" y="467990"/>
                            </a:lnTo>
                            <a:lnTo>
                              <a:pt x="353324" y="465247"/>
                            </a:lnTo>
                            <a:lnTo>
                              <a:pt x="349484" y="462503"/>
                            </a:lnTo>
                            <a:lnTo>
                              <a:pt x="348935" y="461406"/>
                            </a:lnTo>
                            <a:lnTo>
                              <a:pt x="337414" y="426842"/>
                            </a:lnTo>
                            <a:lnTo>
                              <a:pt x="337414" y="415869"/>
                            </a:lnTo>
                            <a:lnTo>
                              <a:pt x="323698" y="419710"/>
                            </a:lnTo>
                            <a:lnTo>
                              <a:pt x="320954" y="419710"/>
                            </a:lnTo>
                            <a:lnTo>
                              <a:pt x="322052" y="405445"/>
                            </a:lnTo>
                            <a:lnTo>
                              <a:pt x="328087" y="391729"/>
                            </a:lnTo>
                            <a:lnTo>
                              <a:pt x="329184" y="374721"/>
                            </a:lnTo>
                            <a:lnTo>
                              <a:pt x="330830" y="371978"/>
                            </a:lnTo>
                            <a:lnTo>
                              <a:pt x="336316" y="369235"/>
                            </a:lnTo>
                            <a:lnTo>
                              <a:pt x="336865" y="368137"/>
                            </a:lnTo>
                            <a:lnTo>
                              <a:pt x="337414" y="364846"/>
                            </a:lnTo>
                            <a:lnTo>
                              <a:pt x="336865" y="350581"/>
                            </a:lnTo>
                            <a:lnTo>
                              <a:pt x="359359" y="318760"/>
                            </a:lnTo>
                            <a:lnTo>
                              <a:pt x="361554" y="305592"/>
                            </a:lnTo>
                            <a:lnTo>
                              <a:pt x="362651" y="303946"/>
                            </a:lnTo>
                            <a:lnTo>
                              <a:pt x="401056" y="301752"/>
                            </a:lnTo>
                            <a:lnTo>
                              <a:pt x="401605" y="155814"/>
                            </a:lnTo>
                            <a:lnTo>
                              <a:pt x="395569" y="154716"/>
                            </a:lnTo>
                            <a:lnTo>
                              <a:pt x="99853" y="0"/>
                            </a:lnTo>
                            <a:lnTo>
                              <a:pt x="61996" y="13716"/>
                            </a:lnTo>
                            <a:lnTo>
                              <a:pt x="61996" y="72420"/>
                            </a:lnTo>
                          </a:path>
                        </a:pathLst>
                      </a:custGeom>
                      <a:grpFill/>
                      <a:ln w="1270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78" name="Graphic 7">
                        <a:extLst>
                          <a:ext uri="{FF2B5EF4-FFF2-40B4-BE49-F238E27FC236}">
                            <a16:creationId xmlns:a16="http://schemas.microsoft.com/office/drawing/2014/main" id="{44D304BD-D553-823D-DC70-038BFEB565F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5319232" y="4062862"/>
                        <a:ext cx="342056" cy="284618"/>
                      </a:xfrm>
                      <a:custGeom>
                        <a:avLst/>
                        <a:gdLst>
                          <a:gd name="connsiteX0" fmla="*/ 31821 w 437814"/>
                          <a:gd name="connsiteY0" fmla="*/ 80650 h 364297"/>
                          <a:gd name="connsiteX1" fmla="*/ 31821 w 437814"/>
                          <a:gd name="connsiteY1" fmla="*/ 52121 h 364297"/>
                          <a:gd name="connsiteX2" fmla="*/ 33467 w 437814"/>
                          <a:gd name="connsiteY2" fmla="*/ 48829 h 364297"/>
                          <a:gd name="connsiteX3" fmla="*/ 36210 w 437814"/>
                          <a:gd name="connsiteY3" fmla="*/ 45537 h 364297"/>
                          <a:gd name="connsiteX4" fmla="*/ 41148 w 437814"/>
                          <a:gd name="connsiteY4" fmla="*/ 43343 h 364297"/>
                          <a:gd name="connsiteX5" fmla="*/ 44988 w 437814"/>
                          <a:gd name="connsiteY5" fmla="*/ 39502 h 364297"/>
                          <a:gd name="connsiteX6" fmla="*/ 52669 w 437814"/>
                          <a:gd name="connsiteY6" fmla="*/ 14813 h 364297"/>
                          <a:gd name="connsiteX7" fmla="*/ 63642 w 437814"/>
                          <a:gd name="connsiteY7" fmla="*/ 6035 h 364297"/>
                          <a:gd name="connsiteX8" fmla="*/ 109179 w 437814"/>
                          <a:gd name="connsiteY8" fmla="*/ 549 h 364297"/>
                          <a:gd name="connsiteX9" fmla="*/ 134965 w 437814"/>
                          <a:gd name="connsiteY9" fmla="*/ 13716 h 364297"/>
                          <a:gd name="connsiteX10" fmla="*/ 154716 w 437814"/>
                          <a:gd name="connsiteY10" fmla="*/ 31821 h 364297"/>
                          <a:gd name="connsiteX11" fmla="*/ 158008 w 437814"/>
                          <a:gd name="connsiteY11" fmla="*/ 32918 h 364297"/>
                          <a:gd name="connsiteX12" fmla="*/ 164043 w 437814"/>
                          <a:gd name="connsiteY12" fmla="*/ 32918 h 364297"/>
                          <a:gd name="connsiteX13" fmla="*/ 168432 w 437814"/>
                          <a:gd name="connsiteY13" fmla="*/ 26883 h 364297"/>
                          <a:gd name="connsiteX14" fmla="*/ 185989 w 437814"/>
                          <a:gd name="connsiteY14" fmla="*/ 18654 h 364297"/>
                          <a:gd name="connsiteX15" fmla="*/ 194767 w 437814"/>
                          <a:gd name="connsiteY15" fmla="*/ 18654 h 364297"/>
                          <a:gd name="connsiteX16" fmla="*/ 222199 w 437814"/>
                          <a:gd name="connsiteY16" fmla="*/ 35113 h 364297"/>
                          <a:gd name="connsiteX17" fmla="*/ 246339 w 437814"/>
                          <a:gd name="connsiteY17" fmla="*/ 40051 h 364297"/>
                          <a:gd name="connsiteX18" fmla="*/ 255118 w 437814"/>
                          <a:gd name="connsiteY18" fmla="*/ 38405 h 364297"/>
                          <a:gd name="connsiteX19" fmla="*/ 283098 w 437814"/>
                          <a:gd name="connsiteY19" fmla="*/ 19202 h 364297"/>
                          <a:gd name="connsiteX20" fmla="*/ 333573 w 437814"/>
                          <a:gd name="connsiteY20" fmla="*/ 16459 h 364297"/>
                          <a:gd name="connsiteX21" fmla="*/ 352776 w 437814"/>
                          <a:gd name="connsiteY21" fmla="*/ 24689 h 364297"/>
                          <a:gd name="connsiteX22" fmla="*/ 359908 w 437814"/>
                          <a:gd name="connsiteY22" fmla="*/ 24140 h 364297"/>
                          <a:gd name="connsiteX23" fmla="*/ 364846 w 437814"/>
                          <a:gd name="connsiteY23" fmla="*/ 21946 h 364297"/>
                          <a:gd name="connsiteX24" fmla="*/ 370881 w 437814"/>
                          <a:gd name="connsiteY24" fmla="*/ 15362 h 364297"/>
                          <a:gd name="connsiteX25" fmla="*/ 371429 w 437814"/>
                          <a:gd name="connsiteY25" fmla="*/ 14265 h 364297"/>
                          <a:gd name="connsiteX26" fmla="*/ 375270 w 437814"/>
                          <a:gd name="connsiteY26" fmla="*/ 11521 h 364297"/>
                          <a:gd name="connsiteX27" fmla="*/ 380208 w 437814"/>
                          <a:gd name="connsiteY27" fmla="*/ 10424 h 364297"/>
                          <a:gd name="connsiteX28" fmla="*/ 385145 w 437814"/>
                          <a:gd name="connsiteY28" fmla="*/ 10424 h 364297"/>
                          <a:gd name="connsiteX29" fmla="*/ 388986 w 437814"/>
                          <a:gd name="connsiteY29" fmla="*/ 2195 h 364297"/>
                          <a:gd name="connsiteX30" fmla="*/ 390083 w 437814"/>
                          <a:gd name="connsiteY30" fmla="*/ 2195 h 364297"/>
                          <a:gd name="connsiteX31" fmla="*/ 391180 w 437814"/>
                          <a:gd name="connsiteY31" fmla="*/ 0 h 364297"/>
                          <a:gd name="connsiteX32" fmla="*/ 401056 w 437814"/>
                          <a:gd name="connsiteY32" fmla="*/ 20300 h 364297"/>
                          <a:gd name="connsiteX33" fmla="*/ 408737 w 437814"/>
                          <a:gd name="connsiteY33" fmla="*/ 24689 h 364297"/>
                          <a:gd name="connsiteX34" fmla="*/ 418064 w 437814"/>
                          <a:gd name="connsiteY34" fmla="*/ 44989 h 364297"/>
                          <a:gd name="connsiteX35" fmla="*/ 425196 w 437814"/>
                          <a:gd name="connsiteY35" fmla="*/ 49926 h 364297"/>
                          <a:gd name="connsiteX36" fmla="*/ 425745 w 437814"/>
                          <a:gd name="connsiteY36" fmla="*/ 52669 h 364297"/>
                          <a:gd name="connsiteX37" fmla="*/ 432877 w 437814"/>
                          <a:gd name="connsiteY37" fmla="*/ 54864 h 364297"/>
                          <a:gd name="connsiteX38" fmla="*/ 435620 w 437814"/>
                          <a:gd name="connsiteY38" fmla="*/ 57059 h 364297"/>
                          <a:gd name="connsiteX39" fmla="*/ 437266 w 437814"/>
                          <a:gd name="connsiteY39" fmla="*/ 60899 h 364297"/>
                          <a:gd name="connsiteX40" fmla="*/ 437815 w 437814"/>
                          <a:gd name="connsiteY40" fmla="*/ 82296 h 364297"/>
                          <a:gd name="connsiteX41" fmla="*/ 425196 w 437814"/>
                          <a:gd name="connsiteY41" fmla="*/ 90526 h 364297"/>
                          <a:gd name="connsiteX42" fmla="*/ 423550 w 437814"/>
                          <a:gd name="connsiteY42" fmla="*/ 92720 h 364297"/>
                          <a:gd name="connsiteX43" fmla="*/ 409285 w 437814"/>
                          <a:gd name="connsiteY43" fmla="*/ 98207 h 364297"/>
                          <a:gd name="connsiteX44" fmla="*/ 400507 w 437814"/>
                          <a:gd name="connsiteY44" fmla="*/ 108631 h 364297"/>
                          <a:gd name="connsiteX45" fmla="*/ 374721 w 437814"/>
                          <a:gd name="connsiteY45" fmla="*/ 192024 h 364297"/>
                          <a:gd name="connsiteX46" fmla="*/ 363748 w 437814"/>
                          <a:gd name="connsiteY46" fmla="*/ 196413 h 364297"/>
                          <a:gd name="connsiteX47" fmla="*/ 357165 w 437814"/>
                          <a:gd name="connsiteY47" fmla="*/ 204643 h 364297"/>
                          <a:gd name="connsiteX48" fmla="*/ 325344 w 437814"/>
                          <a:gd name="connsiteY48" fmla="*/ 277612 h 364297"/>
                          <a:gd name="connsiteX49" fmla="*/ 319857 w 437814"/>
                          <a:gd name="connsiteY49" fmla="*/ 279806 h 364297"/>
                          <a:gd name="connsiteX50" fmla="*/ 310530 w 437814"/>
                          <a:gd name="connsiteY50" fmla="*/ 279806 h 364297"/>
                          <a:gd name="connsiteX51" fmla="*/ 304495 w 437814"/>
                          <a:gd name="connsiteY51" fmla="*/ 274320 h 364297"/>
                          <a:gd name="connsiteX52" fmla="*/ 301752 w 437814"/>
                          <a:gd name="connsiteY52" fmla="*/ 273223 h 364297"/>
                          <a:gd name="connsiteX53" fmla="*/ 301752 w 437814"/>
                          <a:gd name="connsiteY53" fmla="*/ 271577 h 364297"/>
                          <a:gd name="connsiteX54" fmla="*/ 300106 w 437814"/>
                          <a:gd name="connsiteY54" fmla="*/ 268834 h 364297"/>
                          <a:gd name="connsiteX55" fmla="*/ 292425 w 437814"/>
                          <a:gd name="connsiteY55" fmla="*/ 262250 h 364297"/>
                          <a:gd name="connsiteX56" fmla="*/ 256764 w 437814"/>
                          <a:gd name="connsiteY56" fmla="*/ 264445 h 364297"/>
                          <a:gd name="connsiteX57" fmla="*/ 255118 w 437814"/>
                          <a:gd name="connsiteY57" fmla="*/ 264993 h 364297"/>
                          <a:gd name="connsiteX58" fmla="*/ 252374 w 437814"/>
                          <a:gd name="connsiteY58" fmla="*/ 275966 h 364297"/>
                          <a:gd name="connsiteX59" fmla="*/ 245242 w 437814"/>
                          <a:gd name="connsiteY59" fmla="*/ 279806 h 364297"/>
                          <a:gd name="connsiteX60" fmla="*/ 234269 w 437814"/>
                          <a:gd name="connsiteY60" fmla="*/ 291877 h 364297"/>
                          <a:gd name="connsiteX61" fmla="*/ 225491 w 437814"/>
                          <a:gd name="connsiteY61" fmla="*/ 313822 h 364297"/>
                          <a:gd name="connsiteX62" fmla="*/ 224942 w 437814"/>
                          <a:gd name="connsiteY62" fmla="*/ 323149 h 364297"/>
                          <a:gd name="connsiteX63" fmla="*/ 217810 w 437814"/>
                          <a:gd name="connsiteY63" fmla="*/ 335768 h 364297"/>
                          <a:gd name="connsiteX64" fmla="*/ 212872 w 437814"/>
                          <a:gd name="connsiteY64" fmla="*/ 340157 h 364297"/>
                          <a:gd name="connsiteX65" fmla="*/ 212872 w 437814"/>
                          <a:gd name="connsiteY65" fmla="*/ 345095 h 364297"/>
                          <a:gd name="connsiteX66" fmla="*/ 210129 w 437814"/>
                          <a:gd name="connsiteY66" fmla="*/ 341254 h 364297"/>
                          <a:gd name="connsiteX67" fmla="*/ 206837 w 437814"/>
                          <a:gd name="connsiteY67" fmla="*/ 340157 h 364297"/>
                          <a:gd name="connsiteX68" fmla="*/ 204094 w 437814"/>
                          <a:gd name="connsiteY68" fmla="*/ 346192 h 364297"/>
                          <a:gd name="connsiteX69" fmla="*/ 202997 w 437814"/>
                          <a:gd name="connsiteY69" fmla="*/ 353873 h 364297"/>
                          <a:gd name="connsiteX70" fmla="*/ 179405 w 437814"/>
                          <a:gd name="connsiteY70" fmla="*/ 354421 h 364297"/>
                          <a:gd name="connsiteX71" fmla="*/ 164043 w 437814"/>
                          <a:gd name="connsiteY71" fmla="*/ 347838 h 364297"/>
                          <a:gd name="connsiteX72" fmla="*/ 161300 w 437814"/>
                          <a:gd name="connsiteY72" fmla="*/ 352227 h 364297"/>
                          <a:gd name="connsiteX73" fmla="*/ 158557 w 437814"/>
                          <a:gd name="connsiteY73" fmla="*/ 353873 h 364297"/>
                          <a:gd name="connsiteX74" fmla="*/ 156362 w 437814"/>
                          <a:gd name="connsiteY74" fmla="*/ 357165 h 364297"/>
                          <a:gd name="connsiteX75" fmla="*/ 153619 w 437814"/>
                          <a:gd name="connsiteY75" fmla="*/ 358262 h 364297"/>
                          <a:gd name="connsiteX76" fmla="*/ 151973 w 437814"/>
                          <a:gd name="connsiteY76" fmla="*/ 358262 h 364297"/>
                          <a:gd name="connsiteX77" fmla="*/ 149779 w 437814"/>
                          <a:gd name="connsiteY77" fmla="*/ 359908 h 364297"/>
                          <a:gd name="connsiteX78" fmla="*/ 145938 w 437814"/>
                          <a:gd name="connsiteY78" fmla="*/ 357713 h 364297"/>
                          <a:gd name="connsiteX79" fmla="*/ 143744 w 437814"/>
                          <a:gd name="connsiteY79" fmla="*/ 359359 h 364297"/>
                          <a:gd name="connsiteX80" fmla="*/ 142646 w 437814"/>
                          <a:gd name="connsiteY80" fmla="*/ 358262 h 364297"/>
                          <a:gd name="connsiteX81" fmla="*/ 130576 w 437814"/>
                          <a:gd name="connsiteY81" fmla="*/ 364297 h 364297"/>
                          <a:gd name="connsiteX82" fmla="*/ 128930 w 437814"/>
                          <a:gd name="connsiteY82" fmla="*/ 358262 h 364297"/>
                          <a:gd name="connsiteX83" fmla="*/ 122895 w 437814"/>
                          <a:gd name="connsiteY83" fmla="*/ 358262 h 364297"/>
                          <a:gd name="connsiteX84" fmla="*/ 121798 w 437814"/>
                          <a:gd name="connsiteY84" fmla="*/ 359359 h 364297"/>
                          <a:gd name="connsiteX85" fmla="*/ 113568 w 437814"/>
                          <a:gd name="connsiteY85" fmla="*/ 356616 h 364297"/>
                          <a:gd name="connsiteX86" fmla="*/ 110277 w 437814"/>
                          <a:gd name="connsiteY86" fmla="*/ 350581 h 364297"/>
                          <a:gd name="connsiteX87" fmla="*/ 102047 w 437814"/>
                          <a:gd name="connsiteY87" fmla="*/ 342352 h 364297"/>
                          <a:gd name="connsiteX88" fmla="*/ 98207 w 437814"/>
                          <a:gd name="connsiteY88" fmla="*/ 322052 h 364297"/>
                          <a:gd name="connsiteX89" fmla="*/ 102047 w 437814"/>
                          <a:gd name="connsiteY89" fmla="*/ 319857 h 364297"/>
                          <a:gd name="connsiteX90" fmla="*/ 99304 w 437814"/>
                          <a:gd name="connsiteY90" fmla="*/ 319857 h 364297"/>
                          <a:gd name="connsiteX91" fmla="*/ 94366 w 437814"/>
                          <a:gd name="connsiteY91" fmla="*/ 318211 h 364297"/>
                          <a:gd name="connsiteX92" fmla="*/ 91623 w 437814"/>
                          <a:gd name="connsiteY92" fmla="*/ 311079 h 364297"/>
                          <a:gd name="connsiteX93" fmla="*/ 89428 w 437814"/>
                          <a:gd name="connsiteY93" fmla="*/ 308336 h 364297"/>
                          <a:gd name="connsiteX94" fmla="*/ 87782 w 437814"/>
                          <a:gd name="connsiteY94" fmla="*/ 304495 h 364297"/>
                          <a:gd name="connsiteX95" fmla="*/ 85039 w 437814"/>
                          <a:gd name="connsiteY95" fmla="*/ 303947 h 364297"/>
                          <a:gd name="connsiteX96" fmla="*/ 83942 w 437814"/>
                          <a:gd name="connsiteY96" fmla="*/ 300655 h 364297"/>
                          <a:gd name="connsiteX97" fmla="*/ 78456 w 437814"/>
                          <a:gd name="connsiteY97" fmla="*/ 293522 h 364297"/>
                          <a:gd name="connsiteX98" fmla="*/ 57607 w 437814"/>
                          <a:gd name="connsiteY98" fmla="*/ 284195 h 364297"/>
                          <a:gd name="connsiteX99" fmla="*/ 2195 w 437814"/>
                          <a:gd name="connsiteY99" fmla="*/ 285293 h 364297"/>
                          <a:gd name="connsiteX100" fmla="*/ 0 w 437814"/>
                          <a:gd name="connsiteY100" fmla="*/ 283647 h 364297"/>
                          <a:gd name="connsiteX101" fmla="*/ 2743 w 437814"/>
                          <a:gd name="connsiteY101" fmla="*/ 202448 h 364297"/>
                          <a:gd name="connsiteX102" fmla="*/ 13716 w 437814"/>
                          <a:gd name="connsiteY102" fmla="*/ 180503 h 364297"/>
                          <a:gd name="connsiteX103" fmla="*/ 16459 w 437814"/>
                          <a:gd name="connsiteY103" fmla="*/ 163495 h 364297"/>
                          <a:gd name="connsiteX104" fmla="*/ 31821 w 437814"/>
                          <a:gd name="connsiteY104" fmla="*/ 149230 h 364297"/>
                          <a:gd name="connsiteX105" fmla="*/ 31821 w 437814"/>
                          <a:gd name="connsiteY105" fmla="*/ 145390 h 364297"/>
                          <a:gd name="connsiteX106" fmla="*/ 34564 w 437814"/>
                          <a:gd name="connsiteY106" fmla="*/ 143744 h 364297"/>
                          <a:gd name="connsiteX107" fmla="*/ 34564 w 437814"/>
                          <a:gd name="connsiteY107" fmla="*/ 142646 h 364297"/>
                          <a:gd name="connsiteX108" fmla="*/ 34016 w 437814"/>
                          <a:gd name="connsiteY108" fmla="*/ 140452 h 364297"/>
                          <a:gd name="connsiteX109" fmla="*/ 31272 w 437814"/>
                          <a:gd name="connsiteY109" fmla="*/ 137160 h 364297"/>
                          <a:gd name="connsiteX110" fmla="*/ 30724 w 437814"/>
                          <a:gd name="connsiteY110" fmla="*/ 134417 h 364297"/>
                          <a:gd name="connsiteX111" fmla="*/ 32918 w 437814"/>
                          <a:gd name="connsiteY111" fmla="*/ 130576 h 364297"/>
                          <a:gd name="connsiteX112" fmla="*/ 34564 w 437814"/>
                          <a:gd name="connsiteY112" fmla="*/ 130028 h 364297"/>
                          <a:gd name="connsiteX113" fmla="*/ 37856 w 437814"/>
                          <a:gd name="connsiteY113" fmla="*/ 129479 h 364297"/>
                          <a:gd name="connsiteX114" fmla="*/ 38405 w 437814"/>
                          <a:gd name="connsiteY114" fmla="*/ 127833 h 364297"/>
                          <a:gd name="connsiteX115" fmla="*/ 35113 w 437814"/>
                          <a:gd name="connsiteY115" fmla="*/ 102047 h 364297"/>
                          <a:gd name="connsiteX116" fmla="*/ 29078 w 437814"/>
                          <a:gd name="connsiteY116" fmla="*/ 94915 h 364297"/>
                          <a:gd name="connsiteX117" fmla="*/ 27432 w 437814"/>
                          <a:gd name="connsiteY117" fmla="*/ 92171 h 364297"/>
                          <a:gd name="connsiteX118" fmla="*/ 29078 w 437814"/>
                          <a:gd name="connsiteY118" fmla="*/ 84491 h 364297"/>
                          <a:gd name="connsiteX119" fmla="*/ 31821 w 437814"/>
                          <a:gd name="connsiteY119" fmla="*/ 80650 h 36429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  <a:cxn ang="0">
                            <a:pos x="connsiteX43" y="connsiteY43"/>
                          </a:cxn>
                          <a:cxn ang="0">
                            <a:pos x="connsiteX44" y="connsiteY44"/>
                          </a:cxn>
                          <a:cxn ang="0">
                            <a:pos x="connsiteX45" y="connsiteY45"/>
                          </a:cxn>
                          <a:cxn ang="0">
                            <a:pos x="connsiteX46" y="connsiteY46"/>
                          </a:cxn>
                          <a:cxn ang="0">
                            <a:pos x="connsiteX47" y="connsiteY47"/>
                          </a:cxn>
                          <a:cxn ang="0">
                            <a:pos x="connsiteX48" y="connsiteY48"/>
                          </a:cxn>
                          <a:cxn ang="0">
                            <a:pos x="connsiteX49" y="connsiteY49"/>
                          </a:cxn>
                          <a:cxn ang="0">
                            <a:pos x="connsiteX50" y="connsiteY50"/>
                          </a:cxn>
                          <a:cxn ang="0">
                            <a:pos x="connsiteX51" y="connsiteY51"/>
                          </a:cxn>
                          <a:cxn ang="0">
                            <a:pos x="connsiteX52" y="connsiteY52"/>
                          </a:cxn>
                          <a:cxn ang="0">
                            <a:pos x="connsiteX53" y="connsiteY53"/>
                          </a:cxn>
                          <a:cxn ang="0">
                            <a:pos x="connsiteX54" y="connsiteY54"/>
                          </a:cxn>
                          <a:cxn ang="0">
                            <a:pos x="connsiteX55" y="connsiteY55"/>
                          </a:cxn>
                          <a:cxn ang="0">
                            <a:pos x="connsiteX56" y="connsiteY56"/>
                          </a:cxn>
                          <a:cxn ang="0">
                            <a:pos x="connsiteX57" y="connsiteY57"/>
                          </a:cxn>
                          <a:cxn ang="0">
                            <a:pos x="connsiteX58" y="connsiteY58"/>
                          </a:cxn>
                          <a:cxn ang="0">
                            <a:pos x="connsiteX59" y="connsiteY59"/>
                          </a:cxn>
                          <a:cxn ang="0">
                            <a:pos x="connsiteX60" y="connsiteY60"/>
                          </a:cxn>
                          <a:cxn ang="0">
                            <a:pos x="connsiteX61" y="connsiteY61"/>
                          </a:cxn>
                          <a:cxn ang="0">
                            <a:pos x="connsiteX62" y="connsiteY62"/>
                          </a:cxn>
                          <a:cxn ang="0">
                            <a:pos x="connsiteX63" y="connsiteY63"/>
                          </a:cxn>
                          <a:cxn ang="0">
                            <a:pos x="connsiteX64" y="connsiteY64"/>
                          </a:cxn>
                          <a:cxn ang="0">
                            <a:pos x="connsiteX65" y="connsiteY65"/>
                          </a:cxn>
                          <a:cxn ang="0">
                            <a:pos x="connsiteX66" y="connsiteY66"/>
                          </a:cxn>
                          <a:cxn ang="0">
                            <a:pos x="connsiteX67" y="connsiteY67"/>
                          </a:cxn>
                          <a:cxn ang="0">
                            <a:pos x="connsiteX68" y="connsiteY68"/>
                          </a:cxn>
                          <a:cxn ang="0">
                            <a:pos x="connsiteX69" y="connsiteY69"/>
                          </a:cxn>
                          <a:cxn ang="0">
                            <a:pos x="connsiteX70" y="connsiteY70"/>
                          </a:cxn>
                          <a:cxn ang="0">
                            <a:pos x="connsiteX71" y="connsiteY71"/>
                          </a:cxn>
                          <a:cxn ang="0">
                            <a:pos x="connsiteX72" y="connsiteY72"/>
                          </a:cxn>
                          <a:cxn ang="0">
                            <a:pos x="connsiteX73" y="connsiteY73"/>
                          </a:cxn>
                          <a:cxn ang="0">
                            <a:pos x="connsiteX74" y="connsiteY74"/>
                          </a:cxn>
                          <a:cxn ang="0">
                            <a:pos x="connsiteX75" y="connsiteY75"/>
                          </a:cxn>
                          <a:cxn ang="0">
                            <a:pos x="connsiteX76" y="connsiteY76"/>
                          </a:cxn>
                          <a:cxn ang="0">
                            <a:pos x="connsiteX77" y="connsiteY77"/>
                          </a:cxn>
                          <a:cxn ang="0">
                            <a:pos x="connsiteX78" y="connsiteY78"/>
                          </a:cxn>
                          <a:cxn ang="0">
                            <a:pos x="connsiteX79" y="connsiteY79"/>
                          </a:cxn>
                          <a:cxn ang="0">
                            <a:pos x="connsiteX80" y="connsiteY80"/>
                          </a:cxn>
                          <a:cxn ang="0">
                            <a:pos x="connsiteX81" y="connsiteY81"/>
                          </a:cxn>
                          <a:cxn ang="0">
                            <a:pos x="connsiteX82" y="connsiteY82"/>
                          </a:cxn>
                          <a:cxn ang="0">
                            <a:pos x="connsiteX83" y="connsiteY83"/>
                          </a:cxn>
                          <a:cxn ang="0">
                            <a:pos x="connsiteX84" y="connsiteY84"/>
                          </a:cxn>
                          <a:cxn ang="0">
                            <a:pos x="connsiteX85" y="connsiteY85"/>
                          </a:cxn>
                          <a:cxn ang="0">
                            <a:pos x="connsiteX86" y="connsiteY86"/>
                          </a:cxn>
                          <a:cxn ang="0">
                            <a:pos x="connsiteX87" y="connsiteY87"/>
                          </a:cxn>
                          <a:cxn ang="0">
                            <a:pos x="connsiteX88" y="connsiteY88"/>
                          </a:cxn>
                          <a:cxn ang="0">
                            <a:pos x="connsiteX89" y="connsiteY89"/>
                          </a:cxn>
                          <a:cxn ang="0">
                            <a:pos x="connsiteX90" y="connsiteY90"/>
                          </a:cxn>
                          <a:cxn ang="0">
                            <a:pos x="connsiteX91" y="connsiteY91"/>
                          </a:cxn>
                          <a:cxn ang="0">
                            <a:pos x="connsiteX92" y="connsiteY92"/>
                          </a:cxn>
                          <a:cxn ang="0">
                            <a:pos x="connsiteX93" y="connsiteY93"/>
                          </a:cxn>
                          <a:cxn ang="0">
                            <a:pos x="connsiteX94" y="connsiteY94"/>
                          </a:cxn>
                          <a:cxn ang="0">
                            <a:pos x="connsiteX95" y="connsiteY95"/>
                          </a:cxn>
                          <a:cxn ang="0">
                            <a:pos x="connsiteX96" y="connsiteY96"/>
                          </a:cxn>
                          <a:cxn ang="0">
                            <a:pos x="connsiteX97" y="connsiteY97"/>
                          </a:cxn>
                          <a:cxn ang="0">
                            <a:pos x="connsiteX98" y="connsiteY98"/>
                          </a:cxn>
                          <a:cxn ang="0">
                            <a:pos x="connsiteX99" y="connsiteY99"/>
                          </a:cxn>
                          <a:cxn ang="0">
                            <a:pos x="connsiteX100" y="connsiteY100"/>
                          </a:cxn>
                          <a:cxn ang="0">
                            <a:pos x="connsiteX101" y="connsiteY101"/>
                          </a:cxn>
                          <a:cxn ang="0">
                            <a:pos x="connsiteX102" y="connsiteY102"/>
                          </a:cxn>
                          <a:cxn ang="0">
                            <a:pos x="connsiteX103" y="connsiteY103"/>
                          </a:cxn>
                          <a:cxn ang="0">
                            <a:pos x="connsiteX104" y="connsiteY104"/>
                          </a:cxn>
                          <a:cxn ang="0">
                            <a:pos x="connsiteX105" y="connsiteY105"/>
                          </a:cxn>
                          <a:cxn ang="0">
                            <a:pos x="connsiteX106" y="connsiteY106"/>
                          </a:cxn>
                          <a:cxn ang="0">
                            <a:pos x="connsiteX107" y="connsiteY107"/>
                          </a:cxn>
                          <a:cxn ang="0">
                            <a:pos x="connsiteX108" y="connsiteY108"/>
                          </a:cxn>
                          <a:cxn ang="0">
                            <a:pos x="connsiteX109" y="connsiteY109"/>
                          </a:cxn>
                          <a:cxn ang="0">
                            <a:pos x="connsiteX110" y="connsiteY110"/>
                          </a:cxn>
                          <a:cxn ang="0">
                            <a:pos x="connsiteX111" y="connsiteY111"/>
                          </a:cxn>
                          <a:cxn ang="0">
                            <a:pos x="connsiteX112" y="connsiteY112"/>
                          </a:cxn>
                          <a:cxn ang="0">
                            <a:pos x="connsiteX113" y="connsiteY113"/>
                          </a:cxn>
                          <a:cxn ang="0">
                            <a:pos x="connsiteX114" y="connsiteY114"/>
                          </a:cxn>
                          <a:cxn ang="0">
                            <a:pos x="connsiteX115" y="connsiteY115"/>
                          </a:cxn>
                          <a:cxn ang="0">
                            <a:pos x="connsiteX116" y="connsiteY116"/>
                          </a:cxn>
                          <a:cxn ang="0">
                            <a:pos x="connsiteX117" y="connsiteY117"/>
                          </a:cxn>
                          <a:cxn ang="0">
                            <a:pos x="connsiteX118" y="connsiteY118"/>
                          </a:cxn>
                          <a:cxn ang="0">
                            <a:pos x="connsiteX119" y="connsiteY119"/>
                          </a:cxn>
                        </a:cxnLst>
                        <a:rect l="l" t="t" r="r" b="b"/>
                        <a:pathLst>
                          <a:path w="437814" h="364297">
                            <a:moveTo>
                              <a:pt x="31821" y="80650"/>
                            </a:moveTo>
                            <a:lnTo>
                              <a:pt x="31821" y="52121"/>
                            </a:lnTo>
                            <a:lnTo>
                              <a:pt x="33467" y="48829"/>
                            </a:lnTo>
                            <a:lnTo>
                              <a:pt x="36210" y="45537"/>
                            </a:lnTo>
                            <a:lnTo>
                              <a:pt x="41148" y="43343"/>
                            </a:lnTo>
                            <a:lnTo>
                              <a:pt x="44988" y="39502"/>
                            </a:lnTo>
                            <a:lnTo>
                              <a:pt x="52669" y="14813"/>
                            </a:lnTo>
                            <a:lnTo>
                              <a:pt x="63642" y="6035"/>
                            </a:lnTo>
                            <a:lnTo>
                              <a:pt x="109179" y="549"/>
                            </a:lnTo>
                            <a:lnTo>
                              <a:pt x="134965" y="13716"/>
                            </a:lnTo>
                            <a:lnTo>
                              <a:pt x="154716" y="31821"/>
                            </a:lnTo>
                            <a:lnTo>
                              <a:pt x="158008" y="32918"/>
                            </a:lnTo>
                            <a:lnTo>
                              <a:pt x="164043" y="32918"/>
                            </a:lnTo>
                            <a:lnTo>
                              <a:pt x="168432" y="26883"/>
                            </a:lnTo>
                            <a:lnTo>
                              <a:pt x="185989" y="18654"/>
                            </a:lnTo>
                            <a:lnTo>
                              <a:pt x="194767" y="18654"/>
                            </a:lnTo>
                            <a:lnTo>
                              <a:pt x="222199" y="35113"/>
                            </a:lnTo>
                            <a:lnTo>
                              <a:pt x="246339" y="40051"/>
                            </a:lnTo>
                            <a:lnTo>
                              <a:pt x="255118" y="38405"/>
                            </a:lnTo>
                            <a:lnTo>
                              <a:pt x="283098" y="19202"/>
                            </a:lnTo>
                            <a:lnTo>
                              <a:pt x="333573" y="16459"/>
                            </a:lnTo>
                            <a:lnTo>
                              <a:pt x="352776" y="24689"/>
                            </a:lnTo>
                            <a:lnTo>
                              <a:pt x="359908" y="24140"/>
                            </a:lnTo>
                            <a:lnTo>
                              <a:pt x="364846" y="21946"/>
                            </a:lnTo>
                            <a:lnTo>
                              <a:pt x="370881" y="15362"/>
                            </a:lnTo>
                            <a:lnTo>
                              <a:pt x="371429" y="14265"/>
                            </a:lnTo>
                            <a:lnTo>
                              <a:pt x="375270" y="11521"/>
                            </a:lnTo>
                            <a:lnTo>
                              <a:pt x="380208" y="10424"/>
                            </a:lnTo>
                            <a:lnTo>
                              <a:pt x="385145" y="10424"/>
                            </a:lnTo>
                            <a:lnTo>
                              <a:pt x="388986" y="2195"/>
                            </a:lnTo>
                            <a:lnTo>
                              <a:pt x="390083" y="2195"/>
                            </a:lnTo>
                            <a:lnTo>
                              <a:pt x="391180" y="0"/>
                            </a:lnTo>
                            <a:lnTo>
                              <a:pt x="401056" y="20300"/>
                            </a:lnTo>
                            <a:lnTo>
                              <a:pt x="408737" y="24689"/>
                            </a:lnTo>
                            <a:lnTo>
                              <a:pt x="418064" y="44989"/>
                            </a:lnTo>
                            <a:lnTo>
                              <a:pt x="425196" y="49926"/>
                            </a:lnTo>
                            <a:lnTo>
                              <a:pt x="425745" y="52669"/>
                            </a:lnTo>
                            <a:lnTo>
                              <a:pt x="432877" y="54864"/>
                            </a:lnTo>
                            <a:lnTo>
                              <a:pt x="435620" y="57059"/>
                            </a:lnTo>
                            <a:lnTo>
                              <a:pt x="437266" y="60899"/>
                            </a:lnTo>
                            <a:lnTo>
                              <a:pt x="437815" y="82296"/>
                            </a:lnTo>
                            <a:lnTo>
                              <a:pt x="425196" y="90526"/>
                            </a:lnTo>
                            <a:lnTo>
                              <a:pt x="423550" y="92720"/>
                            </a:lnTo>
                            <a:lnTo>
                              <a:pt x="409285" y="98207"/>
                            </a:lnTo>
                            <a:lnTo>
                              <a:pt x="400507" y="108631"/>
                            </a:lnTo>
                            <a:lnTo>
                              <a:pt x="374721" y="192024"/>
                            </a:lnTo>
                            <a:lnTo>
                              <a:pt x="363748" y="196413"/>
                            </a:lnTo>
                            <a:lnTo>
                              <a:pt x="357165" y="204643"/>
                            </a:lnTo>
                            <a:lnTo>
                              <a:pt x="325344" y="277612"/>
                            </a:lnTo>
                            <a:lnTo>
                              <a:pt x="319857" y="279806"/>
                            </a:lnTo>
                            <a:lnTo>
                              <a:pt x="310530" y="279806"/>
                            </a:lnTo>
                            <a:lnTo>
                              <a:pt x="304495" y="274320"/>
                            </a:lnTo>
                            <a:lnTo>
                              <a:pt x="301752" y="273223"/>
                            </a:lnTo>
                            <a:lnTo>
                              <a:pt x="301752" y="271577"/>
                            </a:lnTo>
                            <a:lnTo>
                              <a:pt x="300106" y="268834"/>
                            </a:lnTo>
                            <a:lnTo>
                              <a:pt x="292425" y="262250"/>
                            </a:lnTo>
                            <a:lnTo>
                              <a:pt x="256764" y="264445"/>
                            </a:lnTo>
                            <a:lnTo>
                              <a:pt x="255118" y="264993"/>
                            </a:lnTo>
                            <a:lnTo>
                              <a:pt x="252374" y="275966"/>
                            </a:lnTo>
                            <a:lnTo>
                              <a:pt x="245242" y="279806"/>
                            </a:lnTo>
                            <a:lnTo>
                              <a:pt x="234269" y="291877"/>
                            </a:lnTo>
                            <a:lnTo>
                              <a:pt x="225491" y="313822"/>
                            </a:lnTo>
                            <a:lnTo>
                              <a:pt x="224942" y="323149"/>
                            </a:lnTo>
                            <a:lnTo>
                              <a:pt x="217810" y="335768"/>
                            </a:lnTo>
                            <a:lnTo>
                              <a:pt x="212872" y="340157"/>
                            </a:lnTo>
                            <a:lnTo>
                              <a:pt x="212872" y="345095"/>
                            </a:lnTo>
                            <a:lnTo>
                              <a:pt x="210129" y="341254"/>
                            </a:lnTo>
                            <a:lnTo>
                              <a:pt x="206837" y="340157"/>
                            </a:lnTo>
                            <a:lnTo>
                              <a:pt x="204094" y="346192"/>
                            </a:lnTo>
                            <a:lnTo>
                              <a:pt x="202997" y="353873"/>
                            </a:lnTo>
                            <a:lnTo>
                              <a:pt x="179405" y="354421"/>
                            </a:lnTo>
                            <a:lnTo>
                              <a:pt x="164043" y="347838"/>
                            </a:lnTo>
                            <a:lnTo>
                              <a:pt x="161300" y="352227"/>
                            </a:lnTo>
                            <a:lnTo>
                              <a:pt x="158557" y="353873"/>
                            </a:lnTo>
                            <a:lnTo>
                              <a:pt x="156362" y="357165"/>
                            </a:lnTo>
                            <a:lnTo>
                              <a:pt x="153619" y="358262"/>
                            </a:lnTo>
                            <a:lnTo>
                              <a:pt x="151973" y="358262"/>
                            </a:lnTo>
                            <a:lnTo>
                              <a:pt x="149779" y="359908"/>
                            </a:lnTo>
                            <a:lnTo>
                              <a:pt x="145938" y="357713"/>
                            </a:lnTo>
                            <a:lnTo>
                              <a:pt x="143744" y="359359"/>
                            </a:lnTo>
                            <a:lnTo>
                              <a:pt x="142646" y="358262"/>
                            </a:lnTo>
                            <a:lnTo>
                              <a:pt x="130576" y="364297"/>
                            </a:lnTo>
                            <a:lnTo>
                              <a:pt x="128930" y="358262"/>
                            </a:lnTo>
                            <a:lnTo>
                              <a:pt x="122895" y="358262"/>
                            </a:lnTo>
                            <a:lnTo>
                              <a:pt x="121798" y="359359"/>
                            </a:lnTo>
                            <a:lnTo>
                              <a:pt x="113568" y="356616"/>
                            </a:lnTo>
                            <a:lnTo>
                              <a:pt x="110277" y="350581"/>
                            </a:lnTo>
                            <a:lnTo>
                              <a:pt x="102047" y="342352"/>
                            </a:lnTo>
                            <a:lnTo>
                              <a:pt x="98207" y="322052"/>
                            </a:lnTo>
                            <a:lnTo>
                              <a:pt x="102047" y="319857"/>
                            </a:lnTo>
                            <a:lnTo>
                              <a:pt x="99304" y="319857"/>
                            </a:lnTo>
                            <a:lnTo>
                              <a:pt x="94366" y="318211"/>
                            </a:lnTo>
                            <a:lnTo>
                              <a:pt x="91623" y="311079"/>
                            </a:lnTo>
                            <a:lnTo>
                              <a:pt x="89428" y="308336"/>
                            </a:lnTo>
                            <a:lnTo>
                              <a:pt x="87782" y="304495"/>
                            </a:lnTo>
                            <a:lnTo>
                              <a:pt x="85039" y="303947"/>
                            </a:lnTo>
                            <a:lnTo>
                              <a:pt x="83942" y="300655"/>
                            </a:lnTo>
                            <a:lnTo>
                              <a:pt x="78456" y="293522"/>
                            </a:lnTo>
                            <a:lnTo>
                              <a:pt x="57607" y="284195"/>
                            </a:lnTo>
                            <a:lnTo>
                              <a:pt x="2195" y="285293"/>
                            </a:lnTo>
                            <a:lnTo>
                              <a:pt x="0" y="283647"/>
                            </a:lnTo>
                            <a:lnTo>
                              <a:pt x="2743" y="202448"/>
                            </a:lnTo>
                            <a:lnTo>
                              <a:pt x="13716" y="180503"/>
                            </a:lnTo>
                            <a:lnTo>
                              <a:pt x="16459" y="163495"/>
                            </a:lnTo>
                            <a:lnTo>
                              <a:pt x="31821" y="149230"/>
                            </a:lnTo>
                            <a:lnTo>
                              <a:pt x="31821" y="145390"/>
                            </a:lnTo>
                            <a:lnTo>
                              <a:pt x="34564" y="143744"/>
                            </a:lnTo>
                            <a:lnTo>
                              <a:pt x="34564" y="142646"/>
                            </a:lnTo>
                            <a:lnTo>
                              <a:pt x="34016" y="140452"/>
                            </a:lnTo>
                            <a:lnTo>
                              <a:pt x="31272" y="137160"/>
                            </a:lnTo>
                            <a:lnTo>
                              <a:pt x="30724" y="134417"/>
                            </a:lnTo>
                            <a:lnTo>
                              <a:pt x="32918" y="130576"/>
                            </a:lnTo>
                            <a:lnTo>
                              <a:pt x="34564" y="130028"/>
                            </a:lnTo>
                            <a:lnTo>
                              <a:pt x="37856" y="129479"/>
                            </a:lnTo>
                            <a:lnTo>
                              <a:pt x="38405" y="127833"/>
                            </a:lnTo>
                            <a:lnTo>
                              <a:pt x="35113" y="102047"/>
                            </a:lnTo>
                            <a:lnTo>
                              <a:pt x="29078" y="94915"/>
                            </a:lnTo>
                            <a:lnTo>
                              <a:pt x="27432" y="92171"/>
                            </a:lnTo>
                            <a:lnTo>
                              <a:pt x="29078" y="84491"/>
                            </a:lnTo>
                            <a:lnTo>
                              <a:pt x="31821" y="80650"/>
                            </a:lnTo>
                          </a:path>
                        </a:pathLst>
                      </a:custGeom>
                      <a:grpFill/>
                      <a:ln w="1270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79" name="Graphic 7">
                        <a:extLst>
                          <a:ext uri="{FF2B5EF4-FFF2-40B4-BE49-F238E27FC236}">
                            <a16:creationId xmlns:a16="http://schemas.microsoft.com/office/drawing/2014/main" id="{AACECC2D-B13E-D6CB-0FAB-7657D771312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5563558" y="4362055"/>
                        <a:ext cx="222893" cy="256327"/>
                      </a:xfrm>
                      <a:custGeom>
                        <a:avLst/>
                        <a:gdLst>
                          <a:gd name="connsiteX0" fmla="*/ 283647 w 285292"/>
                          <a:gd name="connsiteY0" fmla="*/ 0 h 328086"/>
                          <a:gd name="connsiteX1" fmla="*/ 279807 w 285292"/>
                          <a:gd name="connsiteY1" fmla="*/ 3841 h 328086"/>
                          <a:gd name="connsiteX2" fmla="*/ 257861 w 285292"/>
                          <a:gd name="connsiteY2" fmla="*/ 10973 h 328086"/>
                          <a:gd name="connsiteX3" fmla="*/ 234818 w 285292"/>
                          <a:gd name="connsiteY3" fmla="*/ 0 h 328086"/>
                          <a:gd name="connsiteX4" fmla="*/ 221651 w 285292"/>
                          <a:gd name="connsiteY4" fmla="*/ 2195 h 328086"/>
                          <a:gd name="connsiteX5" fmla="*/ 193670 w 285292"/>
                          <a:gd name="connsiteY5" fmla="*/ 23043 h 328086"/>
                          <a:gd name="connsiteX6" fmla="*/ 188184 w 285292"/>
                          <a:gd name="connsiteY6" fmla="*/ 31821 h 328086"/>
                          <a:gd name="connsiteX7" fmla="*/ 186538 w 285292"/>
                          <a:gd name="connsiteY7" fmla="*/ 40051 h 328086"/>
                          <a:gd name="connsiteX8" fmla="*/ 188184 w 285292"/>
                          <a:gd name="connsiteY8" fmla="*/ 69129 h 328086"/>
                          <a:gd name="connsiteX9" fmla="*/ 185989 w 285292"/>
                          <a:gd name="connsiteY9" fmla="*/ 76261 h 328086"/>
                          <a:gd name="connsiteX10" fmla="*/ 183246 w 285292"/>
                          <a:gd name="connsiteY10" fmla="*/ 78455 h 328086"/>
                          <a:gd name="connsiteX11" fmla="*/ 166787 w 285292"/>
                          <a:gd name="connsiteY11" fmla="*/ 65288 h 328086"/>
                          <a:gd name="connsiteX12" fmla="*/ 160203 w 285292"/>
                          <a:gd name="connsiteY12" fmla="*/ 65837 h 328086"/>
                          <a:gd name="connsiteX13" fmla="*/ 141000 w 285292"/>
                          <a:gd name="connsiteY13" fmla="*/ 61996 h 328086"/>
                          <a:gd name="connsiteX14" fmla="*/ 133320 w 285292"/>
                          <a:gd name="connsiteY14" fmla="*/ 57059 h 328086"/>
                          <a:gd name="connsiteX15" fmla="*/ 81199 w 285292"/>
                          <a:gd name="connsiteY15" fmla="*/ 57059 h 328086"/>
                          <a:gd name="connsiteX16" fmla="*/ 76810 w 285292"/>
                          <a:gd name="connsiteY16" fmla="*/ 66934 h 328086"/>
                          <a:gd name="connsiteX17" fmla="*/ 76810 w 285292"/>
                          <a:gd name="connsiteY17" fmla="*/ 92720 h 328086"/>
                          <a:gd name="connsiteX18" fmla="*/ 82845 w 285292"/>
                          <a:gd name="connsiteY18" fmla="*/ 96012 h 328086"/>
                          <a:gd name="connsiteX19" fmla="*/ 93269 w 285292"/>
                          <a:gd name="connsiteY19" fmla="*/ 80102 h 328086"/>
                          <a:gd name="connsiteX20" fmla="*/ 113568 w 285292"/>
                          <a:gd name="connsiteY20" fmla="*/ 85039 h 328086"/>
                          <a:gd name="connsiteX21" fmla="*/ 120701 w 285292"/>
                          <a:gd name="connsiteY21" fmla="*/ 93269 h 328086"/>
                          <a:gd name="connsiteX22" fmla="*/ 121249 w 285292"/>
                          <a:gd name="connsiteY22" fmla="*/ 108082 h 328086"/>
                          <a:gd name="connsiteX23" fmla="*/ 109179 w 285292"/>
                          <a:gd name="connsiteY23" fmla="*/ 128382 h 328086"/>
                          <a:gd name="connsiteX24" fmla="*/ 108082 w 285292"/>
                          <a:gd name="connsiteY24" fmla="*/ 139355 h 328086"/>
                          <a:gd name="connsiteX25" fmla="*/ 118506 w 285292"/>
                          <a:gd name="connsiteY25" fmla="*/ 168433 h 328086"/>
                          <a:gd name="connsiteX26" fmla="*/ 110277 w 285292"/>
                          <a:gd name="connsiteY26" fmla="*/ 224942 h 328086"/>
                          <a:gd name="connsiteX27" fmla="*/ 99852 w 285292"/>
                          <a:gd name="connsiteY27" fmla="*/ 229331 h 328086"/>
                          <a:gd name="connsiteX28" fmla="*/ 86685 w 285292"/>
                          <a:gd name="connsiteY28" fmla="*/ 218359 h 328086"/>
                          <a:gd name="connsiteX29" fmla="*/ 69677 w 285292"/>
                          <a:gd name="connsiteY29" fmla="*/ 219456 h 328086"/>
                          <a:gd name="connsiteX30" fmla="*/ 63642 w 285292"/>
                          <a:gd name="connsiteY30" fmla="*/ 211775 h 328086"/>
                          <a:gd name="connsiteX31" fmla="*/ 58156 w 285292"/>
                          <a:gd name="connsiteY31" fmla="*/ 209032 h 328086"/>
                          <a:gd name="connsiteX32" fmla="*/ 44988 w 285292"/>
                          <a:gd name="connsiteY32" fmla="*/ 221651 h 328086"/>
                          <a:gd name="connsiteX33" fmla="*/ 21946 w 285292"/>
                          <a:gd name="connsiteY33" fmla="*/ 233721 h 328086"/>
                          <a:gd name="connsiteX34" fmla="*/ 18654 w 285292"/>
                          <a:gd name="connsiteY34" fmla="*/ 239756 h 328086"/>
                          <a:gd name="connsiteX35" fmla="*/ 18105 w 285292"/>
                          <a:gd name="connsiteY35" fmla="*/ 247985 h 328086"/>
                          <a:gd name="connsiteX36" fmla="*/ 23043 w 285292"/>
                          <a:gd name="connsiteY36" fmla="*/ 266639 h 328086"/>
                          <a:gd name="connsiteX37" fmla="*/ 20848 w 285292"/>
                          <a:gd name="connsiteY37" fmla="*/ 270479 h 328086"/>
                          <a:gd name="connsiteX38" fmla="*/ 13167 w 285292"/>
                          <a:gd name="connsiteY38" fmla="*/ 269931 h 328086"/>
                          <a:gd name="connsiteX39" fmla="*/ 5486 w 285292"/>
                          <a:gd name="connsiteY39" fmla="*/ 271577 h 328086"/>
                          <a:gd name="connsiteX40" fmla="*/ 1097 w 285292"/>
                          <a:gd name="connsiteY40" fmla="*/ 277063 h 328086"/>
                          <a:gd name="connsiteX41" fmla="*/ 0 w 285292"/>
                          <a:gd name="connsiteY41" fmla="*/ 286939 h 328086"/>
                          <a:gd name="connsiteX42" fmla="*/ 8778 w 285292"/>
                          <a:gd name="connsiteY42" fmla="*/ 290779 h 328086"/>
                          <a:gd name="connsiteX43" fmla="*/ 23043 w 285292"/>
                          <a:gd name="connsiteY43" fmla="*/ 306690 h 328086"/>
                          <a:gd name="connsiteX44" fmla="*/ 34016 w 285292"/>
                          <a:gd name="connsiteY44" fmla="*/ 328087 h 328086"/>
                          <a:gd name="connsiteX45" fmla="*/ 50475 w 285292"/>
                          <a:gd name="connsiteY45" fmla="*/ 317114 h 328086"/>
                          <a:gd name="connsiteX46" fmla="*/ 54864 w 285292"/>
                          <a:gd name="connsiteY46" fmla="*/ 307238 h 328086"/>
                          <a:gd name="connsiteX47" fmla="*/ 61996 w 285292"/>
                          <a:gd name="connsiteY47" fmla="*/ 303398 h 328086"/>
                          <a:gd name="connsiteX48" fmla="*/ 68031 w 285292"/>
                          <a:gd name="connsiteY48" fmla="*/ 306141 h 328086"/>
                          <a:gd name="connsiteX49" fmla="*/ 71323 w 285292"/>
                          <a:gd name="connsiteY49" fmla="*/ 313274 h 328086"/>
                          <a:gd name="connsiteX50" fmla="*/ 82845 w 285292"/>
                          <a:gd name="connsiteY50" fmla="*/ 320406 h 328086"/>
                          <a:gd name="connsiteX51" fmla="*/ 91074 w 285292"/>
                          <a:gd name="connsiteY51" fmla="*/ 318211 h 328086"/>
                          <a:gd name="connsiteX52" fmla="*/ 96012 w 285292"/>
                          <a:gd name="connsiteY52" fmla="*/ 309982 h 328086"/>
                          <a:gd name="connsiteX53" fmla="*/ 101498 w 285292"/>
                          <a:gd name="connsiteY53" fmla="*/ 305593 h 328086"/>
                          <a:gd name="connsiteX54" fmla="*/ 119604 w 285292"/>
                          <a:gd name="connsiteY54" fmla="*/ 301752 h 328086"/>
                          <a:gd name="connsiteX55" fmla="*/ 121249 w 285292"/>
                          <a:gd name="connsiteY55" fmla="*/ 304495 h 328086"/>
                          <a:gd name="connsiteX56" fmla="*/ 121798 w 285292"/>
                          <a:gd name="connsiteY56" fmla="*/ 317114 h 328086"/>
                          <a:gd name="connsiteX57" fmla="*/ 129479 w 285292"/>
                          <a:gd name="connsiteY57" fmla="*/ 318760 h 328086"/>
                          <a:gd name="connsiteX58" fmla="*/ 143195 w 285292"/>
                          <a:gd name="connsiteY58" fmla="*/ 313274 h 328086"/>
                          <a:gd name="connsiteX59" fmla="*/ 168432 w 285292"/>
                          <a:gd name="connsiteY59" fmla="*/ 295168 h 328086"/>
                          <a:gd name="connsiteX60" fmla="*/ 188184 w 285292"/>
                          <a:gd name="connsiteY60" fmla="*/ 269931 h 328086"/>
                          <a:gd name="connsiteX61" fmla="*/ 197510 w 285292"/>
                          <a:gd name="connsiteY61" fmla="*/ 216713 h 328086"/>
                          <a:gd name="connsiteX62" fmla="*/ 225491 w 285292"/>
                          <a:gd name="connsiteY62" fmla="*/ 181051 h 328086"/>
                          <a:gd name="connsiteX63" fmla="*/ 248534 w 285292"/>
                          <a:gd name="connsiteY63" fmla="*/ 165141 h 328086"/>
                          <a:gd name="connsiteX64" fmla="*/ 261153 w 285292"/>
                          <a:gd name="connsiteY64" fmla="*/ 66386 h 328086"/>
                          <a:gd name="connsiteX65" fmla="*/ 285293 w 285292"/>
                          <a:gd name="connsiteY65" fmla="*/ 11522 h 328086"/>
                          <a:gd name="connsiteX66" fmla="*/ 283647 w 285292"/>
                          <a:gd name="connsiteY66" fmla="*/ 0 h 3280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  <a:cxn ang="0">
                            <a:pos x="connsiteX43" y="connsiteY43"/>
                          </a:cxn>
                          <a:cxn ang="0">
                            <a:pos x="connsiteX44" y="connsiteY44"/>
                          </a:cxn>
                          <a:cxn ang="0">
                            <a:pos x="connsiteX45" y="connsiteY45"/>
                          </a:cxn>
                          <a:cxn ang="0">
                            <a:pos x="connsiteX46" y="connsiteY46"/>
                          </a:cxn>
                          <a:cxn ang="0">
                            <a:pos x="connsiteX47" y="connsiteY47"/>
                          </a:cxn>
                          <a:cxn ang="0">
                            <a:pos x="connsiteX48" y="connsiteY48"/>
                          </a:cxn>
                          <a:cxn ang="0">
                            <a:pos x="connsiteX49" y="connsiteY49"/>
                          </a:cxn>
                          <a:cxn ang="0">
                            <a:pos x="connsiteX50" y="connsiteY50"/>
                          </a:cxn>
                          <a:cxn ang="0">
                            <a:pos x="connsiteX51" y="connsiteY51"/>
                          </a:cxn>
                          <a:cxn ang="0">
                            <a:pos x="connsiteX52" y="connsiteY52"/>
                          </a:cxn>
                          <a:cxn ang="0">
                            <a:pos x="connsiteX53" y="connsiteY53"/>
                          </a:cxn>
                          <a:cxn ang="0">
                            <a:pos x="connsiteX54" y="connsiteY54"/>
                          </a:cxn>
                          <a:cxn ang="0">
                            <a:pos x="connsiteX55" y="connsiteY55"/>
                          </a:cxn>
                          <a:cxn ang="0">
                            <a:pos x="connsiteX56" y="connsiteY56"/>
                          </a:cxn>
                          <a:cxn ang="0">
                            <a:pos x="connsiteX57" y="connsiteY57"/>
                          </a:cxn>
                          <a:cxn ang="0">
                            <a:pos x="connsiteX58" y="connsiteY58"/>
                          </a:cxn>
                          <a:cxn ang="0">
                            <a:pos x="connsiteX59" y="connsiteY59"/>
                          </a:cxn>
                          <a:cxn ang="0">
                            <a:pos x="connsiteX60" y="connsiteY60"/>
                          </a:cxn>
                          <a:cxn ang="0">
                            <a:pos x="connsiteX61" y="connsiteY61"/>
                          </a:cxn>
                          <a:cxn ang="0">
                            <a:pos x="connsiteX62" y="connsiteY62"/>
                          </a:cxn>
                          <a:cxn ang="0">
                            <a:pos x="connsiteX63" y="connsiteY63"/>
                          </a:cxn>
                          <a:cxn ang="0">
                            <a:pos x="connsiteX64" y="connsiteY64"/>
                          </a:cxn>
                          <a:cxn ang="0">
                            <a:pos x="connsiteX65" y="connsiteY65"/>
                          </a:cxn>
                          <a:cxn ang="0">
                            <a:pos x="connsiteX66" y="connsiteY66"/>
                          </a:cxn>
                        </a:cxnLst>
                        <a:rect l="l" t="t" r="r" b="b"/>
                        <a:pathLst>
                          <a:path w="285292" h="328086">
                            <a:moveTo>
                              <a:pt x="283647" y="0"/>
                            </a:moveTo>
                            <a:lnTo>
                              <a:pt x="279807" y="3841"/>
                            </a:lnTo>
                            <a:lnTo>
                              <a:pt x="257861" y="10973"/>
                            </a:lnTo>
                            <a:lnTo>
                              <a:pt x="234818" y="0"/>
                            </a:lnTo>
                            <a:lnTo>
                              <a:pt x="221651" y="2195"/>
                            </a:lnTo>
                            <a:lnTo>
                              <a:pt x="193670" y="23043"/>
                            </a:lnTo>
                            <a:lnTo>
                              <a:pt x="188184" y="31821"/>
                            </a:lnTo>
                            <a:lnTo>
                              <a:pt x="186538" y="40051"/>
                            </a:lnTo>
                            <a:lnTo>
                              <a:pt x="188184" y="69129"/>
                            </a:lnTo>
                            <a:lnTo>
                              <a:pt x="185989" y="76261"/>
                            </a:lnTo>
                            <a:lnTo>
                              <a:pt x="183246" y="78455"/>
                            </a:lnTo>
                            <a:lnTo>
                              <a:pt x="166787" y="65288"/>
                            </a:lnTo>
                            <a:lnTo>
                              <a:pt x="160203" y="65837"/>
                            </a:lnTo>
                            <a:lnTo>
                              <a:pt x="141000" y="61996"/>
                            </a:lnTo>
                            <a:lnTo>
                              <a:pt x="133320" y="57059"/>
                            </a:lnTo>
                            <a:lnTo>
                              <a:pt x="81199" y="57059"/>
                            </a:lnTo>
                            <a:lnTo>
                              <a:pt x="76810" y="66934"/>
                            </a:lnTo>
                            <a:lnTo>
                              <a:pt x="76810" y="92720"/>
                            </a:lnTo>
                            <a:lnTo>
                              <a:pt x="82845" y="96012"/>
                            </a:lnTo>
                            <a:lnTo>
                              <a:pt x="93269" y="80102"/>
                            </a:lnTo>
                            <a:lnTo>
                              <a:pt x="113568" y="85039"/>
                            </a:lnTo>
                            <a:lnTo>
                              <a:pt x="120701" y="93269"/>
                            </a:lnTo>
                            <a:lnTo>
                              <a:pt x="121249" y="108082"/>
                            </a:lnTo>
                            <a:lnTo>
                              <a:pt x="109179" y="128382"/>
                            </a:lnTo>
                            <a:lnTo>
                              <a:pt x="108082" y="139355"/>
                            </a:lnTo>
                            <a:lnTo>
                              <a:pt x="118506" y="168433"/>
                            </a:lnTo>
                            <a:lnTo>
                              <a:pt x="110277" y="224942"/>
                            </a:lnTo>
                            <a:lnTo>
                              <a:pt x="99852" y="229331"/>
                            </a:lnTo>
                            <a:lnTo>
                              <a:pt x="86685" y="218359"/>
                            </a:lnTo>
                            <a:lnTo>
                              <a:pt x="69677" y="219456"/>
                            </a:lnTo>
                            <a:lnTo>
                              <a:pt x="63642" y="211775"/>
                            </a:lnTo>
                            <a:lnTo>
                              <a:pt x="58156" y="209032"/>
                            </a:lnTo>
                            <a:lnTo>
                              <a:pt x="44988" y="221651"/>
                            </a:lnTo>
                            <a:lnTo>
                              <a:pt x="21946" y="233721"/>
                            </a:lnTo>
                            <a:lnTo>
                              <a:pt x="18654" y="239756"/>
                            </a:lnTo>
                            <a:lnTo>
                              <a:pt x="18105" y="247985"/>
                            </a:lnTo>
                            <a:lnTo>
                              <a:pt x="23043" y="266639"/>
                            </a:lnTo>
                            <a:lnTo>
                              <a:pt x="20848" y="270479"/>
                            </a:lnTo>
                            <a:lnTo>
                              <a:pt x="13167" y="269931"/>
                            </a:lnTo>
                            <a:lnTo>
                              <a:pt x="5486" y="271577"/>
                            </a:lnTo>
                            <a:lnTo>
                              <a:pt x="1097" y="277063"/>
                            </a:lnTo>
                            <a:lnTo>
                              <a:pt x="0" y="286939"/>
                            </a:lnTo>
                            <a:lnTo>
                              <a:pt x="8778" y="290779"/>
                            </a:lnTo>
                            <a:lnTo>
                              <a:pt x="23043" y="306690"/>
                            </a:lnTo>
                            <a:lnTo>
                              <a:pt x="34016" y="328087"/>
                            </a:lnTo>
                            <a:lnTo>
                              <a:pt x="50475" y="317114"/>
                            </a:lnTo>
                            <a:lnTo>
                              <a:pt x="54864" y="307238"/>
                            </a:lnTo>
                            <a:lnTo>
                              <a:pt x="61996" y="303398"/>
                            </a:lnTo>
                            <a:lnTo>
                              <a:pt x="68031" y="306141"/>
                            </a:lnTo>
                            <a:lnTo>
                              <a:pt x="71323" y="313274"/>
                            </a:lnTo>
                            <a:lnTo>
                              <a:pt x="82845" y="320406"/>
                            </a:lnTo>
                            <a:lnTo>
                              <a:pt x="91074" y="318211"/>
                            </a:lnTo>
                            <a:lnTo>
                              <a:pt x="96012" y="309982"/>
                            </a:lnTo>
                            <a:lnTo>
                              <a:pt x="101498" y="305593"/>
                            </a:lnTo>
                            <a:lnTo>
                              <a:pt x="119604" y="301752"/>
                            </a:lnTo>
                            <a:lnTo>
                              <a:pt x="121249" y="304495"/>
                            </a:lnTo>
                            <a:lnTo>
                              <a:pt x="121798" y="317114"/>
                            </a:lnTo>
                            <a:lnTo>
                              <a:pt x="129479" y="318760"/>
                            </a:lnTo>
                            <a:lnTo>
                              <a:pt x="143195" y="313274"/>
                            </a:lnTo>
                            <a:lnTo>
                              <a:pt x="168432" y="295168"/>
                            </a:lnTo>
                            <a:lnTo>
                              <a:pt x="188184" y="269931"/>
                            </a:lnTo>
                            <a:lnTo>
                              <a:pt x="197510" y="216713"/>
                            </a:lnTo>
                            <a:lnTo>
                              <a:pt x="225491" y="181051"/>
                            </a:lnTo>
                            <a:lnTo>
                              <a:pt x="248534" y="165141"/>
                            </a:lnTo>
                            <a:lnTo>
                              <a:pt x="261153" y="66386"/>
                            </a:lnTo>
                            <a:lnTo>
                              <a:pt x="285293" y="11522"/>
                            </a:lnTo>
                            <a:lnTo>
                              <a:pt x="283647" y="0"/>
                            </a:lnTo>
                          </a:path>
                        </a:pathLst>
                      </a:custGeom>
                      <a:grpFill/>
                      <a:ln w="1270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80" name="Graphic 7">
                        <a:extLst>
                          <a:ext uri="{FF2B5EF4-FFF2-40B4-BE49-F238E27FC236}">
                            <a16:creationId xmlns:a16="http://schemas.microsoft.com/office/drawing/2014/main" id="{AE7D555D-66B3-AADD-625C-64371F32B2C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5512121" y="4405347"/>
                        <a:ext cx="56580" cy="37291"/>
                      </a:xfrm>
                      <a:custGeom>
                        <a:avLst/>
                        <a:gdLst>
                          <a:gd name="connsiteX0" fmla="*/ 72420 w 72420"/>
                          <a:gd name="connsiteY0" fmla="*/ 0 h 47731"/>
                          <a:gd name="connsiteX1" fmla="*/ 13716 w 72420"/>
                          <a:gd name="connsiteY1" fmla="*/ 2743 h 47731"/>
                          <a:gd name="connsiteX2" fmla="*/ 13716 w 72420"/>
                          <a:gd name="connsiteY2" fmla="*/ 9327 h 47731"/>
                          <a:gd name="connsiteX3" fmla="*/ 8778 w 72420"/>
                          <a:gd name="connsiteY3" fmla="*/ 18105 h 47731"/>
                          <a:gd name="connsiteX4" fmla="*/ 7132 w 72420"/>
                          <a:gd name="connsiteY4" fmla="*/ 25786 h 47731"/>
                          <a:gd name="connsiteX5" fmla="*/ 0 w 72420"/>
                          <a:gd name="connsiteY5" fmla="*/ 37856 h 47731"/>
                          <a:gd name="connsiteX6" fmla="*/ 9327 w 72420"/>
                          <a:gd name="connsiteY6" fmla="*/ 43342 h 47731"/>
                          <a:gd name="connsiteX7" fmla="*/ 9876 w 72420"/>
                          <a:gd name="connsiteY7" fmla="*/ 44988 h 47731"/>
                          <a:gd name="connsiteX8" fmla="*/ 8230 w 72420"/>
                          <a:gd name="connsiteY8" fmla="*/ 47731 h 47731"/>
                          <a:gd name="connsiteX9" fmla="*/ 7681 w 72420"/>
                          <a:gd name="connsiteY9" fmla="*/ 46634 h 47731"/>
                          <a:gd name="connsiteX10" fmla="*/ 72420 w 72420"/>
                          <a:gd name="connsiteY10" fmla="*/ 41697 h 47731"/>
                          <a:gd name="connsiteX11" fmla="*/ 71323 w 72420"/>
                          <a:gd name="connsiteY11" fmla="*/ 40051 h 47731"/>
                          <a:gd name="connsiteX12" fmla="*/ 68580 w 72420"/>
                          <a:gd name="connsiteY12" fmla="*/ 9875 h 47731"/>
                          <a:gd name="connsiteX13" fmla="*/ 72420 w 72420"/>
                          <a:gd name="connsiteY13" fmla="*/ 0 h 4773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</a:cxnLst>
                        <a:rect l="l" t="t" r="r" b="b"/>
                        <a:pathLst>
                          <a:path w="72420" h="47731">
                            <a:moveTo>
                              <a:pt x="72420" y="0"/>
                            </a:moveTo>
                            <a:lnTo>
                              <a:pt x="13716" y="2743"/>
                            </a:lnTo>
                            <a:lnTo>
                              <a:pt x="13716" y="9327"/>
                            </a:lnTo>
                            <a:lnTo>
                              <a:pt x="8778" y="18105"/>
                            </a:lnTo>
                            <a:lnTo>
                              <a:pt x="7132" y="25786"/>
                            </a:lnTo>
                            <a:lnTo>
                              <a:pt x="0" y="37856"/>
                            </a:lnTo>
                            <a:lnTo>
                              <a:pt x="9327" y="43342"/>
                            </a:lnTo>
                            <a:lnTo>
                              <a:pt x="9876" y="44988"/>
                            </a:lnTo>
                            <a:lnTo>
                              <a:pt x="8230" y="47731"/>
                            </a:lnTo>
                            <a:lnTo>
                              <a:pt x="7681" y="46634"/>
                            </a:lnTo>
                            <a:lnTo>
                              <a:pt x="72420" y="41697"/>
                            </a:lnTo>
                            <a:lnTo>
                              <a:pt x="71323" y="40051"/>
                            </a:lnTo>
                            <a:lnTo>
                              <a:pt x="68580" y="9875"/>
                            </a:lnTo>
                            <a:lnTo>
                              <a:pt x="72420" y="0"/>
                            </a:lnTo>
                          </a:path>
                        </a:pathLst>
                      </a:custGeom>
                      <a:grpFill/>
                      <a:ln w="1270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81" name="Graphic 7">
                        <a:extLst>
                          <a:ext uri="{FF2B5EF4-FFF2-40B4-BE49-F238E27FC236}">
                            <a16:creationId xmlns:a16="http://schemas.microsoft.com/office/drawing/2014/main" id="{A33976F7-EF07-67DD-67C0-A9609273955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5485545" y="4093725"/>
                        <a:ext cx="225037" cy="329625"/>
                      </a:xfrm>
                      <a:custGeom>
                        <a:avLst/>
                        <a:gdLst>
                          <a:gd name="connsiteX0" fmla="*/ 181051 w 288036"/>
                          <a:gd name="connsiteY0" fmla="*/ 400507 h 421903"/>
                          <a:gd name="connsiteX1" fmla="*/ 47732 w 288036"/>
                          <a:gd name="connsiteY1" fmla="*/ 401605 h 421903"/>
                          <a:gd name="connsiteX2" fmla="*/ 54315 w 288036"/>
                          <a:gd name="connsiteY2" fmla="*/ 363200 h 421903"/>
                          <a:gd name="connsiteX3" fmla="*/ 55413 w 288036"/>
                          <a:gd name="connsiteY3" fmla="*/ 361005 h 421903"/>
                          <a:gd name="connsiteX4" fmla="*/ 47183 w 288036"/>
                          <a:gd name="connsiteY4" fmla="*/ 351678 h 421903"/>
                          <a:gd name="connsiteX5" fmla="*/ 46086 w 288036"/>
                          <a:gd name="connsiteY5" fmla="*/ 348935 h 421903"/>
                          <a:gd name="connsiteX6" fmla="*/ 42794 w 288036"/>
                          <a:gd name="connsiteY6" fmla="*/ 345094 h 421903"/>
                          <a:gd name="connsiteX7" fmla="*/ 42794 w 288036"/>
                          <a:gd name="connsiteY7" fmla="*/ 342351 h 421903"/>
                          <a:gd name="connsiteX8" fmla="*/ 44988 w 288036"/>
                          <a:gd name="connsiteY8" fmla="*/ 341254 h 421903"/>
                          <a:gd name="connsiteX9" fmla="*/ 46634 w 288036"/>
                          <a:gd name="connsiteY9" fmla="*/ 338511 h 421903"/>
                          <a:gd name="connsiteX10" fmla="*/ 46086 w 288036"/>
                          <a:gd name="connsiteY10" fmla="*/ 333025 h 421903"/>
                          <a:gd name="connsiteX11" fmla="*/ 43891 w 288036"/>
                          <a:gd name="connsiteY11" fmla="*/ 331378 h 421903"/>
                          <a:gd name="connsiteX12" fmla="*/ 39502 w 288036"/>
                          <a:gd name="connsiteY12" fmla="*/ 331378 h 421903"/>
                          <a:gd name="connsiteX13" fmla="*/ 38405 w 288036"/>
                          <a:gd name="connsiteY13" fmla="*/ 334122 h 421903"/>
                          <a:gd name="connsiteX14" fmla="*/ 35113 w 288036"/>
                          <a:gd name="connsiteY14" fmla="*/ 335219 h 421903"/>
                          <a:gd name="connsiteX15" fmla="*/ 21397 w 288036"/>
                          <a:gd name="connsiteY15" fmla="*/ 329184 h 421903"/>
                          <a:gd name="connsiteX16" fmla="*/ 14265 w 288036"/>
                          <a:gd name="connsiteY16" fmla="*/ 312725 h 421903"/>
                          <a:gd name="connsiteX17" fmla="*/ 7681 w 288036"/>
                          <a:gd name="connsiteY17" fmla="*/ 312725 h 421903"/>
                          <a:gd name="connsiteX18" fmla="*/ 4389 w 288036"/>
                          <a:gd name="connsiteY18" fmla="*/ 313822 h 421903"/>
                          <a:gd name="connsiteX19" fmla="*/ 1097 w 288036"/>
                          <a:gd name="connsiteY19" fmla="*/ 311627 h 421903"/>
                          <a:gd name="connsiteX20" fmla="*/ 1646 w 288036"/>
                          <a:gd name="connsiteY20" fmla="*/ 307238 h 421903"/>
                          <a:gd name="connsiteX21" fmla="*/ 0 w 288036"/>
                          <a:gd name="connsiteY21" fmla="*/ 305593 h 421903"/>
                          <a:gd name="connsiteX22" fmla="*/ 0 w 288036"/>
                          <a:gd name="connsiteY22" fmla="*/ 300655 h 421903"/>
                          <a:gd name="connsiteX23" fmla="*/ 4938 w 288036"/>
                          <a:gd name="connsiteY23" fmla="*/ 296266 h 421903"/>
                          <a:gd name="connsiteX24" fmla="*/ 12070 w 288036"/>
                          <a:gd name="connsiteY24" fmla="*/ 283647 h 421903"/>
                          <a:gd name="connsiteX25" fmla="*/ 15362 w 288036"/>
                          <a:gd name="connsiteY25" fmla="*/ 263896 h 421903"/>
                          <a:gd name="connsiteX26" fmla="*/ 32370 w 288036"/>
                          <a:gd name="connsiteY26" fmla="*/ 240304 h 421903"/>
                          <a:gd name="connsiteX27" fmla="*/ 39502 w 288036"/>
                          <a:gd name="connsiteY27" fmla="*/ 236464 h 421903"/>
                          <a:gd name="connsiteX28" fmla="*/ 42245 w 288036"/>
                          <a:gd name="connsiteY28" fmla="*/ 225491 h 421903"/>
                          <a:gd name="connsiteX29" fmla="*/ 79553 w 288036"/>
                          <a:gd name="connsiteY29" fmla="*/ 222748 h 421903"/>
                          <a:gd name="connsiteX30" fmla="*/ 87234 w 288036"/>
                          <a:gd name="connsiteY30" fmla="*/ 229331 h 421903"/>
                          <a:gd name="connsiteX31" fmla="*/ 88880 w 288036"/>
                          <a:gd name="connsiteY31" fmla="*/ 232075 h 421903"/>
                          <a:gd name="connsiteX32" fmla="*/ 88880 w 288036"/>
                          <a:gd name="connsiteY32" fmla="*/ 233721 h 421903"/>
                          <a:gd name="connsiteX33" fmla="*/ 91623 w 288036"/>
                          <a:gd name="connsiteY33" fmla="*/ 234818 h 421903"/>
                          <a:gd name="connsiteX34" fmla="*/ 97658 w 288036"/>
                          <a:gd name="connsiteY34" fmla="*/ 240304 h 421903"/>
                          <a:gd name="connsiteX35" fmla="*/ 106985 w 288036"/>
                          <a:gd name="connsiteY35" fmla="*/ 240304 h 421903"/>
                          <a:gd name="connsiteX36" fmla="*/ 112471 w 288036"/>
                          <a:gd name="connsiteY36" fmla="*/ 238110 h 421903"/>
                          <a:gd name="connsiteX37" fmla="*/ 144292 w 288036"/>
                          <a:gd name="connsiteY37" fmla="*/ 165141 h 421903"/>
                          <a:gd name="connsiteX38" fmla="*/ 150876 w 288036"/>
                          <a:gd name="connsiteY38" fmla="*/ 156911 h 421903"/>
                          <a:gd name="connsiteX39" fmla="*/ 161849 w 288036"/>
                          <a:gd name="connsiteY39" fmla="*/ 152522 h 421903"/>
                          <a:gd name="connsiteX40" fmla="*/ 185440 w 288036"/>
                          <a:gd name="connsiteY40" fmla="*/ 74066 h 421903"/>
                          <a:gd name="connsiteX41" fmla="*/ 196413 w 288036"/>
                          <a:gd name="connsiteY41" fmla="*/ 58705 h 421903"/>
                          <a:gd name="connsiteX42" fmla="*/ 210678 w 288036"/>
                          <a:gd name="connsiteY42" fmla="*/ 53218 h 421903"/>
                          <a:gd name="connsiteX43" fmla="*/ 212324 w 288036"/>
                          <a:gd name="connsiteY43" fmla="*/ 51023 h 421903"/>
                          <a:gd name="connsiteX44" fmla="*/ 224942 w 288036"/>
                          <a:gd name="connsiteY44" fmla="*/ 42794 h 421903"/>
                          <a:gd name="connsiteX45" fmla="*/ 224394 w 288036"/>
                          <a:gd name="connsiteY45" fmla="*/ 21397 h 421903"/>
                          <a:gd name="connsiteX46" fmla="*/ 222748 w 288036"/>
                          <a:gd name="connsiteY46" fmla="*/ 17557 h 421903"/>
                          <a:gd name="connsiteX47" fmla="*/ 220005 w 288036"/>
                          <a:gd name="connsiteY47" fmla="*/ 15362 h 421903"/>
                          <a:gd name="connsiteX48" fmla="*/ 212872 w 288036"/>
                          <a:gd name="connsiteY48" fmla="*/ 13167 h 421903"/>
                          <a:gd name="connsiteX49" fmla="*/ 212324 w 288036"/>
                          <a:gd name="connsiteY49" fmla="*/ 10424 h 421903"/>
                          <a:gd name="connsiteX50" fmla="*/ 215067 w 288036"/>
                          <a:gd name="connsiteY50" fmla="*/ 10973 h 421903"/>
                          <a:gd name="connsiteX51" fmla="*/ 221651 w 288036"/>
                          <a:gd name="connsiteY51" fmla="*/ 2194 h 421903"/>
                          <a:gd name="connsiteX52" fmla="*/ 232075 w 288036"/>
                          <a:gd name="connsiteY52" fmla="*/ 0 h 421903"/>
                          <a:gd name="connsiteX53" fmla="*/ 233721 w 288036"/>
                          <a:gd name="connsiteY53" fmla="*/ 2743 h 421903"/>
                          <a:gd name="connsiteX54" fmla="*/ 237561 w 288036"/>
                          <a:gd name="connsiteY54" fmla="*/ 22494 h 421903"/>
                          <a:gd name="connsiteX55" fmla="*/ 243047 w 288036"/>
                          <a:gd name="connsiteY55" fmla="*/ 33467 h 421903"/>
                          <a:gd name="connsiteX56" fmla="*/ 239207 w 288036"/>
                          <a:gd name="connsiteY56" fmla="*/ 68031 h 421903"/>
                          <a:gd name="connsiteX57" fmla="*/ 256215 w 288036"/>
                          <a:gd name="connsiteY57" fmla="*/ 96012 h 421903"/>
                          <a:gd name="connsiteX58" fmla="*/ 258409 w 288036"/>
                          <a:gd name="connsiteY58" fmla="*/ 106436 h 421903"/>
                          <a:gd name="connsiteX59" fmla="*/ 257312 w 288036"/>
                          <a:gd name="connsiteY59" fmla="*/ 108631 h 421903"/>
                          <a:gd name="connsiteX60" fmla="*/ 254569 w 288036"/>
                          <a:gd name="connsiteY60" fmla="*/ 109179 h 421903"/>
                          <a:gd name="connsiteX61" fmla="*/ 230977 w 288036"/>
                          <a:gd name="connsiteY61" fmla="*/ 105887 h 421903"/>
                          <a:gd name="connsiteX62" fmla="*/ 218359 w 288036"/>
                          <a:gd name="connsiteY62" fmla="*/ 107533 h 421903"/>
                          <a:gd name="connsiteX63" fmla="*/ 215067 w 288036"/>
                          <a:gd name="connsiteY63" fmla="*/ 108631 h 421903"/>
                          <a:gd name="connsiteX64" fmla="*/ 212324 w 288036"/>
                          <a:gd name="connsiteY64" fmla="*/ 113020 h 421903"/>
                          <a:gd name="connsiteX65" fmla="*/ 211775 w 288036"/>
                          <a:gd name="connsiteY65" fmla="*/ 123444 h 421903"/>
                          <a:gd name="connsiteX66" fmla="*/ 213421 w 288036"/>
                          <a:gd name="connsiteY66" fmla="*/ 131125 h 421903"/>
                          <a:gd name="connsiteX67" fmla="*/ 220553 w 288036"/>
                          <a:gd name="connsiteY67" fmla="*/ 141001 h 421903"/>
                          <a:gd name="connsiteX68" fmla="*/ 225491 w 288036"/>
                          <a:gd name="connsiteY68" fmla="*/ 144841 h 421903"/>
                          <a:gd name="connsiteX69" fmla="*/ 239756 w 288036"/>
                          <a:gd name="connsiteY69" fmla="*/ 149230 h 421903"/>
                          <a:gd name="connsiteX70" fmla="*/ 242499 w 288036"/>
                          <a:gd name="connsiteY70" fmla="*/ 151425 h 421903"/>
                          <a:gd name="connsiteX71" fmla="*/ 258409 w 288036"/>
                          <a:gd name="connsiteY71" fmla="*/ 202448 h 421903"/>
                          <a:gd name="connsiteX72" fmla="*/ 260055 w 288036"/>
                          <a:gd name="connsiteY72" fmla="*/ 204094 h 421903"/>
                          <a:gd name="connsiteX73" fmla="*/ 227686 w 288036"/>
                          <a:gd name="connsiteY73" fmla="*/ 260604 h 421903"/>
                          <a:gd name="connsiteX74" fmla="*/ 226588 w 288036"/>
                          <a:gd name="connsiteY74" fmla="*/ 268834 h 421903"/>
                          <a:gd name="connsiteX75" fmla="*/ 229880 w 288036"/>
                          <a:gd name="connsiteY75" fmla="*/ 279258 h 421903"/>
                          <a:gd name="connsiteX76" fmla="*/ 229880 w 288036"/>
                          <a:gd name="connsiteY76" fmla="*/ 301752 h 421903"/>
                          <a:gd name="connsiteX77" fmla="*/ 266639 w 288036"/>
                          <a:gd name="connsiteY77" fmla="*/ 362102 h 421903"/>
                          <a:gd name="connsiteX78" fmla="*/ 283098 w 288036"/>
                          <a:gd name="connsiteY78" fmla="*/ 375818 h 421903"/>
                          <a:gd name="connsiteX79" fmla="*/ 288036 w 288036"/>
                          <a:gd name="connsiteY79" fmla="*/ 375270 h 421903"/>
                          <a:gd name="connsiteX80" fmla="*/ 286390 w 288036"/>
                          <a:gd name="connsiteY80" fmla="*/ 383499 h 421903"/>
                          <a:gd name="connsiteX81" fmla="*/ 288036 w 288036"/>
                          <a:gd name="connsiteY81" fmla="*/ 412577 h 421903"/>
                          <a:gd name="connsiteX82" fmla="*/ 285841 w 288036"/>
                          <a:gd name="connsiteY82" fmla="*/ 419710 h 421903"/>
                          <a:gd name="connsiteX83" fmla="*/ 283098 w 288036"/>
                          <a:gd name="connsiteY83" fmla="*/ 421904 h 421903"/>
                          <a:gd name="connsiteX84" fmla="*/ 266639 w 288036"/>
                          <a:gd name="connsiteY84" fmla="*/ 408737 h 421903"/>
                          <a:gd name="connsiteX85" fmla="*/ 260055 w 288036"/>
                          <a:gd name="connsiteY85" fmla="*/ 409285 h 421903"/>
                          <a:gd name="connsiteX86" fmla="*/ 240853 w 288036"/>
                          <a:gd name="connsiteY86" fmla="*/ 405445 h 421903"/>
                          <a:gd name="connsiteX87" fmla="*/ 233172 w 288036"/>
                          <a:gd name="connsiteY87" fmla="*/ 400507 h 421903"/>
                          <a:gd name="connsiteX88" fmla="*/ 181051 w 288036"/>
                          <a:gd name="connsiteY88" fmla="*/ 400507 h 42190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  <a:cxn ang="0">
                            <a:pos x="connsiteX43" y="connsiteY43"/>
                          </a:cxn>
                          <a:cxn ang="0">
                            <a:pos x="connsiteX44" y="connsiteY44"/>
                          </a:cxn>
                          <a:cxn ang="0">
                            <a:pos x="connsiteX45" y="connsiteY45"/>
                          </a:cxn>
                          <a:cxn ang="0">
                            <a:pos x="connsiteX46" y="connsiteY46"/>
                          </a:cxn>
                          <a:cxn ang="0">
                            <a:pos x="connsiteX47" y="connsiteY47"/>
                          </a:cxn>
                          <a:cxn ang="0">
                            <a:pos x="connsiteX48" y="connsiteY48"/>
                          </a:cxn>
                          <a:cxn ang="0">
                            <a:pos x="connsiteX49" y="connsiteY49"/>
                          </a:cxn>
                          <a:cxn ang="0">
                            <a:pos x="connsiteX50" y="connsiteY50"/>
                          </a:cxn>
                          <a:cxn ang="0">
                            <a:pos x="connsiteX51" y="connsiteY51"/>
                          </a:cxn>
                          <a:cxn ang="0">
                            <a:pos x="connsiteX52" y="connsiteY52"/>
                          </a:cxn>
                          <a:cxn ang="0">
                            <a:pos x="connsiteX53" y="connsiteY53"/>
                          </a:cxn>
                          <a:cxn ang="0">
                            <a:pos x="connsiteX54" y="connsiteY54"/>
                          </a:cxn>
                          <a:cxn ang="0">
                            <a:pos x="connsiteX55" y="connsiteY55"/>
                          </a:cxn>
                          <a:cxn ang="0">
                            <a:pos x="connsiteX56" y="connsiteY56"/>
                          </a:cxn>
                          <a:cxn ang="0">
                            <a:pos x="connsiteX57" y="connsiteY57"/>
                          </a:cxn>
                          <a:cxn ang="0">
                            <a:pos x="connsiteX58" y="connsiteY58"/>
                          </a:cxn>
                          <a:cxn ang="0">
                            <a:pos x="connsiteX59" y="connsiteY59"/>
                          </a:cxn>
                          <a:cxn ang="0">
                            <a:pos x="connsiteX60" y="connsiteY60"/>
                          </a:cxn>
                          <a:cxn ang="0">
                            <a:pos x="connsiteX61" y="connsiteY61"/>
                          </a:cxn>
                          <a:cxn ang="0">
                            <a:pos x="connsiteX62" y="connsiteY62"/>
                          </a:cxn>
                          <a:cxn ang="0">
                            <a:pos x="connsiteX63" y="connsiteY63"/>
                          </a:cxn>
                          <a:cxn ang="0">
                            <a:pos x="connsiteX64" y="connsiteY64"/>
                          </a:cxn>
                          <a:cxn ang="0">
                            <a:pos x="connsiteX65" y="connsiteY65"/>
                          </a:cxn>
                          <a:cxn ang="0">
                            <a:pos x="connsiteX66" y="connsiteY66"/>
                          </a:cxn>
                          <a:cxn ang="0">
                            <a:pos x="connsiteX67" y="connsiteY67"/>
                          </a:cxn>
                          <a:cxn ang="0">
                            <a:pos x="connsiteX68" y="connsiteY68"/>
                          </a:cxn>
                          <a:cxn ang="0">
                            <a:pos x="connsiteX69" y="connsiteY69"/>
                          </a:cxn>
                          <a:cxn ang="0">
                            <a:pos x="connsiteX70" y="connsiteY70"/>
                          </a:cxn>
                          <a:cxn ang="0">
                            <a:pos x="connsiteX71" y="connsiteY71"/>
                          </a:cxn>
                          <a:cxn ang="0">
                            <a:pos x="connsiteX72" y="connsiteY72"/>
                          </a:cxn>
                          <a:cxn ang="0">
                            <a:pos x="connsiteX73" y="connsiteY73"/>
                          </a:cxn>
                          <a:cxn ang="0">
                            <a:pos x="connsiteX74" y="connsiteY74"/>
                          </a:cxn>
                          <a:cxn ang="0">
                            <a:pos x="connsiteX75" y="connsiteY75"/>
                          </a:cxn>
                          <a:cxn ang="0">
                            <a:pos x="connsiteX76" y="connsiteY76"/>
                          </a:cxn>
                          <a:cxn ang="0">
                            <a:pos x="connsiteX77" y="connsiteY77"/>
                          </a:cxn>
                          <a:cxn ang="0">
                            <a:pos x="connsiteX78" y="connsiteY78"/>
                          </a:cxn>
                          <a:cxn ang="0">
                            <a:pos x="connsiteX79" y="connsiteY79"/>
                          </a:cxn>
                          <a:cxn ang="0">
                            <a:pos x="connsiteX80" y="connsiteY80"/>
                          </a:cxn>
                          <a:cxn ang="0">
                            <a:pos x="connsiteX81" y="connsiteY81"/>
                          </a:cxn>
                          <a:cxn ang="0">
                            <a:pos x="connsiteX82" y="connsiteY82"/>
                          </a:cxn>
                          <a:cxn ang="0">
                            <a:pos x="connsiteX83" y="connsiteY83"/>
                          </a:cxn>
                          <a:cxn ang="0">
                            <a:pos x="connsiteX84" y="connsiteY84"/>
                          </a:cxn>
                          <a:cxn ang="0">
                            <a:pos x="connsiteX85" y="connsiteY85"/>
                          </a:cxn>
                          <a:cxn ang="0">
                            <a:pos x="connsiteX86" y="connsiteY86"/>
                          </a:cxn>
                          <a:cxn ang="0">
                            <a:pos x="connsiteX87" y="connsiteY87"/>
                          </a:cxn>
                          <a:cxn ang="0">
                            <a:pos x="connsiteX88" y="connsiteY88"/>
                          </a:cxn>
                        </a:cxnLst>
                        <a:rect l="l" t="t" r="r" b="b"/>
                        <a:pathLst>
                          <a:path w="288036" h="421903">
                            <a:moveTo>
                              <a:pt x="181051" y="400507"/>
                            </a:moveTo>
                            <a:lnTo>
                              <a:pt x="47732" y="401605"/>
                            </a:lnTo>
                            <a:lnTo>
                              <a:pt x="54315" y="363200"/>
                            </a:lnTo>
                            <a:lnTo>
                              <a:pt x="55413" y="361005"/>
                            </a:lnTo>
                            <a:lnTo>
                              <a:pt x="47183" y="351678"/>
                            </a:lnTo>
                            <a:lnTo>
                              <a:pt x="46086" y="348935"/>
                            </a:lnTo>
                            <a:lnTo>
                              <a:pt x="42794" y="345094"/>
                            </a:lnTo>
                            <a:lnTo>
                              <a:pt x="42794" y="342351"/>
                            </a:lnTo>
                            <a:lnTo>
                              <a:pt x="44988" y="341254"/>
                            </a:lnTo>
                            <a:lnTo>
                              <a:pt x="46634" y="338511"/>
                            </a:lnTo>
                            <a:lnTo>
                              <a:pt x="46086" y="333025"/>
                            </a:lnTo>
                            <a:lnTo>
                              <a:pt x="43891" y="331378"/>
                            </a:lnTo>
                            <a:lnTo>
                              <a:pt x="39502" y="331378"/>
                            </a:lnTo>
                            <a:lnTo>
                              <a:pt x="38405" y="334122"/>
                            </a:lnTo>
                            <a:lnTo>
                              <a:pt x="35113" y="335219"/>
                            </a:lnTo>
                            <a:lnTo>
                              <a:pt x="21397" y="329184"/>
                            </a:lnTo>
                            <a:lnTo>
                              <a:pt x="14265" y="312725"/>
                            </a:lnTo>
                            <a:lnTo>
                              <a:pt x="7681" y="312725"/>
                            </a:lnTo>
                            <a:lnTo>
                              <a:pt x="4389" y="313822"/>
                            </a:lnTo>
                            <a:lnTo>
                              <a:pt x="1097" y="311627"/>
                            </a:lnTo>
                            <a:lnTo>
                              <a:pt x="1646" y="307238"/>
                            </a:lnTo>
                            <a:lnTo>
                              <a:pt x="0" y="305593"/>
                            </a:lnTo>
                            <a:lnTo>
                              <a:pt x="0" y="300655"/>
                            </a:lnTo>
                            <a:lnTo>
                              <a:pt x="4938" y="296266"/>
                            </a:lnTo>
                            <a:lnTo>
                              <a:pt x="12070" y="283647"/>
                            </a:lnTo>
                            <a:lnTo>
                              <a:pt x="15362" y="263896"/>
                            </a:lnTo>
                            <a:lnTo>
                              <a:pt x="32370" y="240304"/>
                            </a:lnTo>
                            <a:lnTo>
                              <a:pt x="39502" y="236464"/>
                            </a:lnTo>
                            <a:lnTo>
                              <a:pt x="42245" y="225491"/>
                            </a:lnTo>
                            <a:lnTo>
                              <a:pt x="79553" y="222748"/>
                            </a:lnTo>
                            <a:lnTo>
                              <a:pt x="87234" y="229331"/>
                            </a:lnTo>
                            <a:lnTo>
                              <a:pt x="88880" y="232075"/>
                            </a:lnTo>
                            <a:lnTo>
                              <a:pt x="88880" y="233721"/>
                            </a:lnTo>
                            <a:lnTo>
                              <a:pt x="91623" y="234818"/>
                            </a:lnTo>
                            <a:lnTo>
                              <a:pt x="97658" y="240304"/>
                            </a:lnTo>
                            <a:lnTo>
                              <a:pt x="106985" y="240304"/>
                            </a:lnTo>
                            <a:lnTo>
                              <a:pt x="112471" y="238110"/>
                            </a:lnTo>
                            <a:lnTo>
                              <a:pt x="144292" y="165141"/>
                            </a:lnTo>
                            <a:lnTo>
                              <a:pt x="150876" y="156911"/>
                            </a:lnTo>
                            <a:lnTo>
                              <a:pt x="161849" y="152522"/>
                            </a:lnTo>
                            <a:lnTo>
                              <a:pt x="185440" y="74066"/>
                            </a:lnTo>
                            <a:lnTo>
                              <a:pt x="196413" y="58705"/>
                            </a:lnTo>
                            <a:lnTo>
                              <a:pt x="210678" y="53218"/>
                            </a:lnTo>
                            <a:lnTo>
                              <a:pt x="212324" y="51023"/>
                            </a:lnTo>
                            <a:lnTo>
                              <a:pt x="224942" y="42794"/>
                            </a:lnTo>
                            <a:lnTo>
                              <a:pt x="224394" y="21397"/>
                            </a:lnTo>
                            <a:lnTo>
                              <a:pt x="222748" y="17557"/>
                            </a:lnTo>
                            <a:lnTo>
                              <a:pt x="220005" y="15362"/>
                            </a:lnTo>
                            <a:lnTo>
                              <a:pt x="212872" y="13167"/>
                            </a:lnTo>
                            <a:lnTo>
                              <a:pt x="212324" y="10424"/>
                            </a:lnTo>
                            <a:lnTo>
                              <a:pt x="215067" y="10973"/>
                            </a:lnTo>
                            <a:lnTo>
                              <a:pt x="221651" y="2194"/>
                            </a:lnTo>
                            <a:lnTo>
                              <a:pt x="232075" y="0"/>
                            </a:lnTo>
                            <a:lnTo>
                              <a:pt x="233721" y="2743"/>
                            </a:lnTo>
                            <a:lnTo>
                              <a:pt x="237561" y="22494"/>
                            </a:lnTo>
                            <a:lnTo>
                              <a:pt x="243047" y="33467"/>
                            </a:lnTo>
                            <a:lnTo>
                              <a:pt x="239207" y="68031"/>
                            </a:lnTo>
                            <a:lnTo>
                              <a:pt x="256215" y="96012"/>
                            </a:lnTo>
                            <a:lnTo>
                              <a:pt x="258409" y="106436"/>
                            </a:lnTo>
                            <a:lnTo>
                              <a:pt x="257312" y="108631"/>
                            </a:lnTo>
                            <a:lnTo>
                              <a:pt x="254569" y="109179"/>
                            </a:lnTo>
                            <a:lnTo>
                              <a:pt x="230977" y="105887"/>
                            </a:lnTo>
                            <a:lnTo>
                              <a:pt x="218359" y="107533"/>
                            </a:lnTo>
                            <a:lnTo>
                              <a:pt x="215067" y="108631"/>
                            </a:lnTo>
                            <a:lnTo>
                              <a:pt x="212324" y="113020"/>
                            </a:lnTo>
                            <a:lnTo>
                              <a:pt x="211775" y="123444"/>
                            </a:lnTo>
                            <a:lnTo>
                              <a:pt x="213421" y="131125"/>
                            </a:lnTo>
                            <a:lnTo>
                              <a:pt x="220553" y="141001"/>
                            </a:lnTo>
                            <a:lnTo>
                              <a:pt x="225491" y="144841"/>
                            </a:lnTo>
                            <a:lnTo>
                              <a:pt x="239756" y="149230"/>
                            </a:lnTo>
                            <a:lnTo>
                              <a:pt x="242499" y="151425"/>
                            </a:lnTo>
                            <a:lnTo>
                              <a:pt x="258409" y="202448"/>
                            </a:lnTo>
                            <a:lnTo>
                              <a:pt x="260055" y="204094"/>
                            </a:lnTo>
                            <a:lnTo>
                              <a:pt x="227686" y="260604"/>
                            </a:lnTo>
                            <a:lnTo>
                              <a:pt x="226588" y="268834"/>
                            </a:lnTo>
                            <a:lnTo>
                              <a:pt x="229880" y="279258"/>
                            </a:lnTo>
                            <a:lnTo>
                              <a:pt x="229880" y="301752"/>
                            </a:lnTo>
                            <a:lnTo>
                              <a:pt x="266639" y="362102"/>
                            </a:lnTo>
                            <a:lnTo>
                              <a:pt x="283098" y="375818"/>
                            </a:lnTo>
                            <a:lnTo>
                              <a:pt x="288036" y="375270"/>
                            </a:lnTo>
                            <a:lnTo>
                              <a:pt x="286390" y="383499"/>
                            </a:lnTo>
                            <a:lnTo>
                              <a:pt x="288036" y="412577"/>
                            </a:lnTo>
                            <a:lnTo>
                              <a:pt x="285841" y="419710"/>
                            </a:lnTo>
                            <a:lnTo>
                              <a:pt x="283098" y="421904"/>
                            </a:lnTo>
                            <a:lnTo>
                              <a:pt x="266639" y="408737"/>
                            </a:lnTo>
                            <a:lnTo>
                              <a:pt x="260055" y="409285"/>
                            </a:lnTo>
                            <a:lnTo>
                              <a:pt x="240853" y="405445"/>
                            </a:lnTo>
                            <a:lnTo>
                              <a:pt x="233172" y="400507"/>
                            </a:lnTo>
                            <a:lnTo>
                              <a:pt x="181051" y="400507"/>
                            </a:lnTo>
                          </a:path>
                        </a:pathLst>
                      </a:custGeom>
                      <a:grpFill/>
                      <a:ln w="1270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82" name="Graphic 7">
                        <a:extLst>
                          <a:ext uri="{FF2B5EF4-FFF2-40B4-BE49-F238E27FC236}">
                            <a16:creationId xmlns:a16="http://schemas.microsoft.com/office/drawing/2014/main" id="{9F3444E9-803C-1418-DA24-ED44E27E19B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5590134" y="4599093"/>
                        <a:ext cx="29147" cy="42435"/>
                      </a:xfrm>
                      <a:custGeom>
                        <a:avLst/>
                        <a:gdLst>
                          <a:gd name="connsiteX0" fmla="*/ 37308 w 37307"/>
                          <a:gd name="connsiteY0" fmla="*/ 9876 h 54315"/>
                          <a:gd name="connsiteX1" fmla="*/ 34016 w 37307"/>
                          <a:gd name="connsiteY1" fmla="*/ 2743 h 54315"/>
                          <a:gd name="connsiteX2" fmla="*/ 27981 w 37307"/>
                          <a:gd name="connsiteY2" fmla="*/ 0 h 54315"/>
                          <a:gd name="connsiteX3" fmla="*/ 20848 w 37307"/>
                          <a:gd name="connsiteY3" fmla="*/ 3841 h 54315"/>
                          <a:gd name="connsiteX4" fmla="*/ 16459 w 37307"/>
                          <a:gd name="connsiteY4" fmla="*/ 13716 h 54315"/>
                          <a:gd name="connsiteX5" fmla="*/ 0 w 37307"/>
                          <a:gd name="connsiteY5" fmla="*/ 24689 h 54315"/>
                          <a:gd name="connsiteX6" fmla="*/ 3292 w 37307"/>
                          <a:gd name="connsiteY6" fmla="*/ 28529 h 54315"/>
                          <a:gd name="connsiteX7" fmla="*/ 6035 w 37307"/>
                          <a:gd name="connsiteY7" fmla="*/ 49378 h 54315"/>
                          <a:gd name="connsiteX8" fmla="*/ 11521 w 37307"/>
                          <a:gd name="connsiteY8" fmla="*/ 54315 h 54315"/>
                          <a:gd name="connsiteX9" fmla="*/ 18105 w 37307"/>
                          <a:gd name="connsiteY9" fmla="*/ 51024 h 54315"/>
                          <a:gd name="connsiteX10" fmla="*/ 23043 w 37307"/>
                          <a:gd name="connsiteY10" fmla="*/ 21946 h 54315"/>
                          <a:gd name="connsiteX11" fmla="*/ 35113 w 37307"/>
                          <a:gd name="connsiteY11" fmla="*/ 10973 h 54315"/>
                          <a:gd name="connsiteX12" fmla="*/ 37308 w 37307"/>
                          <a:gd name="connsiteY12" fmla="*/ 9876 h 54315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</a:cxnLst>
                        <a:rect l="l" t="t" r="r" b="b"/>
                        <a:pathLst>
                          <a:path w="37307" h="54315">
                            <a:moveTo>
                              <a:pt x="37308" y="9876"/>
                            </a:moveTo>
                            <a:lnTo>
                              <a:pt x="34016" y="2743"/>
                            </a:lnTo>
                            <a:lnTo>
                              <a:pt x="27981" y="0"/>
                            </a:lnTo>
                            <a:lnTo>
                              <a:pt x="20848" y="3841"/>
                            </a:lnTo>
                            <a:lnTo>
                              <a:pt x="16459" y="13716"/>
                            </a:lnTo>
                            <a:lnTo>
                              <a:pt x="0" y="24689"/>
                            </a:lnTo>
                            <a:lnTo>
                              <a:pt x="3292" y="28529"/>
                            </a:lnTo>
                            <a:lnTo>
                              <a:pt x="6035" y="49378"/>
                            </a:lnTo>
                            <a:lnTo>
                              <a:pt x="11521" y="54315"/>
                            </a:lnTo>
                            <a:lnTo>
                              <a:pt x="18105" y="51024"/>
                            </a:lnTo>
                            <a:lnTo>
                              <a:pt x="23043" y="21946"/>
                            </a:lnTo>
                            <a:lnTo>
                              <a:pt x="35113" y="10973"/>
                            </a:lnTo>
                            <a:lnTo>
                              <a:pt x="37308" y="9876"/>
                            </a:lnTo>
                          </a:path>
                        </a:pathLst>
                      </a:custGeom>
                      <a:grpFill/>
                      <a:ln w="1270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83" name="Graphic 7">
                        <a:extLst>
                          <a:ext uri="{FF2B5EF4-FFF2-40B4-BE49-F238E27FC236}">
                            <a16:creationId xmlns:a16="http://schemas.microsoft.com/office/drawing/2014/main" id="{3C625EE6-C07B-2AB3-AF85-6D3390BCA60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5662575" y="4146020"/>
                        <a:ext cx="384920" cy="241325"/>
                      </a:xfrm>
                      <a:custGeom>
                        <a:avLst/>
                        <a:gdLst>
                          <a:gd name="connsiteX0" fmla="*/ 311079 w 492678"/>
                          <a:gd name="connsiteY0" fmla="*/ 0 h 308884"/>
                          <a:gd name="connsiteX1" fmla="*/ 282001 w 492678"/>
                          <a:gd name="connsiteY1" fmla="*/ 6035 h 308884"/>
                          <a:gd name="connsiteX2" fmla="*/ 278161 w 492678"/>
                          <a:gd name="connsiteY2" fmla="*/ 10424 h 308884"/>
                          <a:gd name="connsiteX3" fmla="*/ 274869 w 492678"/>
                          <a:gd name="connsiteY3" fmla="*/ 18105 h 308884"/>
                          <a:gd name="connsiteX4" fmla="*/ 274869 w 492678"/>
                          <a:gd name="connsiteY4" fmla="*/ 28529 h 308884"/>
                          <a:gd name="connsiteX5" fmla="*/ 270480 w 492678"/>
                          <a:gd name="connsiteY5" fmla="*/ 30175 h 308884"/>
                          <a:gd name="connsiteX6" fmla="*/ 265542 w 492678"/>
                          <a:gd name="connsiteY6" fmla="*/ 36759 h 308884"/>
                          <a:gd name="connsiteX7" fmla="*/ 263347 w 492678"/>
                          <a:gd name="connsiteY7" fmla="*/ 38405 h 308884"/>
                          <a:gd name="connsiteX8" fmla="*/ 260056 w 492678"/>
                          <a:gd name="connsiteY8" fmla="*/ 39502 h 308884"/>
                          <a:gd name="connsiteX9" fmla="*/ 249083 w 492678"/>
                          <a:gd name="connsiteY9" fmla="*/ 49926 h 308884"/>
                          <a:gd name="connsiteX10" fmla="*/ 246340 w 492678"/>
                          <a:gd name="connsiteY10" fmla="*/ 57058 h 308884"/>
                          <a:gd name="connsiteX11" fmla="*/ 244145 w 492678"/>
                          <a:gd name="connsiteY11" fmla="*/ 59802 h 308884"/>
                          <a:gd name="connsiteX12" fmla="*/ 231526 w 492678"/>
                          <a:gd name="connsiteY12" fmla="*/ 64739 h 308884"/>
                          <a:gd name="connsiteX13" fmla="*/ 228234 w 492678"/>
                          <a:gd name="connsiteY13" fmla="*/ 69677 h 308884"/>
                          <a:gd name="connsiteX14" fmla="*/ 221102 w 492678"/>
                          <a:gd name="connsiteY14" fmla="*/ 73518 h 308884"/>
                          <a:gd name="connsiteX15" fmla="*/ 217261 w 492678"/>
                          <a:gd name="connsiteY15" fmla="*/ 72420 h 308884"/>
                          <a:gd name="connsiteX16" fmla="*/ 201351 w 492678"/>
                          <a:gd name="connsiteY16" fmla="*/ 75163 h 308884"/>
                          <a:gd name="connsiteX17" fmla="*/ 199156 w 492678"/>
                          <a:gd name="connsiteY17" fmla="*/ 76261 h 308884"/>
                          <a:gd name="connsiteX18" fmla="*/ 177760 w 492678"/>
                          <a:gd name="connsiteY18" fmla="*/ 77358 h 308884"/>
                          <a:gd name="connsiteX19" fmla="*/ 170078 w 492678"/>
                          <a:gd name="connsiteY19" fmla="*/ 80650 h 308884"/>
                          <a:gd name="connsiteX20" fmla="*/ 168981 w 492678"/>
                          <a:gd name="connsiteY20" fmla="*/ 82845 h 308884"/>
                          <a:gd name="connsiteX21" fmla="*/ 168981 w 492678"/>
                          <a:gd name="connsiteY21" fmla="*/ 85039 h 308884"/>
                          <a:gd name="connsiteX22" fmla="*/ 172822 w 492678"/>
                          <a:gd name="connsiteY22" fmla="*/ 88331 h 308884"/>
                          <a:gd name="connsiteX23" fmla="*/ 175016 w 492678"/>
                          <a:gd name="connsiteY23" fmla="*/ 93269 h 308884"/>
                          <a:gd name="connsiteX24" fmla="*/ 172822 w 492678"/>
                          <a:gd name="connsiteY24" fmla="*/ 96012 h 308884"/>
                          <a:gd name="connsiteX25" fmla="*/ 170078 w 492678"/>
                          <a:gd name="connsiteY25" fmla="*/ 98206 h 308884"/>
                          <a:gd name="connsiteX26" fmla="*/ 167884 w 492678"/>
                          <a:gd name="connsiteY26" fmla="*/ 103693 h 308884"/>
                          <a:gd name="connsiteX27" fmla="*/ 164592 w 492678"/>
                          <a:gd name="connsiteY27" fmla="*/ 105887 h 308884"/>
                          <a:gd name="connsiteX28" fmla="*/ 161300 w 492678"/>
                          <a:gd name="connsiteY28" fmla="*/ 106436 h 308884"/>
                          <a:gd name="connsiteX29" fmla="*/ 159654 w 492678"/>
                          <a:gd name="connsiteY29" fmla="*/ 108631 h 308884"/>
                          <a:gd name="connsiteX30" fmla="*/ 158557 w 492678"/>
                          <a:gd name="connsiteY30" fmla="*/ 112471 h 308884"/>
                          <a:gd name="connsiteX31" fmla="*/ 158008 w 492678"/>
                          <a:gd name="connsiteY31" fmla="*/ 113568 h 308884"/>
                          <a:gd name="connsiteX32" fmla="*/ 141001 w 492678"/>
                          <a:gd name="connsiteY32" fmla="*/ 113568 h 308884"/>
                          <a:gd name="connsiteX33" fmla="*/ 135514 w 492678"/>
                          <a:gd name="connsiteY33" fmla="*/ 116311 h 308884"/>
                          <a:gd name="connsiteX34" fmla="*/ 125639 w 492678"/>
                          <a:gd name="connsiteY34" fmla="*/ 115763 h 308884"/>
                          <a:gd name="connsiteX35" fmla="*/ 108082 w 492678"/>
                          <a:gd name="connsiteY35" fmla="*/ 123444 h 308884"/>
                          <a:gd name="connsiteX36" fmla="*/ 105888 w 492678"/>
                          <a:gd name="connsiteY36" fmla="*/ 125638 h 308884"/>
                          <a:gd name="connsiteX37" fmla="*/ 95464 w 492678"/>
                          <a:gd name="connsiteY37" fmla="*/ 128382 h 308884"/>
                          <a:gd name="connsiteX38" fmla="*/ 94366 w 492678"/>
                          <a:gd name="connsiteY38" fmla="*/ 131125 h 308884"/>
                          <a:gd name="connsiteX39" fmla="*/ 91623 w 492678"/>
                          <a:gd name="connsiteY39" fmla="*/ 132222 h 308884"/>
                          <a:gd name="connsiteX40" fmla="*/ 86685 w 492678"/>
                          <a:gd name="connsiteY40" fmla="*/ 127284 h 308884"/>
                          <a:gd name="connsiteX41" fmla="*/ 84491 w 492678"/>
                          <a:gd name="connsiteY41" fmla="*/ 126187 h 308884"/>
                          <a:gd name="connsiteX42" fmla="*/ 82296 w 492678"/>
                          <a:gd name="connsiteY42" fmla="*/ 121798 h 308884"/>
                          <a:gd name="connsiteX43" fmla="*/ 80650 w 492678"/>
                          <a:gd name="connsiteY43" fmla="*/ 121249 h 308884"/>
                          <a:gd name="connsiteX44" fmla="*/ 77907 w 492678"/>
                          <a:gd name="connsiteY44" fmla="*/ 121249 h 308884"/>
                          <a:gd name="connsiteX45" fmla="*/ 76810 w 492678"/>
                          <a:gd name="connsiteY45" fmla="*/ 122347 h 308884"/>
                          <a:gd name="connsiteX46" fmla="*/ 74615 w 492678"/>
                          <a:gd name="connsiteY46" fmla="*/ 122895 h 308884"/>
                          <a:gd name="connsiteX47" fmla="*/ 72969 w 492678"/>
                          <a:gd name="connsiteY47" fmla="*/ 127833 h 308884"/>
                          <a:gd name="connsiteX48" fmla="*/ 63642 w 492678"/>
                          <a:gd name="connsiteY48" fmla="*/ 128930 h 308884"/>
                          <a:gd name="connsiteX49" fmla="*/ 57607 w 492678"/>
                          <a:gd name="connsiteY49" fmla="*/ 134965 h 308884"/>
                          <a:gd name="connsiteX50" fmla="*/ 53767 w 492678"/>
                          <a:gd name="connsiteY50" fmla="*/ 134965 h 308884"/>
                          <a:gd name="connsiteX51" fmla="*/ 49926 w 492678"/>
                          <a:gd name="connsiteY51" fmla="*/ 133868 h 308884"/>
                          <a:gd name="connsiteX52" fmla="*/ 36210 w 492678"/>
                          <a:gd name="connsiteY52" fmla="*/ 134965 h 308884"/>
                          <a:gd name="connsiteX53" fmla="*/ 33467 w 492678"/>
                          <a:gd name="connsiteY53" fmla="*/ 137160 h 308884"/>
                          <a:gd name="connsiteX54" fmla="*/ 1097 w 492678"/>
                          <a:gd name="connsiteY54" fmla="*/ 193670 h 308884"/>
                          <a:gd name="connsiteX55" fmla="*/ 0 w 492678"/>
                          <a:gd name="connsiteY55" fmla="*/ 201899 h 308884"/>
                          <a:gd name="connsiteX56" fmla="*/ 3292 w 492678"/>
                          <a:gd name="connsiteY56" fmla="*/ 212323 h 308884"/>
                          <a:gd name="connsiteX57" fmla="*/ 3292 w 492678"/>
                          <a:gd name="connsiteY57" fmla="*/ 234818 h 308884"/>
                          <a:gd name="connsiteX58" fmla="*/ 40051 w 492678"/>
                          <a:gd name="connsiteY58" fmla="*/ 295168 h 308884"/>
                          <a:gd name="connsiteX59" fmla="*/ 56510 w 492678"/>
                          <a:gd name="connsiteY59" fmla="*/ 308884 h 308884"/>
                          <a:gd name="connsiteX60" fmla="*/ 61448 w 492678"/>
                          <a:gd name="connsiteY60" fmla="*/ 308335 h 308884"/>
                          <a:gd name="connsiteX61" fmla="*/ 66934 w 492678"/>
                          <a:gd name="connsiteY61" fmla="*/ 299557 h 308884"/>
                          <a:gd name="connsiteX62" fmla="*/ 94915 w 492678"/>
                          <a:gd name="connsiteY62" fmla="*/ 278709 h 308884"/>
                          <a:gd name="connsiteX63" fmla="*/ 108082 w 492678"/>
                          <a:gd name="connsiteY63" fmla="*/ 276514 h 308884"/>
                          <a:gd name="connsiteX64" fmla="*/ 131125 w 492678"/>
                          <a:gd name="connsiteY64" fmla="*/ 287487 h 308884"/>
                          <a:gd name="connsiteX65" fmla="*/ 153071 w 492678"/>
                          <a:gd name="connsiteY65" fmla="*/ 280355 h 308884"/>
                          <a:gd name="connsiteX66" fmla="*/ 156911 w 492678"/>
                          <a:gd name="connsiteY66" fmla="*/ 276514 h 308884"/>
                          <a:gd name="connsiteX67" fmla="*/ 165689 w 492678"/>
                          <a:gd name="connsiteY67" fmla="*/ 274869 h 308884"/>
                          <a:gd name="connsiteX68" fmla="*/ 163495 w 492678"/>
                          <a:gd name="connsiteY68" fmla="*/ 269382 h 308884"/>
                          <a:gd name="connsiteX69" fmla="*/ 166787 w 492678"/>
                          <a:gd name="connsiteY69" fmla="*/ 246339 h 308884"/>
                          <a:gd name="connsiteX70" fmla="*/ 171724 w 492678"/>
                          <a:gd name="connsiteY70" fmla="*/ 243047 h 308884"/>
                          <a:gd name="connsiteX71" fmla="*/ 176113 w 492678"/>
                          <a:gd name="connsiteY71" fmla="*/ 232623 h 308884"/>
                          <a:gd name="connsiteX72" fmla="*/ 189829 w 492678"/>
                          <a:gd name="connsiteY72" fmla="*/ 221102 h 308884"/>
                          <a:gd name="connsiteX73" fmla="*/ 209581 w 492678"/>
                          <a:gd name="connsiteY73" fmla="*/ 222199 h 308884"/>
                          <a:gd name="connsiteX74" fmla="*/ 215067 w 492678"/>
                          <a:gd name="connsiteY74" fmla="*/ 228234 h 308884"/>
                          <a:gd name="connsiteX75" fmla="*/ 217261 w 492678"/>
                          <a:gd name="connsiteY75" fmla="*/ 234818 h 308884"/>
                          <a:gd name="connsiteX76" fmla="*/ 230977 w 492678"/>
                          <a:gd name="connsiteY76" fmla="*/ 247437 h 308884"/>
                          <a:gd name="connsiteX77" fmla="*/ 235915 w 492678"/>
                          <a:gd name="connsiteY77" fmla="*/ 248534 h 308884"/>
                          <a:gd name="connsiteX78" fmla="*/ 241402 w 492678"/>
                          <a:gd name="connsiteY78" fmla="*/ 243047 h 308884"/>
                          <a:gd name="connsiteX79" fmla="*/ 250729 w 492678"/>
                          <a:gd name="connsiteY79" fmla="*/ 249631 h 308884"/>
                          <a:gd name="connsiteX80" fmla="*/ 266090 w 492678"/>
                          <a:gd name="connsiteY80" fmla="*/ 253471 h 308884"/>
                          <a:gd name="connsiteX81" fmla="*/ 301204 w 492678"/>
                          <a:gd name="connsiteY81" fmla="*/ 253471 h 308884"/>
                          <a:gd name="connsiteX82" fmla="*/ 306141 w 492678"/>
                          <a:gd name="connsiteY82" fmla="*/ 251277 h 308884"/>
                          <a:gd name="connsiteX83" fmla="*/ 307238 w 492678"/>
                          <a:gd name="connsiteY83" fmla="*/ 240304 h 308884"/>
                          <a:gd name="connsiteX84" fmla="*/ 317114 w 492678"/>
                          <a:gd name="connsiteY84" fmla="*/ 233721 h 308884"/>
                          <a:gd name="connsiteX85" fmla="*/ 329733 w 492678"/>
                          <a:gd name="connsiteY85" fmla="*/ 235915 h 308884"/>
                          <a:gd name="connsiteX86" fmla="*/ 335768 w 492678"/>
                          <a:gd name="connsiteY86" fmla="*/ 240304 h 308884"/>
                          <a:gd name="connsiteX87" fmla="*/ 380756 w 492678"/>
                          <a:gd name="connsiteY87" fmla="*/ 224394 h 308884"/>
                          <a:gd name="connsiteX88" fmla="*/ 385145 w 492678"/>
                          <a:gd name="connsiteY88" fmla="*/ 224394 h 308884"/>
                          <a:gd name="connsiteX89" fmla="*/ 386243 w 492678"/>
                          <a:gd name="connsiteY89" fmla="*/ 228234 h 308884"/>
                          <a:gd name="connsiteX90" fmla="*/ 385145 w 492678"/>
                          <a:gd name="connsiteY90" fmla="*/ 228234 h 308884"/>
                          <a:gd name="connsiteX91" fmla="*/ 390083 w 492678"/>
                          <a:gd name="connsiteY91" fmla="*/ 230429 h 308884"/>
                          <a:gd name="connsiteX92" fmla="*/ 395569 w 492678"/>
                          <a:gd name="connsiteY92" fmla="*/ 228234 h 308884"/>
                          <a:gd name="connsiteX93" fmla="*/ 403799 w 492678"/>
                          <a:gd name="connsiteY93" fmla="*/ 228234 h 308884"/>
                          <a:gd name="connsiteX94" fmla="*/ 405994 w 492678"/>
                          <a:gd name="connsiteY94" fmla="*/ 220005 h 308884"/>
                          <a:gd name="connsiteX95" fmla="*/ 419710 w 492678"/>
                          <a:gd name="connsiteY95" fmla="*/ 223296 h 308884"/>
                          <a:gd name="connsiteX96" fmla="*/ 446044 w 492678"/>
                          <a:gd name="connsiteY96" fmla="*/ 218359 h 308884"/>
                          <a:gd name="connsiteX97" fmla="*/ 455371 w 492678"/>
                          <a:gd name="connsiteY97" fmla="*/ 228234 h 308884"/>
                          <a:gd name="connsiteX98" fmla="*/ 459212 w 492678"/>
                          <a:gd name="connsiteY98" fmla="*/ 223296 h 308884"/>
                          <a:gd name="connsiteX99" fmla="*/ 467990 w 492678"/>
                          <a:gd name="connsiteY99" fmla="*/ 228234 h 308884"/>
                          <a:gd name="connsiteX100" fmla="*/ 472928 w 492678"/>
                          <a:gd name="connsiteY100" fmla="*/ 221102 h 308884"/>
                          <a:gd name="connsiteX101" fmla="*/ 492679 w 492678"/>
                          <a:gd name="connsiteY101" fmla="*/ 221102 h 308884"/>
                          <a:gd name="connsiteX102" fmla="*/ 488838 w 492678"/>
                          <a:gd name="connsiteY102" fmla="*/ 216164 h 308884"/>
                          <a:gd name="connsiteX103" fmla="*/ 487192 w 492678"/>
                          <a:gd name="connsiteY103" fmla="*/ 209032 h 308884"/>
                          <a:gd name="connsiteX104" fmla="*/ 483901 w 492678"/>
                          <a:gd name="connsiteY104" fmla="*/ 201899 h 308884"/>
                          <a:gd name="connsiteX105" fmla="*/ 463601 w 492678"/>
                          <a:gd name="connsiteY105" fmla="*/ 188732 h 308884"/>
                          <a:gd name="connsiteX106" fmla="*/ 456469 w 492678"/>
                          <a:gd name="connsiteY106" fmla="*/ 187086 h 308884"/>
                          <a:gd name="connsiteX107" fmla="*/ 455371 w 492678"/>
                          <a:gd name="connsiteY107" fmla="*/ 179405 h 308884"/>
                          <a:gd name="connsiteX108" fmla="*/ 450434 w 492678"/>
                          <a:gd name="connsiteY108" fmla="*/ 173370 h 308884"/>
                          <a:gd name="connsiteX109" fmla="*/ 444947 w 492678"/>
                          <a:gd name="connsiteY109" fmla="*/ 158557 h 308884"/>
                          <a:gd name="connsiteX110" fmla="*/ 437266 w 492678"/>
                          <a:gd name="connsiteY110" fmla="*/ 154716 h 308884"/>
                          <a:gd name="connsiteX111" fmla="*/ 432328 w 492678"/>
                          <a:gd name="connsiteY111" fmla="*/ 147584 h 308884"/>
                          <a:gd name="connsiteX112" fmla="*/ 407091 w 492678"/>
                          <a:gd name="connsiteY112" fmla="*/ 131125 h 308884"/>
                          <a:gd name="connsiteX113" fmla="*/ 402702 w 492678"/>
                          <a:gd name="connsiteY113" fmla="*/ 123444 h 308884"/>
                          <a:gd name="connsiteX114" fmla="*/ 403799 w 492678"/>
                          <a:gd name="connsiteY114" fmla="*/ 116311 h 308884"/>
                          <a:gd name="connsiteX115" fmla="*/ 402702 w 492678"/>
                          <a:gd name="connsiteY115" fmla="*/ 113568 h 308884"/>
                          <a:gd name="connsiteX116" fmla="*/ 390083 w 492678"/>
                          <a:gd name="connsiteY116" fmla="*/ 104790 h 308884"/>
                          <a:gd name="connsiteX117" fmla="*/ 375270 w 492678"/>
                          <a:gd name="connsiteY117" fmla="*/ 104242 h 308884"/>
                          <a:gd name="connsiteX118" fmla="*/ 367589 w 492678"/>
                          <a:gd name="connsiteY118" fmla="*/ 100401 h 308884"/>
                          <a:gd name="connsiteX119" fmla="*/ 363748 w 492678"/>
                          <a:gd name="connsiteY119" fmla="*/ 90526 h 308884"/>
                          <a:gd name="connsiteX120" fmla="*/ 347289 w 492678"/>
                          <a:gd name="connsiteY120" fmla="*/ 87782 h 308884"/>
                          <a:gd name="connsiteX121" fmla="*/ 340157 w 492678"/>
                          <a:gd name="connsiteY121" fmla="*/ 81199 h 308884"/>
                          <a:gd name="connsiteX122" fmla="*/ 339060 w 492678"/>
                          <a:gd name="connsiteY122" fmla="*/ 71323 h 308884"/>
                          <a:gd name="connsiteX123" fmla="*/ 343997 w 492678"/>
                          <a:gd name="connsiteY123" fmla="*/ 48280 h 308884"/>
                          <a:gd name="connsiteX124" fmla="*/ 340705 w 492678"/>
                          <a:gd name="connsiteY124" fmla="*/ 37856 h 308884"/>
                          <a:gd name="connsiteX125" fmla="*/ 311079 w 492678"/>
                          <a:gd name="connsiteY125" fmla="*/ 0 h 30888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  <a:cxn ang="0">
                            <a:pos x="connsiteX43" y="connsiteY43"/>
                          </a:cxn>
                          <a:cxn ang="0">
                            <a:pos x="connsiteX44" y="connsiteY44"/>
                          </a:cxn>
                          <a:cxn ang="0">
                            <a:pos x="connsiteX45" y="connsiteY45"/>
                          </a:cxn>
                          <a:cxn ang="0">
                            <a:pos x="connsiteX46" y="connsiteY46"/>
                          </a:cxn>
                          <a:cxn ang="0">
                            <a:pos x="connsiteX47" y="connsiteY47"/>
                          </a:cxn>
                          <a:cxn ang="0">
                            <a:pos x="connsiteX48" y="connsiteY48"/>
                          </a:cxn>
                          <a:cxn ang="0">
                            <a:pos x="connsiteX49" y="connsiteY49"/>
                          </a:cxn>
                          <a:cxn ang="0">
                            <a:pos x="connsiteX50" y="connsiteY50"/>
                          </a:cxn>
                          <a:cxn ang="0">
                            <a:pos x="connsiteX51" y="connsiteY51"/>
                          </a:cxn>
                          <a:cxn ang="0">
                            <a:pos x="connsiteX52" y="connsiteY52"/>
                          </a:cxn>
                          <a:cxn ang="0">
                            <a:pos x="connsiteX53" y="connsiteY53"/>
                          </a:cxn>
                          <a:cxn ang="0">
                            <a:pos x="connsiteX54" y="connsiteY54"/>
                          </a:cxn>
                          <a:cxn ang="0">
                            <a:pos x="connsiteX55" y="connsiteY55"/>
                          </a:cxn>
                          <a:cxn ang="0">
                            <a:pos x="connsiteX56" y="connsiteY56"/>
                          </a:cxn>
                          <a:cxn ang="0">
                            <a:pos x="connsiteX57" y="connsiteY57"/>
                          </a:cxn>
                          <a:cxn ang="0">
                            <a:pos x="connsiteX58" y="connsiteY58"/>
                          </a:cxn>
                          <a:cxn ang="0">
                            <a:pos x="connsiteX59" y="connsiteY59"/>
                          </a:cxn>
                          <a:cxn ang="0">
                            <a:pos x="connsiteX60" y="connsiteY60"/>
                          </a:cxn>
                          <a:cxn ang="0">
                            <a:pos x="connsiteX61" y="connsiteY61"/>
                          </a:cxn>
                          <a:cxn ang="0">
                            <a:pos x="connsiteX62" y="connsiteY62"/>
                          </a:cxn>
                          <a:cxn ang="0">
                            <a:pos x="connsiteX63" y="connsiteY63"/>
                          </a:cxn>
                          <a:cxn ang="0">
                            <a:pos x="connsiteX64" y="connsiteY64"/>
                          </a:cxn>
                          <a:cxn ang="0">
                            <a:pos x="connsiteX65" y="connsiteY65"/>
                          </a:cxn>
                          <a:cxn ang="0">
                            <a:pos x="connsiteX66" y="connsiteY66"/>
                          </a:cxn>
                          <a:cxn ang="0">
                            <a:pos x="connsiteX67" y="connsiteY67"/>
                          </a:cxn>
                          <a:cxn ang="0">
                            <a:pos x="connsiteX68" y="connsiteY68"/>
                          </a:cxn>
                          <a:cxn ang="0">
                            <a:pos x="connsiteX69" y="connsiteY69"/>
                          </a:cxn>
                          <a:cxn ang="0">
                            <a:pos x="connsiteX70" y="connsiteY70"/>
                          </a:cxn>
                          <a:cxn ang="0">
                            <a:pos x="connsiteX71" y="connsiteY71"/>
                          </a:cxn>
                          <a:cxn ang="0">
                            <a:pos x="connsiteX72" y="connsiteY72"/>
                          </a:cxn>
                          <a:cxn ang="0">
                            <a:pos x="connsiteX73" y="connsiteY73"/>
                          </a:cxn>
                          <a:cxn ang="0">
                            <a:pos x="connsiteX74" y="connsiteY74"/>
                          </a:cxn>
                          <a:cxn ang="0">
                            <a:pos x="connsiteX75" y="connsiteY75"/>
                          </a:cxn>
                          <a:cxn ang="0">
                            <a:pos x="connsiteX76" y="connsiteY76"/>
                          </a:cxn>
                          <a:cxn ang="0">
                            <a:pos x="connsiteX77" y="connsiteY77"/>
                          </a:cxn>
                          <a:cxn ang="0">
                            <a:pos x="connsiteX78" y="connsiteY78"/>
                          </a:cxn>
                          <a:cxn ang="0">
                            <a:pos x="connsiteX79" y="connsiteY79"/>
                          </a:cxn>
                          <a:cxn ang="0">
                            <a:pos x="connsiteX80" y="connsiteY80"/>
                          </a:cxn>
                          <a:cxn ang="0">
                            <a:pos x="connsiteX81" y="connsiteY81"/>
                          </a:cxn>
                          <a:cxn ang="0">
                            <a:pos x="connsiteX82" y="connsiteY82"/>
                          </a:cxn>
                          <a:cxn ang="0">
                            <a:pos x="connsiteX83" y="connsiteY83"/>
                          </a:cxn>
                          <a:cxn ang="0">
                            <a:pos x="connsiteX84" y="connsiteY84"/>
                          </a:cxn>
                          <a:cxn ang="0">
                            <a:pos x="connsiteX85" y="connsiteY85"/>
                          </a:cxn>
                          <a:cxn ang="0">
                            <a:pos x="connsiteX86" y="connsiteY86"/>
                          </a:cxn>
                          <a:cxn ang="0">
                            <a:pos x="connsiteX87" y="connsiteY87"/>
                          </a:cxn>
                          <a:cxn ang="0">
                            <a:pos x="connsiteX88" y="connsiteY88"/>
                          </a:cxn>
                          <a:cxn ang="0">
                            <a:pos x="connsiteX89" y="connsiteY89"/>
                          </a:cxn>
                          <a:cxn ang="0">
                            <a:pos x="connsiteX90" y="connsiteY90"/>
                          </a:cxn>
                          <a:cxn ang="0">
                            <a:pos x="connsiteX91" y="connsiteY91"/>
                          </a:cxn>
                          <a:cxn ang="0">
                            <a:pos x="connsiteX92" y="connsiteY92"/>
                          </a:cxn>
                          <a:cxn ang="0">
                            <a:pos x="connsiteX93" y="connsiteY93"/>
                          </a:cxn>
                          <a:cxn ang="0">
                            <a:pos x="connsiteX94" y="connsiteY94"/>
                          </a:cxn>
                          <a:cxn ang="0">
                            <a:pos x="connsiteX95" y="connsiteY95"/>
                          </a:cxn>
                          <a:cxn ang="0">
                            <a:pos x="connsiteX96" y="connsiteY96"/>
                          </a:cxn>
                          <a:cxn ang="0">
                            <a:pos x="connsiteX97" y="connsiteY97"/>
                          </a:cxn>
                          <a:cxn ang="0">
                            <a:pos x="connsiteX98" y="connsiteY98"/>
                          </a:cxn>
                          <a:cxn ang="0">
                            <a:pos x="connsiteX99" y="connsiteY99"/>
                          </a:cxn>
                          <a:cxn ang="0">
                            <a:pos x="connsiteX100" y="connsiteY100"/>
                          </a:cxn>
                          <a:cxn ang="0">
                            <a:pos x="connsiteX101" y="connsiteY101"/>
                          </a:cxn>
                          <a:cxn ang="0">
                            <a:pos x="connsiteX102" y="connsiteY102"/>
                          </a:cxn>
                          <a:cxn ang="0">
                            <a:pos x="connsiteX103" y="connsiteY103"/>
                          </a:cxn>
                          <a:cxn ang="0">
                            <a:pos x="connsiteX104" y="connsiteY104"/>
                          </a:cxn>
                          <a:cxn ang="0">
                            <a:pos x="connsiteX105" y="connsiteY105"/>
                          </a:cxn>
                          <a:cxn ang="0">
                            <a:pos x="connsiteX106" y="connsiteY106"/>
                          </a:cxn>
                          <a:cxn ang="0">
                            <a:pos x="connsiteX107" y="connsiteY107"/>
                          </a:cxn>
                          <a:cxn ang="0">
                            <a:pos x="connsiteX108" y="connsiteY108"/>
                          </a:cxn>
                          <a:cxn ang="0">
                            <a:pos x="connsiteX109" y="connsiteY109"/>
                          </a:cxn>
                          <a:cxn ang="0">
                            <a:pos x="connsiteX110" y="connsiteY110"/>
                          </a:cxn>
                          <a:cxn ang="0">
                            <a:pos x="connsiteX111" y="connsiteY111"/>
                          </a:cxn>
                          <a:cxn ang="0">
                            <a:pos x="connsiteX112" y="connsiteY112"/>
                          </a:cxn>
                          <a:cxn ang="0">
                            <a:pos x="connsiteX113" y="connsiteY113"/>
                          </a:cxn>
                          <a:cxn ang="0">
                            <a:pos x="connsiteX114" y="connsiteY114"/>
                          </a:cxn>
                          <a:cxn ang="0">
                            <a:pos x="connsiteX115" y="connsiteY115"/>
                          </a:cxn>
                          <a:cxn ang="0">
                            <a:pos x="connsiteX116" y="connsiteY116"/>
                          </a:cxn>
                          <a:cxn ang="0">
                            <a:pos x="connsiteX117" y="connsiteY117"/>
                          </a:cxn>
                          <a:cxn ang="0">
                            <a:pos x="connsiteX118" y="connsiteY118"/>
                          </a:cxn>
                          <a:cxn ang="0">
                            <a:pos x="connsiteX119" y="connsiteY119"/>
                          </a:cxn>
                          <a:cxn ang="0">
                            <a:pos x="connsiteX120" y="connsiteY120"/>
                          </a:cxn>
                          <a:cxn ang="0">
                            <a:pos x="connsiteX121" y="connsiteY121"/>
                          </a:cxn>
                          <a:cxn ang="0">
                            <a:pos x="connsiteX122" y="connsiteY122"/>
                          </a:cxn>
                          <a:cxn ang="0">
                            <a:pos x="connsiteX123" y="connsiteY123"/>
                          </a:cxn>
                          <a:cxn ang="0">
                            <a:pos x="connsiteX124" y="connsiteY124"/>
                          </a:cxn>
                          <a:cxn ang="0">
                            <a:pos x="connsiteX125" y="connsiteY125"/>
                          </a:cxn>
                        </a:cxnLst>
                        <a:rect l="l" t="t" r="r" b="b"/>
                        <a:pathLst>
                          <a:path w="492678" h="308884">
                            <a:moveTo>
                              <a:pt x="311079" y="0"/>
                            </a:moveTo>
                            <a:lnTo>
                              <a:pt x="282001" y="6035"/>
                            </a:lnTo>
                            <a:lnTo>
                              <a:pt x="278161" y="10424"/>
                            </a:lnTo>
                            <a:lnTo>
                              <a:pt x="274869" y="18105"/>
                            </a:lnTo>
                            <a:lnTo>
                              <a:pt x="274869" y="28529"/>
                            </a:lnTo>
                            <a:lnTo>
                              <a:pt x="270480" y="30175"/>
                            </a:lnTo>
                            <a:lnTo>
                              <a:pt x="265542" y="36759"/>
                            </a:lnTo>
                            <a:lnTo>
                              <a:pt x="263347" y="38405"/>
                            </a:lnTo>
                            <a:lnTo>
                              <a:pt x="260056" y="39502"/>
                            </a:lnTo>
                            <a:lnTo>
                              <a:pt x="249083" y="49926"/>
                            </a:lnTo>
                            <a:lnTo>
                              <a:pt x="246340" y="57058"/>
                            </a:lnTo>
                            <a:lnTo>
                              <a:pt x="244145" y="59802"/>
                            </a:lnTo>
                            <a:lnTo>
                              <a:pt x="231526" y="64739"/>
                            </a:lnTo>
                            <a:lnTo>
                              <a:pt x="228234" y="69677"/>
                            </a:lnTo>
                            <a:lnTo>
                              <a:pt x="221102" y="73518"/>
                            </a:lnTo>
                            <a:lnTo>
                              <a:pt x="217261" y="72420"/>
                            </a:lnTo>
                            <a:lnTo>
                              <a:pt x="201351" y="75163"/>
                            </a:lnTo>
                            <a:lnTo>
                              <a:pt x="199156" y="76261"/>
                            </a:lnTo>
                            <a:lnTo>
                              <a:pt x="177760" y="77358"/>
                            </a:lnTo>
                            <a:lnTo>
                              <a:pt x="170078" y="80650"/>
                            </a:lnTo>
                            <a:lnTo>
                              <a:pt x="168981" y="82845"/>
                            </a:lnTo>
                            <a:lnTo>
                              <a:pt x="168981" y="85039"/>
                            </a:lnTo>
                            <a:lnTo>
                              <a:pt x="172822" y="88331"/>
                            </a:lnTo>
                            <a:lnTo>
                              <a:pt x="175016" y="93269"/>
                            </a:lnTo>
                            <a:lnTo>
                              <a:pt x="172822" y="96012"/>
                            </a:lnTo>
                            <a:lnTo>
                              <a:pt x="170078" y="98206"/>
                            </a:lnTo>
                            <a:lnTo>
                              <a:pt x="167884" y="103693"/>
                            </a:lnTo>
                            <a:lnTo>
                              <a:pt x="164592" y="105887"/>
                            </a:lnTo>
                            <a:lnTo>
                              <a:pt x="161300" y="106436"/>
                            </a:lnTo>
                            <a:lnTo>
                              <a:pt x="159654" y="108631"/>
                            </a:lnTo>
                            <a:lnTo>
                              <a:pt x="158557" y="112471"/>
                            </a:lnTo>
                            <a:lnTo>
                              <a:pt x="158008" y="113568"/>
                            </a:lnTo>
                            <a:lnTo>
                              <a:pt x="141001" y="113568"/>
                            </a:lnTo>
                            <a:lnTo>
                              <a:pt x="135514" y="116311"/>
                            </a:lnTo>
                            <a:lnTo>
                              <a:pt x="125639" y="115763"/>
                            </a:lnTo>
                            <a:lnTo>
                              <a:pt x="108082" y="123444"/>
                            </a:lnTo>
                            <a:lnTo>
                              <a:pt x="105888" y="125638"/>
                            </a:lnTo>
                            <a:lnTo>
                              <a:pt x="95464" y="128382"/>
                            </a:lnTo>
                            <a:lnTo>
                              <a:pt x="94366" y="131125"/>
                            </a:lnTo>
                            <a:lnTo>
                              <a:pt x="91623" y="132222"/>
                            </a:lnTo>
                            <a:lnTo>
                              <a:pt x="86685" y="127284"/>
                            </a:lnTo>
                            <a:lnTo>
                              <a:pt x="84491" y="126187"/>
                            </a:lnTo>
                            <a:lnTo>
                              <a:pt x="82296" y="121798"/>
                            </a:lnTo>
                            <a:lnTo>
                              <a:pt x="80650" y="121249"/>
                            </a:lnTo>
                            <a:lnTo>
                              <a:pt x="77907" y="121249"/>
                            </a:lnTo>
                            <a:lnTo>
                              <a:pt x="76810" y="122347"/>
                            </a:lnTo>
                            <a:lnTo>
                              <a:pt x="74615" y="122895"/>
                            </a:lnTo>
                            <a:lnTo>
                              <a:pt x="72969" y="127833"/>
                            </a:lnTo>
                            <a:lnTo>
                              <a:pt x="63642" y="128930"/>
                            </a:lnTo>
                            <a:lnTo>
                              <a:pt x="57607" y="134965"/>
                            </a:lnTo>
                            <a:lnTo>
                              <a:pt x="53767" y="134965"/>
                            </a:lnTo>
                            <a:lnTo>
                              <a:pt x="49926" y="133868"/>
                            </a:lnTo>
                            <a:lnTo>
                              <a:pt x="36210" y="134965"/>
                            </a:lnTo>
                            <a:lnTo>
                              <a:pt x="33467" y="137160"/>
                            </a:lnTo>
                            <a:lnTo>
                              <a:pt x="1097" y="193670"/>
                            </a:lnTo>
                            <a:lnTo>
                              <a:pt x="0" y="201899"/>
                            </a:lnTo>
                            <a:lnTo>
                              <a:pt x="3292" y="212323"/>
                            </a:lnTo>
                            <a:lnTo>
                              <a:pt x="3292" y="234818"/>
                            </a:lnTo>
                            <a:lnTo>
                              <a:pt x="40051" y="295168"/>
                            </a:lnTo>
                            <a:lnTo>
                              <a:pt x="56510" y="308884"/>
                            </a:lnTo>
                            <a:lnTo>
                              <a:pt x="61448" y="308335"/>
                            </a:lnTo>
                            <a:lnTo>
                              <a:pt x="66934" y="299557"/>
                            </a:lnTo>
                            <a:lnTo>
                              <a:pt x="94915" y="278709"/>
                            </a:lnTo>
                            <a:lnTo>
                              <a:pt x="108082" y="276514"/>
                            </a:lnTo>
                            <a:lnTo>
                              <a:pt x="131125" y="287487"/>
                            </a:lnTo>
                            <a:lnTo>
                              <a:pt x="153071" y="280355"/>
                            </a:lnTo>
                            <a:lnTo>
                              <a:pt x="156911" y="276514"/>
                            </a:lnTo>
                            <a:lnTo>
                              <a:pt x="165689" y="274869"/>
                            </a:lnTo>
                            <a:lnTo>
                              <a:pt x="163495" y="269382"/>
                            </a:lnTo>
                            <a:lnTo>
                              <a:pt x="166787" y="246339"/>
                            </a:lnTo>
                            <a:lnTo>
                              <a:pt x="171724" y="243047"/>
                            </a:lnTo>
                            <a:lnTo>
                              <a:pt x="176113" y="232623"/>
                            </a:lnTo>
                            <a:lnTo>
                              <a:pt x="189829" y="221102"/>
                            </a:lnTo>
                            <a:lnTo>
                              <a:pt x="209581" y="222199"/>
                            </a:lnTo>
                            <a:lnTo>
                              <a:pt x="215067" y="228234"/>
                            </a:lnTo>
                            <a:lnTo>
                              <a:pt x="217261" y="234818"/>
                            </a:lnTo>
                            <a:lnTo>
                              <a:pt x="230977" y="247437"/>
                            </a:lnTo>
                            <a:lnTo>
                              <a:pt x="235915" y="248534"/>
                            </a:lnTo>
                            <a:lnTo>
                              <a:pt x="241402" y="243047"/>
                            </a:lnTo>
                            <a:lnTo>
                              <a:pt x="250729" y="249631"/>
                            </a:lnTo>
                            <a:lnTo>
                              <a:pt x="266090" y="253471"/>
                            </a:lnTo>
                            <a:lnTo>
                              <a:pt x="301204" y="253471"/>
                            </a:lnTo>
                            <a:lnTo>
                              <a:pt x="306141" y="251277"/>
                            </a:lnTo>
                            <a:lnTo>
                              <a:pt x="307238" y="240304"/>
                            </a:lnTo>
                            <a:lnTo>
                              <a:pt x="317114" y="233721"/>
                            </a:lnTo>
                            <a:lnTo>
                              <a:pt x="329733" y="235915"/>
                            </a:lnTo>
                            <a:lnTo>
                              <a:pt x="335768" y="240304"/>
                            </a:lnTo>
                            <a:lnTo>
                              <a:pt x="380756" y="224394"/>
                            </a:lnTo>
                            <a:lnTo>
                              <a:pt x="385145" y="224394"/>
                            </a:lnTo>
                            <a:lnTo>
                              <a:pt x="386243" y="228234"/>
                            </a:lnTo>
                            <a:lnTo>
                              <a:pt x="385145" y="228234"/>
                            </a:lnTo>
                            <a:lnTo>
                              <a:pt x="390083" y="230429"/>
                            </a:lnTo>
                            <a:lnTo>
                              <a:pt x="395569" y="228234"/>
                            </a:lnTo>
                            <a:lnTo>
                              <a:pt x="403799" y="228234"/>
                            </a:lnTo>
                            <a:lnTo>
                              <a:pt x="405994" y="220005"/>
                            </a:lnTo>
                            <a:lnTo>
                              <a:pt x="419710" y="223296"/>
                            </a:lnTo>
                            <a:lnTo>
                              <a:pt x="446044" y="218359"/>
                            </a:lnTo>
                            <a:lnTo>
                              <a:pt x="455371" y="228234"/>
                            </a:lnTo>
                            <a:lnTo>
                              <a:pt x="459212" y="223296"/>
                            </a:lnTo>
                            <a:lnTo>
                              <a:pt x="467990" y="228234"/>
                            </a:lnTo>
                            <a:lnTo>
                              <a:pt x="472928" y="221102"/>
                            </a:lnTo>
                            <a:lnTo>
                              <a:pt x="492679" y="221102"/>
                            </a:lnTo>
                            <a:lnTo>
                              <a:pt x="488838" y="216164"/>
                            </a:lnTo>
                            <a:lnTo>
                              <a:pt x="487192" y="209032"/>
                            </a:lnTo>
                            <a:lnTo>
                              <a:pt x="483901" y="201899"/>
                            </a:lnTo>
                            <a:lnTo>
                              <a:pt x="463601" y="188732"/>
                            </a:lnTo>
                            <a:lnTo>
                              <a:pt x="456469" y="187086"/>
                            </a:lnTo>
                            <a:lnTo>
                              <a:pt x="455371" y="179405"/>
                            </a:lnTo>
                            <a:lnTo>
                              <a:pt x="450434" y="173370"/>
                            </a:lnTo>
                            <a:lnTo>
                              <a:pt x="444947" y="158557"/>
                            </a:lnTo>
                            <a:lnTo>
                              <a:pt x="437266" y="154716"/>
                            </a:lnTo>
                            <a:lnTo>
                              <a:pt x="432328" y="147584"/>
                            </a:lnTo>
                            <a:lnTo>
                              <a:pt x="407091" y="131125"/>
                            </a:lnTo>
                            <a:lnTo>
                              <a:pt x="402702" y="123444"/>
                            </a:lnTo>
                            <a:lnTo>
                              <a:pt x="403799" y="116311"/>
                            </a:lnTo>
                            <a:lnTo>
                              <a:pt x="402702" y="113568"/>
                            </a:lnTo>
                            <a:lnTo>
                              <a:pt x="390083" y="104790"/>
                            </a:lnTo>
                            <a:lnTo>
                              <a:pt x="375270" y="104242"/>
                            </a:lnTo>
                            <a:lnTo>
                              <a:pt x="367589" y="100401"/>
                            </a:lnTo>
                            <a:lnTo>
                              <a:pt x="363748" y="90526"/>
                            </a:lnTo>
                            <a:lnTo>
                              <a:pt x="347289" y="87782"/>
                            </a:lnTo>
                            <a:lnTo>
                              <a:pt x="340157" y="81199"/>
                            </a:lnTo>
                            <a:lnTo>
                              <a:pt x="339060" y="71323"/>
                            </a:lnTo>
                            <a:lnTo>
                              <a:pt x="343997" y="48280"/>
                            </a:lnTo>
                            <a:lnTo>
                              <a:pt x="340705" y="37856"/>
                            </a:lnTo>
                            <a:lnTo>
                              <a:pt x="311079" y="0"/>
                            </a:lnTo>
                          </a:path>
                        </a:pathLst>
                      </a:custGeom>
                      <a:grpFill/>
                      <a:ln w="1270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84" name="Graphic 7">
                        <a:extLst>
                          <a:ext uri="{FF2B5EF4-FFF2-40B4-BE49-F238E27FC236}">
                            <a16:creationId xmlns:a16="http://schemas.microsoft.com/office/drawing/2014/main" id="{E5729AF4-8ADA-4294-701A-1435D7AC7BD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5451682" y="4419064"/>
                        <a:ext cx="3429" cy="6429"/>
                      </a:xfrm>
                      <a:custGeom>
                        <a:avLst/>
                        <a:gdLst>
                          <a:gd name="connsiteX0" fmla="*/ 2743 w 4389"/>
                          <a:gd name="connsiteY0" fmla="*/ 0 h 8229"/>
                          <a:gd name="connsiteX1" fmla="*/ 4389 w 4389"/>
                          <a:gd name="connsiteY1" fmla="*/ 0 h 8229"/>
                          <a:gd name="connsiteX2" fmla="*/ 4389 w 4389"/>
                          <a:gd name="connsiteY2" fmla="*/ 3292 h 8229"/>
                          <a:gd name="connsiteX3" fmla="*/ 2195 w 4389"/>
                          <a:gd name="connsiteY3" fmla="*/ 7681 h 8229"/>
                          <a:gd name="connsiteX4" fmla="*/ 549 w 4389"/>
                          <a:gd name="connsiteY4" fmla="*/ 8230 h 8229"/>
                          <a:gd name="connsiteX5" fmla="*/ 0 w 4389"/>
                          <a:gd name="connsiteY5" fmla="*/ 1646 h 8229"/>
                          <a:gd name="connsiteX6" fmla="*/ 0 w 4389"/>
                          <a:gd name="connsiteY6" fmla="*/ 549 h 8229"/>
                          <a:gd name="connsiteX7" fmla="*/ 2743 w 4389"/>
                          <a:gd name="connsiteY7" fmla="*/ 0 h 8229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</a:cxnLst>
                        <a:rect l="l" t="t" r="r" b="b"/>
                        <a:pathLst>
                          <a:path w="4389" h="8229">
                            <a:moveTo>
                              <a:pt x="2743" y="0"/>
                            </a:moveTo>
                            <a:lnTo>
                              <a:pt x="4389" y="0"/>
                            </a:lnTo>
                            <a:lnTo>
                              <a:pt x="4389" y="3292"/>
                            </a:lnTo>
                            <a:lnTo>
                              <a:pt x="2195" y="7681"/>
                            </a:lnTo>
                            <a:lnTo>
                              <a:pt x="549" y="8230"/>
                            </a:lnTo>
                            <a:lnTo>
                              <a:pt x="0" y="1646"/>
                            </a:lnTo>
                            <a:lnTo>
                              <a:pt x="0" y="549"/>
                            </a:lnTo>
                            <a:lnTo>
                              <a:pt x="2743" y="0"/>
                            </a:lnTo>
                          </a:path>
                        </a:pathLst>
                      </a:custGeom>
                      <a:grpFill/>
                      <a:ln w="1270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85" name="Graphic 7">
                        <a:extLst>
                          <a:ext uri="{FF2B5EF4-FFF2-40B4-BE49-F238E27FC236}">
                            <a16:creationId xmlns:a16="http://schemas.microsoft.com/office/drawing/2014/main" id="{635150DA-239D-120F-FBCE-DE6176BE579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5427679" y="4456784"/>
                        <a:ext cx="9001" cy="10287"/>
                      </a:xfrm>
                      <a:custGeom>
                        <a:avLst/>
                        <a:gdLst>
                          <a:gd name="connsiteX0" fmla="*/ 6584 w 11521"/>
                          <a:gd name="connsiteY0" fmla="*/ 0 h 13167"/>
                          <a:gd name="connsiteX1" fmla="*/ 9327 w 11521"/>
                          <a:gd name="connsiteY1" fmla="*/ 549 h 13167"/>
                          <a:gd name="connsiteX2" fmla="*/ 10424 w 11521"/>
                          <a:gd name="connsiteY2" fmla="*/ 1646 h 13167"/>
                          <a:gd name="connsiteX3" fmla="*/ 11521 w 11521"/>
                          <a:gd name="connsiteY3" fmla="*/ 6583 h 13167"/>
                          <a:gd name="connsiteX4" fmla="*/ 6035 w 11521"/>
                          <a:gd name="connsiteY4" fmla="*/ 12619 h 13167"/>
                          <a:gd name="connsiteX5" fmla="*/ 4389 w 11521"/>
                          <a:gd name="connsiteY5" fmla="*/ 13167 h 13167"/>
                          <a:gd name="connsiteX6" fmla="*/ 549 w 11521"/>
                          <a:gd name="connsiteY6" fmla="*/ 10424 h 13167"/>
                          <a:gd name="connsiteX7" fmla="*/ 0 w 11521"/>
                          <a:gd name="connsiteY7" fmla="*/ 6035 h 13167"/>
                          <a:gd name="connsiteX8" fmla="*/ 549 w 11521"/>
                          <a:gd name="connsiteY8" fmla="*/ 3292 h 13167"/>
                          <a:gd name="connsiteX9" fmla="*/ 2743 w 11521"/>
                          <a:gd name="connsiteY9" fmla="*/ 1097 h 13167"/>
                          <a:gd name="connsiteX10" fmla="*/ 6584 w 11521"/>
                          <a:gd name="connsiteY10" fmla="*/ 0 h 1316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</a:cxnLst>
                        <a:rect l="l" t="t" r="r" b="b"/>
                        <a:pathLst>
                          <a:path w="11521" h="13167">
                            <a:moveTo>
                              <a:pt x="6584" y="0"/>
                            </a:moveTo>
                            <a:lnTo>
                              <a:pt x="9327" y="549"/>
                            </a:lnTo>
                            <a:lnTo>
                              <a:pt x="10424" y="1646"/>
                            </a:lnTo>
                            <a:lnTo>
                              <a:pt x="11521" y="6583"/>
                            </a:lnTo>
                            <a:lnTo>
                              <a:pt x="6035" y="12619"/>
                            </a:lnTo>
                            <a:lnTo>
                              <a:pt x="4389" y="13167"/>
                            </a:lnTo>
                            <a:lnTo>
                              <a:pt x="549" y="10424"/>
                            </a:lnTo>
                            <a:lnTo>
                              <a:pt x="0" y="6035"/>
                            </a:lnTo>
                            <a:lnTo>
                              <a:pt x="549" y="3292"/>
                            </a:lnTo>
                            <a:lnTo>
                              <a:pt x="2743" y="1097"/>
                            </a:lnTo>
                            <a:lnTo>
                              <a:pt x="6584" y="0"/>
                            </a:lnTo>
                          </a:path>
                        </a:pathLst>
                      </a:custGeom>
                      <a:grpFill/>
                      <a:ln w="1270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86" name="Graphic 7">
                        <a:extLst>
                          <a:ext uri="{FF2B5EF4-FFF2-40B4-BE49-F238E27FC236}">
                            <a16:creationId xmlns:a16="http://schemas.microsoft.com/office/drawing/2014/main" id="{368F4945-650F-FDCF-EF3B-59609115368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5495403" y="4405347"/>
                        <a:ext cx="162884" cy="180886"/>
                      </a:xfrm>
                      <a:custGeom>
                        <a:avLst/>
                        <a:gdLst>
                          <a:gd name="connsiteX0" fmla="*/ 87234 w 208483"/>
                          <a:gd name="connsiteY0" fmla="*/ 231526 h 231525"/>
                          <a:gd name="connsiteX1" fmla="*/ 82845 w 208483"/>
                          <a:gd name="connsiteY1" fmla="*/ 222199 h 231525"/>
                          <a:gd name="connsiteX2" fmla="*/ 18654 w 208483"/>
                          <a:gd name="connsiteY2" fmla="*/ 155265 h 231525"/>
                          <a:gd name="connsiteX3" fmla="*/ 0 w 208483"/>
                          <a:gd name="connsiteY3" fmla="*/ 111922 h 231525"/>
                          <a:gd name="connsiteX4" fmla="*/ 8230 w 208483"/>
                          <a:gd name="connsiteY4" fmla="*/ 109179 h 231525"/>
                          <a:gd name="connsiteX5" fmla="*/ 12070 w 208483"/>
                          <a:gd name="connsiteY5" fmla="*/ 103693 h 231525"/>
                          <a:gd name="connsiteX6" fmla="*/ 17008 w 208483"/>
                          <a:gd name="connsiteY6" fmla="*/ 99304 h 231525"/>
                          <a:gd name="connsiteX7" fmla="*/ 19202 w 208483"/>
                          <a:gd name="connsiteY7" fmla="*/ 74066 h 231525"/>
                          <a:gd name="connsiteX8" fmla="*/ 21946 w 208483"/>
                          <a:gd name="connsiteY8" fmla="*/ 74615 h 231525"/>
                          <a:gd name="connsiteX9" fmla="*/ 25786 w 208483"/>
                          <a:gd name="connsiteY9" fmla="*/ 77907 h 231525"/>
                          <a:gd name="connsiteX10" fmla="*/ 31272 w 208483"/>
                          <a:gd name="connsiteY10" fmla="*/ 80101 h 231525"/>
                          <a:gd name="connsiteX11" fmla="*/ 39502 w 208483"/>
                          <a:gd name="connsiteY11" fmla="*/ 80101 h 231525"/>
                          <a:gd name="connsiteX12" fmla="*/ 41148 w 208483"/>
                          <a:gd name="connsiteY12" fmla="*/ 78455 h 231525"/>
                          <a:gd name="connsiteX13" fmla="*/ 38953 w 208483"/>
                          <a:gd name="connsiteY13" fmla="*/ 76810 h 231525"/>
                          <a:gd name="connsiteX14" fmla="*/ 32918 w 208483"/>
                          <a:gd name="connsiteY14" fmla="*/ 75712 h 231525"/>
                          <a:gd name="connsiteX15" fmla="*/ 23592 w 208483"/>
                          <a:gd name="connsiteY15" fmla="*/ 68580 h 231525"/>
                          <a:gd name="connsiteX16" fmla="*/ 21397 w 208483"/>
                          <a:gd name="connsiteY16" fmla="*/ 64191 h 231525"/>
                          <a:gd name="connsiteX17" fmla="*/ 22494 w 208483"/>
                          <a:gd name="connsiteY17" fmla="*/ 60899 h 231525"/>
                          <a:gd name="connsiteX18" fmla="*/ 27432 w 208483"/>
                          <a:gd name="connsiteY18" fmla="*/ 60350 h 231525"/>
                          <a:gd name="connsiteX19" fmla="*/ 29627 w 208483"/>
                          <a:gd name="connsiteY19" fmla="*/ 57607 h 231525"/>
                          <a:gd name="connsiteX20" fmla="*/ 29078 w 208483"/>
                          <a:gd name="connsiteY20" fmla="*/ 46634 h 231525"/>
                          <a:gd name="connsiteX21" fmla="*/ 93817 w 208483"/>
                          <a:gd name="connsiteY21" fmla="*/ 41697 h 231525"/>
                          <a:gd name="connsiteX22" fmla="*/ 92720 w 208483"/>
                          <a:gd name="connsiteY22" fmla="*/ 40051 h 231525"/>
                          <a:gd name="connsiteX23" fmla="*/ 89977 w 208483"/>
                          <a:gd name="connsiteY23" fmla="*/ 9875 h 231525"/>
                          <a:gd name="connsiteX24" fmla="*/ 93817 w 208483"/>
                          <a:gd name="connsiteY24" fmla="*/ 0 h 231525"/>
                          <a:gd name="connsiteX25" fmla="*/ 162397 w 208483"/>
                          <a:gd name="connsiteY25" fmla="*/ 0 h 231525"/>
                          <a:gd name="connsiteX26" fmla="*/ 168432 w 208483"/>
                          <a:gd name="connsiteY26" fmla="*/ 1646 h 231525"/>
                          <a:gd name="connsiteX27" fmla="*/ 164043 w 208483"/>
                          <a:gd name="connsiteY27" fmla="*/ 11521 h 231525"/>
                          <a:gd name="connsiteX28" fmla="*/ 164043 w 208483"/>
                          <a:gd name="connsiteY28" fmla="*/ 37307 h 231525"/>
                          <a:gd name="connsiteX29" fmla="*/ 170078 w 208483"/>
                          <a:gd name="connsiteY29" fmla="*/ 40599 h 231525"/>
                          <a:gd name="connsiteX30" fmla="*/ 180503 w 208483"/>
                          <a:gd name="connsiteY30" fmla="*/ 24689 h 231525"/>
                          <a:gd name="connsiteX31" fmla="*/ 200802 w 208483"/>
                          <a:gd name="connsiteY31" fmla="*/ 29626 h 231525"/>
                          <a:gd name="connsiteX32" fmla="*/ 207935 w 208483"/>
                          <a:gd name="connsiteY32" fmla="*/ 37856 h 231525"/>
                          <a:gd name="connsiteX33" fmla="*/ 208483 w 208483"/>
                          <a:gd name="connsiteY33" fmla="*/ 52669 h 231525"/>
                          <a:gd name="connsiteX34" fmla="*/ 196413 w 208483"/>
                          <a:gd name="connsiteY34" fmla="*/ 72969 h 231525"/>
                          <a:gd name="connsiteX35" fmla="*/ 195316 w 208483"/>
                          <a:gd name="connsiteY35" fmla="*/ 83942 h 231525"/>
                          <a:gd name="connsiteX36" fmla="*/ 205740 w 208483"/>
                          <a:gd name="connsiteY36" fmla="*/ 113020 h 231525"/>
                          <a:gd name="connsiteX37" fmla="*/ 197510 w 208483"/>
                          <a:gd name="connsiteY37" fmla="*/ 169530 h 231525"/>
                          <a:gd name="connsiteX38" fmla="*/ 187086 w 208483"/>
                          <a:gd name="connsiteY38" fmla="*/ 173919 h 231525"/>
                          <a:gd name="connsiteX39" fmla="*/ 173919 w 208483"/>
                          <a:gd name="connsiteY39" fmla="*/ 162946 h 231525"/>
                          <a:gd name="connsiteX40" fmla="*/ 156911 w 208483"/>
                          <a:gd name="connsiteY40" fmla="*/ 164043 h 231525"/>
                          <a:gd name="connsiteX41" fmla="*/ 150876 w 208483"/>
                          <a:gd name="connsiteY41" fmla="*/ 156362 h 231525"/>
                          <a:gd name="connsiteX42" fmla="*/ 145390 w 208483"/>
                          <a:gd name="connsiteY42" fmla="*/ 153619 h 231525"/>
                          <a:gd name="connsiteX43" fmla="*/ 132222 w 208483"/>
                          <a:gd name="connsiteY43" fmla="*/ 166238 h 231525"/>
                          <a:gd name="connsiteX44" fmla="*/ 109179 w 208483"/>
                          <a:gd name="connsiteY44" fmla="*/ 178308 h 231525"/>
                          <a:gd name="connsiteX45" fmla="*/ 105888 w 208483"/>
                          <a:gd name="connsiteY45" fmla="*/ 184343 h 231525"/>
                          <a:gd name="connsiteX46" fmla="*/ 105339 w 208483"/>
                          <a:gd name="connsiteY46" fmla="*/ 192573 h 231525"/>
                          <a:gd name="connsiteX47" fmla="*/ 110277 w 208483"/>
                          <a:gd name="connsiteY47" fmla="*/ 211226 h 231525"/>
                          <a:gd name="connsiteX48" fmla="*/ 108082 w 208483"/>
                          <a:gd name="connsiteY48" fmla="*/ 215067 h 231525"/>
                          <a:gd name="connsiteX49" fmla="*/ 100401 w 208483"/>
                          <a:gd name="connsiteY49" fmla="*/ 214518 h 231525"/>
                          <a:gd name="connsiteX50" fmla="*/ 92720 w 208483"/>
                          <a:gd name="connsiteY50" fmla="*/ 216164 h 231525"/>
                          <a:gd name="connsiteX51" fmla="*/ 88331 w 208483"/>
                          <a:gd name="connsiteY51" fmla="*/ 221650 h 231525"/>
                          <a:gd name="connsiteX52" fmla="*/ 87234 w 208483"/>
                          <a:gd name="connsiteY52" fmla="*/ 231526 h 231525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  <a:cxn ang="0">
                            <a:pos x="connsiteX43" y="connsiteY43"/>
                          </a:cxn>
                          <a:cxn ang="0">
                            <a:pos x="connsiteX44" y="connsiteY44"/>
                          </a:cxn>
                          <a:cxn ang="0">
                            <a:pos x="connsiteX45" y="connsiteY45"/>
                          </a:cxn>
                          <a:cxn ang="0">
                            <a:pos x="connsiteX46" y="connsiteY46"/>
                          </a:cxn>
                          <a:cxn ang="0">
                            <a:pos x="connsiteX47" y="connsiteY47"/>
                          </a:cxn>
                          <a:cxn ang="0">
                            <a:pos x="connsiteX48" y="connsiteY48"/>
                          </a:cxn>
                          <a:cxn ang="0">
                            <a:pos x="connsiteX49" y="connsiteY49"/>
                          </a:cxn>
                          <a:cxn ang="0">
                            <a:pos x="connsiteX50" y="connsiteY50"/>
                          </a:cxn>
                          <a:cxn ang="0">
                            <a:pos x="connsiteX51" y="connsiteY51"/>
                          </a:cxn>
                          <a:cxn ang="0">
                            <a:pos x="connsiteX52" y="connsiteY52"/>
                          </a:cxn>
                        </a:cxnLst>
                        <a:rect l="l" t="t" r="r" b="b"/>
                        <a:pathLst>
                          <a:path w="208483" h="231525">
                            <a:moveTo>
                              <a:pt x="87234" y="231526"/>
                            </a:moveTo>
                            <a:lnTo>
                              <a:pt x="82845" y="222199"/>
                            </a:lnTo>
                            <a:lnTo>
                              <a:pt x="18654" y="155265"/>
                            </a:lnTo>
                            <a:lnTo>
                              <a:pt x="0" y="111922"/>
                            </a:lnTo>
                            <a:lnTo>
                              <a:pt x="8230" y="109179"/>
                            </a:lnTo>
                            <a:lnTo>
                              <a:pt x="12070" y="103693"/>
                            </a:lnTo>
                            <a:lnTo>
                              <a:pt x="17008" y="99304"/>
                            </a:lnTo>
                            <a:lnTo>
                              <a:pt x="19202" y="74066"/>
                            </a:lnTo>
                            <a:lnTo>
                              <a:pt x="21946" y="74615"/>
                            </a:lnTo>
                            <a:lnTo>
                              <a:pt x="25786" y="77907"/>
                            </a:lnTo>
                            <a:lnTo>
                              <a:pt x="31272" y="80101"/>
                            </a:lnTo>
                            <a:lnTo>
                              <a:pt x="39502" y="80101"/>
                            </a:lnTo>
                            <a:lnTo>
                              <a:pt x="41148" y="78455"/>
                            </a:lnTo>
                            <a:lnTo>
                              <a:pt x="38953" y="76810"/>
                            </a:lnTo>
                            <a:lnTo>
                              <a:pt x="32918" y="75712"/>
                            </a:lnTo>
                            <a:lnTo>
                              <a:pt x="23592" y="68580"/>
                            </a:lnTo>
                            <a:lnTo>
                              <a:pt x="21397" y="64191"/>
                            </a:lnTo>
                            <a:lnTo>
                              <a:pt x="22494" y="60899"/>
                            </a:lnTo>
                            <a:lnTo>
                              <a:pt x="27432" y="60350"/>
                            </a:lnTo>
                            <a:lnTo>
                              <a:pt x="29627" y="57607"/>
                            </a:lnTo>
                            <a:lnTo>
                              <a:pt x="29078" y="46634"/>
                            </a:lnTo>
                            <a:lnTo>
                              <a:pt x="93817" y="41697"/>
                            </a:lnTo>
                            <a:lnTo>
                              <a:pt x="92720" y="40051"/>
                            </a:lnTo>
                            <a:lnTo>
                              <a:pt x="89977" y="9875"/>
                            </a:lnTo>
                            <a:lnTo>
                              <a:pt x="93817" y="0"/>
                            </a:lnTo>
                            <a:lnTo>
                              <a:pt x="162397" y="0"/>
                            </a:lnTo>
                            <a:lnTo>
                              <a:pt x="168432" y="1646"/>
                            </a:lnTo>
                            <a:lnTo>
                              <a:pt x="164043" y="11521"/>
                            </a:lnTo>
                            <a:lnTo>
                              <a:pt x="164043" y="37307"/>
                            </a:lnTo>
                            <a:lnTo>
                              <a:pt x="170078" y="40599"/>
                            </a:lnTo>
                            <a:lnTo>
                              <a:pt x="180503" y="24689"/>
                            </a:lnTo>
                            <a:lnTo>
                              <a:pt x="200802" y="29626"/>
                            </a:lnTo>
                            <a:lnTo>
                              <a:pt x="207935" y="37856"/>
                            </a:lnTo>
                            <a:lnTo>
                              <a:pt x="208483" y="52669"/>
                            </a:lnTo>
                            <a:lnTo>
                              <a:pt x="196413" y="72969"/>
                            </a:lnTo>
                            <a:lnTo>
                              <a:pt x="195316" y="83942"/>
                            </a:lnTo>
                            <a:lnTo>
                              <a:pt x="205740" y="113020"/>
                            </a:lnTo>
                            <a:lnTo>
                              <a:pt x="197510" y="169530"/>
                            </a:lnTo>
                            <a:lnTo>
                              <a:pt x="187086" y="173919"/>
                            </a:lnTo>
                            <a:lnTo>
                              <a:pt x="173919" y="162946"/>
                            </a:lnTo>
                            <a:lnTo>
                              <a:pt x="156911" y="164043"/>
                            </a:lnTo>
                            <a:lnTo>
                              <a:pt x="150876" y="156362"/>
                            </a:lnTo>
                            <a:lnTo>
                              <a:pt x="145390" y="153619"/>
                            </a:lnTo>
                            <a:lnTo>
                              <a:pt x="132222" y="166238"/>
                            </a:lnTo>
                            <a:lnTo>
                              <a:pt x="109179" y="178308"/>
                            </a:lnTo>
                            <a:lnTo>
                              <a:pt x="105888" y="184343"/>
                            </a:lnTo>
                            <a:lnTo>
                              <a:pt x="105339" y="192573"/>
                            </a:lnTo>
                            <a:lnTo>
                              <a:pt x="110277" y="211226"/>
                            </a:lnTo>
                            <a:lnTo>
                              <a:pt x="108082" y="215067"/>
                            </a:lnTo>
                            <a:lnTo>
                              <a:pt x="100401" y="214518"/>
                            </a:lnTo>
                            <a:lnTo>
                              <a:pt x="92720" y="216164"/>
                            </a:lnTo>
                            <a:lnTo>
                              <a:pt x="88331" y="221650"/>
                            </a:lnTo>
                            <a:lnTo>
                              <a:pt x="87234" y="231526"/>
                            </a:lnTo>
                          </a:path>
                        </a:pathLst>
                      </a:custGeom>
                      <a:grpFill/>
                      <a:ln w="1270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endParaRPr>
                      </a:p>
                    </p:txBody>
                  </p:sp>
                  <p:grpSp>
                    <p:nvGrpSpPr>
                      <p:cNvPr id="187" name="Group 222">
                        <a:extLst>
                          <a:ext uri="{FF2B5EF4-FFF2-40B4-BE49-F238E27FC236}">
                            <a16:creationId xmlns:a16="http://schemas.microsoft.com/office/drawing/2014/main" id="{3E9E2FBA-DD5D-9C7F-1643-4D1865E0DBEC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4724277" y="3294735"/>
                        <a:ext cx="2165927" cy="1999616"/>
                        <a:chOff x="4724277" y="3294735"/>
                        <a:chExt cx="2165927" cy="1999616"/>
                      </a:xfrm>
                      <a:grpFill/>
                    </p:grpSpPr>
                    <p:sp>
                      <p:nvSpPr>
                        <p:cNvPr id="188" name="Graphic 7">
                          <a:extLst>
                            <a:ext uri="{FF2B5EF4-FFF2-40B4-BE49-F238E27FC236}">
                              <a16:creationId xmlns:a16="http://schemas.microsoft.com/office/drawing/2014/main" id="{359D87CE-0A68-E1DA-46BF-5424893A4717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07000" y="4802270"/>
                          <a:ext cx="7286" cy="18002"/>
                        </a:xfrm>
                        <a:custGeom>
                          <a:avLst/>
                          <a:gdLst>
                            <a:gd name="connsiteX0" fmla="*/ 4389 w 9326"/>
                            <a:gd name="connsiteY0" fmla="*/ 549 h 23042"/>
                            <a:gd name="connsiteX1" fmla="*/ 6584 w 9326"/>
                            <a:gd name="connsiteY1" fmla="*/ 2743 h 23042"/>
                            <a:gd name="connsiteX2" fmla="*/ 6035 w 9326"/>
                            <a:gd name="connsiteY2" fmla="*/ 10973 h 23042"/>
                            <a:gd name="connsiteX3" fmla="*/ 9327 w 9326"/>
                            <a:gd name="connsiteY3" fmla="*/ 18654 h 23042"/>
                            <a:gd name="connsiteX4" fmla="*/ 9327 w 9326"/>
                            <a:gd name="connsiteY4" fmla="*/ 21397 h 23042"/>
                            <a:gd name="connsiteX5" fmla="*/ 7681 w 9326"/>
                            <a:gd name="connsiteY5" fmla="*/ 23043 h 23042"/>
                            <a:gd name="connsiteX6" fmla="*/ 5486 w 9326"/>
                            <a:gd name="connsiteY6" fmla="*/ 21946 h 23042"/>
                            <a:gd name="connsiteX7" fmla="*/ 3841 w 9326"/>
                            <a:gd name="connsiteY7" fmla="*/ 18654 h 23042"/>
                            <a:gd name="connsiteX8" fmla="*/ 1646 w 9326"/>
                            <a:gd name="connsiteY8" fmla="*/ 17557 h 23042"/>
                            <a:gd name="connsiteX9" fmla="*/ 0 w 9326"/>
                            <a:gd name="connsiteY9" fmla="*/ 14265 h 23042"/>
                            <a:gd name="connsiteX10" fmla="*/ 1097 w 9326"/>
                            <a:gd name="connsiteY10" fmla="*/ 11521 h 23042"/>
                            <a:gd name="connsiteX11" fmla="*/ 549 w 9326"/>
                            <a:gd name="connsiteY11" fmla="*/ 3292 h 23042"/>
                            <a:gd name="connsiteX12" fmla="*/ 1097 w 9326"/>
                            <a:gd name="connsiteY12" fmla="*/ 2195 h 23042"/>
                            <a:gd name="connsiteX13" fmla="*/ 4938 w 9326"/>
                            <a:gd name="connsiteY13" fmla="*/ 0 h 23042"/>
                            <a:gd name="connsiteX14" fmla="*/ 4389 w 9326"/>
                            <a:gd name="connsiteY14" fmla="*/ 549 h 23042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  <a:cxn ang="0">
                              <a:pos x="connsiteX11" y="connsiteY11"/>
                            </a:cxn>
                            <a:cxn ang="0">
                              <a:pos x="connsiteX12" y="connsiteY12"/>
                            </a:cxn>
                            <a:cxn ang="0">
                              <a:pos x="connsiteX13" y="connsiteY13"/>
                            </a:cxn>
                            <a:cxn ang="0">
                              <a:pos x="connsiteX14" y="connsiteY14"/>
                            </a:cxn>
                          </a:cxnLst>
                          <a:rect l="l" t="t" r="r" b="b"/>
                          <a:pathLst>
                            <a:path w="9326" h="23042">
                              <a:moveTo>
                                <a:pt x="4389" y="549"/>
                              </a:moveTo>
                              <a:lnTo>
                                <a:pt x="6584" y="2743"/>
                              </a:lnTo>
                              <a:lnTo>
                                <a:pt x="6035" y="10973"/>
                              </a:lnTo>
                              <a:lnTo>
                                <a:pt x="9327" y="18654"/>
                              </a:lnTo>
                              <a:lnTo>
                                <a:pt x="9327" y="21397"/>
                              </a:lnTo>
                              <a:lnTo>
                                <a:pt x="7681" y="23043"/>
                              </a:lnTo>
                              <a:lnTo>
                                <a:pt x="5486" y="21946"/>
                              </a:lnTo>
                              <a:lnTo>
                                <a:pt x="3841" y="18654"/>
                              </a:lnTo>
                              <a:lnTo>
                                <a:pt x="1646" y="17557"/>
                              </a:lnTo>
                              <a:lnTo>
                                <a:pt x="0" y="14265"/>
                              </a:lnTo>
                              <a:lnTo>
                                <a:pt x="1097" y="11521"/>
                              </a:lnTo>
                              <a:lnTo>
                                <a:pt x="549" y="3292"/>
                              </a:lnTo>
                              <a:lnTo>
                                <a:pt x="1097" y="2195"/>
                              </a:lnTo>
                              <a:lnTo>
                                <a:pt x="4938" y="0"/>
                              </a:lnTo>
                              <a:lnTo>
                                <a:pt x="4389" y="549"/>
                              </a:lnTo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189" name="Graphic 7">
                          <a:extLst>
                            <a:ext uri="{FF2B5EF4-FFF2-40B4-BE49-F238E27FC236}">
                              <a16:creationId xmlns:a16="http://schemas.microsoft.com/office/drawing/2014/main" id="{6CE9B47D-6EA7-40D0-BA1E-75CADE078D35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19002" y="4830560"/>
                          <a:ext cx="7286" cy="3857"/>
                        </a:xfrm>
                        <a:custGeom>
                          <a:avLst/>
                          <a:gdLst>
                            <a:gd name="connsiteX0" fmla="*/ 9327 w 9326"/>
                            <a:gd name="connsiteY0" fmla="*/ 4938 h 4937"/>
                            <a:gd name="connsiteX1" fmla="*/ 7132 w 9326"/>
                            <a:gd name="connsiteY1" fmla="*/ 4938 h 4937"/>
                            <a:gd name="connsiteX2" fmla="*/ 4938 w 9326"/>
                            <a:gd name="connsiteY2" fmla="*/ 3841 h 4937"/>
                            <a:gd name="connsiteX3" fmla="*/ 2743 w 9326"/>
                            <a:gd name="connsiteY3" fmla="*/ 4389 h 4937"/>
                            <a:gd name="connsiteX4" fmla="*/ 0 w 9326"/>
                            <a:gd name="connsiteY4" fmla="*/ 2743 h 4937"/>
                            <a:gd name="connsiteX5" fmla="*/ 0 w 9326"/>
                            <a:gd name="connsiteY5" fmla="*/ 1097 h 4937"/>
                            <a:gd name="connsiteX6" fmla="*/ 1097 w 9326"/>
                            <a:gd name="connsiteY6" fmla="*/ 0 h 4937"/>
                            <a:gd name="connsiteX7" fmla="*/ 7681 w 9326"/>
                            <a:gd name="connsiteY7" fmla="*/ 3292 h 4937"/>
                            <a:gd name="connsiteX8" fmla="*/ 9327 w 9326"/>
                            <a:gd name="connsiteY8" fmla="*/ 4938 h 493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9326" h="4937">
                              <a:moveTo>
                                <a:pt x="9327" y="4938"/>
                              </a:moveTo>
                              <a:lnTo>
                                <a:pt x="7132" y="4938"/>
                              </a:lnTo>
                              <a:lnTo>
                                <a:pt x="4938" y="3841"/>
                              </a:lnTo>
                              <a:lnTo>
                                <a:pt x="2743" y="4389"/>
                              </a:lnTo>
                              <a:lnTo>
                                <a:pt x="0" y="2743"/>
                              </a:lnTo>
                              <a:lnTo>
                                <a:pt x="0" y="1097"/>
                              </a:lnTo>
                              <a:lnTo>
                                <a:pt x="1097" y="0"/>
                              </a:lnTo>
                              <a:lnTo>
                                <a:pt x="7681" y="3292"/>
                              </a:lnTo>
                              <a:lnTo>
                                <a:pt x="9327" y="4938"/>
                              </a:lnTo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190" name="Graphic 7">
                          <a:extLst>
                            <a:ext uri="{FF2B5EF4-FFF2-40B4-BE49-F238E27FC236}">
                              <a16:creationId xmlns:a16="http://schemas.microsoft.com/office/drawing/2014/main" id="{49030716-1A67-D9D7-36A5-70399835A5D3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37862" y="4826274"/>
                          <a:ext cx="7286" cy="8572"/>
                        </a:xfrm>
                        <a:custGeom>
                          <a:avLst/>
                          <a:gdLst>
                            <a:gd name="connsiteX0" fmla="*/ 8778 w 9326"/>
                            <a:gd name="connsiteY0" fmla="*/ 0 h 10972"/>
                            <a:gd name="connsiteX1" fmla="*/ 9327 w 9326"/>
                            <a:gd name="connsiteY1" fmla="*/ 1646 h 10972"/>
                            <a:gd name="connsiteX2" fmla="*/ 9327 w 9326"/>
                            <a:gd name="connsiteY2" fmla="*/ 8778 h 10972"/>
                            <a:gd name="connsiteX3" fmla="*/ 8230 w 9326"/>
                            <a:gd name="connsiteY3" fmla="*/ 10973 h 10972"/>
                            <a:gd name="connsiteX4" fmla="*/ 6584 w 9326"/>
                            <a:gd name="connsiteY4" fmla="*/ 9327 h 10972"/>
                            <a:gd name="connsiteX5" fmla="*/ 5486 w 9326"/>
                            <a:gd name="connsiteY5" fmla="*/ 6584 h 10972"/>
                            <a:gd name="connsiteX6" fmla="*/ 3292 w 9326"/>
                            <a:gd name="connsiteY6" fmla="*/ 4938 h 10972"/>
                            <a:gd name="connsiteX7" fmla="*/ 549 w 9326"/>
                            <a:gd name="connsiteY7" fmla="*/ 4938 h 10972"/>
                            <a:gd name="connsiteX8" fmla="*/ 0 w 9326"/>
                            <a:gd name="connsiteY8" fmla="*/ 3292 h 10972"/>
                            <a:gd name="connsiteX9" fmla="*/ 4389 w 9326"/>
                            <a:gd name="connsiteY9" fmla="*/ 3292 h 10972"/>
                            <a:gd name="connsiteX10" fmla="*/ 6584 w 9326"/>
                            <a:gd name="connsiteY10" fmla="*/ 549 h 10972"/>
                            <a:gd name="connsiteX11" fmla="*/ 8778 w 9326"/>
                            <a:gd name="connsiteY11" fmla="*/ 0 h 10972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  <a:cxn ang="0">
                              <a:pos x="connsiteX11" y="connsiteY11"/>
                            </a:cxn>
                          </a:cxnLst>
                          <a:rect l="l" t="t" r="r" b="b"/>
                          <a:pathLst>
                            <a:path w="9326" h="10972">
                              <a:moveTo>
                                <a:pt x="8778" y="0"/>
                              </a:moveTo>
                              <a:lnTo>
                                <a:pt x="9327" y="1646"/>
                              </a:lnTo>
                              <a:lnTo>
                                <a:pt x="9327" y="8778"/>
                              </a:lnTo>
                              <a:lnTo>
                                <a:pt x="8230" y="10973"/>
                              </a:lnTo>
                              <a:lnTo>
                                <a:pt x="6584" y="9327"/>
                              </a:lnTo>
                              <a:lnTo>
                                <a:pt x="5486" y="6584"/>
                              </a:lnTo>
                              <a:lnTo>
                                <a:pt x="3292" y="4938"/>
                              </a:lnTo>
                              <a:lnTo>
                                <a:pt x="549" y="4938"/>
                              </a:lnTo>
                              <a:lnTo>
                                <a:pt x="0" y="3292"/>
                              </a:lnTo>
                              <a:lnTo>
                                <a:pt x="4389" y="3292"/>
                              </a:lnTo>
                              <a:lnTo>
                                <a:pt x="6584" y="549"/>
                              </a:lnTo>
                              <a:lnTo>
                                <a:pt x="8778" y="0"/>
                              </a:lnTo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191" name="Graphic 7">
                          <a:extLst>
                            <a:ext uri="{FF2B5EF4-FFF2-40B4-BE49-F238E27FC236}">
                              <a16:creationId xmlns:a16="http://schemas.microsoft.com/office/drawing/2014/main" id="{3455ED18-72A3-2CF7-86E5-DAE4AC27296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61009" y="4844706"/>
                          <a:ext cx="5143" cy="8572"/>
                        </a:xfrm>
                        <a:custGeom>
                          <a:avLst/>
                          <a:gdLst>
                            <a:gd name="connsiteX0" fmla="*/ 6584 w 6583"/>
                            <a:gd name="connsiteY0" fmla="*/ 2743 h 10972"/>
                            <a:gd name="connsiteX1" fmla="*/ 6035 w 6583"/>
                            <a:gd name="connsiteY1" fmla="*/ 7132 h 10972"/>
                            <a:gd name="connsiteX2" fmla="*/ 6584 w 6583"/>
                            <a:gd name="connsiteY2" fmla="*/ 8778 h 10972"/>
                            <a:gd name="connsiteX3" fmla="*/ 6035 w 6583"/>
                            <a:gd name="connsiteY3" fmla="*/ 10424 h 10972"/>
                            <a:gd name="connsiteX4" fmla="*/ 4389 w 6583"/>
                            <a:gd name="connsiteY4" fmla="*/ 10973 h 10972"/>
                            <a:gd name="connsiteX5" fmla="*/ 1646 w 6583"/>
                            <a:gd name="connsiteY5" fmla="*/ 9875 h 10972"/>
                            <a:gd name="connsiteX6" fmla="*/ 2195 w 6583"/>
                            <a:gd name="connsiteY6" fmla="*/ 6035 h 10972"/>
                            <a:gd name="connsiteX7" fmla="*/ 1646 w 6583"/>
                            <a:gd name="connsiteY7" fmla="*/ 3840 h 10972"/>
                            <a:gd name="connsiteX8" fmla="*/ 0 w 6583"/>
                            <a:gd name="connsiteY8" fmla="*/ 2194 h 10972"/>
                            <a:gd name="connsiteX9" fmla="*/ 0 w 6583"/>
                            <a:gd name="connsiteY9" fmla="*/ 0 h 10972"/>
                            <a:gd name="connsiteX10" fmla="*/ 2195 w 6583"/>
                            <a:gd name="connsiteY10" fmla="*/ 549 h 10972"/>
                            <a:gd name="connsiteX11" fmla="*/ 6584 w 6583"/>
                            <a:gd name="connsiteY11" fmla="*/ 2743 h 10972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  <a:cxn ang="0">
                              <a:pos x="connsiteX11" y="connsiteY11"/>
                            </a:cxn>
                          </a:cxnLst>
                          <a:rect l="l" t="t" r="r" b="b"/>
                          <a:pathLst>
                            <a:path w="6583" h="10972">
                              <a:moveTo>
                                <a:pt x="6584" y="2743"/>
                              </a:moveTo>
                              <a:lnTo>
                                <a:pt x="6035" y="7132"/>
                              </a:lnTo>
                              <a:lnTo>
                                <a:pt x="6584" y="8778"/>
                              </a:lnTo>
                              <a:lnTo>
                                <a:pt x="6035" y="10424"/>
                              </a:lnTo>
                              <a:lnTo>
                                <a:pt x="4389" y="10973"/>
                              </a:lnTo>
                              <a:lnTo>
                                <a:pt x="1646" y="9875"/>
                              </a:lnTo>
                              <a:lnTo>
                                <a:pt x="2195" y="6035"/>
                              </a:lnTo>
                              <a:lnTo>
                                <a:pt x="1646" y="3840"/>
                              </a:lnTo>
                              <a:lnTo>
                                <a:pt x="0" y="2194"/>
                              </a:lnTo>
                              <a:lnTo>
                                <a:pt x="0" y="0"/>
                              </a:lnTo>
                              <a:lnTo>
                                <a:pt x="2195" y="549"/>
                              </a:lnTo>
                              <a:lnTo>
                                <a:pt x="6584" y="2743"/>
                              </a:lnTo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192" name="Graphic 7">
                          <a:extLst>
                            <a:ext uri="{FF2B5EF4-FFF2-40B4-BE49-F238E27FC236}">
                              <a16:creationId xmlns:a16="http://schemas.microsoft.com/office/drawing/2014/main" id="{FA563EA0-BFC6-8A55-0B33-017013B23588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4765427" y="4144733"/>
                          <a:ext cx="7715" cy="4715"/>
                        </a:xfrm>
                        <a:custGeom>
                          <a:avLst/>
                          <a:gdLst>
                            <a:gd name="connsiteX0" fmla="*/ 9876 w 9875"/>
                            <a:gd name="connsiteY0" fmla="*/ 549 h 6035"/>
                            <a:gd name="connsiteX1" fmla="*/ 4938 w 9875"/>
                            <a:gd name="connsiteY1" fmla="*/ 0 h 6035"/>
                            <a:gd name="connsiteX2" fmla="*/ 0 w 9875"/>
                            <a:gd name="connsiteY2" fmla="*/ 2195 h 6035"/>
                            <a:gd name="connsiteX3" fmla="*/ 1646 w 9875"/>
                            <a:gd name="connsiteY3" fmla="*/ 6035 h 6035"/>
                            <a:gd name="connsiteX4" fmla="*/ 7681 w 9875"/>
                            <a:gd name="connsiteY4" fmla="*/ 2743 h 6035"/>
                            <a:gd name="connsiteX5" fmla="*/ 9876 w 9875"/>
                            <a:gd name="connsiteY5" fmla="*/ 549 h 6035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</a:cxnLst>
                          <a:rect l="l" t="t" r="r" b="b"/>
                          <a:pathLst>
                            <a:path w="9875" h="6035">
                              <a:moveTo>
                                <a:pt x="9876" y="549"/>
                              </a:moveTo>
                              <a:lnTo>
                                <a:pt x="4938" y="0"/>
                              </a:lnTo>
                              <a:lnTo>
                                <a:pt x="0" y="2195"/>
                              </a:lnTo>
                              <a:lnTo>
                                <a:pt x="1646" y="6035"/>
                              </a:lnTo>
                              <a:lnTo>
                                <a:pt x="7681" y="2743"/>
                              </a:lnTo>
                              <a:lnTo>
                                <a:pt x="9876" y="549"/>
                              </a:lnTo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193" name="Graphic 7">
                          <a:extLst>
                            <a:ext uri="{FF2B5EF4-FFF2-40B4-BE49-F238E27FC236}">
                              <a16:creationId xmlns:a16="http://schemas.microsoft.com/office/drawing/2014/main" id="{0275BFF7-6FD0-C5F5-A0D1-7330E0CD8E72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97015" y="4745689"/>
                          <a:ext cx="8144" cy="3000"/>
                        </a:xfrm>
                        <a:custGeom>
                          <a:avLst/>
                          <a:gdLst>
                            <a:gd name="connsiteX0" fmla="*/ 5486 w 10424"/>
                            <a:gd name="connsiteY0" fmla="*/ 549 h 3840"/>
                            <a:gd name="connsiteX1" fmla="*/ 7132 w 10424"/>
                            <a:gd name="connsiteY1" fmla="*/ 0 h 3840"/>
                            <a:gd name="connsiteX2" fmla="*/ 2195 w 10424"/>
                            <a:gd name="connsiteY2" fmla="*/ 0 h 3840"/>
                            <a:gd name="connsiteX3" fmla="*/ 0 w 10424"/>
                            <a:gd name="connsiteY3" fmla="*/ 3292 h 3840"/>
                            <a:gd name="connsiteX4" fmla="*/ 5486 w 10424"/>
                            <a:gd name="connsiteY4" fmla="*/ 3841 h 3840"/>
                            <a:gd name="connsiteX5" fmla="*/ 10424 w 10424"/>
                            <a:gd name="connsiteY5" fmla="*/ 549 h 3840"/>
                            <a:gd name="connsiteX6" fmla="*/ 5486 w 10424"/>
                            <a:gd name="connsiteY6" fmla="*/ 549 h 3840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</a:cxnLst>
                          <a:rect l="l" t="t" r="r" b="b"/>
                          <a:pathLst>
                            <a:path w="10424" h="3840">
                              <a:moveTo>
                                <a:pt x="5486" y="549"/>
                              </a:moveTo>
                              <a:lnTo>
                                <a:pt x="7132" y="0"/>
                              </a:lnTo>
                              <a:lnTo>
                                <a:pt x="2195" y="0"/>
                              </a:lnTo>
                              <a:lnTo>
                                <a:pt x="0" y="3292"/>
                              </a:lnTo>
                              <a:lnTo>
                                <a:pt x="5486" y="3841"/>
                              </a:lnTo>
                              <a:lnTo>
                                <a:pt x="10424" y="549"/>
                              </a:lnTo>
                              <a:lnTo>
                                <a:pt x="5486" y="549"/>
                              </a:lnTo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194" name="Graphic 7">
                          <a:extLst>
                            <a:ext uri="{FF2B5EF4-FFF2-40B4-BE49-F238E27FC236}">
                              <a16:creationId xmlns:a16="http://schemas.microsoft.com/office/drawing/2014/main" id="{660C6C5F-3FAE-5398-28C5-F024965A112B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4746138" y="4061576"/>
                          <a:ext cx="89586" cy="24861"/>
                        </a:xfrm>
                        <a:custGeom>
                          <a:avLst/>
                          <a:gdLst>
                            <a:gd name="connsiteX0" fmla="*/ 2195 w 114665"/>
                            <a:gd name="connsiteY0" fmla="*/ 31273 h 31821"/>
                            <a:gd name="connsiteX1" fmla="*/ 4938 w 114665"/>
                            <a:gd name="connsiteY1" fmla="*/ 26335 h 31821"/>
                            <a:gd name="connsiteX2" fmla="*/ 37308 w 114665"/>
                            <a:gd name="connsiteY2" fmla="*/ 24140 h 31821"/>
                            <a:gd name="connsiteX3" fmla="*/ 38405 w 114665"/>
                            <a:gd name="connsiteY3" fmla="*/ 23591 h 31821"/>
                            <a:gd name="connsiteX4" fmla="*/ 40051 w 114665"/>
                            <a:gd name="connsiteY4" fmla="*/ 18654 h 31821"/>
                            <a:gd name="connsiteX5" fmla="*/ 42794 w 114665"/>
                            <a:gd name="connsiteY5" fmla="*/ 18105 h 31821"/>
                            <a:gd name="connsiteX6" fmla="*/ 46086 w 114665"/>
                            <a:gd name="connsiteY6" fmla="*/ 18654 h 31821"/>
                            <a:gd name="connsiteX7" fmla="*/ 53767 w 114665"/>
                            <a:gd name="connsiteY7" fmla="*/ 18654 h 31821"/>
                            <a:gd name="connsiteX8" fmla="*/ 59802 w 114665"/>
                            <a:gd name="connsiteY8" fmla="*/ 15910 h 31821"/>
                            <a:gd name="connsiteX9" fmla="*/ 62545 w 114665"/>
                            <a:gd name="connsiteY9" fmla="*/ 12070 h 31821"/>
                            <a:gd name="connsiteX10" fmla="*/ 64191 w 114665"/>
                            <a:gd name="connsiteY10" fmla="*/ 10973 h 31821"/>
                            <a:gd name="connsiteX11" fmla="*/ 68580 w 114665"/>
                            <a:gd name="connsiteY11" fmla="*/ 12070 h 31821"/>
                            <a:gd name="connsiteX12" fmla="*/ 70775 w 114665"/>
                            <a:gd name="connsiteY12" fmla="*/ 14265 h 31821"/>
                            <a:gd name="connsiteX13" fmla="*/ 76261 w 114665"/>
                            <a:gd name="connsiteY13" fmla="*/ 15910 h 31821"/>
                            <a:gd name="connsiteX14" fmla="*/ 81747 w 114665"/>
                            <a:gd name="connsiteY14" fmla="*/ 19751 h 31821"/>
                            <a:gd name="connsiteX15" fmla="*/ 86685 w 114665"/>
                            <a:gd name="connsiteY15" fmla="*/ 20300 h 31821"/>
                            <a:gd name="connsiteX16" fmla="*/ 92172 w 114665"/>
                            <a:gd name="connsiteY16" fmla="*/ 23043 h 31821"/>
                            <a:gd name="connsiteX17" fmla="*/ 97109 w 114665"/>
                            <a:gd name="connsiteY17" fmla="*/ 22494 h 31821"/>
                            <a:gd name="connsiteX18" fmla="*/ 99304 w 114665"/>
                            <a:gd name="connsiteY18" fmla="*/ 24140 h 31821"/>
                            <a:gd name="connsiteX19" fmla="*/ 103693 w 114665"/>
                            <a:gd name="connsiteY19" fmla="*/ 21397 h 31821"/>
                            <a:gd name="connsiteX20" fmla="*/ 111923 w 114665"/>
                            <a:gd name="connsiteY20" fmla="*/ 19751 h 31821"/>
                            <a:gd name="connsiteX21" fmla="*/ 114666 w 114665"/>
                            <a:gd name="connsiteY21" fmla="*/ 17008 h 31821"/>
                            <a:gd name="connsiteX22" fmla="*/ 114666 w 114665"/>
                            <a:gd name="connsiteY22" fmla="*/ 14265 h 31821"/>
                            <a:gd name="connsiteX23" fmla="*/ 114117 w 114665"/>
                            <a:gd name="connsiteY23" fmla="*/ 10973 h 31821"/>
                            <a:gd name="connsiteX24" fmla="*/ 113568 w 114665"/>
                            <a:gd name="connsiteY24" fmla="*/ 10973 h 31821"/>
                            <a:gd name="connsiteX25" fmla="*/ 111923 w 114665"/>
                            <a:gd name="connsiteY25" fmla="*/ 11521 h 31821"/>
                            <a:gd name="connsiteX26" fmla="*/ 109179 w 114665"/>
                            <a:gd name="connsiteY26" fmla="*/ 10424 h 31821"/>
                            <a:gd name="connsiteX27" fmla="*/ 106436 w 114665"/>
                            <a:gd name="connsiteY27" fmla="*/ 10424 h 31821"/>
                            <a:gd name="connsiteX28" fmla="*/ 96012 w 114665"/>
                            <a:gd name="connsiteY28" fmla="*/ 14265 h 31821"/>
                            <a:gd name="connsiteX29" fmla="*/ 92172 w 114665"/>
                            <a:gd name="connsiteY29" fmla="*/ 13716 h 31821"/>
                            <a:gd name="connsiteX30" fmla="*/ 88331 w 114665"/>
                            <a:gd name="connsiteY30" fmla="*/ 11521 h 31821"/>
                            <a:gd name="connsiteX31" fmla="*/ 86136 w 114665"/>
                            <a:gd name="connsiteY31" fmla="*/ 8230 h 31821"/>
                            <a:gd name="connsiteX32" fmla="*/ 84491 w 114665"/>
                            <a:gd name="connsiteY32" fmla="*/ 7132 h 31821"/>
                            <a:gd name="connsiteX33" fmla="*/ 76261 w 114665"/>
                            <a:gd name="connsiteY33" fmla="*/ 7132 h 31821"/>
                            <a:gd name="connsiteX34" fmla="*/ 71872 w 114665"/>
                            <a:gd name="connsiteY34" fmla="*/ 2194 h 31821"/>
                            <a:gd name="connsiteX35" fmla="*/ 68580 w 114665"/>
                            <a:gd name="connsiteY35" fmla="*/ 1646 h 31821"/>
                            <a:gd name="connsiteX36" fmla="*/ 66385 w 114665"/>
                            <a:gd name="connsiteY36" fmla="*/ 0 h 31821"/>
                            <a:gd name="connsiteX37" fmla="*/ 59253 w 114665"/>
                            <a:gd name="connsiteY37" fmla="*/ 2194 h 31821"/>
                            <a:gd name="connsiteX38" fmla="*/ 54864 w 114665"/>
                            <a:gd name="connsiteY38" fmla="*/ 2194 h 31821"/>
                            <a:gd name="connsiteX39" fmla="*/ 51024 w 114665"/>
                            <a:gd name="connsiteY39" fmla="*/ 5486 h 31821"/>
                            <a:gd name="connsiteX40" fmla="*/ 48280 w 114665"/>
                            <a:gd name="connsiteY40" fmla="*/ 9327 h 31821"/>
                            <a:gd name="connsiteX41" fmla="*/ 8778 w 114665"/>
                            <a:gd name="connsiteY41" fmla="*/ 9875 h 31821"/>
                            <a:gd name="connsiteX42" fmla="*/ 8778 w 114665"/>
                            <a:gd name="connsiteY42" fmla="*/ 12070 h 31821"/>
                            <a:gd name="connsiteX43" fmla="*/ 8778 w 114665"/>
                            <a:gd name="connsiteY43" fmla="*/ 14265 h 31821"/>
                            <a:gd name="connsiteX44" fmla="*/ 5486 w 114665"/>
                            <a:gd name="connsiteY44" fmla="*/ 13716 h 31821"/>
                            <a:gd name="connsiteX45" fmla="*/ 3840 w 114665"/>
                            <a:gd name="connsiteY45" fmla="*/ 14265 h 31821"/>
                            <a:gd name="connsiteX46" fmla="*/ 2195 w 114665"/>
                            <a:gd name="connsiteY46" fmla="*/ 18105 h 31821"/>
                            <a:gd name="connsiteX47" fmla="*/ 0 w 114665"/>
                            <a:gd name="connsiteY47" fmla="*/ 19202 h 31821"/>
                            <a:gd name="connsiteX48" fmla="*/ 0 w 114665"/>
                            <a:gd name="connsiteY48" fmla="*/ 30724 h 31821"/>
                            <a:gd name="connsiteX49" fmla="*/ 1097 w 114665"/>
                            <a:gd name="connsiteY49" fmla="*/ 31821 h 31821"/>
                            <a:gd name="connsiteX50" fmla="*/ 2195 w 114665"/>
                            <a:gd name="connsiteY50" fmla="*/ 31273 h 31821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  <a:cxn ang="0">
                              <a:pos x="connsiteX11" y="connsiteY11"/>
                            </a:cxn>
                            <a:cxn ang="0">
                              <a:pos x="connsiteX12" y="connsiteY12"/>
                            </a:cxn>
                            <a:cxn ang="0">
                              <a:pos x="connsiteX13" y="connsiteY13"/>
                            </a:cxn>
                            <a:cxn ang="0">
                              <a:pos x="connsiteX14" y="connsiteY14"/>
                            </a:cxn>
                            <a:cxn ang="0">
                              <a:pos x="connsiteX15" y="connsiteY15"/>
                            </a:cxn>
                            <a:cxn ang="0">
                              <a:pos x="connsiteX16" y="connsiteY16"/>
                            </a:cxn>
                            <a:cxn ang="0">
                              <a:pos x="connsiteX17" y="connsiteY17"/>
                            </a:cxn>
                            <a:cxn ang="0">
                              <a:pos x="connsiteX18" y="connsiteY18"/>
                            </a:cxn>
                            <a:cxn ang="0">
                              <a:pos x="connsiteX19" y="connsiteY19"/>
                            </a:cxn>
                            <a:cxn ang="0">
                              <a:pos x="connsiteX20" y="connsiteY20"/>
                            </a:cxn>
                            <a:cxn ang="0">
                              <a:pos x="connsiteX21" y="connsiteY21"/>
                            </a:cxn>
                            <a:cxn ang="0">
                              <a:pos x="connsiteX22" y="connsiteY22"/>
                            </a:cxn>
                            <a:cxn ang="0">
                              <a:pos x="connsiteX23" y="connsiteY23"/>
                            </a:cxn>
                            <a:cxn ang="0">
                              <a:pos x="connsiteX24" y="connsiteY24"/>
                            </a:cxn>
                            <a:cxn ang="0">
                              <a:pos x="connsiteX25" y="connsiteY25"/>
                            </a:cxn>
                            <a:cxn ang="0">
                              <a:pos x="connsiteX26" y="connsiteY26"/>
                            </a:cxn>
                            <a:cxn ang="0">
                              <a:pos x="connsiteX27" y="connsiteY27"/>
                            </a:cxn>
                            <a:cxn ang="0">
                              <a:pos x="connsiteX28" y="connsiteY28"/>
                            </a:cxn>
                            <a:cxn ang="0">
                              <a:pos x="connsiteX29" y="connsiteY29"/>
                            </a:cxn>
                            <a:cxn ang="0">
                              <a:pos x="connsiteX30" y="connsiteY30"/>
                            </a:cxn>
                            <a:cxn ang="0">
                              <a:pos x="connsiteX31" y="connsiteY31"/>
                            </a:cxn>
                            <a:cxn ang="0">
                              <a:pos x="connsiteX32" y="connsiteY32"/>
                            </a:cxn>
                            <a:cxn ang="0">
                              <a:pos x="connsiteX33" y="connsiteY33"/>
                            </a:cxn>
                            <a:cxn ang="0">
                              <a:pos x="connsiteX34" y="connsiteY34"/>
                            </a:cxn>
                            <a:cxn ang="0">
                              <a:pos x="connsiteX35" y="connsiteY35"/>
                            </a:cxn>
                            <a:cxn ang="0">
                              <a:pos x="connsiteX36" y="connsiteY36"/>
                            </a:cxn>
                            <a:cxn ang="0">
                              <a:pos x="connsiteX37" y="connsiteY37"/>
                            </a:cxn>
                            <a:cxn ang="0">
                              <a:pos x="connsiteX38" y="connsiteY38"/>
                            </a:cxn>
                            <a:cxn ang="0">
                              <a:pos x="connsiteX39" y="connsiteY39"/>
                            </a:cxn>
                            <a:cxn ang="0">
                              <a:pos x="connsiteX40" y="connsiteY40"/>
                            </a:cxn>
                            <a:cxn ang="0">
                              <a:pos x="connsiteX41" y="connsiteY41"/>
                            </a:cxn>
                            <a:cxn ang="0">
                              <a:pos x="connsiteX42" y="connsiteY42"/>
                            </a:cxn>
                            <a:cxn ang="0">
                              <a:pos x="connsiteX43" y="connsiteY43"/>
                            </a:cxn>
                            <a:cxn ang="0">
                              <a:pos x="connsiteX44" y="connsiteY44"/>
                            </a:cxn>
                            <a:cxn ang="0">
                              <a:pos x="connsiteX45" y="connsiteY45"/>
                            </a:cxn>
                            <a:cxn ang="0">
                              <a:pos x="connsiteX46" y="connsiteY46"/>
                            </a:cxn>
                            <a:cxn ang="0">
                              <a:pos x="connsiteX47" y="connsiteY47"/>
                            </a:cxn>
                            <a:cxn ang="0">
                              <a:pos x="connsiteX48" y="connsiteY48"/>
                            </a:cxn>
                            <a:cxn ang="0">
                              <a:pos x="connsiteX49" y="connsiteY49"/>
                            </a:cxn>
                            <a:cxn ang="0">
                              <a:pos x="connsiteX50" y="connsiteY50"/>
                            </a:cxn>
                          </a:cxnLst>
                          <a:rect l="l" t="t" r="r" b="b"/>
                          <a:pathLst>
                            <a:path w="114665" h="31821">
                              <a:moveTo>
                                <a:pt x="2195" y="31273"/>
                              </a:moveTo>
                              <a:lnTo>
                                <a:pt x="4938" y="26335"/>
                              </a:lnTo>
                              <a:lnTo>
                                <a:pt x="37308" y="24140"/>
                              </a:lnTo>
                              <a:lnTo>
                                <a:pt x="38405" y="23591"/>
                              </a:lnTo>
                              <a:lnTo>
                                <a:pt x="40051" y="18654"/>
                              </a:lnTo>
                              <a:lnTo>
                                <a:pt x="42794" y="18105"/>
                              </a:lnTo>
                              <a:lnTo>
                                <a:pt x="46086" y="18654"/>
                              </a:lnTo>
                              <a:lnTo>
                                <a:pt x="53767" y="18654"/>
                              </a:lnTo>
                              <a:lnTo>
                                <a:pt x="59802" y="15910"/>
                              </a:lnTo>
                              <a:lnTo>
                                <a:pt x="62545" y="12070"/>
                              </a:lnTo>
                              <a:lnTo>
                                <a:pt x="64191" y="10973"/>
                              </a:lnTo>
                              <a:lnTo>
                                <a:pt x="68580" y="12070"/>
                              </a:lnTo>
                              <a:lnTo>
                                <a:pt x="70775" y="14265"/>
                              </a:lnTo>
                              <a:lnTo>
                                <a:pt x="76261" y="15910"/>
                              </a:lnTo>
                              <a:lnTo>
                                <a:pt x="81747" y="19751"/>
                              </a:lnTo>
                              <a:lnTo>
                                <a:pt x="86685" y="20300"/>
                              </a:lnTo>
                              <a:lnTo>
                                <a:pt x="92172" y="23043"/>
                              </a:lnTo>
                              <a:lnTo>
                                <a:pt x="97109" y="22494"/>
                              </a:lnTo>
                              <a:lnTo>
                                <a:pt x="99304" y="24140"/>
                              </a:lnTo>
                              <a:lnTo>
                                <a:pt x="103693" y="21397"/>
                              </a:lnTo>
                              <a:lnTo>
                                <a:pt x="111923" y="19751"/>
                              </a:lnTo>
                              <a:lnTo>
                                <a:pt x="114666" y="17008"/>
                              </a:lnTo>
                              <a:lnTo>
                                <a:pt x="114666" y="14265"/>
                              </a:lnTo>
                              <a:lnTo>
                                <a:pt x="114117" y="10973"/>
                              </a:lnTo>
                              <a:lnTo>
                                <a:pt x="113568" y="10973"/>
                              </a:lnTo>
                              <a:lnTo>
                                <a:pt x="111923" y="11521"/>
                              </a:lnTo>
                              <a:lnTo>
                                <a:pt x="109179" y="10424"/>
                              </a:lnTo>
                              <a:lnTo>
                                <a:pt x="106436" y="10424"/>
                              </a:lnTo>
                              <a:lnTo>
                                <a:pt x="96012" y="14265"/>
                              </a:lnTo>
                              <a:lnTo>
                                <a:pt x="92172" y="13716"/>
                              </a:lnTo>
                              <a:lnTo>
                                <a:pt x="88331" y="11521"/>
                              </a:lnTo>
                              <a:lnTo>
                                <a:pt x="86136" y="8230"/>
                              </a:lnTo>
                              <a:lnTo>
                                <a:pt x="84491" y="7132"/>
                              </a:lnTo>
                              <a:lnTo>
                                <a:pt x="76261" y="7132"/>
                              </a:lnTo>
                              <a:lnTo>
                                <a:pt x="71872" y="2194"/>
                              </a:lnTo>
                              <a:lnTo>
                                <a:pt x="68580" y="1646"/>
                              </a:lnTo>
                              <a:lnTo>
                                <a:pt x="66385" y="0"/>
                              </a:lnTo>
                              <a:lnTo>
                                <a:pt x="59253" y="2194"/>
                              </a:lnTo>
                              <a:lnTo>
                                <a:pt x="54864" y="2194"/>
                              </a:lnTo>
                              <a:lnTo>
                                <a:pt x="51024" y="5486"/>
                              </a:lnTo>
                              <a:lnTo>
                                <a:pt x="48280" y="9327"/>
                              </a:lnTo>
                              <a:lnTo>
                                <a:pt x="8778" y="9875"/>
                              </a:lnTo>
                              <a:lnTo>
                                <a:pt x="8778" y="12070"/>
                              </a:lnTo>
                              <a:lnTo>
                                <a:pt x="8778" y="14265"/>
                              </a:lnTo>
                              <a:lnTo>
                                <a:pt x="5486" y="13716"/>
                              </a:lnTo>
                              <a:lnTo>
                                <a:pt x="3840" y="14265"/>
                              </a:lnTo>
                              <a:lnTo>
                                <a:pt x="2195" y="18105"/>
                              </a:lnTo>
                              <a:lnTo>
                                <a:pt x="0" y="19202"/>
                              </a:lnTo>
                              <a:lnTo>
                                <a:pt x="0" y="30724"/>
                              </a:lnTo>
                              <a:lnTo>
                                <a:pt x="1097" y="31821"/>
                              </a:lnTo>
                              <a:lnTo>
                                <a:pt x="2195" y="31273"/>
                              </a:lnTo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195" name="Graphic 7">
                          <a:extLst>
                            <a:ext uri="{FF2B5EF4-FFF2-40B4-BE49-F238E27FC236}">
                              <a16:creationId xmlns:a16="http://schemas.microsoft.com/office/drawing/2014/main" id="{CB12F214-DDDA-C54D-09F2-1A04EBD56A6E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4747424" y="4095439"/>
                          <a:ext cx="93015" cy="53151"/>
                        </a:xfrm>
                        <a:custGeom>
                          <a:avLst/>
                          <a:gdLst>
                            <a:gd name="connsiteX0" fmla="*/ 116312 w 119054"/>
                            <a:gd name="connsiteY0" fmla="*/ 0 h 68031"/>
                            <a:gd name="connsiteX1" fmla="*/ 116312 w 119054"/>
                            <a:gd name="connsiteY1" fmla="*/ 4938 h 68031"/>
                            <a:gd name="connsiteX2" fmla="*/ 119055 w 119054"/>
                            <a:gd name="connsiteY2" fmla="*/ 9327 h 68031"/>
                            <a:gd name="connsiteX3" fmla="*/ 119055 w 119054"/>
                            <a:gd name="connsiteY3" fmla="*/ 12619 h 68031"/>
                            <a:gd name="connsiteX4" fmla="*/ 117409 w 119054"/>
                            <a:gd name="connsiteY4" fmla="*/ 16459 h 68031"/>
                            <a:gd name="connsiteX5" fmla="*/ 114666 w 119054"/>
                            <a:gd name="connsiteY5" fmla="*/ 17557 h 68031"/>
                            <a:gd name="connsiteX6" fmla="*/ 111374 w 119054"/>
                            <a:gd name="connsiteY6" fmla="*/ 17557 h 68031"/>
                            <a:gd name="connsiteX7" fmla="*/ 109728 w 119054"/>
                            <a:gd name="connsiteY7" fmla="*/ 18654 h 68031"/>
                            <a:gd name="connsiteX8" fmla="*/ 108631 w 119054"/>
                            <a:gd name="connsiteY8" fmla="*/ 20849 h 68031"/>
                            <a:gd name="connsiteX9" fmla="*/ 112471 w 119054"/>
                            <a:gd name="connsiteY9" fmla="*/ 23592 h 68031"/>
                            <a:gd name="connsiteX10" fmla="*/ 114666 w 119054"/>
                            <a:gd name="connsiteY10" fmla="*/ 26883 h 68031"/>
                            <a:gd name="connsiteX11" fmla="*/ 115763 w 119054"/>
                            <a:gd name="connsiteY11" fmla="*/ 38954 h 68031"/>
                            <a:gd name="connsiteX12" fmla="*/ 110825 w 119054"/>
                            <a:gd name="connsiteY12" fmla="*/ 38954 h 68031"/>
                            <a:gd name="connsiteX13" fmla="*/ 108631 w 119054"/>
                            <a:gd name="connsiteY13" fmla="*/ 41148 h 68031"/>
                            <a:gd name="connsiteX14" fmla="*/ 94915 w 119054"/>
                            <a:gd name="connsiteY14" fmla="*/ 41148 h 68031"/>
                            <a:gd name="connsiteX15" fmla="*/ 82845 w 119054"/>
                            <a:gd name="connsiteY15" fmla="*/ 46634 h 68031"/>
                            <a:gd name="connsiteX16" fmla="*/ 78456 w 119054"/>
                            <a:gd name="connsiteY16" fmla="*/ 49926 h 68031"/>
                            <a:gd name="connsiteX17" fmla="*/ 71872 w 119054"/>
                            <a:gd name="connsiteY17" fmla="*/ 63642 h 68031"/>
                            <a:gd name="connsiteX18" fmla="*/ 68580 w 119054"/>
                            <a:gd name="connsiteY18" fmla="*/ 66386 h 68031"/>
                            <a:gd name="connsiteX19" fmla="*/ 64191 w 119054"/>
                            <a:gd name="connsiteY19" fmla="*/ 68031 h 68031"/>
                            <a:gd name="connsiteX20" fmla="*/ 63642 w 119054"/>
                            <a:gd name="connsiteY20" fmla="*/ 65288 h 68031"/>
                            <a:gd name="connsiteX21" fmla="*/ 64740 w 119054"/>
                            <a:gd name="connsiteY21" fmla="*/ 63642 h 68031"/>
                            <a:gd name="connsiteX22" fmla="*/ 59253 w 119054"/>
                            <a:gd name="connsiteY22" fmla="*/ 64191 h 68031"/>
                            <a:gd name="connsiteX23" fmla="*/ 55413 w 119054"/>
                            <a:gd name="connsiteY23" fmla="*/ 63642 h 68031"/>
                            <a:gd name="connsiteX24" fmla="*/ 52669 w 119054"/>
                            <a:gd name="connsiteY24" fmla="*/ 59802 h 68031"/>
                            <a:gd name="connsiteX25" fmla="*/ 51024 w 119054"/>
                            <a:gd name="connsiteY25" fmla="*/ 54315 h 68031"/>
                            <a:gd name="connsiteX26" fmla="*/ 53218 w 119054"/>
                            <a:gd name="connsiteY26" fmla="*/ 47732 h 68031"/>
                            <a:gd name="connsiteX27" fmla="*/ 49378 w 119054"/>
                            <a:gd name="connsiteY27" fmla="*/ 40051 h 68031"/>
                            <a:gd name="connsiteX28" fmla="*/ 54315 w 119054"/>
                            <a:gd name="connsiteY28" fmla="*/ 36759 h 68031"/>
                            <a:gd name="connsiteX29" fmla="*/ 70775 w 119054"/>
                            <a:gd name="connsiteY29" fmla="*/ 34565 h 68031"/>
                            <a:gd name="connsiteX30" fmla="*/ 71872 w 119054"/>
                            <a:gd name="connsiteY30" fmla="*/ 31273 h 68031"/>
                            <a:gd name="connsiteX31" fmla="*/ 49926 w 119054"/>
                            <a:gd name="connsiteY31" fmla="*/ 34565 h 68031"/>
                            <a:gd name="connsiteX32" fmla="*/ 40599 w 119054"/>
                            <a:gd name="connsiteY32" fmla="*/ 38954 h 68031"/>
                            <a:gd name="connsiteX33" fmla="*/ 35113 w 119054"/>
                            <a:gd name="connsiteY33" fmla="*/ 40051 h 68031"/>
                            <a:gd name="connsiteX34" fmla="*/ 32918 w 119054"/>
                            <a:gd name="connsiteY34" fmla="*/ 38954 h 68031"/>
                            <a:gd name="connsiteX35" fmla="*/ 32370 w 119054"/>
                            <a:gd name="connsiteY35" fmla="*/ 33467 h 68031"/>
                            <a:gd name="connsiteX36" fmla="*/ 27981 w 119054"/>
                            <a:gd name="connsiteY36" fmla="*/ 34016 h 68031"/>
                            <a:gd name="connsiteX37" fmla="*/ 21397 w 119054"/>
                            <a:gd name="connsiteY37" fmla="*/ 32918 h 68031"/>
                            <a:gd name="connsiteX38" fmla="*/ 18654 w 119054"/>
                            <a:gd name="connsiteY38" fmla="*/ 29627 h 68031"/>
                            <a:gd name="connsiteX39" fmla="*/ 18105 w 119054"/>
                            <a:gd name="connsiteY39" fmla="*/ 23592 h 68031"/>
                            <a:gd name="connsiteX40" fmla="*/ 3840 w 119054"/>
                            <a:gd name="connsiteY40" fmla="*/ 19202 h 68031"/>
                            <a:gd name="connsiteX41" fmla="*/ 0 w 119054"/>
                            <a:gd name="connsiteY41" fmla="*/ 13716 h 68031"/>
                            <a:gd name="connsiteX42" fmla="*/ 1646 w 119054"/>
                            <a:gd name="connsiteY42" fmla="*/ 11522 h 68031"/>
                            <a:gd name="connsiteX43" fmla="*/ 2743 w 119054"/>
                            <a:gd name="connsiteY43" fmla="*/ 13167 h 68031"/>
                            <a:gd name="connsiteX44" fmla="*/ 5486 w 119054"/>
                            <a:gd name="connsiteY44" fmla="*/ 14265 h 68031"/>
                            <a:gd name="connsiteX45" fmla="*/ 9876 w 119054"/>
                            <a:gd name="connsiteY45" fmla="*/ 14265 h 68031"/>
                            <a:gd name="connsiteX46" fmla="*/ 20848 w 119054"/>
                            <a:gd name="connsiteY46" fmla="*/ 9327 h 68031"/>
                            <a:gd name="connsiteX47" fmla="*/ 40599 w 119054"/>
                            <a:gd name="connsiteY47" fmla="*/ 9876 h 68031"/>
                            <a:gd name="connsiteX48" fmla="*/ 63094 w 119054"/>
                            <a:gd name="connsiteY48" fmla="*/ 1097 h 68031"/>
                            <a:gd name="connsiteX49" fmla="*/ 116312 w 119054"/>
                            <a:gd name="connsiteY49" fmla="*/ 0 h 68031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  <a:cxn ang="0">
                              <a:pos x="connsiteX11" y="connsiteY11"/>
                            </a:cxn>
                            <a:cxn ang="0">
                              <a:pos x="connsiteX12" y="connsiteY12"/>
                            </a:cxn>
                            <a:cxn ang="0">
                              <a:pos x="connsiteX13" y="connsiteY13"/>
                            </a:cxn>
                            <a:cxn ang="0">
                              <a:pos x="connsiteX14" y="connsiteY14"/>
                            </a:cxn>
                            <a:cxn ang="0">
                              <a:pos x="connsiteX15" y="connsiteY15"/>
                            </a:cxn>
                            <a:cxn ang="0">
                              <a:pos x="connsiteX16" y="connsiteY16"/>
                            </a:cxn>
                            <a:cxn ang="0">
                              <a:pos x="connsiteX17" y="connsiteY17"/>
                            </a:cxn>
                            <a:cxn ang="0">
                              <a:pos x="connsiteX18" y="connsiteY18"/>
                            </a:cxn>
                            <a:cxn ang="0">
                              <a:pos x="connsiteX19" y="connsiteY19"/>
                            </a:cxn>
                            <a:cxn ang="0">
                              <a:pos x="connsiteX20" y="connsiteY20"/>
                            </a:cxn>
                            <a:cxn ang="0">
                              <a:pos x="connsiteX21" y="connsiteY21"/>
                            </a:cxn>
                            <a:cxn ang="0">
                              <a:pos x="connsiteX22" y="connsiteY22"/>
                            </a:cxn>
                            <a:cxn ang="0">
                              <a:pos x="connsiteX23" y="connsiteY23"/>
                            </a:cxn>
                            <a:cxn ang="0">
                              <a:pos x="connsiteX24" y="connsiteY24"/>
                            </a:cxn>
                            <a:cxn ang="0">
                              <a:pos x="connsiteX25" y="connsiteY25"/>
                            </a:cxn>
                            <a:cxn ang="0">
                              <a:pos x="connsiteX26" y="connsiteY26"/>
                            </a:cxn>
                            <a:cxn ang="0">
                              <a:pos x="connsiteX27" y="connsiteY27"/>
                            </a:cxn>
                            <a:cxn ang="0">
                              <a:pos x="connsiteX28" y="connsiteY28"/>
                            </a:cxn>
                            <a:cxn ang="0">
                              <a:pos x="connsiteX29" y="connsiteY29"/>
                            </a:cxn>
                            <a:cxn ang="0">
                              <a:pos x="connsiteX30" y="connsiteY30"/>
                            </a:cxn>
                            <a:cxn ang="0">
                              <a:pos x="connsiteX31" y="connsiteY31"/>
                            </a:cxn>
                            <a:cxn ang="0">
                              <a:pos x="connsiteX32" y="connsiteY32"/>
                            </a:cxn>
                            <a:cxn ang="0">
                              <a:pos x="connsiteX33" y="connsiteY33"/>
                            </a:cxn>
                            <a:cxn ang="0">
                              <a:pos x="connsiteX34" y="connsiteY34"/>
                            </a:cxn>
                            <a:cxn ang="0">
                              <a:pos x="connsiteX35" y="connsiteY35"/>
                            </a:cxn>
                            <a:cxn ang="0">
                              <a:pos x="connsiteX36" y="connsiteY36"/>
                            </a:cxn>
                            <a:cxn ang="0">
                              <a:pos x="connsiteX37" y="connsiteY37"/>
                            </a:cxn>
                            <a:cxn ang="0">
                              <a:pos x="connsiteX38" y="connsiteY38"/>
                            </a:cxn>
                            <a:cxn ang="0">
                              <a:pos x="connsiteX39" y="connsiteY39"/>
                            </a:cxn>
                            <a:cxn ang="0">
                              <a:pos x="connsiteX40" y="connsiteY40"/>
                            </a:cxn>
                            <a:cxn ang="0">
                              <a:pos x="connsiteX41" y="connsiteY41"/>
                            </a:cxn>
                            <a:cxn ang="0">
                              <a:pos x="connsiteX42" y="connsiteY42"/>
                            </a:cxn>
                            <a:cxn ang="0">
                              <a:pos x="connsiteX43" y="connsiteY43"/>
                            </a:cxn>
                            <a:cxn ang="0">
                              <a:pos x="connsiteX44" y="connsiteY44"/>
                            </a:cxn>
                            <a:cxn ang="0">
                              <a:pos x="connsiteX45" y="connsiteY45"/>
                            </a:cxn>
                            <a:cxn ang="0">
                              <a:pos x="connsiteX46" y="connsiteY46"/>
                            </a:cxn>
                            <a:cxn ang="0">
                              <a:pos x="connsiteX47" y="connsiteY47"/>
                            </a:cxn>
                            <a:cxn ang="0">
                              <a:pos x="connsiteX48" y="connsiteY48"/>
                            </a:cxn>
                            <a:cxn ang="0">
                              <a:pos x="connsiteX49" y="connsiteY49"/>
                            </a:cxn>
                          </a:cxnLst>
                          <a:rect l="l" t="t" r="r" b="b"/>
                          <a:pathLst>
                            <a:path w="119054" h="68031">
                              <a:moveTo>
                                <a:pt x="116312" y="0"/>
                              </a:moveTo>
                              <a:lnTo>
                                <a:pt x="116312" y="4938"/>
                              </a:lnTo>
                              <a:lnTo>
                                <a:pt x="119055" y="9327"/>
                              </a:lnTo>
                              <a:lnTo>
                                <a:pt x="119055" y="12619"/>
                              </a:lnTo>
                              <a:lnTo>
                                <a:pt x="117409" y="16459"/>
                              </a:lnTo>
                              <a:lnTo>
                                <a:pt x="114666" y="17557"/>
                              </a:lnTo>
                              <a:lnTo>
                                <a:pt x="111374" y="17557"/>
                              </a:lnTo>
                              <a:lnTo>
                                <a:pt x="109728" y="18654"/>
                              </a:lnTo>
                              <a:lnTo>
                                <a:pt x="108631" y="20849"/>
                              </a:lnTo>
                              <a:lnTo>
                                <a:pt x="112471" y="23592"/>
                              </a:lnTo>
                              <a:lnTo>
                                <a:pt x="114666" y="26883"/>
                              </a:lnTo>
                              <a:lnTo>
                                <a:pt x="115763" y="38954"/>
                              </a:lnTo>
                              <a:lnTo>
                                <a:pt x="110825" y="38954"/>
                              </a:lnTo>
                              <a:lnTo>
                                <a:pt x="108631" y="41148"/>
                              </a:lnTo>
                              <a:lnTo>
                                <a:pt x="94915" y="41148"/>
                              </a:lnTo>
                              <a:lnTo>
                                <a:pt x="82845" y="46634"/>
                              </a:lnTo>
                              <a:lnTo>
                                <a:pt x="78456" y="49926"/>
                              </a:lnTo>
                              <a:lnTo>
                                <a:pt x="71872" y="63642"/>
                              </a:lnTo>
                              <a:lnTo>
                                <a:pt x="68580" y="66386"/>
                              </a:lnTo>
                              <a:lnTo>
                                <a:pt x="64191" y="68031"/>
                              </a:lnTo>
                              <a:lnTo>
                                <a:pt x="63642" y="65288"/>
                              </a:lnTo>
                              <a:lnTo>
                                <a:pt x="64740" y="63642"/>
                              </a:lnTo>
                              <a:lnTo>
                                <a:pt x="59253" y="64191"/>
                              </a:lnTo>
                              <a:lnTo>
                                <a:pt x="55413" y="63642"/>
                              </a:lnTo>
                              <a:lnTo>
                                <a:pt x="52669" y="59802"/>
                              </a:lnTo>
                              <a:lnTo>
                                <a:pt x="51024" y="54315"/>
                              </a:lnTo>
                              <a:lnTo>
                                <a:pt x="53218" y="47732"/>
                              </a:lnTo>
                              <a:lnTo>
                                <a:pt x="49378" y="40051"/>
                              </a:lnTo>
                              <a:lnTo>
                                <a:pt x="54315" y="36759"/>
                              </a:lnTo>
                              <a:lnTo>
                                <a:pt x="70775" y="34565"/>
                              </a:lnTo>
                              <a:lnTo>
                                <a:pt x="71872" y="31273"/>
                              </a:lnTo>
                              <a:lnTo>
                                <a:pt x="49926" y="34565"/>
                              </a:lnTo>
                              <a:lnTo>
                                <a:pt x="40599" y="38954"/>
                              </a:lnTo>
                              <a:lnTo>
                                <a:pt x="35113" y="40051"/>
                              </a:lnTo>
                              <a:lnTo>
                                <a:pt x="32918" y="38954"/>
                              </a:lnTo>
                              <a:lnTo>
                                <a:pt x="32370" y="33467"/>
                              </a:lnTo>
                              <a:lnTo>
                                <a:pt x="27981" y="34016"/>
                              </a:lnTo>
                              <a:lnTo>
                                <a:pt x="21397" y="32918"/>
                              </a:lnTo>
                              <a:lnTo>
                                <a:pt x="18654" y="29627"/>
                              </a:lnTo>
                              <a:lnTo>
                                <a:pt x="18105" y="23592"/>
                              </a:lnTo>
                              <a:lnTo>
                                <a:pt x="3840" y="19202"/>
                              </a:lnTo>
                              <a:lnTo>
                                <a:pt x="0" y="13716"/>
                              </a:lnTo>
                              <a:lnTo>
                                <a:pt x="1646" y="11522"/>
                              </a:lnTo>
                              <a:lnTo>
                                <a:pt x="2743" y="13167"/>
                              </a:lnTo>
                              <a:lnTo>
                                <a:pt x="5486" y="14265"/>
                              </a:lnTo>
                              <a:lnTo>
                                <a:pt x="9876" y="14265"/>
                              </a:lnTo>
                              <a:lnTo>
                                <a:pt x="20848" y="9327"/>
                              </a:lnTo>
                              <a:lnTo>
                                <a:pt x="40599" y="9876"/>
                              </a:lnTo>
                              <a:lnTo>
                                <a:pt x="63094" y="1097"/>
                              </a:lnTo>
                              <a:lnTo>
                                <a:pt x="116312" y="0"/>
                              </a:lnTo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196" name="Graphic 7">
                          <a:extLst>
                            <a:ext uri="{FF2B5EF4-FFF2-40B4-BE49-F238E27FC236}">
                              <a16:creationId xmlns:a16="http://schemas.microsoft.com/office/drawing/2014/main" id="{0C7DA53C-620A-58B5-D95D-85A12457D456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4901735" y="4219317"/>
                          <a:ext cx="121734" cy="122163"/>
                        </a:xfrm>
                        <a:custGeom>
                          <a:avLst/>
                          <a:gdLst>
                            <a:gd name="connsiteX0" fmla="*/ 1646 w 155813"/>
                            <a:gd name="connsiteY0" fmla="*/ 59253 h 156362"/>
                            <a:gd name="connsiteX1" fmla="*/ 2743 w 155813"/>
                            <a:gd name="connsiteY1" fmla="*/ 59253 h 156362"/>
                            <a:gd name="connsiteX2" fmla="*/ 6035 w 155813"/>
                            <a:gd name="connsiteY2" fmla="*/ 57607 h 156362"/>
                            <a:gd name="connsiteX3" fmla="*/ 7132 w 155813"/>
                            <a:gd name="connsiteY3" fmla="*/ 53218 h 156362"/>
                            <a:gd name="connsiteX4" fmla="*/ 8778 w 155813"/>
                            <a:gd name="connsiteY4" fmla="*/ 52669 h 156362"/>
                            <a:gd name="connsiteX5" fmla="*/ 8778 w 155813"/>
                            <a:gd name="connsiteY5" fmla="*/ 49378 h 156362"/>
                            <a:gd name="connsiteX6" fmla="*/ 9875 w 155813"/>
                            <a:gd name="connsiteY6" fmla="*/ 47732 h 156362"/>
                            <a:gd name="connsiteX7" fmla="*/ 12619 w 155813"/>
                            <a:gd name="connsiteY7" fmla="*/ 47732 h 156362"/>
                            <a:gd name="connsiteX8" fmla="*/ 20848 w 155813"/>
                            <a:gd name="connsiteY8" fmla="*/ 40051 h 156362"/>
                            <a:gd name="connsiteX9" fmla="*/ 25786 w 155813"/>
                            <a:gd name="connsiteY9" fmla="*/ 38405 h 156362"/>
                            <a:gd name="connsiteX10" fmla="*/ 27981 w 155813"/>
                            <a:gd name="connsiteY10" fmla="*/ 34016 h 156362"/>
                            <a:gd name="connsiteX11" fmla="*/ 30724 w 155813"/>
                            <a:gd name="connsiteY11" fmla="*/ 33467 h 156362"/>
                            <a:gd name="connsiteX12" fmla="*/ 32370 w 155813"/>
                            <a:gd name="connsiteY12" fmla="*/ 30724 h 156362"/>
                            <a:gd name="connsiteX13" fmla="*/ 34564 w 155813"/>
                            <a:gd name="connsiteY13" fmla="*/ 29627 h 156362"/>
                            <a:gd name="connsiteX14" fmla="*/ 34564 w 155813"/>
                            <a:gd name="connsiteY14" fmla="*/ 19202 h 156362"/>
                            <a:gd name="connsiteX15" fmla="*/ 36759 w 155813"/>
                            <a:gd name="connsiteY15" fmla="*/ 18105 h 156362"/>
                            <a:gd name="connsiteX16" fmla="*/ 39502 w 155813"/>
                            <a:gd name="connsiteY16" fmla="*/ 14265 h 156362"/>
                            <a:gd name="connsiteX17" fmla="*/ 46086 w 155813"/>
                            <a:gd name="connsiteY17" fmla="*/ 13167 h 156362"/>
                            <a:gd name="connsiteX18" fmla="*/ 46634 w 155813"/>
                            <a:gd name="connsiteY18" fmla="*/ 12070 h 156362"/>
                            <a:gd name="connsiteX19" fmla="*/ 44440 w 155813"/>
                            <a:gd name="connsiteY19" fmla="*/ 9875 h 156362"/>
                            <a:gd name="connsiteX20" fmla="*/ 44440 w 155813"/>
                            <a:gd name="connsiteY20" fmla="*/ 6584 h 156362"/>
                            <a:gd name="connsiteX21" fmla="*/ 47732 w 155813"/>
                            <a:gd name="connsiteY21" fmla="*/ 6035 h 156362"/>
                            <a:gd name="connsiteX22" fmla="*/ 49378 w 155813"/>
                            <a:gd name="connsiteY22" fmla="*/ 1646 h 156362"/>
                            <a:gd name="connsiteX23" fmla="*/ 52121 w 155813"/>
                            <a:gd name="connsiteY23" fmla="*/ 0 h 156362"/>
                            <a:gd name="connsiteX24" fmla="*/ 58156 w 155813"/>
                            <a:gd name="connsiteY24" fmla="*/ 4389 h 156362"/>
                            <a:gd name="connsiteX25" fmla="*/ 59253 w 155813"/>
                            <a:gd name="connsiteY25" fmla="*/ 4389 h 156362"/>
                            <a:gd name="connsiteX26" fmla="*/ 60899 w 155813"/>
                            <a:gd name="connsiteY26" fmla="*/ 2743 h 156362"/>
                            <a:gd name="connsiteX27" fmla="*/ 66934 w 155813"/>
                            <a:gd name="connsiteY27" fmla="*/ 1097 h 156362"/>
                            <a:gd name="connsiteX28" fmla="*/ 68031 w 155813"/>
                            <a:gd name="connsiteY28" fmla="*/ 1646 h 156362"/>
                            <a:gd name="connsiteX29" fmla="*/ 68031 w 155813"/>
                            <a:gd name="connsiteY29" fmla="*/ 2743 h 156362"/>
                            <a:gd name="connsiteX30" fmla="*/ 70226 w 155813"/>
                            <a:gd name="connsiteY30" fmla="*/ 5486 h 156362"/>
                            <a:gd name="connsiteX31" fmla="*/ 75164 w 155813"/>
                            <a:gd name="connsiteY31" fmla="*/ 8778 h 156362"/>
                            <a:gd name="connsiteX32" fmla="*/ 75164 w 155813"/>
                            <a:gd name="connsiteY32" fmla="*/ 13716 h 156362"/>
                            <a:gd name="connsiteX33" fmla="*/ 77907 w 155813"/>
                            <a:gd name="connsiteY33" fmla="*/ 17557 h 156362"/>
                            <a:gd name="connsiteX34" fmla="*/ 79004 w 155813"/>
                            <a:gd name="connsiteY34" fmla="*/ 27432 h 156362"/>
                            <a:gd name="connsiteX35" fmla="*/ 80650 w 155813"/>
                            <a:gd name="connsiteY35" fmla="*/ 29078 h 156362"/>
                            <a:gd name="connsiteX36" fmla="*/ 80101 w 155813"/>
                            <a:gd name="connsiteY36" fmla="*/ 38953 h 156362"/>
                            <a:gd name="connsiteX37" fmla="*/ 78456 w 155813"/>
                            <a:gd name="connsiteY37" fmla="*/ 41697 h 156362"/>
                            <a:gd name="connsiteX38" fmla="*/ 75712 w 155813"/>
                            <a:gd name="connsiteY38" fmla="*/ 43343 h 156362"/>
                            <a:gd name="connsiteX39" fmla="*/ 75164 w 155813"/>
                            <a:gd name="connsiteY39" fmla="*/ 44989 h 156362"/>
                            <a:gd name="connsiteX40" fmla="*/ 76261 w 155813"/>
                            <a:gd name="connsiteY40" fmla="*/ 46086 h 156362"/>
                            <a:gd name="connsiteX41" fmla="*/ 79004 w 155813"/>
                            <a:gd name="connsiteY41" fmla="*/ 45537 h 156362"/>
                            <a:gd name="connsiteX42" fmla="*/ 81747 w 155813"/>
                            <a:gd name="connsiteY42" fmla="*/ 43343 h 156362"/>
                            <a:gd name="connsiteX43" fmla="*/ 83393 w 155813"/>
                            <a:gd name="connsiteY43" fmla="*/ 43891 h 156362"/>
                            <a:gd name="connsiteX44" fmla="*/ 89977 w 155813"/>
                            <a:gd name="connsiteY44" fmla="*/ 51023 h 156362"/>
                            <a:gd name="connsiteX45" fmla="*/ 93269 w 155813"/>
                            <a:gd name="connsiteY45" fmla="*/ 50475 h 156362"/>
                            <a:gd name="connsiteX46" fmla="*/ 95463 w 155813"/>
                            <a:gd name="connsiteY46" fmla="*/ 48829 h 156362"/>
                            <a:gd name="connsiteX47" fmla="*/ 100401 w 155813"/>
                            <a:gd name="connsiteY47" fmla="*/ 48829 h 156362"/>
                            <a:gd name="connsiteX48" fmla="*/ 100950 w 155813"/>
                            <a:gd name="connsiteY48" fmla="*/ 45537 h 156362"/>
                            <a:gd name="connsiteX49" fmla="*/ 104242 w 155813"/>
                            <a:gd name="connsiteY49" fmla="*/ 41148 h 156362"/>
                            <a:gd name="connsiteX50" fmla="*/ 104790 w 155813"/>
                            <a:gd name="connsiteY50" fmla="*/ 36210 h 156362"/>
                            <a:gd name="connsiteX51" fmla="*/ 106436 w 155813"/>
                            <a:gd name="connsiteY51" fmla="*/ 34016 h 156362"/>
                            <a:gd name="connsiteX52" fmla="*/ 110825 w 155813"/>
                            <a:gd name="connsiteY52" fmla="*/ 34564 h 156362"/>
                            <a:gd name="connsiteX53" fmla="*/ 115214 w 155813"/>
                            <a:gd name="connsiteY53" fmla="*/ 42245 h 156362"/>
                            <a:gd name="connsiteX54" fmla="*/ 115763 w 155813"/>
                            <a:gd name="connsiteY54" fmla="*/ 48829 h 156362"/>
                            <a:gd name="connsiteX55" fmla="*/ 117409 w 155813"/>
                            <a:gd name="connsiteY55" fmla="*/ 48829 h 156362"/>
                            <a:gd name="connsiteX56" fmla="*/ 119055 w 155813"/>
                            <a:gd name="connsiteY56" fmla="*/ 51023 h 156362"/>
                            <a:gd name="connsiteX57" fmla="*/ 119055 w 155813"/>
                            <a:gd name="connsiteY57" fmla="*/ 52669 h 156362"/>
                            <a:gd name="connsiteX58" fmla="*/ 121798 w 155813"/>
                            <a:gd name="connsiteY58" fmla="*/ 54864 h 156362"/>
                            <a:gd name="connsiteX59" fmla="*/ 118506 w 155813"/>
                            <a:gd name="connsiteY59" fmla="*/ 67483 h 156362"/>
                            <a:gd name="connsiteX60" fmla="*/ 113020 w 155813"/>
                            <a:gd name="connsiteY60" fmla="*/ 72969 h 156362"/>
                            <a:gd name="connsiteX61" fmla="*/ 110825 w 155813"/>
                            <a:gd name="connsiteY61" fmla="*/ 76810 h 156362"/>
                            <a:gd name="connsiteX62" fmla="*/ 110825 w 155813"/>
                            <a:gd name="connsiteY62" fmla="*/ 77907 h 156362"/>
                            <a:gd name="connsiteX63" fmla="*/ 112471 w 155813"/>
                            <a:gd name="connsiteY63" fmla="*/ 77907 h 156362"/>
                            <a:gd name="connsiteX64" fmla="*/ 113020 w 155813"/>
                            <a:gd name="connsiteY64" fmla="*/ 79004 h 156362"/>
                            <a:gd name="connsiteX65" fmla="*/ 115763 w 155813"/>
                            <a:gd name="connsiteY65" fmla="*/ 79004 h 156362"/>
                            <a:gd name="connsiteX66" fmla="*/ 116312 w 155813"/>
                            <a:gd name="connsiteY66" fmla="*/ 80650 h 156362"/>
                            <a:gd name="connsiteX67" fmla="*/ 117958 w 155813"/>
                            <a:gd name="connsiteY67" fmla="*/ 81199 h 156362"/>
                            <a:gd name="connsiteX68" fmla="*/ 120701 w 155813"/>
                            <a:gd name="connsiteY68" fmla="*/ 81199 h 156362"/>
                            <a:gd name="connsiteX69" fmla="*/ 125639 w 155813"/>
                            <a:gd name="connsiteY69" fmla="*/ 84491 h 156362"/>
                            <a:gd name="connsiteX70" fmla="*/ 132222 w 155813"/>
                            <a:gd name="connsiteY70" fmla="*/ 84491 h 156362"/>
                            <a:gd name="connsiteX71" fmla="*/ 133868 w 155813"/>
                            <a:gd name="connsiteY71" fmla="*/ 84491 h 156362"/>
                            <a:gd name="connsiteX72" fmla="*/ 136611 w 155813"/>
                            <a:gd name="connsiteY72" fmla="*/ 88880 h 156362"/>
                            <a:gd name="connsiteX73" fmla="*/ 136611 w 155813"/>
                            <a:gd name="connsiteY73" fmla="*/ 91623 h 156362"/>
                            <a:gd name="connsiteX74" fmla="*/ 138806 w 155813"/>
                            <a:gd name="connsiteY74" fmla="*/ 92720 h 156362"/>
                            <a:gd name="connsiteX75" fmla="*/ 141549 w 155813"/>
                            <a:gd name="connsiteY75" fmla="*/ 99304 h 156362"/>
                            <a:gd name="connsiteX76" fmla="*/ 145390 w 155813"/>
                            <a:gd name="connsiteY76" fmla="*/ 99853 h 156362"/>
                            <a:gd name="connsiteX77" fmla="*/ 149230 w 155813"/>
                            <a:gd name="connsiteY77" fmla="*/ 102596 h 156362"/>
                            <a:gd name="connsiteX78" fmla="*/ 153071 w 155813"/>
                            <a:gd name="connsiteY78" fmla="*/ 102047 h 156362"/>
                            <a:gd name="connsiteX79" fmla="*/ 153071 w 155813"/>
                            <a:gd name="connsiteY79" fmla="*/ 105339 h 156362"/>
                            <a:gd name="connsiteX80" fmla="*/ 154716 w 155813"/>
                            <a:gd name="connsiteY80" fmla="*/ 108631 h 156362"/>
                            <a:gd name="connsiteX81" fmla="*/ 155814 w 155813"/>
                            <a:gd name="connsiteY81" fmla="*/ 113020 h 156362"/>
                            <a:gd name="connsiteX82" fmla="*/ 154168 w 155813"/>
                            <a:gd name="connsiteY82" fmla="*/ 117958 h 156362"/>
                            <a:gd name="connsiteX83" fmla="*/ 155814 w 155813"/>
                            <a:gd name="connsiteY83" fmla="*/ 121798 h 156362"/>
                            <a:gd name="connsiteX84" fmla="*/ 155265 w 155813"/>
                            <a:gd name="connsiteY84" fmla="*/ 122347 h 156362"/>
                            <a:gd name="connsiteX85" fmla="*/ 152522 w 155813"/>
                            <a:gd name="connsiteY85" fmla="*/ 122347 h 156362"/>
                            <a:gd name="connsiteX86" fmla="*/ 151973 w 155813"/>
                            <a:gd name="connsiteY86" fmla="*/ 124541 h 156362"/>
                            <a:gd name="connsiteX87" fmla="*/ 151973 w 155813"/>
                            <a:gd name="connsiteY87" fmla="*/ 129479 h 156362"/>
                            <a:gd name="connsiteX88" fmla="*/ 149230 w 155813"/>
                            <a:gd name="connsiteY88" fmla="*/ 130028 h 156362"/>
                            <a:gd name="connsiteX89" fmla="*/ 149230 w 155813"/>
                            <a:gd name="connsiteY89" fmla="*/ 131125 h 156362"/>
                            <a:gd name="connsiteX90" fmla="*/ 149230 w 155813"/>
                            <a:gd name="connsiteY90" fmla="*/ 135514 h 156362"/>
                            <a:gd name="connsiteX91" fmla="*/ 148681 w 155813"/>
                            <a:gd name="connsiteY91" fmla="*/ 138257 h 156362"/>
                            <a:gd name="connsiteX92" fmla="*/ 149230 w 155813"/>
                            <a:gd name="connsiteY92" fmla="*/ 156362 h 156362"/>
                            <a:gd name="connsiteX93" fmla="*/ 133868 w 155813"/>
                            <a:gd name="connsiteY93" fmla="*/ 153619 h 156362"/>
                            <a:gd name="connsiteX94" fmla="*/ 130028 w 155813"/>
                            <a:gd name="connsiteY94" fmla="*/ 150328 h 156362"/>
                            <a:gd name="connsiteX95" fmla="*/ 98755 w 155813"/>
                            <a:gd name="connsiteY95" fmla="*/ 138257 h 156362"/>
                            <a:gd name="connsiteX96" fmla="*/ 91623 w 155813"/>
                            <a:gd name="connsiteY96" fmla="*/ 132771 h 156362"/>
                            <a:gd name="connsiteX97" fmla="*/ 82296 w 155813"/>
                            <a:gd name="connsiteY97" fmla="*/ 128382 h 156362"/>
                            <a:gd name="connsiteX98" fmla="*/ 40599 w 155813"/>
                            <a:gd name="connsiteY98" fmla="*/ 89977 h 156362"/>
                            <a:gd name="connsiteX99" fmla="*/ 24689 w 155813"/>
                            <a:gd name="connsiteY99" fmla="*/ 83942 h 156362"/>
                            <a:gd name="connsiteX100" fmla="*/ 19202 w 155813"/>
                            <a:gd name="connsiteY100" fmla="*/ 75164 h 156362"/>
                            <a:gd name="connsiteX101" fmla="*/ 12619 w 155813"/>
                            <a:gd name="connsiteY101" fmla="*/ 72421 h 156362"/>
                            <a:gd name="connsiteX102" fmla="*/ 10973 w 155813"/>
                            <a:gd name="connsiteY102" fmla="*/ 71323 h 156362"/>
                            <a:gd name="connsiteX103" fmla="*/ 11521 w 155813"/>
                            <a:gd name="connsiteY103" fmla="*/ 68031 h 156362"/>
                            <a:gd name="connsiteX104" fmla="*/ 10973 w 155813"/>
                            <a:gd name="connsiteY104" fmla="*/ 66385 h 156362"/>
                            <a:gd name="connsiteX105" fmla="*/ 2743 w 155813"/>
                            <a:gd name="connsiteY105" fmla="*/ 63642 h 156362"/>
                            <a:gd name="connsiteX106" fmla="*/ 2195 w 155813"/>
                            <a:gd name="connsiteY106" fmla="*/ 60899 h 156362"/>
                            <a:gd name="connsiteX107" fmla="*/ 0 w 155813"/>
                            <a:gd name="connsiteY107" fmla="*/ 60899 h 156362"/>
                            <a:gd name="connsiteX108" fmla="*/ 2195 w 155813"/>
                            <a:gd name="connsiteY108" fmla="*/ 59802 h 156362"/>
                            <a:gd name="connsiteX109" fmla="*/ 1646 w 155813"/>
                            <a:gd name="connsiteY109" fmla="*/ 59253 h 156362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  <a:cxn ang="0">
                              <a:pos x="connsiteX11" y="connsiteY11"/>
                            </a:cxn>
                            <a:cxn ang="0">
                              <a:pos x="connsiteX12" y="connsiteY12"/>
                            </a:cxn>
                            <a:cxn ang="0">
                              <a:pos x="connsiteX13" y="connsiteY13"/>
                            </a:cxn>
                            <a:cxn ang="0">
                              <a:pos x="connsiteX14" y="connsiteY14"/>
                            </a:cxn>
                            <a:cxn ang="0">
                              <a:pos x="connsiteX15" y="connsiteY15"/>
                            </a:cxn>
                            <a:cxn ang="0">
                              <a:pos x="connsiteX16" y="connsiteY16"/>
                            </a:cxn>
                            <a:cxn ang="0">
                              <a:pos x="connsiteX17" y="connsiteY17"/>
                            </a:cxn>
                            <a:cxn ang="0">
                              <a:pos x="connsiteX18" y="connsiteY18"/>
                            </a:cxn>
                            <a:cxn ang="0">
                              <a:pos x="connsiteX19" y="connsiteY19"/>
                            </a:cxn>
                            <a:cxn ang="0">
                              <a:pos x="connsiteX20" y="connsiteY20"/>
                            </a:cxn>
                            <a:cxn ang="0">
                              <a:pos x="connsiteX21" y="connsiteY21"/>
                            </a:cxn>
                            <a:cxn ang="0">
                              <a:pos x="connsiteX22" y="connsiteY22"/>
                            </a:cxn>
                            <a:cxn ang="0">
                              <a:pos x="connsiteX23" y="connsiteY23"/>
                            </a:cxn>
                            <a:cxn ang="0">
                              <a:pos x="connsiteX24" y="connsiteY24"/>
                            </a:cxn>
                            <a:cxn ang="0">
                              <a:pos x="connsiteX25" y="connsiteY25"/>
                            </a:cxn>
                            <a:cxn ang="0">
                              <a:pos x="connsiteX26" y="connsiteY26"/>
                            </a:cxn>
                            <a:cxn ang="0">
                              <a:pos x="connsiteX27" y="connsiteY27"/>
                            </a:cxn>
                            <a:cxn ang="0">
                              <a:pos x="connsiteX28" y="connsiteY28"/>
                            </a:cxn>
                            <a:cxn ang="0">
                              <a:pos x="connsiteX29" y="connsiteY29"/>
                            </a:cxn>
                            <a:cxn ang="0">
                              <a:pos x="connsiteX30" y="connsiteY30"/>
                            </a:cxn>
                            <a:cxn ang="0">
                              <a:pos x="connsiteX31" y="connsiteY31"/>
                            </a:cxn>
                            <a:cxn ang="0">
                              <a:pos x="connsiteX32" y="connsiteY32"/>
                            </a:cxn>
                            <a:cxn ang="0">
                              <a:pos x="connsiteX33" y="connsiteY33"/>
                            </a:cxn>
                            <a:cxn ang="0">
                              <a:pos x="connsiteX34" y="connsiteY34"/>
                            </a:cxn>
                            <a:cxn ang="0">
                              <a:pos x="connsiteX35" y="connsiteY35"/>
                            </a:cxn>
                            <a:cxn ang="0">
                              <a:pos x="connsiteX36" y="connsiteY36"/>
                            </a:cxn>
                            <a:cxn ang="0">
                              <a:pos x="connsiteX37" y="connsiteY37"/>
                            </a:cxn>
                            <a:cxn ang="0">
                              <a:pos x="connsiteX38" y="connsiteY38"/>
                            </a:cxn>
                            <a:cxn ang="0">
                              <a:pos x="connsiteX39" y="connsiteY39"/>
                            </a:cxn>
                            <a:cxn ang="0">
                              <a:pos x="connsiteX40" y="connsiteY40"/>
                            </a:cxn>
                            <a:cxn ang="0">
                              <a:pos x="connsiteX41" y="connsiteY41"/>
                            </a:cxn>
                            <a:cxn ang="0">
                              <a:pos x="connsiteX42" y="connsiteY42"/>
                            </a:cxn>
                            <a:cxn ang="0">
                              <a:pos x="connsiteX43" y="connsiteY43"/>
                            </a:cxn>
                            <a:cxn ang="0">
                              <a:pos x="connsiteX44" y="connsiteY44"/>
                            </a:cxn>
                            <a:cxn ang="0">
                              <a:pos x="connsiteX45" y="connsiteY45"/>
                            </a:cxn>
                            <a:cxn ang="0">
                              <a:pos x="connsiteX46" y="connsiteY46"/>
                            </a:cxn>
                            <a:cxn ang="0">
                              <a:pos x="connsiteX47" y="connsiteY47"/>
                            </a:cxn>
                            <a:cxn ang="0">
                              <a:pos x="connsiteX48" y="connsiteY48"/>
                            </a:cxn>
                            <a:cxn ang="0">
                              <a:pos x="connsiteX49" y="connsiteY49"/>
                            </a:cxn>
                            <a:cxn ang="0">
                              <a:pos x="connsiteX50" y="connsiteY50"/>
                            </a:cxn>
                            <a:cxn ang="0">
                              <a:pos x="connsiteX51" y="connsiteY51"/>
                            </a:cxn>
                            <a:cxn ang="0">
                              <a:pos x="connsiteX52" y="connsiteY52"/>
                            </a:cxn>
                            <a:cxn ang="0">
                              <a:pos x="connsiteX53" y="connsiteY53"/>
                            </a:cxn>
                            <a:cxn ang="0">
                              <a:pos x="connsiteX54" y="connsiteY54"/>
                            </a:cxn>
                            <a:cxn ang="0">
                              <a:pos x="connsiteX55" y="connsiteY55"/>
                            </a:cxn>
                            <a:cxn ang="0">
                              <a:pos x="connsiteX56" y="connsiteY56"/>
                            </a:cxn>
                            <a:cxn ang="0">
                              <a:pos x="connsiteX57" y="connsiteY57"/>
                            </a:cxn>
                            <a:cxn ang="0">
                              <a:pos x="connsiteX58" y="connsiteY58"/>
                            </a:cxn>
                            <a:cxn ang="0">
                              <a:pos x="connsiteX59" y="connsiteY59"/>
                            </a:cxn>
                            <a:cxn ang="0">
                              <a:pos x="connsiteX60" y="connsiteY60"/>
                            </a:cxn>
                            <a:cxn ang="0">
                              <a:pos x="connsiteX61" y="connsiteY61"/>
                            </a:cxn>
                            <a:cxn ang="0">
                              <a:pos x="connsiteX62" y="connsiteY62"/>
                            </a:cxn>
                            <a:cxn ang="0">
                              <a:pos x="connsiteX63" y="connsiteY63"/>
                            </a:cxn>
                            <a:cxn ang="0">
                              <a:pos x="connsiteX64" y="connsiteY64"/>
                            </a:cxn>
                            <a:cxn ang="0">
                              <a:pos x="connsiteX65" y="connsiteY65"/>
                            </a:cxn>
                            <a:cxn ang="0">
                              <a:pos x="connsiteX66" y="connsiteY66"/>
                            </a:cxn>
                            <a:cxn ang="0">
                              <a:pos x="connsiteX67" y="connsiteY67"/>
                            </a:cxn>
                            <a:cxn ang="0">
                              <a:pos x="connsiteX68" y="connsiteY68"/>
                            </a:cxn>
                            <a:cxn ang="0">
                              <a:pos x="connsiteX69" y="connsiteY69"/>
                            </a:cxn>
                            <a:cxn ang="0">
                              <a:pos x="connsiteX70" y="connsiteY70"/>
                            </a:cxn>
                            <a:cxn ang="0">
                              <a:pos x="connsiteX71" y="connsiteY71"/>
                            </a:cxn>
                            <a:cxn ang="0">
                              <a:pos x="connsiteX72" y="connsiteY72"/>
                            </a:cxn>
                            <a:cxn ang="0">
                              <a:pos x="connsiteX73" y="connsiteY73"/>
                            </a:cxn>
                            <a:cxn ang="0">
                              <a:pos x="connsiteX74" y="connsiteY74"/>
                            </a:cxn>
                            <a:cxn ang="0">
                              <a:pos x="connsiteX75" y="connsiteY75"/>
                            </a:cxn>
                            <a:cxn ang="0">
                              <a:pos x="connsiteX76" y="connsiteY76"/>
                            </a:cxn>
                            <a:cxn ang="0">
                              <a:pos x="connsiteX77" y="connsiteY77"/>
                            </a:cxn>
                            <a:cxn ang="0">
                              <a:pos x="connsiteX78" y="connsiteY78"/>
                            </a:cxn>
                            <a:cxn ang="0">
                              <a:pos x="connsiteX79" y="connsiteY79"/>
                            </a:cxn>
                            <a:cxn ang="0">
                              <a:pos x="connsiteX80" y="connsiteY80"/>
                            </a:cxn>
                            <a:cxn ang="0">
                              <a:pos x="connsiteX81" y="connsiteY81"/>
                            </a:cxn>
                            <a:cxn ang="0">
                              <a:pos x="connsiteX82" y="connsiteY82"/>
                            </a:cxn>
                            <a:cxn ang="0">
                              <a:pos x="connsiteX83" y="connsiteY83"/>
                            </a:cxn>
                            <a:cxn ang="0">
                              <a:pos x="connsiteX84" y="connsiteY84"/>
                            </a:cxn>
                            <a:cxn ang="0">
                              <a:pos x="connsiteX85" y="connsiteY85"/>
                            </a:cxn>
                            <a:cxn ang="0">
                              <a:pos x="connsiteX86" y="connsiteY86"/>
                            </a:cxn>
                            <a:cxn ang="0">
                              <a:pos x="connsiteX87" y="connsiteY87"/>
                            </a:cxn>
                            <a:cxn ang="0">
                              <a:pos x="connsiteX88" y="connsiteY88"/>
                            </a:cxn>
                            <a:cxn ang="0">
                              <a:pos x="connsiteX89" y="connsiteY89"/>
                            </a:cxn>
                            <a:cxn ang="0">
                              <a:pos x="connsiteX90" y="connsiteY90"/>
                            </a:cxn>
                            <a:cxn ang="0">
                              <a:pos x="connsiteX91" y="connsiteY91"/>
                            </a:cxn>
                            <a:cxn ang="0">
                              <a:pos x="connsiteX92" y="connsiteY92"/>
                            </a:cxn>
                            <a:cxn ang="0">
                              <a:pos x="connsiteX93" y="connsiteY93"/>
                            </a:cxn>
                            <a:cxn ang="0">
                              <a:pos x="connsiteX94" y="connsiteY94"/>
                            </a:cxn>
                            <a:cxn ang="0">
                              <a:pos x="connsiteX95" y="connsiteY95"/>
                            </a:cxn>
                            <a:cxn ang="0">
                              <a:pos x="connsiteX96" y="connsiteY96"/>
                            </a:cxn>
                            <a:cxn ang="0">
                              <a:pos x="connsiteX97" y="connsiteY97"/>
                            </a:cxn>
                            <a:cxn ang="0">
                              <a:pos x="connsiteX98" y="connsiteY98"/>
                            </a:cxn>
                            <a:cxn ang="0">
                              <a:pos x="connsiteX99" y="connsiteY99"/>
                            </a:cxn>
                            <a:cxn ang="0">
                              <a:pos x="connsiteX100" y="connsiteY100"/>
                            </a:cxn>
                            <a:cxn ang="0">
                              <a:pos x="connsiteX101" y="connsiteY101"/>
                            </a:cxn>
                            <a:cxn ang="0">
                              <a:pos x="connsiteX102" y="connsiteY102"/>
                            </a:cxn>
                            <a:cxn ang="0">
                              <a:pos x="connsiteX103" y="connsiteY103"/>
                            </a:cxn>
                            <a:cxn ang="0">
                              <a:pos x="connsiteX104" y="connsiteY104"/>
                            </a:cxn>
                            <a:cxn ang="0">
                              <a:pos x="connsiteX105" y="connsiteY105"/>
                            </a:cxn>
                            <a:cxn ang="0">
                              <a:pos x="connsiteX106" y="connsiteY106"/>
                            </a:cxn>
                            <a:cxn ang="0">
                              <a:pos x="connsiteX107" y="connsiteY107"/>
                            </a:cxn>
                            <a:cxn ang="0">
                              <a:pos x="connsiteX108" y="connsiteY108"/>
                            </a:cxn>
                            <a:cxn ang="0">
                              <a:pos x="connsiteX109" y="connsiteY109"/>
                            </a:cxn>
                          </a:cxnLst>
                          <a:rect l="l" t="t" r="r" b="b"/>
                          <a:pathLst>
                            <a:path w="155813" h="156362">
                              <a:moveTo>
                                <a:pt x="1646" y="59253"/>
                              </a:moveTo>
                              <a:lnTo>
                                <a:pt x="2743" y="59253"/>
                              </a:lnTo>
                              <a:lnTo>
                                <a:pt x="6035" y="57607"/>
                              </a:lnTo>
                              <a:lnTo>
                                <a:pt x="7132" y="53218"/>
                              </a:lnTo>
                              <a:lnTo>
                                <a:pt x="8778" y="52669"/>
                              </a:lnTo>
                              <a:lnTo>
                                <a:pt x="8778" y="49378"/>
                              </a:lnTo>
                              <a:lnTo>
                                <a:pt x="9875" y="47732"/>
                              </a:lnTo>
                              <a:lnTo>
                                <a:pt x="12619" y="47732"/>
                              </a:lnTo>
                              <a:lnTo>
                                <a:pt x="20848" y="40051"/>
                              </a:lnTo>
                              <a:lnTo>
                                <a:pt x="25786" y="38405"/>
                              </a:lnTo>
                              <a:lnTo>
                                <a:pt x="27981" y="34016"/>
                              </a:lnTo>
                              <a:lnTo>
                                <a:pt x="30724" y="33467"/>
                              </a:lnTo>
                              <a:lnTo>
                                <a:pt x="32370" y="30724"/>
                              </a:lnTo>
                              <a:lnTo>
                                <a:pt x="34564" y="29627"/>
                              </a:lnTo>
                              <a:lnTo>
                                <a:pt x="34564" y="19202"/>
                              </a:lnTo>
                              <a:lnTo>
                                <a:pt x="36759" y="18105"/>
                              </a:lnTo>
                              <a:lnTo>
                                <a:pt x="39502" y="14265"/>
                              </a:lnTo>
                              <a:lnTo>
                                <a:pt x="46086" y="13167"/>
                              </a:lnTo>
                              <a:lnTo>
                                <a:pt x="46634" y="12070"/>
                              </a:lnTo>
                              <a:lnTo>
                                <a:pt x="44440" y="9875"/>
                              </a:lnTo>
                              <a:lnTo>
                                <a:pt x="44440" y="6584"/>
                              </a:lnTo>
                              <a:lnTo>
                                <a:pt x="47732" y="6035"/>
                              </a:lnTo>
                              <a:lnTo>
                                <a:pt x="49378" y="1646"/>
                              </a:lnTo>
                              <a:lnTo>
                                <a:pt x="52121" y="0"/>
                              </a:lnTo>
                              <a:lnTo>
                                <a:pt x="58156" y="4389"/>
                              </a:lnTo>
                              <a:lnTo>
                                <a:pt x="59253" y="4389"/>
                              </a:lnTo>
                              <a:lnTo>
                                <a:pt x="60899" y="2743"/>
                              </a:lnTo>
                              <a:lnTo>
                                <a:pt x="66934" y="1097"/>
                              </a:lnTo>
                              <a:lnTo>
                                <a:pt x="68031" y="1646"/>
                              </a:lnTo>
                              <a:lnTo>
                                <a:pt x="68031" y="2743"/>
                              </a:lnTo>
                              <a:lnTo>
                                <a:pt x="70226" y="5486"/>
                              </a:lnTo>
                              <a:lnTo>
                                <a:pt x="75164" y="8778"/>
                              </a:lnTo>
                              <a:lnTo>
                                <a:pt x="75164" y="13716"/>
                              </a:lnTo>
                              <a:lnTo>
                                <a:pt x="77907" y="17557"/>
                              </a:lnTo>
                              <a:lnTo>
                                <a:pt x="79004" y="27432"/>
                              </a:lnTo>
                              <a:lnTo>
                                <a:pt x="80650" y="29078"/>
                              </a:lnTo>
                              <a:lnTo>
                                <a:pt x="80101" y="38953"/>
                              </a:lnTo>
                              <a:lnTo>
                                <a:pt x="78456" y="41697"/>
                              </a:lnTo>
                              <a:lnTo>
                                <a:pt x="75712" y="43343"/>
                              </a:lnTo>
                              <a:lnTo>
                                <a:pt x="75164" y="44989"/>
                              </a:lnTo>
                              <a:lnTo>
                                <a:pt x="76261" y="46086"/>
                              </a:lnTo>
                              <a:lnTo>
                                <a:pt x="79004" y="45537"/>
                              </a:lnTo>
                              <a:lnTo>
                                <a:pt x="81747" y="43343"/>
                              </a:lnTo>
                              <a:lnTo>
                                <a:pt x="83393" y="43891"/>
                              </a:lnTo>
                              <a:lnTo>
                                <a:pt x="89977" y="51023"/>
                              </a:lnTo>
                              <a:lnTo>
                                <a:pt x="93269" y="50475"/>
                              </a:lnTo>
                              <a:lnTo>
                                <a:pt x="95463" y="48829"/>
                              </a:lnTo>
                              <a:lnTo>
                                <a:pt x="100401" y="48829"/>
                              </a:lnTo>
                              <a:lnTo>
                                <a:pt x="100950" y="45537"/>
                              </a:lnTo>
                              <a:lnTo>
                                <a:pt x="104242" y="41148"/>
                              </a:lnTo>
                              <a:lnTo>
                                <a:pt x="104790" y="36210"/>
                              </a:lnTo>
                              <a:lnTo>
                                <a:pt x="106436" y="34016"/>
                              </a:lnTo>
                              <a:lnTo>
                                <a:pt x="110825" y="34564"/>
                              </a:lnTo>
                              <a:lnTo>
                                <a:pt x="115214" y="42245"/>
                              </a:lnTo>
                              <a:lnTo>
                                <a:pt x="115763" y="48829"/>
                              </a:lnTo>
                              <a:lnTo>
                                <a:pt x="117409" y="48829"/>
                              </a:lnTo>
                              <a:lnTo>
                                <a:pt x="119055" y="51023"/>
                              </a:lnTo>
                              <a:lnTo>
                                <a:pt x="119055" y="52669"/>
                              </a:lnTo>
                              <a:lnTo>
                                <a:pt x="121798" y="54864"/>
                              </a:lnTo>
                              <a:lnTo>
                                <a:pt x="118506" y="67483"/>
                              </a:lnTo>
                              <a:lnTo>
                                <a:pt x="113020" y="72969"/>
                              </a:lnTo>
                              <a:lnTo>
                                <a:pt x="110825" y="76810"/>
                              </a:lnTo>
                              <a:lnTo>
                                <a:pt x="110825" y="77907"/>
                              </a:lnTo>
                              <a:lnTo>
                                <a:pt x="112471" y="77907"/>
                              </a:lnTo>
                              <a:lnTo>
                                <a:pt x="113020" y="79004"/>
                              </a:lnTo>
                              <a:lnTo>
                                <a:pt x="115763" y="79004"/>
                              </a:lnTo>
                              <a:lnTo>
                                <a:pt x="116312" y="80650"/>
                              </a:lnTo>
                              <a:lnTo>
                                <a:pt x="117958" y="81199"/>
                              </a:lnTo>
                              <a:lnTo>
                                <a:pt x="120701" y="81199"/>
                              </a:lnTo>
                              <a:lnTo>
                                <a:pt x="125639" y="84491"/>
                              </a:lnTo>
                              <a:lnTo>
                                <a:pt x="132222" y="84491"/>
                              </a:lnTo>
                              <a:lnTo>
                                <a:pt x="133868" y="84491"/>
                              </a:lnTo>
                              <a:lnTo>
                                <a:pt x="136611" y="88880"/>
                              </a:lnTo>
                              <a:lnTo>
                                <a:pt x="136611" y="91623"/>
                              </a:lnTo>
                              <a:lnTo>
                                <a:pt x="138806" y="92720"/>
                              </a:lnTo>
                              <a:lnTo>
                                <a:pt x="141549" y="99304"/>
                              </a:lnTo>
                              <a:lnTo>
                                <a:pt x="145390" y="99853"/>
                              </a:lnTo>
                              <a:lnTo>
                                <a:pt x="149230" y="102596"/>
                              </a:lnTo>
                              <a:lnTo>
                                <a:pt x="153071" y="102047"/>
                              </a:lnTo>
                              <a:lnTo>
                                <a:pt x="153071" y="105339"/>
                              </a:lnTo>
                              <a:lnTo>
                                <a:pt x="154716" y="108631"/>
                              </a:lnTo>
                              <a:lnTo>
                                <a:pt x="155814" y="113020"/>
                              </a:lnTo>
                              <a:lnTo>
                                <a:pt x="154168" y="117958"/>
                              </a:lnTo>
                              <a:lnTo>
                                <a:pt x="155814" y="121798"/>
                              </a:lnTo>
                              <a:lnTo>
                                <a:pt x="155265" y="122347"/>
                              </a:lnTo>
                              <a:lnTo>
                                <a:pt x="152522" y="122347"/>
                              </a:lnTo>
                              <a:lnTo>
                                <a:pt x="151973" y="124541"/>
                              </a:lnTo>
                              <a:lnTo>
                                <a:pt x="151973" y="129479"/>
                              </a:lnTo>
                              <a:lnTo>
                                <a:pt x="149230" y="130028"/>
                              </a:lnTo>
                              <a:lnTo>
                                <a:pt x="149230" y="131125"/>
                              </a:lnTo>
                              <a:lnTo>
                                <a:pt x="149230" y="135514"/>
                              </a:lnTo>
                              <a:lnTo>
                                <a:pt x="148681" y="138257"/>
                              </a:lnTo>
                              <a:lnTo>
                                <a:pt x="149230" y="156362"/>
                              </a:lnTo>
                              <a:lnTo>
                                <a:pt x="133868" y="153619"/>
                              </a:lnTo>
                              <a:lnTo>
                                <a:pt x="130028" y="150328"/>
                              </a:lnTo>
                              <a:lnTo>
                                <a:pt x="98755" y="138257"/>
                              </a:lnTo>
                              <a:lnTo>
                                <a:pt x="91623" y="132771"/>
                              </a:lnTo>
                              <a:lnTo>
                                <a:pt x="82296" y="128382"/>
                              </a:lnTo>
                              <a:lnTo>
                                <a:pt x="40599" y="89977"/>
                              </a:lnTo>
                              <a:lnTo>
                                <a:pt x="24689" y="83942"/>
                              </a:lnTo>
                              <a:lnTo>
                                <a:pt x="19202" y="75164"/>
                              </a:lnTo>
                              <a:lnTo>
                                <a:pt x="12619" y="72421"/>
                              </a:lnTo>
                              <a:lnTo>
                                <a:pt x="10973" y="71323"/>
                              </a:lnTo>
                              <a:lnTo>
                                <a:pt x="11521" y="68031"/>
                              </a:lnTo>
                              <a:lnTo>
                                <a:pt x="10973" y="66385"/>
                              </a:lnTo>
                              <a:lnTo>
                                <a:pt x="2743" y="63642"/>
                              </a:lnTo>
                              <a:lnTo>
                                <a:pt x="2195" y="60899"/>
                              </a:lnTo>
                              <a:lnTo>
                                <a:pt x="0" y="60899"/>
                              </a:lnTo>
                              <a:lnTo>
                                <a:pt x="2195" y="59802"/>
                              </a:lnTo>
                              <a:lnTo>
                                <a:pt x="1646" y="59253"/>
                              </a:lnTo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197" name="Graphic 7">
                          <a:extLst>
                            <a:ext uri="{FF2B5EF4-FFF2-40B4-BE49-F238E27FC236}">
                              <a16:creationId xmlns:a16="http://schemas.microsoft.com/office/drawing/2014/main" id="{B03892DA-8929-50A4-36D8-CBB7E7CCC393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5146061" y="4143447"/>
                          <a:ext cx="130307" cy="190317"/>
                        </a:xfrm>
                        <a:custGeom>
                          <a:avLst/>
                          <a:gdLst>
                            <a:gd name="connsiteX0" fmla="*/ 166787 w 166786"/>
                            <a:gd name="connsiteY0" fmla="*/ 192024 h 243596"/>
                            <a:gd name="connsiteX1" fmla="*/ 163495 w 166786"/>
                            <a:gd name="connsiteY1" fmla="*/ 190927 h 243596"/>
                            <a:gd name="connsiteX2" fmla="*/ 147584 w 166786"/>
                            <a:gd name="connsiteY2" fmla="*/ 172273 h 243596"/>
                            <a:gd name="connsiteX3" fmla="*/ 137160 w 166786"/>
                            <a:gd name="connsiteY3" fmla="*/ 64191 h 243596"/>
                            <a:gd name="connsiteX4" fmla="*/ 134417 w 166786"/>
                            <a:gd name="connsiteY4" fmla="*/ 60350 h 243596"/>
                            <a:gd name="connsiteX5" fmla="*/ 131125 w 166786"/>
                            <a:gd name="connsiteY5" fmla="*/ 36210 h 243596"/>
                            <a:gd name="connsiteX6" fmla="*/ 120701 w 166786"/>
                            <a:gd name="connsiteY6" fmla="*/ 21946 h 243596"/>
                            <a:gd name="connsiteX7" fmla="*/ 114666 w 166786"/>
                            <a:gd name="connsiteY7" fmla="*/ 18654 h 243596"/>
                            <a:gd name="connsiteX8" fmla="*/ 114666 w 166786"/>
                            <a:gd name="connsiteY8" fmla="*/ 14265 h 243596"/>
                            <a:gd name="connsiteX9" fmla="*/ 116860 w 166786"/>
                            <a:gd name="connsiteY9" fmla="*/ 10424 h 243596"/>
                            <a:gd name="connsiteX10" fmla="*/ 116860 w 166786"/>
                            <a:gd name="connsiteY10" fmla="*/ 7132 h 243596"/>
                            <a:gd name="connsiteX11" fmla="*/ 119055 w 166786"/>
                            <a:gd name="connsiteY11" fmla="*/ 3841 h 243596"/>
                            <a:gd name="connsiteX12" fmla="*/ 118506 w 166786"/>
                            <a:gd name="connsiteY12" fmla="*/ 2743 h 243596"/>
                            <a:gd name="connsiteX13" fmla="*/ 112471 w 166786"/>
                            <a:gd name="connsiteY13" fmla="*/ 2195 h 243596"/>
                            <a:gd name="connsiteX14" fmla="*/ 111374 w 166786"/>
                            <a:gd name="connsiteY14" fmla="*/ 1097 h 243596"/>
                            <a:gd name="connsiteX15" fmla="*/ 111374 w 166786"/>
                            <a:gd name="connsiteY15" fmla="*/ 0 h 243596"/>
                            <a:gd name="connsiteX16" fmla="*/ 99852 w 166786"/>
                            <a:gd name="connsiteY16" fmla="*/ 1646 h 243596"/>
                            <a:gd name="connsiteX17" fmla="*/ 91074 w 166786"/>
                            <a:gd name="connsiteY17" fmla="*/ 7132 h 243596"/>
                            <a:gd name="connsiteX18" fmla="*/ 88880 w 166786"/>
                            <a:gd name="connsiteY18" fmla="*/ 7681 h 243596"/>
                            <a:gd name="connsiteX19" fmla="*/ 13167 w 166786"/>
                            <a:gd name="connsiteY19" fmla="*/ 4938 h 243596"/>
                            <a:gd name="connsiteX20" fmla="*/ 9876 w 166786"/>
                            <a:gd name="connsiteY20" fmla="*/ 10973 h 243596"/>
                            <a:gd name="connsiteX21" fmla="*/ 9876 w 166786"/>
                            <a:gd name="connsiteY21" fmla="*/ 15911 h 243596"/>
                            <a:gd name="connsiteX22" fmla="*/ 12070 w 166786"/>
                            <a:gd name="connsiteY22" fmla="*/ 21946 h 243596"/>
                            <a:gd name="connsiteX23" fmla="*/ 14265 w 166786"/>
                            <a:gd name="connsiteY23" fmla="*/ 23591 h 243596"/>
                            <a:gd name="connsiteX24" fmla="*/ 13716 w 166786"/>
                            <a:gd name="connsiteY24" fmla="*/ 29078 h 243596"/>
                            <a:gd name="connsiteX25" fmla="*/ 16459 w 166786"/>
                            <a:gd name="connsiteY25" fmla="*/ 30175 h 243596"/>
                            <a:gd name="connsiteX26" fmla="*/ 15362 w 166786"/>
                            <a:gd name="connsiteY26" fmla="*/ 38405 h 243596"/>
                            <a:gd name="connsiteX27" fmla="*/ 17556 w 166786"/>
                            <a:gd name="connsiteY27" fmla="*/ 44440 h 243596"/>
                            <a:gd name="connsiteX28" fmla="*/ 17556 w 166786"/>
                            <a:gd name="connsiteY28" fmla="*/ 55961 h 243596"/>
                            <a:gd name="connsiteX29" fmla="*/ 19751 w 166786"/>
                            <a:gd name="connsiteY29" fmla="*/ 60350 h 243596"/>
                            <a:gd name="connsiteX30" fmla="*/ 20300 w 166786"/>
                            <a:gd name="connsiteY30" fmla="*/ 64739 h 243596"/>
                            <a:gd name="connsiteX31" fmla="*/ 18654 w 166786"/>
                            <a:gd name="connsiteY31" fmla="*/ 66934 h 243596"/>
                            <a:gd name="connsiteX32" fmla="*/ 20848 w 166786"/>
                            <a:gd name="connsiteY32" fmla="*/ 70226 h 243596"/>
                            <a:gd name="connsiteX33" fmla="*/ 17556 w 166786"/>
                            <a:gd name="connsiteY33" fmla="*/ 74066 h 243596"/>
                            <a:gd name="connsiteX34" fmla="*/ 17008 w 166786"/>
                            <a:gd name="connsiteY34" fmla="*/ 75712 h 243596"/>
                            <a:gd name="connsiteX35" fmla="*/ 19751 w 166786"/>
                            <a:gd name="connsiteY35" fmla="*/ 76810 h 243596"/>
                            <a:gd name="connsiteX36" fmla="*/ 21946 w 166786"/>
                            <a:gd name="connsiteY36" fmla="*/ 78455 h 243596"/>
                            <a:gd name="connsiteX37" fmla="*/ 28529 w 166786"/>
                            <a:gd name="connsiteY37" fmla="*/ 108631 h 243596"/>
                            <a:gd name="connsiteX38" fmla="*/ 24689 w 166786"/>
                            <a:gd name="connsiteY38" fmla="*/ 108631 h 243596"/>
                            <a:gd name="connsiteX39" fmla="*/ 24689 w 166786"/>
                            <a:gd name="connsiteY39" fmla="*/ 112471 h 243596"/>
                            <a:gd name="connsiteX40" fmla="*/ 21946 w 166786"/>
                            <a:gd name="connsiteY40" fmla="*/ 113569 h 243596"/>
                            <a:gd name="connsiteX41" fmla="*/ 20300 w 166786"/>
                            <a:gd name="connsiteY41" fmla="*/ 116860 h 243596"/>
                            <a:gd name="connsiteX42" fmla="*/ 17556 w 166786"/>
                            <a:gd name="connsiteY42" fmla="*/ 117958 h 243596"/>
                            <a:gd name="connsiteX43" fmla="*/ 11521 w 166786"/>
                            <a:gd name="connsiteY43" fmla="*/ 133319 h 243596"/>
                            <a:gd name="connsiteX44" fmla="*/ 9876 w 166786"/>
                            <a:gd name="connsiteY44" fmla="*/ 146487 h 243596"/>
                            <a:gd name="connsiteX45" fmla="*/ 7681 w 166786"/>
                            <a:gd name="connsiteY45" fmla="*/ 150328 h 243596"/>
                            <a:gd name="connsiteX46" fmla="*/ 3840 w 166786"/>
                            <a:gd name="connsiteY46" fmla="*/ 155265 h 243596"/>
                            <a:gd name="connsiteX47" fmla="*/ 1097 w 166786"/>
                            <a:gd name="connsiteY47" fmla="*/ 159654 h 243596"/>
                            <a:gd name="connsiteX48" fmla="*/ 0 w 166786"/>
                            <a:gd name="connsiteY48" fmla="*/ 176662 h 243596"/>
                            <a:gd name="connsiteX49" fmla="*/ 7681 w 166786"/>
                            <a:gd name="connsiteY49" fmla="*/ 201899 h 243596"/>
                            <a:gd name="connsiteX50" fmla="*/ 10424 w 166786"/>
                            <a:gd name="connsiteY50" fmla="*/ 205192 h 243596"/>
                            <a:gd name="connsiteX51" fmla="*/ 15911 w 166786"/>
                            <a:gd name="connsiteY51" fmla="*/ 205740 h 243596"/>
                            <a:gd name="connsiteX52" fmla="*/ 17556 w 166786"/>
                            <a:gd name="connsiteY52" fmla="*/ 206837 h 243596"/>
                            <a:gd name="connsiteX53" fmla="*/ 19202 w 166786"/>
                            <a:gd name="connsiteY53" fmla="*/ 225491 h 243596"/>
                            <a:gd name="connsiteX54" fmla="*/ 14265 w 166786"/>
                            <a:gd name="connsiteY54" fmla="*/ 225491 h 243596"/>
                            <a:gd name="connsiteX55" fmla="*/ 12070 w 166786"/>
                            <a:gd name="connsiteY55" fmla="*/ 224942 h 243596"/>
                            <a:gd name="connsiteX56" fmla="*/ 7681 w 166786"/>
                            <a:gd name="connsiteY56" fmla="*/ 224394 h 243596"/>
                            <a:gd name="connsiteX57" fmla="*/ 6584 w 166786"/>
                            <a:gd name="connsiteY57" fmla="*/ 224942 h 243596"/>
                            <a:gd name="connsiteX58" fmla="*/ 3292 w 166786"/>
                            <a:gd name="connsiteY58" fmla="*/ 228783 h 243596"/>
                            <a:gd name="connsiteX59" fmla="*/ 46086 w 166786"/>
                            <a:gd name="connsiteY59" fmla="*/ 243596 h 243596"/>
                            <a:gd name="connsiteX60" fmla="*/ 65837 w 166786"/>
                            <a:gd name="connsiteY60" fmla="*/ 231526 h 243596"/>
                            <a:gd name="connsiteX61" fmla="*/ 94366 w 166786"/>
                            <a:gd name="connsiteY61" fmla="*/ 224394 h 243596"/>
                            <a:gd name="connsiteX62" fmla="*/ 129479 w 166786"/>
                            <a:gd name="connsiteY62" fmla="*/ 205192 h 243596"/>
                            <a:gd name="connsiteX63" fmla="*/ 147584 w 166786"/>
                            <a:gd name="connsiteY63" fmla="*/ 202448 h 243596"/>
                            <a:gd name="connsiteX64" fmla="*/ 150327 w 166786"/>
                            <a:gd name="connsiteY64" fmla="*/ 205192 h 243596"/>
                            <a:gd name="connsiteX65" fmla="*/ 156911 w 166786"/>
                            <a:gd name="connsiteY65" fmla="*/ 204094 h 243596"/>
                            <a:gd name="connsiteX66" fmla="*/ 164592 w 166786"/>
                            <a:gd name="connsiteY66" fmla="*/ 193121 h 243596"/>
                            <a:gd name="connsiteX67" fmla="*/ 166787 w 166786"/>
                            <a:gd name="connsiteY67" fmla="*/ 192024 h 243596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  <a:cxn ang="0">
                              <a:pos x="connsiteX11" y="connsiteY11"/>
                            </a:cxn>
                            <a:cxn ang="0">
                              <a:pos x="connsiteX12" y="connsiteY12"/>
                            </a:cxn>
                            <a:cxn ang="0">
                              <a:pos x="connsiteX13" y="connsiteY13"/>
                            </a:cxn>
                            <a:cxn ang="0">
                              <a:pos x="connsiteX14" y="connsiteY14"/>
                            </a:cxn>
                            <a:cxn ang="0">
                              <a:pos x="connsiteX15" y="connsiteY15"/>
                            </a:cxn>
                            <a:cxn ang="0">
                              <a:pos x="connsiteX16" y="connsiteY16"/>
                            </a:cxn>
                            <a:cxn ang="0">
                              <a:pos x="connsiteX17" y="connsiteY17"/>
                            </a:cxn>
                            <a:cxn ang="0">
                              <a:pos x="connsiteX18" y="connsiteY18"/>
                            </a:cxn>
                            <a:cxn ang="0">
                              <a:pos x="connsiteX19" y="connsiteY19"/>
                            </a:cxn>
                            <a:cxn ang="0">
                              <a:pos x="connsiteX20" y="connsiteY20"/>
                            </a:cxn>
                            <a:cxn ang="0">
                              <a:pos x="connsiteX21" y="connsiteY21"/>
                            </a:cxn>
                            <a:cxn ang="0">
                              <a:pos x="connsiteX22" y="connsiteY22"/>
                            </a:cxn>
                            <a:cxn ang="0">
                              <a:pos x="connsiteX23" y="connsiteY23"/>
                            </a:cxn>
                            <a:cxn ang="0">
                              <a:pos x="connsiteX24" y="connsiteY24"/>
                            </a:cxn>
                            <a:cxn ang="0">
                              <a:pos x="connsiteX25" y="connsiteY25"/>
                            </a:cxn>
                            <a:cxn ang="0">
                              <a:pos x="connsiteX26" y="connsiteY26"/>
                            </a:cxn>
                            <a:cxn ang="0">
                              <a:pos x="connsiteX27" y="connsiteY27"/>
                            </a:cxn>
                            <a:cxn ang="0">
                              <a:pos x="connsiteX28" y="connsiteY28"/>
                            </a:cxn>
                            <a:cxn ang="0">
                              <a:pos x="connsiteX29" y="connsiteY29"/>
                            </a:cxn>
                            <a:cxn ang="0">
                              <a:pos x="connsiteX30" y="connsiteY30"/>
                            </a:cxn>
                            <a:cxn ang="0">
                              <a:pos x="connsiteX31" y="connsiteY31"/>
                            </a:cxn>
                            <a:cxn ang="0">
                              <a:pos x="connsiteX32" y="connsiteY32"/>
                            </a:cxn>
                            <a:cxn ang="0">
                              <a:pos x="connsiteX33" y="connsiteY33"/>
                            </a:cxn>
                            <a:cxn ang="0">
                              <a:pos x="connsiteX34" y="connsiteY34"/>
                            </a:cxn>
                            <a:cxn ang="0">
                              <a:pos x="connsiteX35" y="connsiteY35"/>
                            </a:cxn>
                            <a:cxn ang="0">
                              <a:pos x="connsiteX36" y="connsiteY36"/>
                            </a:cxn>
                            <a:cxn ang="0">
                              <a:pos x="connsiteX37" y="connsiteY37"/>
                            </a:cxn>
                            <a:cxn ang="0">
                              <a:pos x="connsiteX38" y="connsiteY38"/>
                            </a:cxn>
                            <a:cxn ang="0">
                              <a:pos x="connsiteX39" y="connsiteY39"/>
                            </a:cxn>
                            <a:cxn ang="0">
                              <a:pos x="connsiteX40" y="connsiteY40"/>
                            </a:cxn>
                            <a:cxn ang="0">
                              <a:pos x="connsiteX41" y="connsiteY41"/>
                            </a:cxn>
                            <a:cxn ang="0">
                              <a:pos x="connsiteX42" y="connsiteY42"/>
                            </a:cxn>
                            <a:cxn ang="0">
                              <a:pos x="connsiteX43" y="connsiteY43"/>
                            </a:cxn>
                            <a:cxn ang="0">
                              <a:pos x="connsiteX44" y="connsiteY44"/>
                            </a:cxn>
                            <a:cxn ang="0">
                              <a:pos x="connsiteX45" y="connsiteY45"/>
                            </a:cxn>
                            <a:cxn ang="0">
                              <a:pos x="connsiteX46" y="connsiteY46"/>
                            </a:cxn>
                            <a:cxn ang="0">
                              <a:pos x="connsiteX47" y="connsiteY47"/>
                            </a:cxn>
                            <a:cxn ang="0">
                              <a:pos x="connsiteX48" y="connsiteY48"/>
                            </a:cxn>
                            <a:cxn ang="0">
                              <a:pos x="connsiteX49" y="connsiteY49"/>
                            </a:cxn>
                            <a:cxn ang="0">
                              <a:pos x="connsiteX50" y="connsiteY50"/>
                            </a:cxn>
                            <a:cxn ang="0">
                              <a:pos x="connsiteX51" y="connsiteY51"/>
                            </a:cxn>
                            <a:cxn ang="0">
                              <a:pos x="connsiteX52" y="connsiteY52"/>
                            </a:cxn>
                            <a:cxn ang="0">
                              <a:pos x="connsiteX53" y="connsiteY53"/>
                            </a:cxn>
                            <a:cxn ang="0">
                              <a:pos x="connsiteX54" y="connsiteY54"/>
                            </a:cxn>
                            <a:cxn ang="0">
                              <a:pos x="connsiteX55" y="connsiteY55"/>
                            </a:cxn>
                            <a:cxn ang="0">
                              <a:pos x="connsiteX56" y="connsiteY56"/>
                            </a:cxn>
                            <a:cxn ang="0">
                              <a:pos x="connsiteX57" y="connsiteY57"/>
                            </a:cxn>
                            <a:cxn ang="0">
                              <a:pos x="connsiteX58" y="connsiteY58"/>
                            </a:cxn>
                            <a:cxn ang="0">
                              <a:pos x="connsiteX59" y="connsiteY59"/>
                            </a:cxn>
                            <a:cxn ang="0">
                              <a:pos x="connsiteX60" y="connsiteY60"/>
                            </a:cxn>
                            <a:cxn ang="0">
                              <a:pos x="connsiteX61" y="connsiteY61"/>
                            </a:cxn>
                            <a:cxn ang="0">
                              <a:pos x="connsiteX62" y="connsiteY62"/>
                            </a:cxn>
                            <a:cxn ang="0">
                              <a:pos x="connsiteX63" y="connsiteY63"/>
                            </a:cxn>
                            <a:cxn ang="0">
                              <a:pos x="connsiteX64" y="connsiteY64"/>
                            </a:cxn>
                            <a:cxn ang="0">
                              <a:pos x="connsiteX65" y="connsiteY65"/>
                            </a:cxn>
                            <a:cxn ang="0">
                              <a:pos x="connsiteX66" y="connsiteY66"/>
                            </a:cxn>
                            <a:cxn ang="0">
                              <a:pos x="connsiteX67" y="connsiteY67"/>
                            </a:cxn>
                          </a:cxnLst>
                          <a:rect l="l" t="t" r="r" b="b"/>
                          <a:pathLst>
                            <a:path w="166786" h="243596">
                              <a:moveTo>
                                <a:pt x="166787" y="192024"/>
                              </a:moveTo>
                              <a:lnTo>
                                <a:pt x="163495" y="190927"/>
                              </a:lnTo>
                              <a:lnTo>
                                <a:pt x="147584" y="172273"/>
                              </a:lnTo>
                              <a:lnTo>
                                <a:pt x="137160" y="64191"/>
                              </a:lnTo>
                              <a:lnTo>
                                <a:pt x="134417" y="60350"/>
                              </a:lnTo>
                              <a:lnTo>
                                <a:pt x="131125" y="36210"/>
                              </a:lnTo>
                              <a:lnTo>
                                <a:pt x="120701" y="21946"/>
                              </a:lnTo>
                              <a:lnTo>
                                <a:pt x="114666" y="18654"/>
                              </a:lnTo>
                              <a:lnTo>
                                <a:pt x="114666" y="14265"/>
                              </a:lnTo>
                              <a:lnTo>
                                <a:pt x="116860" y="10424"/>
                              </a:lnTo>
                              <a:lnTo>
                                <a:pt x="116860" y="7132"/>
                              </a:lnTo>
                              <a:lnTo>
                                <a:pt x="119055" y="3841"/>
                              </a:lnTo>
                              <a:lnTo>
                                <a:pt x="118506" y="2743"/>
                              </a:lnTo>
                              <a:lnTo>
                                <a:pt x="112471" y="2195"/>
                              </a:lnTo>
                              <a:lnTo>
                                <a:pt x="111374" y="1097"/>
                              </a:lnTo>
                              <a:lnTo>
                                <a:pt x="111374" y="0"/>
                              </a:lnTo>
                              <a:lnTo>
                                <a:pt x="99852" y="1646"/>
                              </a:lnTo>
                              <a:lnTo>
                                <a:pt x="91074" y="7132"/>
                              </a:lnTo>
                              <a:lnTo>
                                <a:pt x="88880" y="7681"/>
                              </a:lnTo>
                              <a:lnTo>
                                <a:pt x="13167" y="4938"/>
                              </a:lnTo>
                              <a:lnTo>
                                <a:pt x="9876" y="10973"/>
                              </a:lnTo>
                              <a:lnTo>
                                <a:pt x="9876" y="15911"/>
                              </a:lnTo>
                              <a:lnTo>
                                <a:pt x="12070" y="21946"/>
                              </a:lnTo>
                              <a:lnTo>
                                <a:pt x="14265" y="23591"/>
                              </a:lnTo>
                              <a:lnTo>
                                <a:pt x="13716" y="29078"/>
                              </a:lnTo>
                              <a:lnTo>
                                <a:pt x="16459" y="30175"/>
                              </a:lnTo>
                              <a:lnTo>
                                <a:pt x="15362" y="38405"/>
                              </a:lnTo>
                              <a:lnTo>
                                <a:pt x="17556" y="44440"/>
                              </a:lnTo>
                              <a:lnTo>
                                <a:pt x="17556" y="55961"/>
                              </a:lnTo>
                              <a:lnTo>
                                <a:pt x="19751" y="60350"/>
                              </a:lnTo>
                              <a:lnTo>
                                <a:pt x="20300" y="64739"/>
                              </a:lnTo>
                              <a:lnTo>
                                <a:pt x="18654" y="66934"/>
                              </a:lnTo>
                              <a:lnTo>
                                <a:pt x="20848" y="70226"/>
                              </a:lnTo>
                              <a:lnTo>
                                <a:pt x="17556" y="74066"/>
                              </a:lnTo>
                              <a:lnTo>
                                <a:pt x="17008" y="75712"/>
                              </a:lnTo>
                              <a:lnTo>
                                <a:pt x="19751" y="76810"/>
                              </a:lnTo>
                              <a:lnTo>
                                <a:pt x="21946" y="78455"/>
                              </a:lnTo>
                              <a:lnTo>
                                <a:pt x="28529" y="108631"/>
                              </a:lnTo>
                              <a:lnTo>
                                <a:pt x="24689" y="108631"/>
                              </a:lnTo>
                              <a:lnTo>
                                <a:pt x="24689" y="112471"/>
                              </a:lnTo>
                              <a:lnTo>
                                <a:pt x="21946" y="113569"/>
                              </a:lnTo>
                              <a:lnTo>
                                <a:pt x="20300" y="116860"/>
                              </a:lnTo>
                              <a:lnTo>
                                <a:pt x="17556" y="117958"/>
                              </a:lnTo>
                              <a:lnTo>
                                <a:pt x="11521" y="133319"/>
                              </a:lnTo>
                              <a:lnTo>
                                <a:pt x="9876" y="146487"/>
                              </a:lnTo>
                              <a:lnTo>
                                <a:pt x="7681" y="150328"/>
                              </a:lnTo>
                              <a:lnTo>
                                <a:pt x="3840" y="155265"/>
                              </a:lnTo>
                              <a:lnTo>
                                <a:pt x="1097" y="159654"/>
                              </a:lnTo>
                              <a:lnTo>
                                <a:pt x="0" y="176662"/>
                              </a:lnTo>
                              <a:lnTo>
                                <a:pt x="7681" y="201899"/>
                              </a:lnTo>
                              <a:lnTo>
                                <a:pt x="10424" y="205192"/>
                              </a:lnTo>
                              <a:lnTo>
                                <a:pt x="15911" y="205740"/>
                              </a:lnTo>
                              <a:lnTo>
                                <a:pt x="17556" y="206837"/>
                              </a:lnTo>
                              <a:lnTo>
                                <a:pt x="19202" y="225491"/>
                              </a:lnTo>
                              <a:lnTo>
                                <a:pt x="14265" y="225491"/>
                              </a:lnTo>
                              <a:lnTo>
                                <a:pt x="12070" y="224942"/>
                              </a:lnTo>
                              <a:lnTo>
                                <a:pt x="7681" y="224394"/>
                              </a:lnTo>
                              <a:lnTo>
                                <a:pt x="6584" y="224942"/>
                              </a:lnTo>
                              <a:lnTo>
                                <a:pt x="3292" y="228783"/>
                              </a:lnTo>
                              <a:lnTo>
                                <a:pt x="46086" y="243596"/>
                              </a:lnTo>
                              <a:lnTo>
                                <a:pt x="65837" y="231526"/>
                              </a:lnTo>
                              <a:lnTo>
                                <a:pt x="94366" y="224394"/>
                              </a:lnTo>
                              <a:lnTo>
                                <a:pt x="129479" y="205192"/>
                              </a:lnTo>
                              <a:lnTo>
                                <a:pt x="147584" y="202448"/>
                              </a:lnTo>
                              <a:lnTo>
                                <a:pt x="150327" y="205192"/>
                              </a:lnTo>
                              <a:lnTo>
                                <a:pt x="156911" y="204094"/>
                              </a:lnTo>
                              <a:lnTo>
                                <a:pt x="164592" y="193121"/>
                              </a:lnTo>
                              <a:lnTo>
                                <a:pt x="166787" y="192024"/>
                              </a:lnTo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198" name="Graphic 7">
                          <a:extLst>
                            <a:ext uri="{FF2B5EF4-FFF2-40B4-BE49-F238E27FC236}">
                              <a16:creationId xmlns:a16="http://schemas.microsoft.com/office/drawing/2014/main" id="{A35B6B25-C52A-A199-4240-50208AC8246B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08539" y="3934270"/>
                          <a:ext cx="192889" cy="173171"/>
                        </a:xfrm>
                        <a:custGeom>
                          <a:avLst/>
                          <a:gdLst>
                            <a:gd name="connsiteX0" fmla="*/ 74615 w 246888"/>
                            <a:gd name="connsiteY0" fmla="*/ 0 h 221650"/>
                            <a:gd name="connsiteX1" fmla="*/ 68580 w 246888"/>
                            <a:gd name="connsiteY1" fmla="*/ 17008 h 221650"/>
                            <a:gd name="connsiteX2" fmla="*/ 40051 w 246888"/>
                            <a:gd name="connsiteY2" fmla="*/ 29078 h 221650"/>
                            <a:gd name="connsiteX3" fmla="*/ 36210 w 246888"/>
                            <a:gd name="connsiteY3" fmla="*/ 34016 h 221650"/>
                            <a:gd name="connsiteX4" fmla="*/ 30175 w 246888"/>
                            <a:gd name="connsiteY4" fmla="*/ 37856 h 221650"/>
                            <a:gd name="connsiteX5" fmla="*/ 21397 w 246888"/>
                            <a:gd name="connsiteY5" fmla="*/ 38953 h 221650"/>
                            <a:gd name="connsiteX6" fmla="*/ 0 w 246888"/>
                            <a:gd name="connsiteY6" fmla="*/ 137160 h 221650"/>
                            <a:gd name="connsiteX7" fmla="*/ 1646 w 246888"/>
                            <a:gd name="connsiteY7" fmla="*/ 148133 h 221650"/>
                            <a:gd name="connsiteX8" fmla="*/ 3841 w 246888"/>
                            <a:gd name="connsiteY8" fmla="*/ 148681 h 221650"/>
                            <a:gd name="connsiteX9" fmla="*/ 13167 w 246888"/>
                            <a:gd name="connsiteY9" fmla="*/ 148681 h 221650"/>
                            <a:gd name="connsiteX10" fmla="*/ 16459 w 246888"/>
                            <a:gd name="connsiteY10" fmla="*/ 150328 h 221650"/>
                            <a:gd name="connsiteX11" fmla="*/ 18105 w 246888"/>
                            <a:gd name="connsiteY11" fmla="*/ 150328 h 221650"/>
                            <a:gd name="connsiteX12" fmla="*/ 20300 w 246888"/>
                            <a:gd name="connsiteY12" fmla="*/ 148133 h 221650"/>
                            <a:gd name="connsiteX13" fmla="*/ 20848 w 246888"/>
                            <a:gd name="connsiteY13" fmla="*/ 145938 h 221650"/>
                            <a:gd name="connsiteX14" fmla="*/ 23043 w 246888"/>
                            <a:gd name="connsiteY14" fmla="*/ 143195 h 221650"/>
                            <a:gd name="connsiteX15" fmla="*/ 28529 w 246888"/>
                            <a:gd name="connsiteY15" fmla="*/ 143195 h 221650"/>
                            <a:gd name="connsiteX16" fmla="*/ 31821 w 246888"/>
                            <a:gd name="connsiteY16" fmla="*/ 147035 h 221650"/>
                            <a:gd name="connsiteX17" fmla="*/ 31821 w 246888"/>
                            <a:gd name="connsiteY17" fmla="*/ 149779 h 221650"/>
                            <a:gd name="connsiteX18" fmla="*/ 37856 w 246888"/>
                            <a:gd name="connsiteY18" fmla="*/ 156362 h 221650"/>
                            <a:gd name="connsiteX19" fmla="*/ 51023 w 246888"/>
                            <a:gd name="connsiteY19" fmla="*/ 126736 h 221650"/>
                            <a:gd name="connsiteX20" fmla="*/ 58156 w 246888"/>
                            <a:gd name="connsiteY20" fmla="*/ 133868 h 221650"/>
                            <a:gd name="connsiteX21" fmla="*/ 63094 w 246888"/>
                            <a:gd name="connsiteY21" fmla="*/ 133868 h 221650"/>
                            <a:gd name="connsiteX22" fmla="*/ 64739 w 246888"/>
                            <a:gd name="connsiteY22" fmla="*/ 134417 h 221650"/>
                            <a:gd name="connsiteX23" fmla="*/ 64739 w 246888"/>
                            <a:gd name="connsiteY23" fmla="*/ 136612 h 221650"/>
                            <a:gd name="connsiteX24" fmla="*/ 70775 w 246888"/>
                            <a:gd name="connsiteY24" fmla="*/ 143744 h 221650"/>
                            <a:gd name="connsiteX25" fmla="*/ 76261 w 246888"/>
                            <a:gd name="connsiteY25" fmla="*/ 144292 h 221650"/>
                            <a:gd name="connsiteX26" fmla="*/ 79004 w 246888"/>
                            <a:gd name="connsiteY26" fmla="*/ 142646 h 221650"/>
                            <a:gd name="connsiteX27" fmla="*/ 88331 w 246888"/>
                            <a:gd name="connsiteY27" fmla="*/ 141549 h 221650"/>
                            <a:gd name="connsiteX28" fmla="*/ 92171 w 246888"/>
                            <a:gd name="connsiteY28" fmla="*/ 138257 h 221650"/>
                            <a:gd name="connsiteX29" fmla="*/ 92171 w 246888"/>
                            <a:gd name="connsiteY29" fmla="*/ 135514 h 221650"/>
                            <a:gd name="connsiteX30" fmla="*/ 95463 w 246888"/>
                            <a:gd name="connsiteY30" fmla="*/ 135514 h 221650"/>
                            <a:gd name="connsiteX31" fmla="*/ 99304 w 246888"/>
                            <a:gd name="connsiteY31" fmla="*/ 138806 h 221650"/>
                            <a:gd name="connsiteX32" fmla="*/ 100950 w 246888"/>
                            <a:gd name="connsiteY32" fmla="*/ 143195 h 221650"/>
                            <a:gd name="connsiteX33" fmla="*/ 102596 w 246888"/>
                            <a:gd name="connsiteY33" fmla="*/ 143195 h 221650"/>
                            <a:gd name="connsiteX34" fmla="*/ 103693 w 246888"/>
                            <a:gd name="connsiteY34" fmla="*/ 142098 h 221650"/>
                            <a:gd name="connsiteX35" fmla="*/ 108631 w 246888"/>
                            <a:gd name="connsiteY35" fmla="*/ 141549 h 221650"/>
                            <a:gd name="connsiteX36" fmla="*/ 111923 w 246888"/>
                            <a:gd name="connsiteY36" fmla="*/ 138257 h 221650"/>
                            <a:gd name="connsiteX37" fmla="*/ 114117 w 246888"/>
                            <a:gd name="connsiteY37" fmla="*/ 138806 h 221650"/>
                            <a:gd name="connsiteX38" fmla="*/ 117409 w 246888"/>
                            <a:gd name="connsiteY38" fmla="*/ 141549 h 221650"/>
                            <a:gd name="connsiteX39" fmla="*/ 123993 w 246888"/>
                            <a:gd name="connsiteY39" fmla="*/ 141549 h 221650"/>
                            <a:gd name="connsiteX40" fmla="*/ 125639 w 246888"/>
                            <a:gd name="connsiteY40" fmla="*/ 143744 h 221650"/>
                            <a:gd name="connsiteX41" fmla="*/ 128382 w 246888"/>
                            <a:gd name="connsiteY41" fmla="*/ 143744 h 221650"/>
                            <a:gd name="connsiteX42" fmla="*/ 129479 w 246888"/>
                            <a:gd name="connsiteY42" fmla="*/ 142646 h 221650"/>
                            <a:gd name="connsiteX43" fmla="*/ 137709 w 246888"/>
                            <a:gd name="connsiteY43" fmla="*/ 142646 h 221650"/>
                            <a:gd name="connsiteX44" fmla="*/ 153071 w 246888"/>
                            <a:gd name="connsiteY44" fmla="*/ 153071 h 221650"/>
                            <a:gd name="connsiteX45" fmla="*/ 158557 w 246888"/>
                            <a:gd name="connsiteY45" fmla="*/ 153619 h 221650"/>
                            <a:gd name="connsiteX46" fmla="*/ 175565 w 246888"/>
                            <a:gd name="connsiteY46" fmla="*/ 175016 h 221650"/>
                            <a:gd name="connsiteX47" fmla="*/ 195316 w 246888"/>
                            <a:gd name="connsiteY47" fmla="*/ 189829 h 221650"/>
                            <a:gd name="connsiteX48" fmla="*/ 203545 w 246888"/>
                            <a:gd name="connsiteY48" fmla="*/ 204643 h 221650"/>
                            <a:gd name="connsiteX49" fmla="*/ 214518 w 246888"/>
                            <a:gd name="connsiteY49" fmla="*/ 211775 h 221650"/>
                            <a:gd name="connsiteX50" fmla="*/ 221102 w 246888"/>
                            <a:gd name="connsiteY50" fmla="*/ 221651 h 221650"/>
                            <a:gd name="connsiteX51" fmla="*/ 224942 w 246888"/>
                            <a:gd name="connsiteY51" fmla="*/ 217810 h 221650"/>
                            <a:gd name="connsiteX52" fmla="*/ 246888 w 246888"/>
                            <a:gd name="connsiteY52" fmla="*/ 204643 h 221650"/>
                            <a:gd name="connsiteX53" fmla="*/ 243596 w 246888"/>
                            <a:gd name="connsiteY53" fmla="*/ 200802 h 221650"/>
                            <a:gd name="connsiteX54" fmla="*/ 239756 w 246888"/>
                            <a:gd name="connsiteY54" fmla="*/ 202997 h 221650"/>
                            <a:gd name="connsiteX55" fmla="*/ 235915 w 246888"/>
                            <a:gd name="connsiteY55" fmla="*/ 200802 h 221650"/>
                            <a:gd name="connsiteX56" fmla="*/ 234269 w 246888"/>
                            <a:gd name="connsiteY56" fmla="*/ 198608 h 221650"/>
                            <a:gd name="connsiteX57" fmla="*/ 232623 w 246888"/>
                            <a:gd name="connsiteY57" fmla="*/ 193670 h 221650"/>
                            <a:gd name="connsiteX58" fmla="*/ 232075 w 246888"/>
                            <a:gd name="connsiteY58" fmla="*/ 192573 h 221650"/>
                            <a:gd name="connsiteX59" fmla="*/ 226040 w 246888"/>
                            <a:gd name="connsiteY59" fmla="*/ 192024 h 221650"/>
                            <a:gd name="connsiteX60" fmla="*/ 223297 w 246888"/>
                            <a:gd name="connsiteY60" fmla="*/ 189829 h 221650"/>
                            <a:gd name="connsiteX61" fmla="*/ 220005 w 246888"/>
                            <a:gd name="connsiteY61" fmla="*/ 181051 h 221650"/>
                            <a:gd name="connsiteX62" fmla="*/ 217810 w 246888"/>
                            <a:gd name="connsiteY62" fmla="*/ 178857 h 221650"/>
                            <a:gd name="connsiteX63" fmla="*/ 216713 w 246888"/>
                            <a:gd name="connsiteY63" fmla="*/ 176113 h 221650"/>
                            <a:gd name="connsiteX64" fmla="*/ 212872 w 246888"/>
                            <a:gd name="connsiteY64" fmla="*/ 175016 h 221650"/>
                            <a:gd name="connsiteX65" fmla="*/ 210129 w 246888"/>
                            <a:gd name="connsiteY65" fmla="*/ 173370 h 221650"/>
                            <a:gd name="connsiteX66" fmla="*/ 206837 w 246888"/>
                            <a:gd name="connsiteY66" fmla="*/ 166238 h 221650"/>
                            <a:gd name="connsiteX67" fmla="*/ 205740 w 246888"/>
                            <a:gd name="connsiteY67" fmla="*/ 165141 h 221650"/>
                            <a:gd name="connsiteX68" fmla="*/ 202448 w 246888"/>
                            <a:gd name="connsiteY68" fmla="*/ 165689 h 221650"/>
                            <a:gd name="connsiteX69" fmla="*/ 199705 w 246888"/>
                            <a:gd name="connsiteY69" fmla="*/ 163495 h 221650"/>
                            <a:gd name="connsiteX70" fmla="*/ 198059 w 246888"/>
                            <a:gd name="connsiteY70" fmla="*/ 163495 h 221650"/>
                            <a:gd name="connsiteX71" fmla="*/ 196413 w 246888"/>
                            <a:gd name="connsiteY71" fmla="*/ 162397 h 221650"/>
                            <a:gd name="connsiteX72" fmla="*/ 195865 w 246888"/>
                            <a:gd name="connsiteY72" fmla="*/ 159106 h 221650"/>
                            <a:gd name="connsiteX73" fmla="*/ 180503 w 246888"/>
                            <a:gd name="connsiteY73" fmla="*/ 137709 h 221650"/>
                            <a:gd name="connsiteX74" fmla="*/ 175565 w 246888"/>
                            <a:gd name="connsiteY74" fmla="*/ 134965 h 221650"/>
                            <a:gd name="connsiteX75" fmla="*/ 168433 w 246888"/>
                            <a:gd name="connsiteY75" fmla="*/ 134965 h 221650"/>
                            <a:gd name="connsiteX76" fmla="*/ 164592 w 246888"/>
                            <a:gd name="connsiteY76" fmla="*/ 132222 h 221650"/>
                            <a:gd name="connsiteX77" fmla="*/ 161300 w 246888"/>
                            <a:gd name="connsiteY77" fmla="*/ 131674 h 221650"/>
                            <a:gd name="connsiteX78" fmla="*/ 159106 w 246888"/>
                            <a:gd name="connsiteY78" fmla="*/ 129479 h 221650"/>
                            <a:gd name="connsiteX79" fmla="*/ 156362 w 246888"/>
                            <a:gd name="connsiteY79" fmla="*/ 124541 h 221650"/>
                            <a:gd name="connsiteX80" fmla="*/ 150876 w 246888"/>
                            <a:gd name="connsiteY80" fmla="*/ 121798 h 221650"/>
                            <a:gd name="connsiteX81" fmla="*/ 147035 w 246888"/>
                            <a:gd name="connsiteY81" fmla="*/ 121249 h 221650"/>
                            <a:gd name="connsiteX82" fmla="*/ 144841 w 246888"/>
                            <a:gd name="connsiteY82" fmla="*/ 123444 h 221650"/>
                            <a:gd name="connsiteX83" fmla="*/ 143195 w 246888"/>
                            <a:gd name="connsiteY83" fmla="*/ 123993 h 221650"/>
                            <a:gd name="connsiteX84" fmla="*/ 139903 w 246888"/>
                            <a:gd name="connsiteY84" fmla="*/ 123444 h 221650"/>
                            <a:gd name="connsiteX85" fmla="*/ 136611 w 246888"/>
                            <a:gd name="connsiteY85" fmla="*/ 116860 h 221650"/>
                            <a:gd name="connsiteX86" fmla="*/ 133319 w 246888"/>
                            <a:gd name="connsiteY86" fmla="*/ 113569 h 221650"/>
                            <a:gd name="connsiteX87" fmla="*/ 133319 w 246888"/>
                            <a:gd name="connsiteY87" fmla="*/ 110825 h 221650"/>
                            <a:gd name="connsiteX88" fmla="*/ 134965 w 246888"/>
                            <a:gd name="connsiteY88" fmla="*/ 108082 h 221650"/>
                            <a:gd name="connsiteX89" fmla="*/ 133868 w 246888"/>
                            <a:gd name="connsiteY89" fmla="*/ 105887 h 221650"/>
                            <a:gd name="connsiteX90" fmla="*/ 131125 w 246888"/>
                            <a:gd name="connsiteY90" fmla="*/ 105339 h 221650"/>
                            <a:gd name="connsiteX91" fmla="*/ 128930 w 246888"/>
                            <a:gd name="connsiteY91" fmla="*/ 102596 h 221650"/>
                            <a:gd name="connsiteX92" fmla="*/ 125639 w 246888"/>
                            <a:gd name="connsiteY92" fmla="*/ 103693 h 221650"/>
                            <a:gd name="connsiteX93" fmla="*/ 123993 w 246888"/>
                            <a:gd name="connsiteY93" fmla="*/ 105339 h 221650"/>
                            <a:gd name="connsiteX94" fmla="*/ 124541 w 246888"/>
                            <a:gd name="connsiteY94" fmla="*/ 108631 h 221650"/>
                            <a:gd name="connsiteX95" fmla="*/ 126736 w 246888"/>
                            <a:gd name="connsiteY95" fmla="*/ 111374 h 221650"/>
                            <a:gd name="connsiteX96" fmla="*/ 126187 w 246888"/>
                            <a:gd name="connsiteY96" fmla="*/ 114666 h 221650"/>
                            <a:gd name="connsiteX97" fmla="*/ 123993 w 246888"/>
                            <a:gd name="connsiteY97" fmla="*/ 115214 h 221650"/>
                            <a:gd name="connsiteX98" fmla="*/ 120701 w 246888"/>
                            <a:gd name="connsiteY98" fmla="*/ 114117 h 221650"/>
                            <a:gd name="connsiteX99" fmla="*/ 120152 w 246888"/>
                            <a:gd name="connsiteY99" fmla="*/ 111923 h 221650"/>
                            <a:gd name="connsiteX100" fmla="*/ 120701 w 246888"/>
                            <a:gd name="connsiteY100" fmla="*/ 108631 h 221650"/>
                            <a:gd name="connsiteX101" fmla="*/ 119055 w 246888"/>
                            <a:gd name="connsiteY101" fmla="*/ 106985 h 221650"/>
                            <a:gd name="connsiteX102" fmla="*/ 116860 w 246888"/>
                            <a:gd name="connsiteY102" fmla="*/ 99304 h 221650"/>
                            <a:gd name="connsiteX103" fmla="*/ 115763 w 246888"/>
                            <a:gd name="connsiteY103" fmla="*/ 98755 h 221650"/>
                            <a:gd name="connsiteX104" fmla="*/ 112471 w 246888"/>
                            <a:gd name="connsiteY104" fmla="*/ 98207 h 221650"/>
                            <a:gd name="connsiteX105" fmla="*/ 110825 w 246888"/>
                            <a:gd name="connsiteY105" fmla="*/ 96561 h 221650"/>
                            <a:gd name="connsiteX106" fmla="*/ 110825 w 246888"/>
                            <a:gd name="connsiteY106" fmla="*/ 94366 h 221650"/>
                            <a:gd name="connsiteX107" fmla="*/ 109179 w 246888"/>
                            <a:gd name="connsiteY107" fmla="*/ 93269 h 221650"/>
                            <a:gd name="connsiteX108" fmla="*/ 108631 w 246888"/>
                            <a:gd name="connsiteY108" fmla="*/ 88880 h 221650"/>
                            <a:gd name="connsiteX109" fmla="*/ 102047 w 246888"/>
                            <a:gd name="connsiteY109" fmla="*/ 81747 h 221650"/>
                            <a:gd name="connsiteX110" fmla="*/ 88880 w 246888"/>
                            <a:gd name="connsiteY110" fmla="*/ 21397 h 221650"/>
                            <a:gd name="connsiteX111" fmla="*/ 77358 w 246888"/>
                            <a:gd name="connsiteY111" fmla="*/ 0 h 221650"/>
                            <a:gd name="connsiteX112" fmla="*/ 74615 w 246888"/>
                            <a:gd name="connsiteY112" fmla="*/ 0 h 221650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  <a:cxn ang="0">
                              <a:pos x="connsiteX11" y="connsiteY11"/>
                            </a:cxn>
                            <a:cxn ang="0">
                              <a:pos x="connsiteX12" y="connsiteY12"/>
                            </a:cxn>
                            <a:cxn ang="0">
                              <a:pos x="connsiteX13" y="connsiteY13"/>
                            </a:cxn>
                            <a:cxn ang="0">
                              <a:pos x="connsiteX14" y="connsiteY14"/>
                            </a:cxn>
                            <a:cxn ang="0">
                              <a:pos x="connsiteX15" y="connsiteY15"/>
                            </a:cxn>
                            <a:cxn ang="0">
                              <a:pos x="connsiteX16" y="connsiteY16"/>
                            </a:cxn>
                            <a:cxn ang="0">
                              <a:pos x="connsiteX17" y="connsiteY17"/>
                            </a:cxn>
                            <a:cxn ang="0">
                              <a:pos x="connsiteX18" y="connsiteY18"/>
                            </a:cxn>
                            <a:cxn ang="0">
                              <a:pos x="connsiteX19" y="connsiteY19"/>
                            </a:cxn>
                            <a:cxn ang="0">
                              <a:pos x="connsiteX20" y="connsiteY20"/>
                            </a:cxn>
                            <a:cxn ang="0">
                              <a:pos x="connsiteX21" y="connsiteY21"/>
                            </a:cxn>
                            <a:cxn ang="0">
                              <a:pos x="connsiteX22" y="connsiteY22"/>
                            </a:cxn>
                            <a:cxn ang="0">
                              <a:pos x="connsiteX23" y="connsiteY23"/>
                            </a:cxn>
                            <a:cxn ang="0">
                              <a:pos x="connsiteX24" y="connsiteY24"/>
                            </a:cxn>
                            <a:cxn ang="0">
                              <a:pos x="connsiteX25" y="connsiteY25"/>
                            </a:cxn>
                            <a:cxn ang="0">
                              <a:pos x="connsiteX26" y="connsiteY26"/>
                            </a:cxn>
                            <a:cxn ang="0">
                              <a:pos x="connsiteX27" y="connsiteY27"/>
                            </a:cxn>
                            <a:cxn ang="0">
                              <a:pos x="connsiteX28" y="connsiteY28"/>
                            </a:cxn>
                            <a:cxn ang="0">
                              <a:pos x="connsiteX29" y="connsiteY29"/>
                            </a:cxn>
                            <a:cxn ang="0">
                              <a:pos x="connsiteX30" y="connsiteY30"/>
                            </a:cxn>
                            <a:cxn ang="0">
                              <a:pos x="connsiteX31" y="connsiteY31"/>
                            </a:cxn>
                            <a:cxn ang="0">
                              <a:pos x="connsiteX32" y="connsiteY32"/>
                            </a:cxn>
                            <a:cxn ang="0">
                              <a:pos x="connsiteX33" y="connsiteY33"/>
                            </a:cxn>
                            <a:cxn ang="0">
                              <a:pos x="connsiteX34" y="connsiteY34"/>
                            </a:cxn>
                            <a:cxn ang="0">
                              <a:pos x="connsiteX35" y="connsiteY35"/>
                            </a:cxn>
                            <a:cxn ang="0">
                              <a:pos x="connsiteX36" y="connsiteY36"/>
                            </a:cxn>
                            <a:cxn ang="0">
                              <a:pos x="connsiteX37" y="connsiteY37"/>
                            </a:cxn>
                            <a:cxn ang="0">
                              <a:pos x="connsiteX38" y="connsiteY38"/>
                            </a:cxn>
                            <a:cxn ang="0">
                              <a:pos x="connsiteX39" y="connsiteY39"/>
                            </a:cxn>
                            <a:cxn ang="0">
                              <a:pos x="connsiteX40" y="connsiteY40"/>
                            </a:cxn>
                            <a:cxn ang="0">
                              <a:pos x="connsiteX41" y="connsiteY41"/>
                            </a:cxn>
                            <a:cxn ang="0">
                              <a:pos x="connsiteX42" y="connsiteY42"/>
                            </a:cxn>
                            <a:cxn ang="0">
                              <a:pos x="connsiteX43" y="connsiteY43"/>
                            </a:cxn>
                            <a:cxn ang="0">
                              <a:pos x="connsiteX44" y="connsiteY44"/>
                            </a:cxn>
                            <a:cxn ang="0">
                              <a:pos x="connsiteX45" y="connsiteY45"/>
                            </a:cxn>
                            <a:cxn ang="0">
                              <a:pos x="connsiteX46" y="connsiteY46"/>
                            </a:cxn>
                            <a:cxn ang="0">
                              <a:pos x="connsiteX47" y="connsiteY47"/>
                            </a:cxn>
                            <a:cxn ang="0">
                              <a:pos x="connsiteX48" y="connsiteY48"/>
                            </a:cxn>
                            <a:cxn ang="0">
                              <a:pos x="connsiteX49" y="connsiteY49"/>
                            </a:cxn>
                            <a:cxn ang="0">
                              <a:pos x="connsiteX50" y="connsiteY50"/>
                            </a:cxn>
                            <a:cxn ang="0">
                              <a:pos x="connsiteX51" y="connsiteY51"/>
                            </a:cxn>
                            <a:cxn ang="0">
                              <a:pos x="connsiteX52" y="connsiteY52"/>
                            </a:cxn>
                            <a:cxn ang="0">
                              <a:pos x="connsiteX53" y="connsiteY53"/>
                            </a:cxn>
                            <a:cxn ang="0">
                              <a:pos x="connsiteX54" y="connsiteY54"/>
                            </a:cxn>
                            <a:cxn ang="0">
                              <a:pos x="connsiteX55" y="connsiteY55"/>
                            </a:cxn>
                            <a:cxn ang="0">
                              <a:pos x="connsiteX56" y="connsiteY56"/>
                            </a:cxn>
                            <a:cxn ang="0">
                              <a:pos x="connsiteX57" y="connsiteY57"/>
                            </a:cxn>
                            <a:cxn ang="0">
                              <a:pos x="connsiteX58" y="connsiteY58"/>
                            </a:cxn>
                            <a:cxn ang="0">
                              <a:pos x="connsiteX59" y="connsiteY59"/>
                            </a:cxn>
                            <a:cxn ang="0">
                              <a:pos x="connsiteX60" y="connsiteY60"/>
                            </a:cxn>
                            <a:cxn ang="0">
                              <a:pos x="connsiteX61" y="connsiteY61"/>
                            </a:cxn>
                            <a:cxn ang="0">
                              <a:pos x="connsiteX62" y="connsiteY62"/>
                            </a:cxn>
                            <a:cxn ang="0">
                              <a:pos x="connsiteX63" y="connsiteY63"/>
                            </a:cxn>
                            <a:cxn ang="0">
                              <a:pos x="connsiteX64" y="connsiteY64"/>
                            </a:cxn>
                            <a:cxn ang="0">
                              <a:pos x="connsiteX65" y="connsiteY65"/>
                            </a:cxn>
                            <a:cxn ang="0">
                              <a:pos x="connsiteX66" y="connsiteY66"/>
                            </a:cxn>
                            <a:cxn ang="0">
                              <a:pos x="connsiteX67" y="connsiteY67"/>
                            </a:cxn>
                            <a:cxn ang="0">
                              <a:pos x="connsiteX68" y="connsiteY68"/>
                            </a:cxn>
                            <a:cxn ang="0">
                              <a:pos x="connsiteX69" y="connsiteY69"/>
                            </a:cxn>
                            <a:cxn ang="0">
                              <a:pos x="connsiteX70" y="connsiteY70"/>
                            </a:cxn>
                            <a:cxn ang="0">
                              <a:pos x="connsiteX71" y="connsiteY71"/>
                            </a:cxn>
                            <a:cxn ang="0">
                              <a:pos x="connsiteX72" y="connsiteY72"/>
                            </a:cxn>
                            <a:cxn ang="0">
                              <a:pos x="connsiteX73" y="connsiteY73"/>
                            </a:cxn>
                            <a:cxn ang="0">
                              <a:pos x="connsiteX74" y="connsiteY74"/>
                            </a:cxn>
                            <a:cxn ang="0">
                              <a:pos x="connsiteX75" y="connsiteY75"/>
                            </a:cxn>
                            <a:cxn ang="0">
                              <a:pos x="connsiteX76" y="connsiteY76"/>
                            </a:cxn>
                            <a:cxn ang="0">
                              <a:pos x="connsiteX77" y="connsiteY77"/>
                            </a:cxn>
                            <a:cxn ang="0">
                              <a:pos x="connsiteX78" y="connsiteY78"/>
                            </a:cxn>
                            <a:cxn ang="0">
                              <a:pos x="connsiteX79" y="connsiteY79"/>
                            </a:cxn>
                            <a:cxn ang="0">
                              <a:pos x="connsiteX80" y="connsiteY80"/>
                            </a:cxn>
                            <a:cxn ang="0">
                              <a:pos x="connsiteX81" y="connsiteY81"/>
                            </a:cxn>
                            <a:cxn ang="0">
                              <a:pos x="connsiteX82" y="connsiteY82"/>
                            </a:cxn>
                            <a:cxn ang="0">
                              <a:pos x="connsiteX83" y="connsiteY83"/>
                            </a:cxn>
                            <a:cxn ang="0">
                              <a:pos x="connsiteX84" y="connsiteY84"/>
                            </a:cxn>
                            <a:cxn ang="0">
                              <a:pos x="connsiteX85" y="connsiteY85"/>
                            </a:cxn>
                            <a:cxn ang="0">
                              <a:pos x="connsiteX86" y="connsiteY86"/>
                            </a:cxn>
                            <a:cxn ang="0">
                              <a:pos x="connsiteX87" y="connsiteY87"/>
                            </a:cxn>
                            <a:cxn ang="0">
                              <a:pos x="connsiteX88" y="connsiteY88"/>
                            </a:cxn>
                            <a:cxn ang="0">
                              <a:pos x="connsiteX89" y="connsiteY89"/>
                            </a:cxn>
                            <a:cxn ang="0">
                              <a:pos x="connsiteX90" y="connsiteY90"/>
                            </a:cxn>
                            <a:cxn ang="0">
                              <a:pos x="connsiteX91" y="connsiteY91"/>
                            </a:cxn>
                            <a:cxn ang="0">
                              <a:pos x="connsiteX92" y="connsiteY92"/>
                            </a:cxn>
                            <a:cxn ang="0">
                              <a:pos x="connsiteX93" y="connsiteY93"/>
                            </a:cxn>
                            <a:cxn ang="0">
                              <a:pos x="connsiteX94" y="connsiteY94"/>
                            </a:cxn>
                            <a:cxn ang="0">
                              <a:pos x="connsiteX95" y="connsiteY95"/>
                            </a:cxn>
                            <a:cxn ang="0">
                              <a:pos x="connsiteX96" y="connsiteY96"/>
                            </a:cxn>
                            <a:cxn ang="0">
                              <a:pos x="connsiteX97" y="connsiteY97"/>
                            </a:cxn>
                            <a:cxn ang="0">
                              <a:pos x="connsiteX98" y="connsiteY98"/>
                            </a:cxn>
                            <a:cxn ang="0">
                              <a:pos x="connsiteX99" y="connsiteY99"/>
                            </a:cxn>
                            <a:cxn ang="0">
                              <a:pos x="connsiteX100" y="connsiteY100"/>
                            </a:cxn>
                            <a:cxn ang="0">
                              <a:pos x="connsiteX101" y="connsiteY101"/>
                            </a:cxn>
                            <a:cxn ang="0">
                              <a:pos x="connsiteX102" y="connsiteY102"/>
                            </a:cxn>
                            <a:cxn ang="0">
                              <a:pos x="connsiteX103" y="connsiteY103"/>
                            </a:cxn>
                            <a:cxn ang="0">
                              <a:pos x="connsiteX104" y="connsiteY104"/>
                            </a:cxn>
                            <a:cxn ang="0">
                              <a:pos x="connsiteX105" y="connsiteY105"/>
                            </a:cxn>
                            <a:cxn ang="0">
                              <a:pos x="connsiteX106" y="connsiteY106"/>
                            </a:cxn>
                            <a:cxn ang="0">
                              <a:pos x="connsiteX107" y="connsiteY107"/>
                            </a:cxn>
                            <a:cxn ang="0">
                              <a:pos x="connsiteX108" y="connsiteY108"/>
                            </a:cxn>
                            <a:cxn ang="0">
                              <a:pos x="connsiteX109" y="connsiteY109"/>
                            </a:cxn>
                            <a:cxn ang="0">
                              <a:pos x="connsiteX110" y="connsiteY110"/>
                            </a:cxn>
                            <a:cxn ang="0">
                              <a:pos x="connsiteX111" y="connsiteY111"/>
                            </a:cxn>
                            <a:cxn ang="0">
                              <a:pos x="connsiteX112" y="connsiteY112"/>
                            </a:cxn>
                          </a:cxnLst>
                          <a:rect l="l" t="t" r="r" b="b"/>
                          <a:pathLst>
                            <a:path w="246888" h="221650">
                              <a:moveTo>
                                <a:pt x="74615" y="0"/>
                              </a:moveTo>
                              <a:lnTo>
                                <a:pt x="68580" y="17008"/>
                              </a:lnTo>
                              <a:lnTo>
                                <a:pt x="40051" y="29078"/>
                              </a:lnTo>
                              <a:lnTo>
                                <a:pt x="36210" y="34016"/>
                              </a:lnTo>
                              <a:lnTo>
                                <a:pt x="30175" y="37856"/>
                              </a:lnTo>
                              <a:lnTo>
                                <a:pt x="21397" y="38953"/>
                              </a:lnTo>
                              <a:lnTo>
                                <a:pt x="0" y="137160"/>
                              </a:lnTo>
                              <a:lnTo>
                                <a:pt x="1646" y="148133"/>
                              </a:lnTo>
                              <a:lnTo>
                                <a:pt x="3841" y="148681"/>
                              </a:lnTo>
                              <a:lnTo>
                                <a:pt x="13167" y="148681"/>
                              </a:lnTo>
                              <a:lnTo>
                                <a:pt x="16459" y="150328"/>
                              </a:lnTo>
                              <a:lnTo>
                                <a:pt x="18105" y="150328"/>
                              </a:lnTo>
                              <a:lnTo>
                                <a:pt x="20300" y="148133"/>
                              </a:lnTo>
                              <a:lnTo>
                                <a:pt x="20848" y="145938"/>
                              </a:lnTo>
                              <a:lnTo>
                                <a:pt x="23043" y="143195"/>
                              </a:lnTo>
                              <a:lnTo>
                                <a:pt x="28529" y="143195"/>
                              </a:lnTo>
                              <a:lnTo>
                                <a:pt x="31821" y="147035"/>
                              </a:lnTo>
                              <a:lnTo>
                                <a:pt x="31821" y="149779"/>
                              </a:lnTo>
                              <a:lnTo>
                                <a:pt x="37856" y="156362"/>
                              </a:lnTo>
                              <a:lnTo>
                                <a:pt x="51023" y="126736"/>
                              </a:lnTo>
                              <a:lnTo>
                                <a:pt x="58156" y="133868"/>
                              </a:lnTo>
                              <a:lnTo>
                                <a:pt x="63094" y="133868"/>
                              </a:lnTo>
                              <a:lnTo>
                                <a:pt x="64739" y="134417"/>
                              </a:lnTo>
                              <a:lnTo>
                                <a:pt x="64739" y="136612"/>
                              </a:lnTo>
                              <a:lnTo>
                                <a:pt x="70775" y="143744"/>
                              </a:lnTo>
                              <a:lnTo>
                                <a:pt x="76261" y="144292"/>
                              </a:lnTo>
                              <a:lnTo>
                                <a:pt x="79004" y="142646"/>
                              </a:lnTo>
                              <a:lnTo>
                                <a:pt x="88331" y="141549"/>
                              </a:lnTo>
                              <a:lnTo>
                                <a:pt x="92171" y="138257"/>
                              </a:lnTo>
                              <a:lnTo>
                                <a:pt x="92171" y="135514"/>
                              </a:lnTo>
                              <a:lnTo>
                                <a:pt x="95463" y="135514"/>
                              </a:lnTo>
                              <a:lnTo>
                                <a:pt x="99304" y="138806"/>
                              </a:lnTo>
                              <a:lnTo>
                                <a:pt x="100950" y="143195"/>
                              </a:lnTo>
                              <a:lnTo>
                                <a:pt x="102596" y="143195"/>
                              </a:lnTo>
                              <a:lnTo>
                                <a:pt x="103693" y="142098"/>
                              </a:lnTo>
                              <a:lnTo>
                                <a:pt x="108631" y="141549"/>
                              </a:lnTo>
                              <a:lnTo>
                                <a:pt x="111923" y="138257"/>
                              </a:lnTo>
                              <a:lnTo>
                                <a:pt x="114117" y="138806"/>
                              </a:lnTo>
                              <a:lnTo>
                                <a:pt x="117409" y="141549"/>
                              </a:lnTo>
                              <a:lnTo>
                                <a:pt x="123993" y="141549"/>
                              </a:lnTo>
                              <a:lnTo>
                                <a:pt x="125639" y="143744"/>
                              </a:lnTo>
                              <a:lnTo>
                                <a:pt x="128382" y="143744"/>
                              </a:lnTo>
                              <a:lnTo>
                                <a:pt x="129479" y="142646"/>
                              </a:lnTo>
                              <a:lnTo>
                                <a:pt x="137709" y="142646"/>
                              </a:lnTo>
                              <a:lnTo>
                                <a:pt x="153071" y="153071"/>
                              </a:lnTo>
                              <a:lnTo>
                                <a:pt x="158557" y="153619"/>
                              </a:lnTo>
                              <a:lnTo>
                                <a:pt x="175565" y="175016"/>
                              </a:lnTo>
                              <a:lnTo>
                                <a:pt x="195316" y="189829"/>
                              </a:lnTo>
                              <a:lnTo>
                                <a:pt x="203545" y="204643"/>
                              </a:lnTo>
                              <a:lnTo>
                                <a:pt x="214518" y="211775"/>
                              </a:lnTo>
                              <a:lnTo>
                                <a:pt x="221102" y="221651"/>
                              </a:lnTo>
                              <a:lnTo>
                                <a:pt x="224942" y="217810"/>
                              </a:lnTo>
                              <a:lnTo>
                                <a:pt x="246888" y="204643"/>
                              </a:lnTo>
                              <a:lnTo>
                                <a:pt x="243596" y="200802"/>
                              </a:lnTo>
                              <a:lnTo>
                                <a:pt x="239756" y="202997"/>
                              </a:lnTo>
                              <a:lnTo>
                                <a:pt x="235915" y="200802"/>
                              </a:lnTo>
                              <a:lnTo>
                                <a:pt x="234269" y="198608"/>
                              </a:lnTo>
                              <a:lnTo>
                                <a:pt x="232623" y="193670"/>
                              </a:lnTo>
                              <a:lnTo>
                                <a:pt x="232075" y="192573"/>
                              </a:lnTo>
                              <a:lnTo>
                                <a:pt x="226040" y="192024"/>
                              </a:lnTo>
                              <a:lnTo>
                                <a:pt x="223297" y="189829"/>
                              </a:lnTo>
                              <a:lnTo>
                                <a:pt x="220005" y="181051"/>
                              </a:lnTo>
                              <a:lnTo>
                                <a:pt x="217810" y="178857"/>
                              </a:lnTo>
                              <a:lnTo>
                                <a:pt x="216713" y="176113"/>
                              </a:lnTo>
                              <a:lnTo>
                                <a:pt x="212872" y="175016"/>
                              </a:lnTo>
                              <a:lnTo>
                                <a:pt x="210129" y="173370"/>
                              </a:lnTo>
                              <a:lnTo>
                                <a:pt x="206837" y="166238"/>
                              </a:lnTo>
                              <a:lnTo>
                                <a:pt x="205740" y="165141"/>
                              </a:lnTo>
                              <a:lnTo>
                                <a:pt x="202448" y="165689"/>
                              </a:lnTo>
                              <a:lnTo>
                                <a:pt x="199705" y="163495"/>
                              </a:lnTo>
                              <a:lnTo>
                                <a:pt x="198059" y="163495"/>
                              </a:lnTo>
                              <a:lnTo>
                                <a:pt x="196413" y="162397"/>
                              </a:lnTo>
                              <a:lnTo>
                                <a:pt x="195865" y="159106"/>
                              </a:lnTo>
                              <a:lnTo>
                                <a:pt x="180503" y="137709"/>
                              </a:lnTo>
                              <a:lnTo>
                                <a:pt x="175565" y="134965"/>
                              </a:lnTo>
                              <a:lnTo>
                                <a:pt x="168433" y="134965"/>
                              </a:lnTo>
                              <a:lnTo>
                                <a:pt x="164592" y="132222"/>
                              </a:lnTo>
                              <a:lnTo>
                                <a:pt x="161300" y="131674"/>
                              </a:lnTo>
                              <a:lnTo>
                                <a:pt x="159106" y="129479"/>
                              </a:lnTo>
                              <a:lnTo>
                                <a:pt x="156362" y="124541"/>
                              </a:lnTo>
                              <a:lnTo>
                                <a:pt x="150876" y="121798"/>
                              </a:lnTo>
                              <a:lnTo>
                                <a:pt x="147035" y="121249"/>
                              </a:lnTo>
                              <a:lnTo>
                                <a:pt x="144841" y="123444"/>
                              </a:lnTo>
                              <a:lnTo>
                                <a:pt x="143195" y="123993"/>
                              </a:lnTo>
                              <a:lnTo>
                                <a:pt x="139903" y="123444"/>
                              </a:lnTo>
                              <a:lnTo>
                                <a:pt x="136611" y="116860"/>
                              </a:lnTo>
                              <a:lnTo>
                                <a:pt x="133319" y="113569"/>
                              </a:lnTo>
                              <a:lnTo>
                                <a:pt x="133319" y="110825"/>
                              </a:lnTo>
                              <a:lnTo>
                                <a:pt x="134965" y="108082"/>
                              </a:lnTo>
                              <a:lnTo>
                                <a:pt x="133868" y="105887"/>
                              </a:lnTo>
                              <a:lnTo>
                                <a:pt x="131125" y="105339"/>
                              </a:lnTo>
                              <a:lnTo>
                                <a:pt x="128930" y="102596"/>
                              </a:lnTo>
                              <a:lnTo>
                                <a:pt x="125639" y="103693"/>
                              </a:lnTo>
                              <a:lnTo>
                                <a:pt x="123993" y="105339"/>
                              </a:lnTo>
                              <a:lnTo>
                                <a:pt x="124541" y="108631"/>
                              </a:lnTo>
                              <a:lnTo>
                                <a:pt x="126736" y="111374"/>
                              </a:lnTo>
                              <a:lnTo>
                                <a:pt x="126187" y="114666"/>
                              </a:lnTo>
                              <a:lnTo>
                                <a:pt x="123993" y="115214"/>
                              </a:lnTo>
                              <a:lnTo>
                                <a:pt x="120701" y="114117"/>
                              </a:lnTo>
                              <a:lnTo>
                                <a:pt x="120152" y="111923"/>
                              </a:lnTo>
                              <a:lnTo>
                                <a:pt x="120701" y="108631"/>
                              </a:lnTo>
                              <a:lnTo>
                                <a:pt x="119055" y="106985"/>
                              </a:lnTo>
                              <a:lnTo>
                                <a:pt x="116860" y="99304"/>
                              </a:lnTo>
                              <a:lnTo>
                                <a:pt x="115763" y="98755"/>
                              </a:lnTo>
                              <a:lnTo>
                                <a:pt x="112471" y="98207"/>
                              </a:lnTo>
                              <a:lnTo>
                                <a:pt x="110825" y="96561"/>
                              </a:lnTo>
                              <a:lnTo>
                                <a:pt x="110825" y="94366"/>
                              </a:lnTo>
                              <a:lnTo>
                                <a:pt x="109179" y="93269"/>
                              </a:lnTo>
                              <a:lnTo>
                                <a:pt x="108631" y="88880"/>
                              </a:lnTo>
                              <a:lnTo>
                                <a:pt x="102047" y="81747"/>
                              </a:lnTo>
                              <a:lnTo>
                                <a:pt x="88880" y="21397"/>
                              </a:lnTo>
                              <a:lnTo>
                                <a:pt x="77358" y="0"/>
                              </a:lnTo>
                              <a:lnTo>
                                <a:pt x="74615" y="0"/>
                              </a:lnTo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199" name="Graphic 7">
                          <a:extLst>
                            <a:ext uri="{FF2B5EF4-FFF2-40B4-BE49-F238E27FC236}">
                              <a16:creationId xmlns:a16="http://schemas.microsoft.com/office/drawing/2014/main" id="{A84CF5C4-769E-8FBC-35C3-30E94EE7B64D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094646" y="4536941"/>
                          <a:ext cx="49293" cy="61295"/>
                        </a:xfrm>
                        <a:custGeom>
                          <a:avLst/>
                          <a:gdLst>
                            <a:gd name="connsiteX0" fmla="*/ 56510 w 63093"/>
                            <a:gd name="connsiteY0" fmla="*/ 2743 h 78455"/>
                            <a:gd name="connsiteX1" fmla="*/ 54864 w 63093"/>
                            <a:gd name="connsiteY1" fmla="*/ 1097 h 78455"/>
                            <a:gd name="connsiteX2" fmla="*/ 51572 w 63093"/>
                            <a:gd name="connsiteY2" fmla="*/ 549 h 78455"/>
                            <a:gd name="connsiteX3" fmla="*/ 51572 w 63093"/>
                            <a:gd name="connsiteY3" fmla="*/ 0 h 78455"/>
                            <a:gd name="connsiteX4" fmla="*/ 48829 w 63093"/>
                            <a:gd name="connsiteY4" fmla="*/ 0 h 78455"/>
                            <a:gd name="connsiteX5" fmla="*/ 39502 w 63093"/>
                            <a:gd name="connsiteY5" fmla="*/ 2743 h 78455"/>
                            <a:gd name="connsiteX6" fmla="*/ 32918 w 63093"/>
                            <a:gd name="connsiteY6" fmla="*/ 2743 h 78455"/>
                            <a:gd name="connsiteX7" fmla="*/ 31272 w 63093"/>
                            <a:gd name="connsiteY7" fmla="*/ 3841 h 78455"/>
                            <a:gd name="connsiteX8" fmla="*/ 30724 w 63093"/>
                            <a:gd name="connsiteY8" fmla="*/ 6035 h 78455"/>
                            <a:gd name="connsiteX9" fmla="*/ 30724 w 63093"/>
                            <a:gd name="connsiteY9" fmla="*/ 12070 h 78455"/>
                            <a:gd name="connsiteX10" fmla="*/ 27981 w 63093"/>
                            <a:gd name="connsiteY10" fmla="*/ 14813 h 78455"/>
                            <a:gd name="connsiteX11" fmla="*/ 22494 w 63093"/>
                            <a:gd name="connsiteY11" fmla="*/ 15362 h 78455"/>
                            <a:gd name="connsiteX12" fmla="*/ 19202 w 63093"/>
                            <a:gd name="connsiteY12" fmla="*/ 17008 h 78455"/>
                            <a:gd name="connsiteX13" fmla="*/ 14813 w 63093"/>
                            <a:gd name="connsiteY13" fmla="*/ 17557 h 78455"/>
                            <a:gd name="connsiteX14" fmla="*/ 13167 w 63093"/>
                            <a:gd name="connsiteY14" fmla="*/ 17008 h 78455"/>
                            <a:gd name="connsiteX15" fmla="*/ 8778 w 63093"/>
                            <a:gd name="connsiteY15" fmla="*/ 7133 h 78455"/>
                            <a:gd name="connsiteX16" fmla="*/ 7132 w 63093"/>
                            <a:gd name="connsiteY16" fmla="*/ 6584 h 78455"/>
                            <a:gd name="connsiteX17" fmla="*/ 3840 w 63093"/>
                            <a:gd name="connsiteY17" fmla="*/ 6584 h 78455"/>
                            <a:gd name="connsiteX18" fmla="*/ 549 w 63093"/>
                            <a:gd name="connsiteY18" fmla="*/ 8778 h 78455"/>
                            <a:gd name="connsiteX19" fmla="*/ 549 w 63093"/>
                            <a:gd name="connsiteY19" fmla="*/ 15362 h 78455"/>
                            <a:gd name="connsiteX20" fmla="*/ 0 w 63093"/>
                            <a:gd name="connsiteY20" fmla="*/ 14813 h 78455"/>
                            <a:gd name="connsiteX21" fmla="*/ 5486 w 63093"/>
                            <a:gd name="connsiteY21" fmla="*/ 23043 h 78455"/>
                            <a:gd name="connsiteX22" fmla="*/ 6584 w 63093"/>
                            <a:gd name="connsiteY22" fmla="*/ 39502 h 78455"/>
                            <a:gd name="connsiteX23" fmla="*/ 8778 w 63093"/>
                            <a:gd name="connsiteY23" fmla="*/ 42245 h 78455"/>
                            <a:gd name="connsiteX24" fmla="*/ 12070 w 63093"/>
                            <a:gd name="connsiteY24" fmla="*/ 68580 h 78455"/>
                            <a:gd name="connsiteX25" fmla="*/ 19751 w 63093"/>
                            <a:gd name="connsiteY25" fmla="*/ 78456 h 78455"/>
                            <a:gd name="connsiteX26" fmla="*/ 21397 w 63093"/>
                            <a:gd name="connsiteY26" fmla="*/ 76810 h 78455"/>
                            <a:gd name="connsiteX27" fmla="*/ 38405 w 63093"/>
                            <a:gd name="connsiteY27" fmla="*/ 72421 h 78455"/>
                            <a:gd name="connsiteX28" fmla="*/ 63094 w 63093"/>
                            <a:gd name="connsiteY28" fmla="*/ 32918 h 78455"/>
                            <a:gd name="connsiteX29" fmla="*/ 63094 w 63093"/>
                            <a:gd name="connsiteY29" fmla="*/ 27432 h 78455"/>
                            <a:gd name="connsiteX30" fmla="*/ 61448 w 63093"/>
                            <a:gd name="connsiteY30" fmla="*/ 23043 h 78455"/>
                            <a:gd name="connsiteX31" fmla="*/ 59253 w 63093"/>
                            <a:gd name="connsiteY31" fmla="*/ 21397 h 78455"/>
                            <a:gd name="connsiteX32" fmla="*/ 54864 w 63093"/>
                            <a:gd name="connsiteY32" fmla="*/ 20300 h 78455"/>
                            <a:gd name="connsiteX33" fmla="*/ 52669 w 63093"/>
                            <a:gd name="connsiteY33" fmla="*/ 17557 h 78455"/>
                            <a:gd name="connsiteX34" fmla="*/ 52121 w 63093"/>
                            <a:gd name="connsiteY34" fmla="*/ 11522 h 78455"/>
                            <a:gd name="connsiteX35" fmla="*/ 53218 w 63093"/>
                            <a:gd name="connsiteY35" fmla="*/ 6584 h 78455"/>
                            <a:gd name="connsiteX36" fmla="*/ 56510 w 63093"/>
                            <a:gd name="connsiteY36" fmla="*/ 2743 h 78455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  <a:cxn ang="0">
                              <a:pos x="connsiteX11" y="connsiteY11"/>
                            </a:cxn>
                            <a:cxn ang="0">
                              <a:pos x="connsiteX12" y="connsiteY12"/>
                            </a:cxn>
                            <a:cxn ang="0">
                              <a:pos x="connsiteX13" y="connsiteY13"/>
                            </a:cxn>
                            <a:cxn ang="0">
                              <a:pos x="connsiteX14" y="connsiteY14"/>
                            </a:cxn>
                            <a:cxn ang="0">
                              <a:pos x="connsiteX15" y="connsiteY15"/>
                            </a:cxn>
                            <a:cxn ang="0">
                              <a:pos x="connsiteX16" y="connsiteY16"/>
                            </a:cxn>
                            <a:cxn ang="0">
                              <a:pos x="connsiteX17" y="connsiteY17"/>
                            </a:cxn>
                            <a:cxn ang="0">
                              <a:pos x="connsiteX18" y="connsiteY18"/>
                            </a:cxn>
                            <a:cxn ang="0">
                              <a:pos x="connsiteX19" y="connsiteY19"/>
                            </a:cxn>
                            <a:cxn ang="0">
                              <a:pos x="connsiteX20" y="connsiteY20"/>
                            </a:cxn>
                            <a:cxn ang="0">
                              <a:pos x="connsiteX21" y="connsiteY21"/>
                            </a:cxn>
                            <a:cxn ang="0">
                              <a:pos x="connsiteX22" y="connsiteY22"/>
                            </a:cxn>
                            <a:cxn ang="0">
                              <a:pos x="connsiteX23" y="connsiteY23"/>
                            </a:cxn>
                            <a:cxn ang="0">
                              <a:pos x="connsiteX24" y="connsiteY24"/>
                            </a:cxn>
                            <a:cxn ang="0">
                              <a:pos x="connsiteX25" y="connsiteY25"/>
                            </a:cxn>
                            <a:cxn ang="0">
                              <a:pos x="connsiteX26" y="connsiteY26"/>
                            </a:cxn>
                            <a:cxn ang="0">
                              <a:pos x="connsiteX27" y="connsiteY27"/>
                            </a:cxn>
                            <a:cxn ang="0">
                              <a:pos x="connsiteX28" y="connsiteY28"/>
                            </a:cxn>
                            <a:cxn ang="0">
                              <a:pos x="connsiteX29" y="connsiteY29"/>
                            </a:cxn>
                            <a:cxn ang="0">
                              <a:pos x="connsiteX30" y="connsiteY30"/>
                            </a:cxn>
                            <a:cxn ang="0">
                              <a:pos x="connsiteX31" y="connsiteY31"/>
                            </a:cxn>
                            <a:cxn ang="0">
                              <a:pos x="connsiteX32" y="connsiteY32"/>
                            </a:cxn>
                            <a:cxn ang="0">
                              <a:pos x="connsiteX33" y="connsiteY33"/>
                            </a:cxn>
                            <a:cxn ang="0">
                              <a:pos x="connsiteX34" y="connsiteY34"/>
                            </a:cxn>
                            <a:cxn ang="0">
                              <a:pos x="connsiteX35" y="connsiteY35"/>
                            </a:cxn>
                            <a:cxn ang="0">
                              <a:pos x="connsiteX36" y="connsiteY36"/>
                            </a:cxn>
                          </a:cxnLst>
                          <a:rect l="l" t="t" r="r" b="b"/>
                          <a:pathLst>
                            <a:path w="63093" h="78455">
                              <a:moveTo>
                                <a:pt x="56510" y="2743"/>
                              </a:moveTo>
                              <a:lnTo>
                                <a:pt x="54864" y="1097"/>
                              </a:lnTo>
                              <a:lnTo>
                                <a:pt x="51572" y="549"/>
                              </a:lnTo>
                              <a:lnTo>
                                <a:pt x="51572" y="0"/>
                              </a:lnTo>
                              <a:lnTo>
                                <a:pt x="48829" y="0"/>
                              </a:lnTo>
                              <a:lnTo>
                                <a:pt x="39502" y="2743"/>
                              </a:lnTo>
                              <a:lnTo>
                                <a:pt x="32918" y="2743"/>
                              </a:lnTo>
                              <a:lnTo>
                                <a:pt x="31272" y="3841"/>
                              </a:lnTo>
                              <a:lnTo>
                                <a:pt x="30724" y="6035"/>
                              </a:lnTo>
                              <a:lnTo>
                                <a:pt x="30724" y="12070"/>
                              </a:lnTo>
                              <a:lnTo>
                                <a:pt x="27981" y="14813"/>
                              </a:lnTo>
                              <a:lnTo>
                                <a:pt x="22494" y="15362"/>
                              </a:lnTo>
                              <a:lnTo>
                                <a:pt x="19202" y="17008"/>
                              </a:lnTo>
                              <a:lnTo>
                                <a:pt x="14813" y="17557"/>
                              </a:lnTo>
                              <a:lnTo>
                                <a:pt x="13167" y="17008"/>
                              </a:lnTo>
                              <a:lnTo>
                                <a:pt x="8778" y="7133"/>
                              </a:lnTo>
                              <a:lnTo>
                                <a:pt x="7132" y="6584"/>
                              </a:lnTo>
                              <a:lnTo>
                                <a:pt x="3840" y="6584"/>
                              </a:lnTo>
                              <a:lnTo>
                                <a:pt x="549" y="8778"/>
                              </a:lnTo>
                              <a:lnTo>
                                <a:pt x="549" y="15362"/>
                              </a:lnTo>
                              <a:lnTo>
                                <a:pt x="0" y="14813"/>
                              </a:lnTo>
                              <a:lnTo>
                                <a:pt x="5486" y="23043"/>
                              </a:lnTo>
                              <a:lnTo>
                                <a:pt x="6584" y="39502"/>
                              </a:lnTo>
                              <a:lnTo>
                                <a:pt x="8778" y="42245"/>
                              </a:lnTo>
                              <a:lnTo>
                                <a:pt x="12070" y="68580"/>
                              </a:lnTo>
                              <a:lnTo>
                                <a:pt x="19751" y="78456"/>
                              </a:lnTo>
                              <a:lnTo>
                                <a:pt x="21397" y="76810"/>
                              </a:lnTo>
                              <a:lnTo>
                                <a:pt x="38405" y="72421"/>
                              </a:lnTo>
                              <a:lnTo>
                                <a:pt x="63094" y="32918"/>
                              </a:lnTo>
                              <a:lnTo>
                                <a:pt x="63094" y="27432"/>
                              </a:lnTo>
                              <a:lnTo>
                                <a:pt x="61448" y="23043"/>
                              </a:lnTo>
                              <a:lnTo>
                                <a:pt x="59253" y="21397"/>
                              </a:lnTo>
                              <a:lnTo>
                                <a:pt x="54864" y="20300"/>
                              </a:lnTo>
                              <a:lnTo>
                                <a:pt x="52669" y="17557"/>
                              </a:lnTo>
                              <a:lnTo>
                                <a:pt x="52121" y="11522"/>
                              </a:lnTo>
                              <a:lnTo>
                                <a:pt x="53218" y="6584"/>
                              </a:lnTo>
                              <a:lnTo>
                                <a:pt x="56510" y="2743"/>
                              </a:lnTo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200" name="Graphic 7">
                          <a:extLst>
                            <a:ext uri="{FF2B5EF4-FFF2-40B4-BE49-F238E27FC236}">
                              <a16:creationId xmlns:a16="http://schemas.microsoft.com/office/drawing/2014/main" id="{AC0C3490-D694-2AB1-A282-AE68AB2F8F34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200093" y="4745689"/>
                          <a:ext cx="93015" cy="230180"/>
                        </a:xfrm>
                        <a:custGeom>
                          <a:avLst/>
                          <a:gdLst>
                            <a:gd name="connsiteX0" fmla="*/ 43343 w 119054"/>
                            <a:gd name="connsiteY0" fmla="*/ 10973 h 294619"/>
                            <a:gd name="connsiteX1" fmla="*/ 40599 w 119054"/>
                            <a:gd name="connsiteY1" fmla="*/ 7132 h 294619"/>
                            <a:gd name="connsiteX2" fmla="*/ 38953 w 119054"/>
                            <a:gd name="connsiteY2" fmla="*/ 6035 h 294619"/>
                            <a:gd name="connsiteX3" fmla="*/ 36210 w 119054"/>
                            <a:gd name="connsiteY3" fmla="*/ 6035 h 294619"/>
                            <a:gd name="connsiteX4" fmla="*/ 27981 w 119054"/>
                            <a:gd name="connsiteY4" fmla="*/ 8778 h 294619"/>
                            <a:gd name="connsiteX5" fmla="*/ 26335 w 119054"/>
                            <a:gd name="connsiteY5" fmla="*/ 7681 h 294619"/>
                            <a:gd name="connsiteX6" fmla="*/ 24140 w 119054"/>
                            <a:gd name="connsiteY6" fmla="*/ 3841 h 294619"/>
                            <a:gd name="connsiteX7" fmla="*/ 17008 w 119054"/>
                            <a:gd name="connsiteY7" fmla="*/ 4389 h 294619"/>
                            <a:gd name="connsiteX8" fmla="*/ 9327 w 119054"/>
                            <a:gd name="connsiteY8" fmla="*/ 0 h 294619"/>
                            <a:gd name="connsiteX9" fmla="*/ 8230 w 119054"/>
                            <a:gd name="connsiteY9" fmla="*/ 549 h 294619"/>
                            <a:gd name="connsiteX10" fmla="*/ 8230 w 119054"/>
                            <a:gd name="connsiteY10" fmla="*/ 4389 h 294619"/>
                            <a:gd name="connsiteX11" fmla="*/ 9327 w 119054"/>
                            <a:gd name="connsiteY11" fmla="*/ 6035 h 294619"/>
                            <a:gd name="connsiteX12" fmla="*/ 10424 w 119054"/>
                            <a:gd name="connsiteY12" fmla="*/ 9875 h 294619"/>
                            <a:gd name="connsiteX13" fmla="*/ 17008 w 119054"/>
                            <a:gd name="connsiteY13" fmla="*/ 9875 h 294619"/>
                            <a:gd name="connsiteX14" fmla="*/ 23043 w 119054"/>
                            <a:gd name="connsiteY14" fmla="*/ 18654 h 294619"/>
                            <a:gd name="connsiteX15" fmla="*/ 24689 w 119054"/>
                            <a:gd name="connsiteY15" fmla="*/ 26335 h 294619"/>
                            <a:gd name="connsiteX16" fmla="*/ 29078 w 119054"/>
                            <a:gd name="connsiteY16" fmla="*/ 29627 h 294619"/>
                            <a:gd name="connsiteX17" fmla="*/ 30724 w 119054"/>
                            <a:gd name="connsiteY17" fmla="*/ 42245 h 294619"/>
                            <a:gd name="connsiteX18" fmla="*/ 34016 w 119054"/>
                            <a:gd name="connsiteY18" fmla="*/ 44440 h 294619"/>
                            <a:gd name="connsiteX19" fmla="*/ 34564 w 119054"/>
                            <a:gd name="connsiteY19" fmla="*/ 48280 h 294619"/>
                            <a:gd name="connsiteX20" fmla="*/ 34016 w 119054"/>
                            <a:gd name="connsiteY20" fmla="*/ 51023 h 294619"/>
                            <a:gd name="connsiteX21" fmla="*/ 28529 w 119054"/>
                            <a:gd name="connsiteY21" fmla="*/ 54315 h 294619"/>
                            <a:gd name="connsiteX22" fmla="*/ 26883 w 119054"/>
                            <a:gd name="connsiteY22" fmla="*/ 54864 h 294619"/>
                            <a:gd name="connsiteX23" fmla="*/ 24140 w 119054"/>
                            <a:gd name="connsiteY23" fmla="*/ 57059 h 294619"/>
                            <a:gd name="connsiteX24" fmla="*/ 24140 w 119054"/>
                            <a:gd name="connsiteY24" fmla="*/ 69129 h 294619"/>
                            <a:gd name="connsiteX25" fmla="*/ 20300 w 119054"/>
                            <a:gd name="connsiteY25" fmla="*/ 81199 h 294619"/>
                            <a:gd name="connsiteX26" fmla="*/ 20300 w 119054"/>
                            <a:gd name="connsiteY26" fmla="*/ 108082 h 294619"/>
                            <a:gd name="connsiteX27" fmla="*/ 23043 w 119054"/>
                            <a:gd name="connsiteY27" fmla="*/ 110825 h 294619"/>
                            <a:gd name="connsiteX28" fmla="*/ 26335 w 119054"/>
                            <a:gd name="connsiteY28" fmla="*/ 112471 h 294619"/>
                            <a:gd name="connsiteX29" fmla="*/ 27432 w 119054"/>
                            <a:gd name="connsiteY29" fmla="*/ 116860 h 294619"/>
                            <a:gd name="connsiteX30" fmla="*/ 26335 w 119054"/>
                            <a:gd name="connsiteY30" fmla="*/ 119055 h 294619"/>
                            <a:gd name="connsiteX31" fmla="*/ 20300 w 119054"/>
                            <a:gd name="connsiteY31" fmla="*/ 120152 h 294619"/>
                            <a:gd name="connsiteX32" fmla="*/ 15911 w 119054"/>
                            <a:gd name="connsiteY32" fmla="*/ 122895 h 294619"/>
                            <a:gd name="connsiteX33" fmla="*/ 12070 w 119054"/>
                            <a:gd name="connsiteY33" fmla="*/ 123993 h 294619"/>
                            <a:gd name="connsiteX34" fmla="*/ 11521 w 119054"/>
                            <a:gd name="connsiteY34" fmla="*/ 125090 h 294619"/>
                            <a:gd name="connsiteX35" fmla="*/ 5486 w 119054"/>
                            <a:gd name="connsiteY35" fmla="*/ 154717 h 294619"/>
                            <a:gd name="connsiteX36" fmla="*/ 549 w 119054"/>
                            <a:gd name="connsiteY36" fmla="*/ 160203 h 294619"/>
                            <a:gd name="connsiteX37" fmla="*/ 0 w 119054"/>
                            <a:gd name="connsiteY37" fmla="*/ 162946 h 294619"/>
                            <a:gd name="connsiteX38" fmla="*/ 1646 w 119054"/>
                            <a:gd name="connsiteY38" fmla="*/ 168433 h 294619"/>
                            <a:gd name="connsiteX39" fmla="*/ 4938 w 119054"/>
                            <a:gd name="connsiteY39" fmla="*/ 169530 h 294619"/>
                            <a:gd name="connsiteX40" fmla="*/ 7132 w 119054"/>
                            <a:gd name="connsiteY40" fmla="*/ 173919 h 294619"/>
                            <a:gd name="connsiteX41" fmla="*/ 12619 w 119054"/>
                            <a:gd name="connsiteY41" fmla="*/ 173919 h 294619"/>
                            <a:gd name="connsiteX42" fmla="*/ 14813 w 119054"/>
                            <a:gd name="connsiteY42" fmla="*/ 175016 h 294619"/>
                            <a:gd name="connsiteX43" fmla="*/ 15911 w 119054"/>
                            <a:gd name="connsiteY43" fmla="*/ 177760 h 294619"/>
                            <a:gd name="connsiteX44" fmla="*/ 19751 w 119054"/>
                            <a:gd name="connsiteY44" fmla="*/ 179954 h 294619"/>
                            <a:gd name="connsiteX45" fmla="*/ 25786 w 119054"/>
                            <a:gd name="connsiteY45" fmla="*/ 190378 h 294619"/>
                            <a:gd name="connsiteX46" fmla="*/ 32370 w 119054"/>
                            <a:gd name="connsiteY46" fmla="*/ 196962 h 294619"/>
                            <a:gd name="connsiteX47" fmla="*/ 34564 w 119054"/>
                            <a:gd name="connsiteY47" fmla="*/ 197510 h 294619"/>
                            <a:gd name="connsiteX48" fmla="*/ 60350 w 119054"/>
                            <a:gd name="connsiteY48" fmla="*/ 192573 h 294619"/>
                            <a:gd name="connsiteX49" fmla="*/ 63094 w 119054"/>
                            <a:gd name="connsiteY49" fmla="*/ 193670 h 294619"/>
                            <a:gd name="connsiteX50" fmla="*/ 65837 w 119054"/>
                            <a:gd name="connsiteY50" fmla="*/ 197510 h 294619"/>
                            <a:gd name="connsiteX51" fmla="*/ 69677 w 119054"/>
                            <a:gd name="connsiteY51" fmla="*/ 224394 h 294619"/>
                            <a:gd name="connsiteX52" fmla="*/ 67483 w 119054"/>
                            <a:gd name="connsiteY52" fmla="*/ 228783 h 294619"/>
                            <a:gd name="connsiteX53" fmla="*/ 63642 w 119054"/>
                            <a:gd name="connsiteY53" fmla="*/ 233721 h 294619"/>
                            <a:gd name="connsiteX54" fmla="*/ 64191 w 119054"/>
                            <a:gd name="connsiteY54" fmla="*/ 238658 h 294619"/>
                            <a:gd name="connsiteX55" fmla="*/ 60350 w 119054"/>
                            <a:gd name="connsiteY55" fmla="*/ 241950 h 294619"/>
                            <a:gd name="connsiteX56" fmla="*/ 58704 w 119054"/>
                            <a:gd name="connsiteY56" fmla="*/ 249083 h 294619"/>
                            <a:gd name="connsiteX57" fmla="*/ 60350 w 119054"/>
                            <a:gd name="connsiteY57" fmla="*/ 251826 h 294619"/>
                            <a:gd name="connsiteX58" fmla="*/ 64191 w 119054"/>
                            <a:gd name="connsiteY58" fmla="*/ 262799 h 294619"/>
                            <a:gd name="connsiteX59" fmla="*/ 66385 w 119054"/>
                            <a:gd name="connsiteY59" fmla="*/ 264993 h 294619"/>
                            <a:gd name="connsiteX60" fmla="*/ 68580 w 119054"/>
                            <a:gd name="connsiteY60" fmla="*/ 266090 h 294619"/>
                            <a:gd name="connsiteX61" fmla="*/ 79553 w 119054"/>
                            <a:gd name="connsiteY61" fmla="*/ 280355 h 294619"/>
                            <a:gd name="connsiteX62" fmla="*/ 87234 w 119054"/>
                            <a:gd name="connsiteY62" fmla="*/ 283647 h 294619"/>
                            <a:gd name="connsiteX63" fmla="*/ 89977 w 119054"/>
                            <a:gd name="connsiteY63" fmla="*/ 286390 h 294619"/>
                            <a:gd name="connsiteX64" fmla="*/ 89977 w 119054"/>
                            <a:gd name="connsiteY64" fmla="*/ 289133 h 294619"/>
                            <a:gd name="connsiteX65" fmla="*/ 86685 w 119054"/>
                            <a:gd name="connsiteY65" fmla="*/ 292974 h 294619"/>
                            <a:gd name="connsiteX66" fmla="*/ 87234 w 119054"/>
                            <a:gd name="connsiteY66" fmla="*/ 294620 h 294619"/>
                            <a:gd name="connsiteX67" fmla="*/ 95463 w 119054"/>
                            <a:gd name="connsiteY67" fmla="*/ 294620 h 294619"/>
                            <a:gd name="connsiteX68" fmla="*/ 96561 w 119054"/>
                            <a:gd name="connsiteY68" fmla="*/ 294071 h 294619"/>
                            <a:gd name="connsiteX69" fmla="*/ 96561 w 119054"/>
                            <a:gd name="connsiteY69" fmla="*/ 282550 h 294619"/>
                            <a:gd name="connsiteX70" fmla="*/ 94915 w 119054"/>
                            <a:gd name="connsiteY70" fmla="*/ 279258 h 294619"/>
                            <a:gd name="connsiteX71" fmla="*/ 92720 w 119054"/>
                            <a:gd name="connsiteY71" fmla="*/ 277612 h 294619"/>
                            <a:gd name="connsiteX72" fmla="*/ 92171 w 119054"/>
                            <a:gd name="connsiteY72" fmla="*/ 272674 h 294619"/>
                            <a:gd name="connsiteX73" fmla="*/ 94915 w 119054"/>
                            <a:gd name="connsiteY73" fmla="*/ 268285 h 294619"/>
                            <a:gd name="connsiteX74" fmla="*/ 94915 w 119054"/>
                            <a:gd name="connsiteY74" fmla="*/ 265542 h 294619"/>
                            <a:gd name="connsiteX75" fmla="*/ 95463 w 119054"/>
                            <a:gd name="connsiteY75" fmla="*/ 262799 h 294619"/>
                            <a:gd name="connsiteX76" fmla="*/ 113020 w 119054"/>
                            <a:gd name="connsiteY76" fmla="*/ 254569 h 294619"/>
                            <a:gd name="connsiteX77" fmla="*/ 114666 w 119054"/>
                            <a:gd name="connsiteY77" fmla="*/ 251277 h 294619"/>
                            <a:gd name="connsiteX78" fmla="*/ 115763 w 119054"/>
                            <a:gd name="connsiteY78" fmla="*/ 236464 h 294619"/>
                            <a:gd name="connsiteX79" fmla="*/ 117958 w 119054"/>
                            <a:gd name="connsiteY79" fmla="*/ 231526 h 294619"/>
                            <a:gd name="connsiteX80" fmla="*/ 114666 w 119054"/>
                            <a:gd name="connsiteY80" fmla="*/ 221651 h 294619"/>
                            <a:gd name="connsiteX81" fmla="*/ 119055 w 119054"/>
                            <a:gd name="connsiteY81" fmla="*/ 210129 h 294619"/>
                            <a:gd name="connsiteX82" fmla="*/ 117409 w 119054"/>
                            <a:gd name="connsiteY82" fmla="*/ 200802 h 294619"/>
                            <a:gd name="connsiteX83" fmla="*/ 79553 w 119054"/>
                            <a:gd name="connsiteY83" fmla="*/ 156911 h 294619"/>
                            <a:gd name="connsiteX84" fmla="*/ 78455 w 119054"/>
                            <a:gd name="connsiteY84" fmla="*/ 157460 h 294619"/>
                            <a:gd name="connsiteX85" fmla="*/ 78455 w 119054"/>
                            <a:gd name="connsiteY85" fmla="*/ 162946 h 294619"/>
                            <a:gd name="connsiteX86" fmla="*/ 80101 w 119054"/>
                            <a:gd name="connsiteY86" fmla="*/ 166787 h 294619"/>
                            <a:gd name="connsiteX87" fmla="*/ 83393 w 119054"/>
                            <a:gd name="connsiteY87" fmla="*/ 167884 h 294619"/>
                            <a:gd name="connsiteX88" fmla="*/ 85588 w 119054"/>
                            <a:gd name="connsiteY88" fmla="*/ 170078 h 294619"/>
                            <a:gd name="connsiteX89" fmla="*/ 92171 w 119054"/>
                            <a:gd name="connsiteY89" fmla="*/ 186538 h 294619"/>
                            <a:gd name="connsiteX90" fmla="*/ 92720 w 119054"/>
                            <a:gd name="connsiteY90" fmla="*/ 190927 h 294619"/>
                            <a:gd name="connsiteX91" fmla="*/ 91074 w 119054"/>
                            <a:gd name="connsiteY91" fmla="*/ 191476 h 294619"/>
                            <a:gd name="connsiteX92" fmla="*/ 89977 w 119054"/>
                            <a:gd name="connsiteY92" fmla="*/ 190927 h 294619"/>
                            <a:gd name="connsiteX93" fmla="*/ 85588 w 119054"/>
                            <a:gd name="connsiteY93" fmla="*/ 184892 h 294619"/>
                            <a:gd name="connsiteX94" fmla="*/ 82296 w 119054"/>
                            <a:gd name="connsiteY94" fmla="*/ 183794 h 294619"/>
                            <a:gd name="connsiteX95" fmla="*/ 80101 w 119054"/>
                            <a:gd name="connsiteY95" fmla="*/ 178857 h 294619"/>
                            <a:gd name="connsiteX96" fmla="*/ 79553 w 119054"/>
                            <a:gd name="connsiteY96" fmla="*/ 178308 h 294619"/>
                            <a:gd name="connsiteX97" fmla="*/ 78455 w 119054"/>
                            <a:gd name="connsiteY97" fmla="*/ 178308 h 294619"/>
                            <a:gd name="connsiteX98" fmla="*/ 75712 w 119054"/>
                            <a:gd name="connsiteY98" fmla="*/ 184892 h 294619"/>
                            <a:gd name="connsiteX99" fmla="*/ 73518 w 119054"/>
                            <a:gd name="connsiteY99" fmla="*/ 185440 h 294619"/>
                            <a:gd name="connsiteX100" fmla="*/ 70226 w 119054"/>
                            <a:gd name="connsiteY100" fmla="*/ 185440 h 294619"/>
                            <a:gd name="connsiteX101" fmla="*/ 68580 w 119054"/>
                            <a:gd name="connsiteY101" fmla="*/ 183794 h 294619"/>
                            <a:gd name="connsiteX102" fmla="*/ 66934 w 119054"/>
                            <a:gd name="connsiteY102" fmla="*/ 181051 h 294619"/>
                            <a:gd name="connsiteX103" fmla="*/ 66385 w 119054"/>
                            <a:gd name="connsiteY103" fmla="*/ 175016 h 294619"/>
                            <a:gd name="connsiteX104" fmla="*/ 68031 w 119054"/>
                            <a:gd name="connsiteY104" fmla="*/ 168981 h 294619"/>
                            <a:gd name="connsiteX105" fmla="*/ 67483 w 119054"/>
                            <a:gd name="connsiteY105" fmla="*/ 166238 h 294619"/>
                            <a:gd name="connsiteX106" fmla="*/ 61996 w 119054"/>
                            <a:gd name="connsiteY106" fmla="*/ 160203 h 294619"/>
                            <a:gd name="connsiteX107" fmla="*/ 58704 w 119054"/>
                            <a:gd name="connsiteY107" fmla="*/ 151425 h 294619"/>
                            <a:gd name="connsiteX108" fmla="*/ 58704 w 119054"/>
                            <a:gd name="connsiteY108" fmla="*/ 142646 h 294619"/>
                            <a:gd name="connsiteX109" fmla="*/ 58156 w 119054"/>
                            <a:gd name="connsiteY109" fmla="*/ 142098 h 294619"/>
                            <a:gd name="connsiteX110" fmla="*/ 46086 w 119054"/>
                            <a:gd name="connsiteY110" fmla="*/ 110825 h 294619"/>
                            <a:gd name="connsiteX111" fmla="*/ 46086 w 119054"/>
                            <a:gd name="connsiteY111" fmla="*/ 108082 h 294619"/>
                            <a:gd name="connsiteX112" fmla="*/ 46634 w 119054"/>
                            <a:gd name="connsiteY112" fmla="*/ 104790 h 294619"/>
                            <a:gd name="connsiteX113" fmla="*/ 56510 w 119054"/>
                            <a:gd name="connsiteY113" fmla="*/ 87234 h 294619"/>
                            <a:gd name="connsiteX114" fmla="*/ 53218 w 119054"/>
                            <a:gd name="connsiteY114" fmla="*/ 47183 h 294619"/>
                            <a:gd name="connsiteX115" fmla="*/ 55413 w 119054"/>
                            <a:gd name="connsiteY115" fmla="*/ 41697 h 294619"/>
                            <a:gd name="connsiteX116" fmla="*/ 55413 w 119054"/>
                            <a:gd name="connsiteY116" fmla="*/ 37856 h 294619"/>
                            <a:gd name="connsiteX117" fmla="*/ 52669 w 119054"/>
                            <a:gd name="connsiteY117" fmla="*/ 34016 h 294619"/>
                            <a:gd name="connsiteX118" fmla="*/ 47183 w 119054"/>
                            <a:gd name="connsiteY118" fmla="*/ 30724 h 294619"/>
                            <a:gd name="connsiteX119" fmla="*/ 42245 w 119054"/>
                            <a:gd name="connsiteY119" fmla="*/ 20848 h 294619"/>
                            <a:gd name="connsiteX120" fmla="*/ 43343 w 119054"/>
                            <a:gd name="connsiteY120" fmla="*/ 10973 h 294619"/>
                            <a:gd name="connsiteX121" fmla="*/ 46634 w 119054"/>
                            <a:gd name="connsiteY121" fmla="*/ 6584 h 294619"/>
                            <a:gd name="connsiteX122" fmla="*/ 43343 w 119054"/>
                            <a:gd name="connsiteY122" fmla="*/ 10973 h 294619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  <a:cxn ang="0">
                              <a:pos x="connsiteX11" y="connsiteY11"/>
                            </a:cxn>
                            <a:cxn ang="0">
                              <a:pos x="connsiteX12" y="connsiteY12"/>
                            </a:cxn>
                            <a:cxn ang="0">
                              <a:pos x="connsiteX13" y="connsiteY13"/>
                            </a:cxn>
                            <a:cxn ang="0">
                              <a:pos x="connsiteX14" y="connsiteY14"/>
                            </a:cxn>
                            <a:cxn ang="0">
                              <a:pos x="connsiteX15" y="connsiteY15"/>
                            </a:cxn>
                            <a:cxn ang="0">
                              <a:pos x="connsiteX16" y="connsiteY16"/>
                            </a:cxn>
                            <a:cxn ang="0">
                              <a:pos x="connsiteX17" y="connsiteY17"/>
                            </a:cxn>
                            <a:cxn ang="0">
                              <a:pos x="connsiteX18" y="connsiteY18"/>
                            </a:cxn>
                            <a:cxn ang="0">
                              <a:pos x="connsiteX19" y="connsiteY19"/>
                            </a:cxn>
                            <a:cxn ang="0">
                              <a:pos x="connsiteX20" y="connsiteY20"/>
                            </a:cxn>
                            <a:cxn ang="0">
                              <a:pos x="connsiteX21" y="connsiteY21"/>
                            </a:cxn>
                            <a:cxn ang="0">
                              <a:pos x="connsiteX22" y="connsiteY22"/>
                            </a:cxn>
                            <a:cxn ang="0">
                              <a:pos x="connsiteX23" y="connsiteY23"/>
                            </a:cxn>
                            <a:cxn ang="0">
                              <a:pos x="connsiteX24" y="connsiteY24"/>
                            </a:cxn>
                            <a:cxn ang="0">
                              <a:pos x="connsiteX25" y="connsiteY25"/>
                            </a:cxn>
                            <a:cxn ang="0">
                              <a:pos x="connsiteX26" y="connsiteY26"/>
                            </a:cxn>
                            <a:cxn ang="0">
                              <a:pos x="connsiteX27" y="connsiteY27"/>
                            </a:cxn>
                            <a:cxn ang="0">
                              <a:pos x="connsiteX28" y="connsiteY28"/>
                            </a:cxn>
                            <a:cxn ang="0">
                              <a:pos x="connsiteX29" y="connsiteY29"/>
                            </a:cxn>
                            <a:cxn ang="0">
                              <a:pos x="connsiteX30" y="connsiteY30"/>
                            </a:cxn>
                            <a:cxn ang="0">
                              <a:pos x="connsiteX31" y="connsiteY31"/>
                            </a:cxn>
                            <a:cxn ang="0">
                              <a:pos x="connsiteX32" y="connsiteY32"/>
                            </a:cxn>
                            <a:cxn ang="0">
                              <a:pos x="connsiteX33" y="connsiteY33"/>
                            </a:cxn>
                            <a:cxn ang="0">
                              <a:pos x="connsiteX34" y="connsiteY34"/>
                            </a:cxn>
                            <a:cxn ang="0">
                              <a:pos x="connsiteX35" y="connsiteY35"/>
                            </a:cxn>
                            <a:cxn ang="0">
                              <a:pos x="connsiteX36" y="connsiteY36"/>
                            </a:cxn>
                            <a:cxn ang="0">
                              <a:pos x="connsiteX37" y="connsiteY37"/>
                            </a:cxn>
                            <a:cxn ang="0">
                              <a:pos x="connsiteX38" y="connsiteY38"/>
                            </a:cxn>
                            <a:cxn ang="0">
                              <a:pos x="connsiteX39" y="connsiteY39"/>
                            </a:cxn>
                            <a:cxn ang="0">
                              <a:pos x="connsiteX40" y="connsiteY40"/>
                            </a:cxn>
                            <a:cxn ang="0">
                              <a:pos x="connsiteX41" y="connsiteY41"/>
                            </a:cxn>
                            <a:cxn ang="0">
                              <a:pos x="connsiteX42" y="connsiteY42"/>
                            </a:cxn>
                            <a:cxn ang="0">
                              <a:pos x="connsiteX43" y="connsiteY43"/>
                            </a:cxn>
                            <a:cxn ang="0">
                              <a:pos x="connsiteX44" y="connsiteY44"/>
                            </a:cxn>
                            <a:cxn ang="0">
                              <a:pos x="connsiteX45" y="connsiteY45"/>
                            </a:cxn>
                            <a:cxn ang="0">
                              <a:pos x="connsiteX46" y="connsiteY46"/>
                            </a:cxn>
                            <a:cxn ang="0">
                              <a:pos x="connsiteX47" y="connsiteY47"/>
                            </a:cxn>
                            <a:cxn ang="0">
                              <a:pos x="connsiteX48" y="connsiteY48"/>
                            </a:cxn>
                            <a:cxn ang="0">
                              <a:pos x="connsiteX49" y="connsiteY49"/>
                            </a:cxn>
                            <a:cxn ang="0">
                              <a:pos x="connsiteX50" y="connsiteY50"/>
                            </a:cxn>
                            <a:cxn ang="0">
                              <a:pos x="connsiteX51" y="connsiteY51"/>
                            </a:cxn>
                            <a:cxn ang="0">
                              <a:pos x="connsiteX52" y="connsiteY52"/>
                            </a:cxn>
                            <a:cxn ang="0">
                              <a:pos x="connsiteX53" y="connsiteY53"/>
                            </a:cxn>
                            <a:cxn ang="0">
                              <a:pos x="connsiteX54" y="connsiteY54"/>
                            </a:cxn>
                            <a:cxn ang="0">
                              <a:pos x="connsiteX55" y="connsiteY55"/>
                            </a:cxn>
                            <a:cxn ang="0">
                              <a:pos x="connsiteX56" y="connsiteY56"/>
                            </a:cxn>
                            <a:cxn ang="0">
                              <a:pos x="connsiteX57" y="connsiteY57"/>
                            </a:cxn>
                            <a:cxn ang="0">
                              <a:pos x="connsiteX58" y="connsiteY58"/>
                            </a:cxn>
                            <a:cxn ang="0">
                              <a:pos x="connsiteX59" y="connsiteY59"/>
                            </a:cxn>
                            <a:cxn ang="0">
                              <a:pos x="connsiteX60" y="connsiteY60"/>
                            </a:cxn>
                            <a:cxn ang="0">
                              <a:pos x="connsiteX61" y="connsiteY61"/>
                            </a:cxn>
                            <a:cxn ang="0">
                              <a:pos x="connsiteX62" y="connsiteY62"/>
                            </a:cxn>
                            <a:cxn ang="0">
                              <a:pos x="connsiteX63" y="connsiteY63"/>
                            </a:cxn>
                            <a:cxn ang="0">
                              <a:pos x="connsiteX64" y="connsiteY64"/>
                            </a:cxn>
                            <a:cxn ang="0">
                              <a:pos x="connsiteX65" y="connsiteY65"/>
                            </a:cxn>
                            <a:cxn ang="0">
                              <a:pos x="connsiteX66" y="connsiteY66"/>
                            </a:cxn>
                            <a:cxn ang="0">
                              <a:pos x="connsiteX67" y="connsiteY67"/>
                            </a:cxn>
                            <a:cxn ang="0">
                              <a:pos x="connsiteX68" y="connsiteY68"/>
                            </a:cxn>
                            <a:cxn ang="0">
                              <a:pos x="connsiteX69" y="connsiteY69"/>
                            </a:cxn>
                            <a:cxn ang="0">
                              <a:pos x="connsiteX70" y="connsiteY70"/>
                            </a:cxn>
                            <a:cxn ang="0">
                              <a:pos x="connsiteX71" y="connsiteY71"/>
                            </a:cxn>
                            <a:cxn ang="0">
                              <a:pos x="connsiteX72" y="connsiteY72"/>
                            </a:cxn>
                            <a:cxn ang="0">
                              <a:pos x="connsiteX73" y="connsiteY73"/>
                            </a:cxn>
                            <a:cxn ang="0">
                              <a:pos x="connsiteX74" y="connsiteY74"/>
                            </a:cxn>
                            <a:cxn ang="0">
                              <a:pos x="connsiteX75" y="connsiteY75"/>
                            </a:cxn>
                            <a:cxn ang="0">
                              <a:pos x="connsiteX76" y="connsiteY76"/>
                            </a:cxn>
                            <a:cxn ang="0">
                              <a:pos x="connsiteX77" y="connsiteY77"/>
                            </a:cxn>
                            <a:cxn ang="0">
                              <a:pos x="connsiteX78" y="connsiteY78"/>
                            </a:cxn>
                            <a:cxn ang="0">
                              <a:pos x="connsiteX79" y="connsiteY79"/>
                            </a:cxn>
                            <a:cxn ang="0">
                              <a:pos x="connsiteX80" y="connsiteY80"/>
                            </a:cxn>
                            <a:cxn ang="0">
                              <a:pos x="connsiteX81" y="connsiteY81"/>
                            </a:cxn>
                            <a:cxn ang="0">
                              <a:pos x="connsiteX82" y="connsiteY82"/>
                            </a:cxn>
                            <a:cxn ang="0">
                              <a:pos x="connsiteX83" y="connsiteY83"/>
                            </a:cxn>
                            <a:cxn ang="0">
                              <a:pos x="connsiteX84" y="connsiteY84"/>
                            </a:cxn>
                            <a:cxn ang="0">
                              <a:pos x="connsiteX85" y="connsiteY85"/>
                            </a:cxn>
                            <a:cxn ang="0">
                              <a:pos x="connsiteX86" y="connsiteY86"/>
                            </a:cxn>
                            <a:cxn ang="0">
                              <a:pos x="connsiteX87" y="connsiteY87"/>
                            </a:cxn>
                            <a:cxn ang="0">
                              <a:pos x="connsiteX88" y="connsiteY88"/>
                            </a:cxn>
                            <a:cxn ang="0">
                              <a:pos x="connsiteX89" y="connsiteY89"/>
                            </a:cxn>
                            <a:cxn ang="0">
                              <a:pos x="connsiteX90" y="connsiteY90"/>
                            </a:cxn>
                            <a:cxn ang="0">
                              <a:pos x="connsiteX91" y="connsiteY91"/>
                            </a:cxn>
                            <a:cxn ang="0">
                              <a:pos x="connsiteX92" y="connsiteY92"/>
                            </a:cxn>
                            <a:cxn ang="0">
                              <a:pos x="connsiteX93" y="connsiteY93"/>
                            </a:cxn>
                            <a:cxn ang="0">
                              <a:pos x="connsiteX94" y="connsiteY94"/>
                            </a:cxn>
                            <a:cxn ang="0">
                              <a:pos x="connsiteX95" y="connsiteY95"/>
                            </a:cxn>
                            <a:cxn ang="0">
                              <a:pos x="connsiteX96" y="connsiteY96"/>
                            </a:cxn>
                            <a:cxn ang="0">
                              <a:pos x="connsiteX97" y="connsiteY97"/>
                            </a:cxn>
                            <a:cxn ang="0">
                              <a:pos x="connsiteX98" y="connsiteY98"/>
                            </a:cxn>
                            <a:cxn ang="0">
                              <a:pos x="connsiteX99" y="connsiteY99"/>
                            </a:cxn>
                            <a:cxn ang="0">
                              <a:pos x="connsiteX100" y="connsiteY100"/>
                            </a:cxn>
                            <a:cxn ang="0">
                              <a:pos x="connsiteX101" y="connsiteY101"/>
                            </a:cxn>
                            <a:cxn ang="0">
                              <a:pos x="connsiteX102" y="connsiteY102"/>
                            </a:cxn>
                            <a:cxn ang="0">
                              <a:pos x="connsiteX103" y="connsiteY103"/>
                            </a:cxn>
                            <a:cxn ang="0">
                              <a:pos x="connsiteX104" y="connsiteY104"/>
                            </a:cxn>
                            <a:cxn ang="0">
                              <a:pos x="connsiteX105" y="connsiteY105"/>
                            </a:cxn>
                            <a:cxn ang="0">
                              <a:pos x="connsiteX106" y="connsiteY106"/>
                            </a:cxn>
                            <a:cxn ang="0">
                              <a:pos x="connsiteX107" y="connsiteY107"/>
                            </a:cxn>
                            <a:cxn ang="0">
                              <a:pos x="connsiteX108" y="connsiteY108"/>
                            </a:cxn>
                            <a:cxn ang="0">
                              <a:pos x="connsiteX109" y="connsiteY109"/>
                            </a:cxn>
                            <a:cxn ang="0">
                              <a:pos x="connsiteX110" y="connsiteY110"/>
                            </a:cxn>
                            <a:cxn ang="0">
                              <a:pos x="connsiteX111" y="connsiteY111"/>
                            </a:cxn>
                            <a:cxn ang="0">
                              <a:pos x="connsiteX112" y="connsiteY112"/>
                            </a:cxn>
                            <a:cxn ang="0">
                              <a:pos x="connsiteX113" y="connsiteY113"/>
                            </a:cxn>
                            <a:cxn ang="0">
                              <a:pos x="connsiteX114" y="connsiteY114"/>
                            </a:cxn>
                            <a:cxn ang="0">
                              <a:pos x="connsiteX115" y="connsiteY115"/>
                            </a:cxn>
                            <a:cxn ang="0">
                              <a:pos x="connsiteX116" y="connsiteY116"/>
                            </a:cxn>
                            <a:cxn ang="0">
                              <a:pos x="connsiteX117" y="connsiteY117"/>
                            </a:cxn>
                            <a:cxn ang="0">
                              <a:pos x="connsiteX118" y="connsiteY118"/>
                            </a:cxn>
                            <a:cxn ang="0">
                              <a:pos x="connsiteX119" y="connsiteY119"/>
                            </a:cxn>
                            <a:cxn ang="0">
                              <a:pos x="connsiteX120" y="connsiteY120"/>
                            </a:cxn>
                            <a:cxn ang="0">
                              <a:pos x="connsiteX121" y="connsiteY121"/>
                            </a:cxn>
                            <a:cxn ang="0">
                              <a:pos x="connsiteX122" y="connsiteY122"/>
                            </a:cxn>
                          </a:cxnLst>
                          <a:rect l="l" t="t" r="r" b="b"/>
                          <a:pathLst>
                            <a:path w="119054" h="294619">
                              <a:moveTo>
                                <a:pt x="43343" y="10973"/>
                              </a:moveTo>
                              <a:lnTo>
                                <a:pt x="40599" y="7132"/>
                              </a:lnTo>
                              <a:lnTo>
                                <a:pt x="38953" y="6035"/>
                              </a:lnTo>
                              <a:lnTo>
                                <a:pt x="36210" y="6035"/>
                              </a:lnTo>
                              <a:lnTo>
                                <a:pt x="27981" y="8778"/>
                              </a:lnTo>
                              <a:lnTo>
                                <a:pt x="26335" y="7681"/>
                              </a:lnTo>
                              <a:lnTo>
                                <a:pt x="24140" y="3841"/>
                              </a:lnTo>
                              <a:lnTo>
                                <a:pt x="17008" y="4389"/>
                              </a:lnTo>
                              <a:lnTo>
                                <a:pt x="9327" y="0"/>
                              </a:lnTo>
                              <a:lnTo>
                                <a:pt x="8230" y="549"/>
                              </a:lnTo>
                              <a:lnTo>
                                <a:pt x="8230" y="4389"/>
                              </a:lnTo>
                              <a:lnTo>
                                <a:pt x="9327" y="6035"/>
                              </a:lnTo>
                              <a:lnTo>
                                <a:pt x="10424" y="9875"/>
                              </a:lnTo>
                              <a:lnTo>
                                <a:pt x="17008" y="9875"/>
                              </a:lnTo>
                              <a:lnTo>
                                <a:pt x="23043" y="18654"/>
                              </a:lnTo>
                              <a:lnTo>
                                <a:pt x="24689" y="26335"/>
                              </a:lnTo>
                              <a:lnTo>
                                <a:pt x="29078" y="29627"/>
                              </a:lnTo>
                              <a:lnTo>
                                <a:pt x="30724" y="42245"/>
                              </a:lnTo>
                              <a:lnTo>
                                <a:pt x="34016" y="44440"/>
                              </a:lnTo>
                              <a:lnTo>
                                <a:pt x="34564" y="48280"/>
                              </a:lnTo>
                              <a:lnTo>
                                <a:pt x="34016" y="51023"/>
                              </a:lnTo>
                              <a:lnTo>
                                <a:pt x="28529" y="54315"/>
                              </a:lnTo>
                              <a:lnTo>
                                <a:pt x="26883" y="54864"/>
                              </a:lnTo>
                              <a:lnTo>
                                <a:pt x="24140" y="57059"/>
                              </a:lnTo>
                              <a:lnTo>
                                <a:pt x="24140" y="69129"/>
                              </a:lnTo>
                              <a:lnTo>
                                <a:pt x="20300" y="81199"/>
                              </a:lnTo>
                              <a:lnTo>
                                <a:pt x="20300" y="108082"/>
                              </a:lnTo>
                              <a:lnTo>
                                <a:pt x="23043" y="110825"/>
                              </a:lnTo>
                              <a:lnTo>
                                <a:pt x="26335" y="112471"/>
                              </a:lnTo>
                              <a:lnTo>
                                <a:pt x="27432" y="116860"/>
                              </a:lnTo>
                              <a:lnTo>
                                <a:pt x="26335" y="119055"/>
                              </a:lnTo>
                              <a:lnTo>
                                <a:pt x="20300" y="120152"/>
                              </a:lnTo>
                              <a:lnTo>
                                <a:pt x="15911" y="122895"/>
                              </a:lnTo>
                              <a:lnTo>
                                <a:pt x="12070" y="123993"/>
                              </a:lnTo>
                              <a:lnTo>
                                <a:pt x="11521" y="125090"/>
                              </a:lnTo>
                              <a:lnTo>
                                <a:pt x="5486" y="154717"/>
                              </a:lnTo>
                              <a:lnTo>
                                <a:pt x="549" y="160203"/>
                              </a:lnTo>
                              <a:lnTo>
                                <a:pt x="0" y="162946"/>
                              </a:lnTo>
                              <a:lnTo>
                                <a:pt x="1646" y="168433"/>
                              </a:lnTo>
                              <a:lnTo>
                                <a:pt x="4938" y="169530"/>
                              </a:lnTo>
                              <a:lnTo>
                                <a:pt x="7132" y="173919"/>
                              </a:lnTo>
                              <a:lnTo>
                                <a:pt x="12619" y="173919"/>
                              </a:lnTo>
                              <a:lnTo>
                                <a:pt x="14813" y="175016"/>
                              </a:lnTo>
                              <a:lnTo>
                                <a:pt x="15911" y="177760"/>
                              </a:lnTo>
                              <a:lnTo>
                                <a:pt x="19751" y="179954"/>
                              </a:lnTo>
                              <a:lnTo>
                                <a:pt x="25786" y="190378"/>
                              </a:lnTo>
                              <a:lnTo>
                                <a:pt x="32370" y="196962"/>
                              </a:lnTo>
                              <a:lnTo>
                                <a:pt x="34564" y="197510"/>
                              </a:lnTo>
                              <a:lnTo>
                                <a:pt x="60350" y="192573"/>
                              </a:lnTo>
                              <a:lnTo>
                                <a:pt x="63094" y="193670"/>
                              </a:lnTo>
                              <a:lnTo>
                                <a:pt x="65837" y="197510"/>
                              </a:lnTo>
                              <a:lnTo>
                                <a:pt x="69677" y="224394"/>
                              </a:lnTo>
                              <a:lnTo>
                                <a:pt x="67483" y="228783"/>
                              </a:lnTo>
                              <a:lnTo>
                                <a:pt x="63642" y="233721"/>
                              </a:lnTo>
                              <a:lnTo>
                                <a:pt x="64191" y="238658"/>
                              </a:lnTo>
                              <a:lnTo>
                                <a:pt x="60350" y="241950"/>
                              </a:lnTo>
                              <a:lnTo>
                                <a:pt x="58704" y="249083"/>
                              </a:lnTo>
                              <a:lnTo>
                                <a:pt x="60350" y="251826"/>
                              </a:lnTo>
                              <a:lnTo>
                                <a:pt x="64191" y="262799"/>
                              </a:lnTo>
                              <a:lnTo>
                                <a:pt x="66385" y="264993"/>
                              </a:lnTo>
                              <a:lnTo>
                                <a:pt x="68580" y="266090"/>
                              </a:lnTo>
                              <a:lnTo>
                                <a:pt x="79553" y="280355"/>
                              </a:lnTo>
                              <a:lnTo>
                                <a:pt x="87234" y="283647"/>
                              </a:lnTo>
                              <a:lnTo>
                                <a:pt x="89977" y="286390"/>
                              </a:lnTo>
                              <a:lnTo>
                                <a:pt x="89977" y="289133"/>
                              </a:lnTo>
                              <a:lnTo>
                                <a:pt x="86685" y="292974"/>
                              </a:lnTo>
                              <a:lnTo>
                                <a:pt x="87234" y="294620"/>
                              </a:lnTo>
                              <a:lnTo>
                                <a:pt x="95463" y="294620"/>
                              </a:lnTo>
                              <a:lnTo>
                                <a:pt x="96561" y="294071"/>
                              </a:lnTo>
                              <a:lnTo>
                                <a:pt x="96561" y="282550"/>
                              </a:lnTo>
                              <a:lnTo>
                                <a:pt x="94915" y="279258"/>
                              </a:lnTo>
                              <a:lnTo>
                                <a:pt x="92720" y="277612"/>
                              </a:lnTo>
                              <a:lnTo>
                                <a:pt x="92171" y="272674"/>
                              </a:lnTo>
                              <a:lnTo>
                                <a:pt x="94915" y="268285"/>
                              </a:lnTo>
                              <a:lnTo>
                                <a:pt x="94915" y="265542"/>
                              </a:lnTo>
                              <a:lnTo>
                                <a:pt x="95463" y="262799"/>
                              </a:lnTo>
                              <a:lnTo>
                                <a:pt x="113020" y="254569"/>
                              </a:lnTo>
                              <a:lnTo>
                                <a:pt x="114666" y="251277"/>
                              </a:lnTo>
                              <a:lnTo>
                                <a:pt x="115763" y="236464"/>
                              </a:lnTo>
                              <a:lnTo>
                                <a:pt x="117958" y="231526"/>
                              </a:lnTo>
                              <a:lnTo>
                                <a:pt x="114666" y="221651"/>
                              </a:lnTo>
                              <a:lnTo>
                                <a:pt x="119055" y="210129"/>
                              </a:lnTo>
                              <a:lnTo>
                                <a:pt x="117409" y="200802"/>
                              </a:lnTo>
                              <a:lnTo>
                                <a:pt x="79553" y="156911"/>
                              </a:lnTo>
                              <a:lnTo>
                                <a:pt x="78455" y="157460"/>
                              </a:lnTo>
                              <a:lnTo>
                                <a:pt x="78455" y="162946"/>
                              </a:lnTo>
                              <a:lnTo>
                                <a:pt x="80101" y="166787"/>
                              </a:lnTo>
                              <a:lnTo>
                                <a:pt x="83393" y="167884"/>
                              </a:lnTo>
                              <a:lnTo>
                                <a:pt x="85588" y="170078"/>
                              </a:lnTo>
                              <a:lnTo>
                                <a:pt x="92171" y="186538"/>
                              </a:lnTo>
                              <a:lnTo>
                                <a:pt x="92720" y="190927"/>
                              </a:lnTo>
                              <a:lnTo>
                                <a:pt x="91074" y="191476"/>
                              </a:lnTo>
                              <a:lnTo>
                                <a:pt x="89977" y="190927"/>
                              </a:lnTo>
                              <a:lnTo>
                                <a:pt x="85588" y="184892"/>
                              </a:lnTo>
                              <a:lnTo>
                                <a:pt x="82296" y="183794"/>
                              </a:lnTo>
                              <a:lnTo>
                                <a:pt x="80101" y="178857"/>
                              </a:lnTo>
                              <a:lnTo>
                                <a:pt x="79553" y="178308"/>
                              </a:lnTo>
                              <a:lnTo>
                                <a:pt x="78455" y="178308"/>
                              </a:lnTo>
                              <a:lnTo>
                                <a:pt x="75712" y="184892"/>
                              </a:lnTo>
                              <a:lnTo>
                                <a:pt x="73518" y="185440"/>
                              </a:lnTo>
                              <a:lnTo>
                                <a:pt x="70226" y="185440"/>
                              </a:lnTo>
                              <a:lnTo>
                                <a:pt x="68580" y="183794"/>
                              </a:lnTo>
                              <a:lnTo>
                                <a:pt x="66934" y="181051"/>
                              </a:lnTo>
                              <a:lnTo>
                                <a:pt x="66385" y="175016"/>
                              </a:lnTo>
                              <a:lnTo>
                                <a:pt x="68031" y="168981"/>
                              </a:lnTo>
                              <a:lnTo>
                                <a:pt x="67483" y="166238"/>
                              </a:lnTo>
                              <a:lnTo>
                                <a:pt x="61996" y="160203"/>
                              </a:lnTo>
                              <a:lnTo>
                                <a:pt x="58704" y="151425"/>
                              </a:lnTo>
                              <a:lnTo>
                                <a:pt x="58704" y="142646"/>
                              </a:lnTo>
                              <a:lnTo>
                                <a:pt x="58156" y="142098"/>
                              </a:lnTo>
                              <a:lnTo>
                                <a:pt x="46086" y="110825"/>
                              </a:lnTo>
                              <a:lnTo>
                                <a:pt x="46086" y="108082"/>
                              </a:lnTo>
                              <a:lnTo>
                                <a:pt x="46634" y="104790"/>
                              </a:lnTo>
                              <a:lnTo>
                                <a:pt x="56510" y="87234"/>
                              </a:lnTo>
                              <a:lnTo>
                                <a:pt x="53218" y="47183"/>
                              </a:lnTo>
                              <a:lnTo>
                                <a:pt x="55413" y="41697"/>
                              </a:lnTo>
                              <a:lnTo>
                                <a:pt x="55413" y="37856"/>
                              </a:lnTo>
                              <a:lnTo>
                                <a:pt x="52669" y="34016"/>
                              </a:lnTo>
                              <a:lnTo>
                                <a:pt x="47183" y="30724"/>
                              </a:lnTo>
                              <a:lnTo>
                                <a:pt x="42245" y="20848"/>
                              </a:lnTo>
                              <a:lnTo>
                                <a:pt x="43343" y="10973"/>
                              </a:lnTo>
                              <a:lnTo>
                                <a:pt x="46634" y="6584"/>
                              </a:lnTo>
                              <a:lnTo>
                                <a:pt x="43343" y="10973"/>
                              </a:lnTo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201" name="Graphic 7">
                          <a:extLst>
                            <a:ext uri="{FF2B5EF4-FFF2-40B4-BE49-F238E27FC236}">
                              <a16:creationId xmlns:a16="http://schemas.microsoft.com/office/drawing/2014/main" id="{677B7C68-54CB-4CC0-3598-23BB835EFBED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4987892" y="3302879"/>
                          <a:ext cx="594526" cy="603528"/>
                        </a:xfrm>
                        <a:custGeom>
                          <a:avLst/>
                          <a:gdLst>
                            <a:gd name="connsiteX0" fmla="*/ 138257 w 760963"/>
                            <a:gd name="connsiteY0" fmla="*/ 528889 h 772485"/>
                            <a:gd name="connsiteX1" fmla="*/ 138257 w 760963"/>
                            <a:gd name="connsiteY1" fmla="*/ 528889 h 772485"/>
                            <a:gd name="connsiteX2" fmla="*/ 0 w 760963"/>
                            <a:gd name="connsiteY2" fmla="*/ 438363 h 772485"/>
                            <a:gd name="connsiteX3" fmla="*/ 0 w 760963"/>
                            <a:gd name="connsiteY3" fmla="*/ 368686 h 772485"/>
                            <a:gd name="connsiteX4" fmla="*/ 30724 w 760963"/>
                            <a:gd name="connsiteY4" fmla="*/ 345643 h 772485"/>
                            <a:gd name="connsiteX5" fmla="*/ 40051 w 760963"/>
                            <a:gd name="connsiteY5" fmla="*/ 345094 h 772485"/>
                            <a:gd name="connsiteX6" fmla="*/ 44440 w 760963"/>
                            <a:gd name="connsiteY6" fmla="*/ 341254 h 772485"/>
                            <a:gd name="connsiteX7" fmla="*/ 49378 w 760963"/>
                            <a:gd name="connsiteY7" fmla="*/ 339059 h 772485"/>
                            <a:gd name="connsiteX8" fmla="*/ 53218 w 760963"/>
                            <a:gd name="connsiteY8" fmla="*/ 334122 h 772485"/>
                            <a:gd name="connsiteX9" fmla="*/ 56510 w 760963"/>
                            <a:gd name="connsiteY9" fmla="*/ 332476 h 772485"/>
                            <a:gd name="connsiteX10" fmla="*/ 60899 w 760963"/>
                            <a:gd name="connsiteY10" fmla="*/ 333025 h 772485"/>
                            <a:gd name="connsiteX11" fmla="*/ 65288 w 760963"/>
                            <a:gd name="connsiteY11" fmla="*/ 332476 h 772485"/>
                            <a:gd name="connsiteX12" fmla="*/ 69129 w 760963"/>
                            <a:gd name="connsiteY12" fmla="*/ 333573 h 772485"/>
                            <a:gd name="connsiteX13" fmla="*/ 75164 w 760963"/>
                            <a:gd name="connsiteY13" fmla="*/ 334122 h 772485"/>
                            <a:gd name="connsiteX14" fmla="*/ 76261 w 760963"/>
                            <a:gd name="connsiteY14" fmla="*/ 333025 h 772485"/>
                            <a:gd name="connsiteX15" fmla="*/ 76261 w 760963"/>
                            <a:gd name="connsiteY15" fmla="*/ 327538 h 772485"/>
                            <a:gd name="connsiteX16" fmla="*/ 77907 w 760963"/>
                            <a:gd name="connsiteY16" fmla="*/ 324795 h 772485"/>
                            <a:gd name="connsiteX17" fmla="*/ 88880 w 760963"/>
                            <a:gd name="connsiteY17" fmla="*/ 325343 h 772485"/>
                            <a:gd name="connsiteX18" fmla="*/ 92720 w 760963"/>
                            <a:gd name="connsiteY18" fmla="*/ 323698 h 772485"/>
                            <a:gd name="connsiteX19" fmla="*/ 109728 w 760963"/>
                            <a:gd name="connsiteY19" fmla="*/ 322052 h 772485"/>
                            <a:gd name="connsiteX20" fmla="*/ 121249 w 760963"/>
                            <a:gd name="connsiteY20" fmla="*/ 317114 h 772485"/>
                            <a:gd name="connsiteX21" fmla="*/ 129479 w 760963"/>
                            <a:gd name="connsiteY21" fmla="*/ 309982 h 772485"/>
                            <a:gd name="connsiteX22" fmla="*/ 131674 w 760963"/>
                            <a:gd name="connsiteY22" fmla="*/ 306690 h 772485"/>
                            <a:gd name="connsiteX23" fmla="*/ 131674 w 760963"/>
                            <a:gd name="connsiteY23" fmla="*/ 303946 h 772485"/>
                            <a:gd name="connsiteX24" fmla="*/ 134417 w 760963"/>
                            <a:gd name="connsiteY24" fmla="*/ 299557 h 772485"/>
                            <a:gd name="connsiteX25" fmla="*/ 141001 w 760963"/>
                            <a:gd name="connsiteY25" fmla="*/ 294071 h 772485"/>
                            <a:gd name="connsiteX26" fmla="*/ 150327 w 760963"/>
                            <a:gd name="connsiteY26" fmla="*/ 290230 h 772485"/>
                            <a:gd name="connsiteX27" fmla="*/ 154717 w 760963"/>
                            <a:gd name="connsiteY27" fmla="*/ 289682 h 772485"/>
                            <a:gd name="connsiteX28" fmla="*/ 172273 w 760963"/>
                            <a:gd name="connsiteY28" fmla="*/ 278709 h 772485"/>
                            <a:gd name="connsiteX29" fmla="*/ 187086 w 760963"/>
                            <a:gd name="connsiteY29" fmla="*/ 275417 h 772485"/>
                            <a:gd name="connsiteX30" fmla="*/ 188184 w 760963"/>
                            <a:gd name="connsiteY30" fmla="*/ 273223 h 772485"/>
                            <a:gd name="connsiteX31" fmla="*/ 187635 w 760963"/>
                            <a:gd name="connsiteY31" fmla="*/ 271028 h 772485"/>
                            <a:gd name="connsiteX32" fmla="*/ 184343 w 760963"/>
                            <a:gd name="connsiteY32" fmla="*/ 268285 h 772485"/>
                            <a:gd name="connsiteX33" fmla="*/ 183794 w 760963"/>
                            <a:gd name="connsiteY33" fmla="*/ 266639 h 772485"/>
                            <a:gd name="connsiteX34" fmla="*/ 182149 w 760963"/>
                            <a:gd name="connsiteY34" fmla="*/ 266090 h 772485"/>
                            <a:gd name="connsiteX35" fmla="*/ 180503 w 760963"/>
                            <a:gd name="connsiteY35" fmla="*/ 267736 h 772485"/>
                            <a:gd name="connsiteX36" fmla="*/ 178857 w 760963"/>
                            <a:gd name="connsiteY36" fmla="*/ 267188 h 772485"/>
                            <a:gd name="connsiteX37" fmla="*/ 180503 w 760963"/>
                            <a:gd name="connsiteY37" fmla="*/ 260055 h 772485"/>
                            <a:gd name="connsiteX38" fmla="*/ 183794 w 760963"/>
                            <a:gd name="connsiteY38" fmla="*/ 256215 h 772485"/>
                            <a:gd name="connsiteX39" fmla="*/ 182697 w 760963"/>
                            <a:gd name="connsiteY39" fmla="*/ 255118 h 772485"/>
                            <a:gd name="connsiteX40" fmla="*/ 179405 w 760963"/>
                            <a:gd name="connsiteY40" fmla="*/ 254569 h 772485"/>
                            <a:gd name="connsiteX41" fmla="*/ 178308 w 760963"/>
                            <a:gd name="connsiteY41" fmla="*/ 253472 h 772485"/>
                            <a:gd name="connsiteX42" fmla="*/ 178308 w 760963"/>
                            <a:gd name="connsiteY42" fmla="*/ 248534 h 772485"/>
                            <a:gd name="connsiteX43" fmla="*/ 179405 w 760963"/>
                            <a:gd name="connsiteY43" fmla="*/ 245242 h 772485"/>
                            <a:gd name="connsiteX44" fmla="*/ 182697 w 760963"/>
                            <a:gd name="connsiteY44" fmla="*/ 243047 h 772485"/>
                            <a:gd name="connsiteX45" fmla="*/ 186538 w 760963"/>
                            <a:gd name="connsiteY45" fmla="*/ 242499 h 772485"/>
                            <a:gd name="connsiteX46" fmla="*/ 190927 w 760963"/>
                            <a:gd name="connsiteY46" fmla="*/ 243596 h 772485"/>
                            <a:gd name="connsiteX47" fmla="*/ 210678 w 760963"/>
                            <a:gd name="connsiteY47" fmla="*/ 237561 h 772485"/>
                            <a:gd name="connsiteX48" fmla="*/ 211775 w 760963"/>
                            <a:gd name="connsiteY48" fmla="*/ 236464 h 772485"/>
                            <a:gd name="connsiteX49" fmla="*/ 212872 w 760963"/>
                            <a:gd name="connsiteY49" fmla="*/ 232075 h 772485"/>
                            <a:gd name="connsiteX50" fmla="*/ 211775 w 760963"/>
                            <a:gd name="connsiteY50" fmla="*/ 228234 h 772485"/>
                            <a:gd name="connsiteX51" fmla="*/ 213970 w 760963"/>
                            <a:gd name="connsiteY51" fmla="*/ 224942 h 772485"/>
                            <a:gd name="connsiteX52" fmla="*/ 215616 w 760963"/>
                            <a:gd name="connsiteY52" fmla="*/ 224394 h 772485"/>
                            <a:gd name="connsiteX53" fmla="*/ 220553 w 760963"/>
                            <a:gd name="connsiteY53" fmla="*/ 226040 h 772485"/>
                            <a:gd name="connsiteX54" fmla="*/ 223297 w 760963"/>
                            <a:gd name="connsiteY54" fmla="*/ 225491 h 772485"/>
                            <a:gd name="connsiteX55" fmla="*/ 225491 w 760963"/>
                            <a:gd name="connsiteY55" fmla="*/ 223845 h 772485"/>
                            <a:gd name="connsiteX56" fmla="*/ 253472 w 760963"/>
                            <a:gd name="connsiteY56" fmla="*/ 221650 h 772485"/>
                            <a:gd name="connsiteX57" fmla="*/ 256764 w 760963"/>
                            <a:gd name="connsiteY57" fmla="*/ 220553 h 772485"/>
                            <a:gd name="connsiteX58" fmla="*/ 272674 w 760963"/>
                            <a:gd name="connsiteY58" fmla="*/ 222199 h 772485"/>
                            <a:gd name="connsiteX59" fmla="*/ 277612 w 760963"/>
                            <a:gd name="connsiteY59" fmla="*/ 223845 h 772485"/>
                            <a:gd name="connsiteX60" fmla="*/ 279806 w 760963"/>
                            <a:gd name="connsiteY60" fmla="*/ 223297 h 772485"/>
                            <a:gd name="connsiteX61" fmla="*/ 279806 w 760963"/>
                            <a:gd name="connsiteY61" fmla="*/ 222199 h 772485"/>
                            <a:gd name="connsiteX62" fmla="*/ 277612 w 760963"/>
                            <a:gd name="connsiteY62" fmla="*/ 218907 h 772485"/>
                            <a:gd name="connsiteX63" fmla="*/ 278161 w 760963"/>
                            <a:gd name="connsiteY63" fmla="*/ 213970 h 772485"/>
                            <a:gd name="connsiteX64" fmla="*/ 281452 w 760963"/>
                            <a:gd name="connsiteY64" fmla="*/ 209032 h 772485"/>
                            <a:gd name="connsiteX65" fmla="*/ 284744 w 760963"/>
                            <a:gd name="connsiteY65" fmla="*/ 207934 h 772485"/>
                            <a:gd name="connsiteX66" fmla="*/ 284744 w 760963"/>
                            <a:gd name="connsiteY66" fmla="*/ 206837 h 772485"/>
                            <a:gd name="connsiteX67" fmla="*/ 273223 w 760963"/>
                            <a:gd name="connsiteY67" fmla="*/ 196962 h 772485"/>
                            <a:gd name="connsiteX68" fmla="*/ 268285 w 760963"/>
                            <a:gd name="connsiteY68" fmla="*/ 187086 h 772485"/>
                            <a:gd name="connsiteX69" fmla="*/ 268834 w 760963"/>
                            <a:gd name="connsiteY69" fmla="*/ 182697 h 772485"/>
                            <a:gd name="connsiteX70" fmla="*/ 265542 w 760963"/>
                            <a:gd name="connsiteY70" fmla="*/ 173370 h 772485"/>
                            <a:gd name="connsiteX71" fmla="*/ 265542 w 760963"/>
                            <a:gd name="connsiteY71" fmla="*/ 169530 h 772485"/>
                            <a:gd name="connsiteX72" fmla="*/ 267188 w 760963"/>
                            <a:gd name="connsiteY72" fmla="*/ 165689 h 772485"/>
                            <a:gd name="connsiteX73" fmla="*/ 266639 w 760963"/>
                            <a:gd name="connsiteY73" fmla="*/ 159654 h 772485"/>
                            <a:gd name="connsiteX74" fmla="*/ 262250 w 760963"/>
                            <a:gd name="connsiteY74" fmla="*/ 154717 h 772485"/>
                            <a:gd name="connsiteX75" fmla="*/ 263347 w 760963"/>
                            <a:gd name="connsiteY75" fmla="*/ 151973 h 772485"/>
                            <a:gd name="connsiteX76" fmla="*/ 264445 w 760963"/>
                            <a:gd name="connsiteY76" fmla="*/ 139903 h 772485"/>
                            <a:gd name="connsiteX77" fmla="*/ 261153 w 760963"/>
                            <a:gd name="connsiteY77" fmla="*/ 126736 h 772485"/>
                            <a:gd name="connsiteX78" fmla="*/ 262799 w 760963"/>
                            <a:gd name="connsiteY78" fmla="*/ 122347 h 772485"/>
                            <a:gd name="connsiteX79" fmla="*/ 259507 w 760963"/>
                            <a:gd name="connsiteY79" fmla="*/ 115763 h 772485"/>
                            <a:gd name="connsiteX80" fmla="*/ 260055 w 760963"/>
                            <a:gd name="connsiteY80" fmla="*/ 114666 h 772485"/>
                            <a:gd name="connsiteX81" fmla="*/ 261153 w 760963"/>
                            <a:gd name="connsiteY81" fmla="*/ 114117 h 772485"/>
                            <a:gd name="connsiteX82" fmla="*/ 261701 w 760963"/>
                            <a:gd name="connsiteY82" fmla="*/ 112471 h 772485"/>
                            <a:gd name="connsiteX83" fmla="*/ 260055 w 760963"/>
                            <a:gd name="connsiteY83" fmla="*/ 110277 h 772485"/>
                            <a:gd name="connsiteX84" fmla="*/ 257861 w 760963"/>
                            <a:gd name="connsiteY84" fmla="*/ 109179 h 772485"/>
                            <a:gd name="connsiteX85" fmla="*/ 255118 w 760963"/>
                            <a:gd name="connsiteY85" fmla="*/ 106436 h 772485"/>
                            <a:gd name="connsiteX86" fmla="*/ 254020 w 760963"/>
                            <a:gd name="connsiteY86" fmla="*/ 103693 h 772485"/>
                            <a:gd name="connsiteX87" fmla="*/ 249631 w 760963"/>
                            <a:gd name="connsiteY87" fmla="*/ 100950 h 772485"/>
                            <a:gd name="connsiteX88" fmla="*/ 247985 w 760963"/>
                            <a:gd name="connsiteY88" fmla="*/ 97658 h 772485"/>
                            <a:gd name="connsiteX89" fmla="*/ 247985 w 760963"/>
                            <a:gd name="connsiteY89" fmla="*/ 93817 h 772485"/>
                            <a:gd name="connsiteX90" fmla="*/ 247985 w 760963"/>
                            <a:gd name="connsiteY90" fmla="*/ 93817 h 772485"/>
                            <a:gd name="connsiteX91" fmla="*/ 252923 w 760963"/>
                            <a:gd name="connsiteY91" fmla="*/ 93269 h 772485"/>
                            <a:gd name="connsiteX92" fmla="*/ 273223 w 760963"/>
                            <a:gd name="connsiteY92" fmla="*/ 83942 h 772485"/>
                            <a:gd name="connsiteX93" fmla="*/ 284744 w 760963"/>
                            <a:gd name="connsiteY93" fmla="*/ 67483 h 772485"/>
                            <a:gd name="connsiteX94" fmla="*/ 292974 w 760963"/>
                            <a:gd name="connsiteY94" fmla="*/ 62545 h 772485"/>
                            <a:gd name="connsiteX95" fmla="*/ 303398 w 760963"/>
                            <a:gd name="connsiteY95" fmla="*/ 62545 h 772485"/>
                            <a:gd name="connsiteX96" fmla="*/ 311628 w 760963"/>
                            <a:gd name="connsiteY96" fmla="*/ 55961 h 772485"/>
                            <a:gd name="connsiteX97" fmla="*/ 318760 w 760963"/>
                            <a:gd name="connsiteY97" fmla="*/ 59802 h 772485"/>
                            <a:gd name="connsiteX98" fmla="*/ 326441 w 760963"/>
                            <a:gd name="connsiteY98" fmla="*/ 55961 h 772485"/>
                            <a:gd name="connsiteX99" fmla="*/ 335768 w 760963"/>
                            <a:gd name="connsiteY99" fmla="*/ 43891 h 772485"/>
                            <a:gd name="connsiteX100" fmla="*/ 345643 w 760963"/>
                            <a:gd name="connsiteY100" fmla="*/ 40051 h 772485"/>
                            <a:gd name="connsiteX101" fmla="*/ 352776 w 760963"/>
                            <a:gd name="connsiteY101" fmla="*/ 34016 h 772485"/>
                            <a:gd name="connsiteX102" fmla="*/ 379659 w 760963"/>
                            <a:gd name="connsiteY102" fmla="*/ 25237 h 772485"/>
                            <a:gd name="connsiteX103" fmla="*/ 424099 w 760963"/>
                            <a:gd name="connsiteY103" fmla="*/ 22494 h 772485"/>
                            <a:gd name="connsiteX104" fmla="*/ 437266 w 760963"/>
                            <a:gd name="connsiteY104" fmla="*/ 13716 h 772485"/>
                            <a:gd name="connsiteX105" fmla="*/ 442204 w 760963"/>
                            <a:gd name="connsiteY105" fmla="*/ 14813 h 772485"/>
                            <a:gd name="connsiteX106" fmla="*/ 450433 w 760963"/>
                            <a:gd name="connsiteY106" fmla="*/ 14265 h 772485"/>
                            <a:gd name="connsiteX107" fmla="*/ 454274 w 760963"/>
                            <a:gd name="connsiteY107" fmla="*/ 15362 h 772485"/>
                            <a:gd name="connsiteX108" fmla="*/ 460309 w 760963"/>
                            <a:gd name="connsiteY108" fmla="*/ 14265 h 772485"/>
                            <a:gd name="connsiteX109" fmla="*/ 470733 w 760963"/>
                            <a:gd name="connsiteY109" fmla="*/ 8778 h 772485"/>
                            <a:gd name="connsiteX110" fmla="*/ 509138 w 760963"/>
                            <a:gd name="connsiteY110" fmla="*/ 10424 h 772485"/>
                            <a:gd name="connsiteX111" fmla="*/ 515173 w 760963"/>
                            <a:gd name="connsiteY111" fmla="*/ 16459 h 772485"/>
                            <a:gd name="connsiteX112" fmla="*/ 522854 w 760963"/>
                            <a:gd name="connsiteY112" fmla="*/ 18654 h 772485"/>
                            <a:gd name="connsiteX113" fmla="*/ 555224 w 760963"/>
                            <a:gd name="connsiteY113" fmla="*/ 7681 h 772485"/>
                            <a:gd name="connsiteX114" fmla="*/ 560710 w 760963"/>
                            <a:gd name="connsiteY114" fmla="*/ 0 h 772485"/>
                            <a:gd name="connsiteX115" fmla="*/ 574975 w 760963"/>
                            <a:gd name="connsiteY115" fmla="*/ 6035 h 772485"/>
                            <a:gd name="connsiteX116" fmla="*/ 578815 w 760963"/>
                            <a:gd name="connsiteY116" fmla="*/ 6035 h 772485"/>
                            <a:gd name="connsiteX117" fmla="*/ 584850 w 760963"/>
                            <a:gd name="connsiteY117" fmla="*/ 8778 h 772485"/>
                            <a:gd name="connsiteX118" fmla="*/ 592531 w 760963"/>
                            <a:gd name="connsiteY118" fmla="*/ 5486 h 772485"/>
                            <a:gd name="connsiteX119" fmla="*/ 596372 w 760963"/>
                            <a:gd name="connsiteY119" fmla="*/ 549 h 772485"/>
                            <a:gd name="connsiteX120" fmla="*/ 610636 w 760963"/>
                            <a:gd name="connsiteY120" fmla="*/ 5486 h 772485"/>
                            <a:gd name="connsiteX121" fmla="*/ 616123 w 760963"/>
                            <a:gd name="connsiteY121" fmla="*/ 10424 h 772485"/>
                            <a:gd name="connsiteX122" fmla="*/ 624352 w 760963"/>
                            <a:gd name="connsiteY122" fmla="*/ 9327 h 772485"/>
                            <a:gd name="connsiteX123" fmla="*/ 629839 w 760963"/>
                            <a:gd name="connsiteY123" fmla="*/ 6584 h 772485"/>
                            <a:gd name="connsiteX124" fmla="*/ 639714 w 760963"/>
                            <a:gd name="connsiteY124" fmla="*/ 8230 h 772485"/>
                            <a:gd name="connsiteX125" fmla="*/ 648493 w 760963"/>
                            <a:gd name="connsiteY125" fmla="*/ 6584 h 772485"/>
                            <a:gd name="connsiteX126" fmla="*/ 647395 w 760963"/>
                            <a:gd name="connsiteY126" fmla="*/ 10973 h 772485"/>
                            <a:gd name="connsiteX127" fmla="*/ 633679 w 760963"/>
                            <a:gd name="connsiteY127" fmla="*/ 23043 h 772485"/>
                            <a:gd name="connsiteX128" fmla="*/ 631485 w 760963"/>
                            <a:gd name="connsiteY128" fmla="*/ 26335 h 772485"/>
                            <a:gd name="connsiteX129" fmla="*/ 636422 w 760963"/>
                            <a:gd name="connsiteY129" fmla="*/ 27981 h 772485"/>
                            <a:gd name="connsiteX130" fmla="*/ 637520 w 760963"/>
                            <a:gd name="connsiteY130" fmla="*/ 31273 h 772485"/>
                            <a:gd name="connsiteX131" fmla="*/ 635325 w 760963"/>
                            <a:gd name="connsiteY131" fmla="*/ 81199 h 772485"/>
                            <a:gd name="connsiteX132" fmla="*/ 638068 w 760963"/>
                            <a:gd name="connsiteY132" fmla="*/ 85588 h 772485"/>
                            <a:gd name="connsiteX133" fmla="*/ 630936 w 760963"/>
                            <a:gd name="connsiteY133" fmla="*/ 115763 h 772485"/>
                            <a:gd name="connsiteX134" fmla="*/ 617769 w 760963"/>
                            <a:gd name="connsiteY134" fmla="*/ 124541 h 772485"/>
                            <a:gd name="connsiteX135" fmla="*/ 616123 w 760963"/>
                            <a:gd name="connsiteY135" fmla="*/ 131674 h 772485"/>
                            <a:gd name="connsiteX136" fmla="*/ 610088 w 760963"/>
                            <a:gd name="connsiteY136" fmla="*/ 134417 h 772485"/>
                            <a:gd name="connsiteX137" fmla="*/ 606796 w 760963"/>
                            <a:gd name="connsiteY137" fmla="*/ 138257 h 772485"/>
                            <a:gd name="connsiteX138" fmla="*/ 605699 w 760963"/>
                            <a:gd name="connsiteY138" fmla="*/ 139903 h 772485"/>
                            <a:gd name="connsiteX139" fmla="*/ 598566 w 760963"/>
                            <a:gd name="connsiteY139" fmla="*/ 144841 h 772485"/>
                            <a:gd name="connsiteX140" fmla="*/ 597469 w 760963"/>
                            <a:gd name="connsiteY140" fmla="*/ 144841 h 772485"/>
                            <a:gd name="connsiteX141" fmla="*/ 606247 w 760963"/>
                            <a:gd name="connsiteY141" fmla="*/ 175565 h 772485"/>
                            <a:gd name="connsiteX142" fmla="*/ 619415 w 760963"/>
                            <a:gd name="connsiteY142" fmla="*/ 180502 h 772485"/>
                            <a:gd name="connsiteX143" fmla="*/ 622706 w 760963"/>
                            <a:gd name="connsiteY143" fmla="*/ 184343 h 772485"/>
                            <a:gd name="connsiteX144" fmla="*/ 628741 w 760963"/>
                            <a:gd name="connsiteY144" fmla="*/ 198608 h 772485"/>
                            <a:gd name="connsiteX145" fmla="*/ 628741 w 760963"/>
                            <a:gd name="connsiteY145" fmla="*/ 211226 h 772485"/>
                            <a:gd name="connsiteX146" fmla="*/ 657819 w 760963"/>
                            <a:gd name="connsiteY146" fmla="*/ 227686 h 772485"/>
                            <a:gd name="connsiteX147" fmla="*/ 660014 w 760963"/>
                            <a:gd name="connsiteY147" fmla="*/ 227686 h 772485"/>
                            <a:gd name="connsiteX148" fmla="*/ 672633 w 760963"/>
                            <a:gd name="connsiteY148" fmla="*/ 305593 h 772485"/>
                            <a:gd name="connsiteX149" fmla="*/ 672633 w 760963"/>
                            <a:gd name="connsiteY149" fmla="*/ 307787 h 772485"/>
                            <a:gd name="connsiteX150" fmla="*/ 666049 w 760963"/>
                            <a:gd name="connsiteY150" fmla="*/ 312725 h 772485"/>
                            <a:gd name="connsiteX151" fmla="*/ 664952 w 760963"/>
                            <a:gd name="connsiteY151" fmla="*/ 323149 h 772485"/>
                            <a:gd name="connsiteX152" fmla="*/ 680314 w 760963"/>
                            <a:gd name="connsiteY152" fmla="*/ 347838 h 772485"/>
                            <a:gd name="connsiteX153" fmla="*/ 683605 w 760963"/>
                            <a:gd name="connsiteY153" fmla="*/ 468538 h 772485"/>
                            <a:gd name="connsiteX154" fmla="*/ 669889 w 760963"/>
                            <a:gd name="connsiteY154" fmla="*/ 474574 h 772485"/>
                            <a:gd name="connsiteX155" fmla="*/ 668792 w 760963"/>
                            <a:gd name="connsiteY155" fmla="*/ 480609 h 772485"/>
                            <a:gd name="connsiteX156" fmla="*/ 672084 w 760963"/>
                            <a:gd name="connsiteY156" fmla="*/ 489935 h 772485"/>
                            <a:gd name="connsiteX157" fmla="*/ 691835 w 760963"/>
                            <a:gd name="connsiteY157" fmla="*/ 515722 h 772485"/>
                            <a:gd name="connsiteX158" fmla="*/ 694578 w 760963"/>
                            <a:gd name="connsiteY158" fmla="*/ 537118 h 772485"/>
                            <a:gd name="connsiteX159" fmla="*/ 704454 w 760963"/>
                            <a:gd name="connsiteY159" fmla="*/ 547543 h 772485"/>
                            <a:gd name="connsiteX160" fmla="*/ 724205 w 760963"/>
                            <a:gd name="connsiteY160" fmla="*/ 548091 h 772485"/>
                            <a:gd name="connsiteX161" fmla="*/ 744505 w 760963"/>
                            <a:gd name="connsiteY161" fmla="*/ 557418 h 772485"/>
                            <a:gd name="connsiteX162" fmla="*/ 760415 w 760963"/>
                            <a:gd name="connsiteY162" fmla="*/ 587045 h 772485"/>
                            <a:gd name="connsiteX163" fmla="*/ 760964 w 760963"/>
                            <a:gd name="connsiteY163" fmla="*/ 591434 h 772485"/>
                            <a:gd name="connsiteX164" fmla="*/ 533827 w 760963"/>
                            <a:gd name="connsiteY164" fmla="*/ 750539 h 772485"/>
                            <a:gd name="connsiteX165" fmla="*/ 453725 w 760963"/>
                            <a:gd name="connsiteY165" fmla="*/ 772485 h 772485"/>
                            <a:gd name="connsiteX166" fmla="*/ 444947 w 760963"/>
                            <a:gd name="connsiteY166" fmla="*/ 771937 h 772485"/>
                            <a:gd name="connsiteX167" fmla="*/ 439461 w 760963"/>
                            <a:gd name="connsiteY167" fmla="*/ 765901 h 772485"/>
                            <a:gd name="connsiteX168" fmla="*/ 439461 w 760963"/>
                            <a:gd name="connsiteY168" fmla="*/ 763158 h 772485"/>
                            <a:gd name="connsiteX169" fmla="*/ 441107 w 760963"/>
                            <a:gd name="connsiteY169" fmla="*/ 759318 h 772485"/>
                            <a:gd name="connsiteX170" fmla="*/ 440558 w 760963"/>
                            <a:gd name="connsiteY170" fmla="*/ 754929 h 772485"/>
                            <a:gd name="connsiteX171" fmla="*/ 441107 w 760963"/>
                            <a:gd name="connsiteY171" fmla="*/ 753831 h 772485"/>
                            <a:gd name="connsiteX172" fmla="*/ 443301 w 760963"/>
                            <a:gd name="connsiteY172" fmla="*/ 752185 h 772485"/>
                            <a:gd name="connsiteX173" fmla="*/ 443301 w 760963"/>
                            <a:gd name="connsiteY173" fmla="*/ 750539 h 772485"/>
                            <a:gd name="connsiteX174" fmla="*/ 441655 w 760963"/>
                            <a:gd name="connsiteY174" fmla="*/ 747796 h 772485"/>
                            <a:gd name="connsiteX175" fmla="*/ 441655 w 760963"/>
                            <a:gd name="connsiteY175" fmla="*/ 745053 h 772485"/>
                            <a:gd name="connsiteX176" fmla="*/ 442753 w 760963"/>
                            <a:gd name="connsiteY176" fmla="*/ 742858 h 772485"/>
                            <a:gd name="connsiteX177" fmla="*/ 442204 w 760963"/>
                            <a:gd name="connsiteY177" fmla="*/ 739567 h 772485"/>
                            <a:gd name="connsiteX178" fmla="*/ 441107 w 760963"/>
                            <a:gd name="connsiteY178" fmla="*/ 739018 h 772485"/>
                            <a:gd name="connsiteX179" fmla="*/ 440009 w 760963"/>
                            <a:gd name="connsiteY179" fmla="*/ 737372 h 772485"/>
                            <a:gd name="connsiteX180" fmla="*/ 437815 w 760963"/>
                            <a:gd name="connsiteY180" fmla="*/ 735178 h 772485"/>
                            <a:gd name="connsiteX181" fmla="*/ 431231 w 760963"/>
                            <a:gd name="connsiteY181" fmla="*/ 733532 h 772485"/>
                            <a:gd name="connsiteX182" fmla="*/ 425745 w 760963"/>
                            <a:gd name="connsiteY182" fmla="*/ 729691 h 772485"/>
                            <a:gd name="connsiteX183" fmla="*/ 423001 w 760963"/>
                            <a:gd name="connsiteY183" fmla="*/ 729691 h 772485"/>
                            <a:gd name="connsiteX184" fmla="*/ 419710 w 760963"/>
                            <a:gd name="connsiteY184" fmla="*/ 728594 h 772485"/>
                            <a:gd name="connsiteX185" fmla="*/ 412577 w 760963"/>
                            <a:gd name="connsiteY185" fmla="*/ 728594 h 772485"/>
                            <a:gd name="connsiteX186" fmla="*/ 409834 w 760963"/>
                            <a:gd name="connsiteY186" fmla="*/ 726948 h 772485"/>
                            <a:gd name="connsiteX187" fmla="*/ 407640 w 760963"/>
                            <a:gd name="connsiteY187" fmla="*/ 721462 h 772485"/>
                            <a:gd name="connsiteX188" fmla="*/ 405994 w 760963"/>
                            <a:gd name="connsiteY188" fmla="*/ 720364 h 772485"/>
                            <a:gd name="connsiteX189" fmla="*/ 399410 w 760963"/>
                            <a:gd name="connsiteY189" fmla="*/ 721462 h 772485"/>
                            <a:gd name="connsiteX190" fmla="*/ 393375 w 760963"/>
                            <a:gd name="connsiteY190" fmla="*/ 720364 h 772485"/>
                            <a:gd name="connsiteX191" fmla="*/ 384597 w 760963"/>
                            <a:gd name="connsiteY191" fmla="*/ 713781 h 772485"/>
                            <a:gd name="connsiteX192" fmla="*/ 383499 w 760963"/>
                            <a:gd name="connsiteY192" fmla="*/ 711037 h 772485"/>
                            <a:gd name="connsiteX193" fmla="*/ 382951 w 760963"/>
                            <a:gd name="connsiteY193" fmla="*/ 706648 h 772485"/>
                            <a:gd name="connsiteX194" fmla="*/ 373624 w 760963"/>
                            <a:gd name="connsiteY194" fmla="*/ 701710 h 772485"/>
                            <a:gd name="connsiteX195" fmla="*/ 369235 w 760963"/>
                            <a:gd name="connsiteY195" fmla="*/ 700613 h 772485"/>
                            <a:gd name="connsiteX196" fmla="*/ 364297 w 760963"/>
                            <a:gd name="connsiteY196" fmla="*/ 697870 h 772485"/>
                            <a:gd name="connsiteX197" fmla="*/ 363748 w 760963"/>
                            <a:gd name="connsiteY197" fmla="*/ 695127 h 772485"/>
                            <a:gd name="connsiteX198" fmla="*/ 364846 w 760963"/>
                            <a:gd name="connsiteY198" fmla="*/ 689641 h 772485"/>
                            <a:gd name="connsiteX199" fmla="*/ 361554 w 760963"/>
                            <a:gd name="connsiteY199" fmla="*/ 686897 h 772485"/>
                            <a:gd name="connsiteX200" fmla="*/ 361554 w 760963"/>
                            <a:gd name="connsiteY200" fmla="*/ 683605 h 772485"/>
                            <a:gd name="connsiteX201" fmla="*/ 138257 w 760963"/>
                            <a:gd name="connsiteY201" fmla="*/ 528889 h 772485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  <a:cxn ang="0">
                              <a:pos x="connsiteX11" y="connsiteY11"/>
                            </a:cxn>
                            <a:cxn ang="0">
                              <a:pos x="connsiteX12" y="connsiteY12"/>
                            </a:cxn>
                            <a:cxn ang="0">
                              <a:pos x="connsiteX13" y="connsiteY13"/>
                            </a:cxn>
                            <a:cxn ang="0">
                              <a:pos x="connsiteX14" y="connsiteY14"/>
                            </a:cxn>
                            <a:cxn ang="0">
                              <a:pos x="connsiteX15" y="connsiteY15"/>
                            </a:cxn>
                            <a:cxn ang="0">
                              <a:pos x="connsiteX16" y="connsiteY16"/>
                            </a:cxn>
                            <a:cxn ang="0">
                              <a:pos x="connsiteX17" y="connsiteY17"/>
                            </a:cxn>
                            <a:cxn ang="0">
                              <a:pos x="connsiteX18" y="connsiteY18"/>
                            </a:cxn>
                            <a:cxn ang="0">
                              <a:pos x="connsiteX19" y="connsiteY19"/>
                            </a:cxn>
                            <a:cxn ang="0">
                              <a:pos x="connsiteX20" y="connsiteY20"/>
                            </a:cxn>
                            <a:cxn ang="0">
                              <a:pos x="connsiteX21" y="connsiteY21"/>
                            </a:cxn>
                            <a:cxn ang="0">
                              <a:pos x="connsiteX22" y="connsiteY22"/>
                            </a:cxn>
                            <a:cxn ang="0">
                              <a:pos x="connsiteX23" y="connsiteY23"/>
                            </a:cxn>
                            <a:cxn ang="0">
                              <a:pos x="connsiteX24" y="connsiteY24"/>
                            </a:cxn>
                            <a:cxn ang="0">
                              <a:pos x="connsiteX25" y="connsiteY25"/>
                            </a:cxn>
                            <a:cxn ang="0">
                              <a:pos x="connsiteX26" y="connsiteY26"/>
                            </a:cxn>
                            <a:cxn ang="0">
                              <a:pos x="connsiteX27" y="connsiteY27"/>
                            </a:cxn>
                            <a:cxn ang="0">
                              <a:pos x="connsiteX28" y="connsiteY28"/>
                            </a:cxn>
                            <a:cxn ang="0">
                              <a:pos x="connsiteX29" y="connsiteY29"/>
                            </a:cxn>
                            <a:cxn ang="0">
                              <a:pos x="connsiteX30" y="connsiteY30"/>
                            </a:cxn>
                            <a:cxn ang="0">
                              <a:pos x="connsiteX31" y="connsiteY31"/>
                            </a:cxn>
                            <a:cxn ang="0">
                              <a:pos x="connsiteX32" y="connsiteY32"/>
                            </a:cxn>
                            <a:cxn ang="0">
                              <a:pos x="connsiteX33" y="connsiteY33"/>
                            </a:cxn>
                            <a:cxn ang="0">
                              <a:pos x="connsiteX34" y="connsiteY34"/>
                            </a:cxn>
                            <a:cxn ang="0">
                              <a:pos x="connsiteX35" y="connsiteY35"/>
                            </a:cxn>
                            <a:cxn ang="0">
                              <a:pos x="connsiteX36" y="connsiteY36"/>
                            </a:cxn>
                            <a:cxn ang="0">
                              <a:pos x="connsiteX37" y="connsiteY37"/>
                            </a:cxn>
                            <a:cxn ang="0">
                              <a:pos x="connsiteX38" y="connsiteY38"/>
                            </a:cxn>
                            <a:cxn ang="0">
                              <a:pos x="connsiteX39" y="connsiteY39"/>
                            </a:cxn>
                            <a:cxn ang="0">
                              <a:pos x="connsiteX40" y="connsiteY40"/>
                            </a:cxn>
                            <a:cxn ang="0">
                              <a:pos x="connsiteX41" y="connsiteY41"/>
                            </a:cxn>
                            <a:cxn ang="0">
                              <a:pos x="connsiteX42" y="connsiteY42"/>
                            </a:cxn>
                            <a:cxn ang="0">
                              <a:pos x="connsiteX43" y="connsiteY43"/>
                            </a:cxn>
                            <a:cxn ang="0">
                              <a:pos x="connsiteX44" y="connsiteY44"/>
                            </a:cxn>
                            <a:cxn ang="0">
                              <a:pos x="connsiteX45" y="connsiteY45"/>
                            </a:cxn>
                            <a:cxn ang="0">
                              <a:pos x="connsiteX46" y="connsiteY46"/>
                            </a:cxn>
                            <a:cxn ang="0">
                              <a:pos x="connsiteX47" y="connsiteY47"/>
                            </a:cxn>
                            <a:cxn ang="0">
                              <a:pos x="connsiteX48" y="connsiteY48"/>
                            </a:cxn>
                            <a:cxn ang="0">
                              <a:pos x="connsiteX49" y="connsiteY49"/>
                            </a:cxn>
                            <a:cxn ang="0">
                              <a:pos x="connsiteX50" y="connsiteY50"/>
                            </a:cxn>
                            <a:cxn ang="0">
                              <a:pos x="connsiteX51" y="connsiteY51"/>
                            </a:cxn>
                            <a:cxn ang="0">
                              <a:pos x="connsiteX52" y="connsiteY52"/>
                            </a:cxn>
                            <a:cxn ang="0">
                              <a:pos x="connsiteX53" y="connsiteY53"/>
                            </a:cxn>
                            <a:cxn ang="0">
                              <a:pos x="connsiteX54" y="connsiteY54"/>
                            </a:cxn>
                            <a:cxn ang="0">
                              <a:pos x="connsiteX55" y="connsiteY55"/>
                            </a:cxn>
                            <a:cxn ang="0">
                              <a:pos x="connsiteX56" y="connsiteY56"/>
                            </a:cxn>
                            <a:cxn ang="0">
                              <a:pos x="connsiteX57" y="connsiteY57"/>
                            </a:cxn>
                            <a:cxn ang="0">
                              <a:pos x="connsiteX58" y="connsiteY58"/>
                            </a:cxn>
                            <a:cxn ang="0">
                              <a:pos x="connsiteX59" y="connsiteY59"/>
                            </a:cxn>
                            <a:cxn ang="0">
                              <a:pos x="connsiteX60" y="connsiteY60"/>
                            </a:cxn>
                            <a:cxn ang="0">
                              <a:pos x="connsiteX61" y="connsiteY61"/>
                            </a:cxn>
                            <a:cxn ang="0">
                              <a:pos x="connsiteX62" y="connsiteY62"/>
                            </a:cxn>
                            <a:cxn ang="0">
                              <a:pos x="connsiteX63" y="connsiteY63"/>
                            </a:cxn>
                            <a:cxn ang="0">
                              <a:pos x="connsiteX64" y="connsiteY64"/>
                            </a:cxn>
                            <a:cxn ang="0">
                              <a:pos x="connsiteX65" y="connsiteY65"/>
                            </a:cxn>
                            <a:cxn ang="0">
                              <a:pos x="connsiteX66" y="connsiteY66"/>
                            </a:cxn>
                            <a:cxn ang="0">
                              <a:pos x="connsiteX67" y="connsiteY67"/>
                            </a:cxn>
                            <a:cxn ang="0">
                              <a:pos x="connsiteX68" y="connsiteY68"/>
                            </a:cxn>
                            <a:cxn ang="0">
                              <a:pos x="connsiteX69" y="connsiteY69"/>
                            </a:cxn>
                            <a:cxn ang="0">
                              <a:pos x="connsiteX70" y="connsiteY70"/>
                            </a:cxn>
                            <a:cxn ang="0">
                              <a:pos x="connsiteX71" y="connsiteY71"/>
                            </a:cxn>
                            <a:cxn ang="0">
                              <a:pos x="connsiteX72" y="connsiteY72"/>
                            </a:cxn>
                            <a:cxn ang="0">
                              <a:pos x="connsiteX73" y="connsiteY73"/>
                            </a:cxn>
                            <a:cxn ang="0">
                              <a:pos x="connsiteX74" y="connsiteY74"/>
                            </a:cxn>
                            <a:cxn ang="0">
                              <a:pos x="connsiteX75" y="connsiteY75"/>
                            </a:cxn>
                            <a:cxn ang="0">
                              <a:pos x="connsiteX76" y="connsiteY76"/>
                            </a:cxn>
                            <a:cxn ang="0">
                              <a:pos x="connsiteX77" y="connsiteY77"/>
                            </a:cxn>
                            <a:cxn ang="0">
                              <a:pos x="connsiteX78" y="connsiteY78"/>
                            </a:cxn>
                            <a:cxn ang="0">
                              <a:pos x="connsiteX79" y="connsiteY79"/>
                            </a:cxn>
                            <a:cxn ang="0">
                              <a:pos x="connsiteX80" y="connsiteY80"/>
                            </a:cxn>
                            <a:cxn ang="0">
                              <a:pos x="connsiteX81" y="connsiteY81"/>
                            </a:cxn>
                            <a:cxn ang="0">
                              <a:pos x="connsiteX82" y="connsiteY82"/>
                            </a:cxn>
                            <a:cxn ang="0">
                              <a:pos x="connsiteX83" y="connsiteY83"/>
                            </a:cxn>
                            <a:cxn ang="0">
                              <a:pos x="connsiteX84" y="connsiteY84"/>
                            </a:cxn>
                            <a:cxn ang="0">
                              <a:pos x="connsiteX85" y="connsiteY85"/>
                            </a:cxn>
                            <a:cxn ang="0">
                              <a:pos x="connsiteX86" y="connsiteY86"/>
                            </a:cxn>
                            <a:cxn ang="0">
                              <a:pos x="connsiteX87" y="connsiteY87"/>
                            </a:cxn>
                            <a:cxn ang="0">
                              <a:pos x="connsiteX88" y="connsiteY88"/>
                            </a:cxn>
                            <a:cxn ang="0">
                              <a:pos x="connsiteX89" y="connsiteY89"/>
                            </a:cxn>
                            <a:cxn ang="0">
                              <a:pos x="connsiteX90" y="connsiteY90"/>
                            </a:cxn>
                            <a:cxn ang="0">
                              <a:pos x="connsiteX91" y="connsiteY91"/>
                            </a:cxn>
                            <a:cxn ang="0">
                              <a:pos x="connsiteX92" y="connsiteY92"/>
                            </a:cxn>
                            <a:cxn ang="0">
                              <a:pos x="connsiteX93" y="connsiteY93"/>
                            </a:cxn>
                            <a:cxn ang="0">
                              <a:pos x="connsiteX94" y="connsiteY94"/>
                            </a:cxn>
                            <a:cxn ang="0">
                              <a:pos x="connsiteX95" y="connsiteY95"/>
                            </a:cxn>
                            <a:cxn ang="0">
                              <a:pos x="connsiteX96" y="connsiteY96"/>
                            </a:cxn>
                            <a:cxn ang="0">
                              <a:pos x="connsiteX97" y="connsiteY97"/>
                            </a:cxn>
                            <a:cxn ang="0">
                              <a:pos x="connsiteX98" y="connsiteY98"/>
                            </a:cxn>
                            <a:cxn ang="0">
                              <a:pos x="connsiteX99" y="connsiteY99"/>
                            </a:cxn>
                            <a:cxn ang="0">
                              <a:pos x="connsiteX100" y="connsiteY100"/>
                            </a:cxn>
                            <a:cxn ang="0">
                              <a:pos x="connsiteX101" y="connsiteY101"/>
                            </a:cxn>
                            <a:cxn ang="0">
                              <a:pos x="connsiteX102" y="connsiteY102"/>
                            </a:cxn>
                            <a:cxn ang="0">
                              <a:pos x="connsiteX103" y="connsiteY103"/>
                            </a:cxn>
                            <a:cxn ang="0">
                              <a:pos x="connsiteX104" y="connsiteY104"/>
                            </a:cxn>
                            <a:cxn ang="0">
                              <a:pos x="connsiteX105" y="connsiteY105"/>
                            </a:cxn>
                            <a:cxn ang="0">
                              <a:pos x="connsiteX106" y="connsiteY106"/>
                            </a:cxn>
                            <a:cxn ang="0">
                              <a:pos x="connsiteX107" y="connsiteY107"/>
                            </a:cxn>
                            <a:cxn ang="0">
                              <a:pos x="connsiteX108" y="connsiteY108"/>
                            </a:cxn>
                            <a:cxn ang="0">
                              <a:pos x="connsiteX109" y="connsiteY109"/>
                            </a:cxn>
                            <a:cxn ang="0">
                              <a:pos x="connsiteX110" y="connsiteY110"/>
                            </a:cxn>
                            <a:cxn ang="0">
                              <a:pos x="connsiteX111" y="connsiteY111"/>
                            </a:cxn>
                            <a:cxn ang="0">
                              <a:pos x="connsiteX112" y="connsiteY112"/>
                            </a:cxn>
                            <a:cxn ang="0">
                              <a:pos x="connsiteX113" y="connsiteY113"/>
                            </a:cxn>
                            <a:cxn ang="0">
                              <a:pos x="connsiteX114" y="connsiteY114"/>
                            </a:cxn>
                            <a:cxn ang="0">
                              <a:pos x="connsiteX115" y="connsiteY115"/>
                            </a:cxn>
                            <a:cxn ang="0">
                              <a:pos x="connsiteX116" y="connsiteY116"/>
                            </a:cxn>
                            <a:cxn ang="0">
                              <a:pos x="connsiteX117" y="connsiteY117"/>
                            </a:cxn>
                            <a:cxn ang="0">
                              <a:pos x="connsiteX118" y="connsiteY118"/>
                            </a:cxn>
                            <a:cxn ang="0">
                              <a:pos x="connsiteX119" y="connsiteY119"/>
                            </a:cxn>
                            <a:cxn ang="0">
                              <a:pos x="connsiteX120" y="connsiteY120"/>
                            </a:cxn>
                            <a:cxn ang="0">
                              <a:pos x="connsiteX121" y="connsiteY121"/>
                            </a:cxn>
                            <a:cxn ang="0">
                              <a:pos x="connsiteX122" y="connsiteY122"/>
                            </a:cxn>
                            <a:cxn ang="0">
                              <a:pos x="connsiteX123" y="connsiteY123"/>
                            </a:cxn>
                            <a:cxn ang="0">
                              <a:pos x="connsiteX124" y="connsiteY124"/>
                            </a:cxn>
                            <a:cxn ang="0">
                              <a:pos x="connsiteX125" y="connsiteY125"/>
                            </a:cxn>
                            <a:cxn ang="0">
                              <a:pos x="connsiteX126" y="connsiteY126"/>
                            </a:cxn>
                            <a:cxn ang="0">
                              <a:pos x="connsiteX127" y="connsiteY127"/>
                            </a:cxn>
                            <a:cxn ang="0">
                              <a:pos x="connsiteX128" y="connsiteY128"/>
                            </a:cxn>
                            <a:cxn ang="0">
                              <a:pos x="connsiteX129" y="connsiteY129"/>
                            </a:cxn>
                            <a:cxn ang="0">
                              <a:pos x="connsiteX130" y="connsiteY130"/>
                            </a:cxn>
                            <a:cxn ang="0">
                              <a:pos x="connsiteX131" y="connsiteY131"/>
                            </a:cxn>
                            <a:cxn ang="0">
                              <a:pos x="connsiteX132" y="connsiteY132"/>
                            </a:cxn>
                            <a:cxn ang="0">
                              <a:pos x="connsiteX133" y="connsiteY133"/>
                            </a:cxn>
                            <a:cxn ang="0">
                              <a:pos x="connsiteX134" y="connsiteY134"/>
                            </a:cxn>
                            <a:cxn ang="0">
                              <a:pos x="connsiteX135" y="connsiteY135"/>
                            </a:cxn>
                            <a:cxn ang="0">
                              <a:pos x="connsiteX136" y="connsiteY136"/>
                            </a:cxn>
                            <a:cxn ang="0">
                              <a:pos x="connsiteX137" y="connsiteY137"/>
                            </a:cxn>
                            <a:cxn ang="0">
                              <a:pos x="connsiteX138" y="connsiteY138"/>
                            </a:cxn>
                            <a:cxn ang="0">
                              <a:pos x="connsiteX139" y="connsiteY139"/>
                            </a:cxn>
                            <a:cxn ang="0">
                              <a:pos x="connsiteX140" y="connsiteY140"/>
                            </a:cxn>
                            <a:cxn ang="0">
                              <a:pos x="connsiteX141" y="connsiteY141"/>
                            </a:cxn>
                            <a:cxn ang="0">
                              <a:pos x="connsiteX142" y="connsiteY142"/>
                            </a:cxn>
                            <a:cxn ang="0">
                              <a:pos x="connsiteX143" y="connsiteY143"/>
                            </a:cxn>
                            <a:cxn ang="0">
                              <a:pos x="connsiteX144" y="connsiteY144"/>
                            </a:cxn>
                            <a:cxn ang="0">
                              <a:pos x="connsiteX145" y="connsiteY145"/>
                            </a:cxn>
                            <a:cxn ang="0">
                              <a:pos x="connsiteX146" y="connsiteY146"/>
                            </a:cxn>
                            <a:cxn ang="0">
                              <a:pos x="connsiteX147" y="connsiteY147"/>
                            </a:cxn>
                            <a:cxn ang="0">
                              <a:pos x="connsiteX148" y="connsiteY148"/>
                            </a:cxn>
                            <a:cxn ang="0">
                              <a:pos x="connsiteX149" y="connsiteY149"/>
                            </a:cxn>
                            <a:cxn ang="0">
                              <a:pos x="connsiteX150" y="connsiteY150"/>
                            </a:cxn>
                            <a:cxn ang="0">
                              <a:pos x="connsiteX151" y="connsiteY151"/>
                            </a:cxn>
                            <a:cxn ang="0">
                              <a:pos x="connsiteX152" y="connsiteY152"/>
                            </a:cxn>
                            <a:cxn ang="0">
                              <a:pos x="connsiteX153" y="connsiteY153"/>
                            </a:cxn>
                            <a:cxn ang="0">
                              <a:pos x="connsiteX154" y="connsiteY154"/>
                            </a:cxn>
                            <a:cxn ang="0">
                              <a:pos x="connsiteX155" y="connsiteY155"/>
                            </a:cxn>
                            <a:cxn ang="0">
                              <a:pos x="connsiteX156" y="connsiteY156"/>
                            </a:cxn>
                            <a:cxn ang="0">
                              <a:pos x="connsiteX157" y="connsiteY157"/>
                            </a:cxn>
                            <a:cxn ang="0">
                              <a:pos x="connsiteX158" y="connsiteY158"/>
                            </a:cxn>
                            <a:cxn ang="0">
                              <a:pos x="connsiteX159" y="connsiteY159"/>
                            </a:cxn>
                            <a:cxn ang="0">
                              <a:pos x="connsiteX160" y="connsiteY160"/>
                            </a:cxn>
                            <a:cxn ang="0">
                              <a:pos x="connsiteX161" y="connsiteY161"/>
                            </a:cxn>
                            <a:cxn ang="0">
                              <a:pos x="connsiteX162" y="connsiteY162"/>
                            </a:cxn>
                            <a:cxn ang="0">
                              <a:pos x="connsiteX163" y="connsiteY163"/>
                            </a:cxn>
                            <a:cxn ang="0">
                              <a:pos x="connsiteX164" y="connsiteY164"/>
                            </a:cxn>
                            <a:cxn ang="0">
                              <a:pos x="connsiteX165" y="connsiteY165"/>
                            </a:cxn>
                            <a:cxn ang="0">
                              <a:pos x="connsiteX166" y="connsiteY166"/>
                            </a:cxn>
                            <a:cxn ang="0">
                              <a:pos x="connsiteX167" y="connsiteY167"/>
                            </a:cxn>
                            <a:cxn ang="0">
                              <a:pos x="connsiteX168" y="connsiteY168"/>
                            </a:cxn>
                            <a:cxn ang="0">
                              <a:pos x="connsiteX169" y="connsiteY169"/>
                            </a:cxn>
                            <a:cxn ang="0">
                              <a:pos x="connsiteX170" y="connsiteY170"/>
                            </a:cxn>
                            <a:cxn ang="0">
                              <a:pos x="connsiteX171" y="connsiteY171"/>
                            </a:cxn>
                            <a:cxn ang="0">
                              <a:pos x="connsiteX172" y="connsiteY172"/>
                            </a:cxn>
                            <a:cxn ang="0">
                              <a:pos x="connsiteX173" y="connsiteY173"/>
                            </a:cxn>
                            <a:cxn ang="0">
                              <a:pos x="connsiteX174" y="connsiteY174"/>
                            </a:cxn>
                            <a:cxn ang="0">
                              <a:pos x="connsiteX175" y="connsiteY175"/>
                            </a:cxn>
                            <a:cxn ang="0">
                              <a:pos x="connsiteX176" y="connsiteY176"/>
                            </a:cxn>
                            <a:cxn ang="0">
                              <a:pos x="connsiteX177" y="connsiteY177"/>
                            </a:cxn>
                            <a:cxn ang="0">
                              <a:pos x="connsiteX178" y="connsiteY178"/>
                            </a:cxn>
                            <a:cxn ang="0">
                              <a:pos x="connsiteX179" y="connsiteY179"/>
                            </a:cxn>
                            <a:cxn ang="0">
                              <a:pos x="connsiteX180" y="connsiteY180"/>
                            </a:cxn>
                            <a:cxn ang="0">
                              <a:pos x="connsiteX181" y="connsiteY181"/>
                            </a:cxn>
                            <a:cxn ang="0">
                              <a:pos x="connsiteX182" y="connsiteY182"/>
                            </a:cxn>
                            <a:cxn ang="0">
                              <a:pos x="connsiteX183" y="connsiteY183"/>
                            </a:cxn>
                            <a:cxn ang="0">
                              <a:pos x="connsiteX184" y="connsiteY184"/>
                            </a:cxn>
                            <a:cxn ang="0">
                              <a:pos x="connsiteX185" y="connsiteY185"/>
                            </a:cxn>
                            <a:cxn ang="0">
                              <a:pos x="connsiteX186" y="connsiteY186"/>
                            </a:cxn>
                            <a:cxn ang="0">
                              <a:pos x="connsiteX187" y="connsiteY187"/>
                            </a:cxn>
                            <a:cxn ang="0">
                              <a:pos x="connsiteX188" y="connsiteY188"/>
                            </a:cxn>
                            <a:cxn ang="0">
                              <a:pos x="connsiteX189" y="connsiteY189"/>
                            </a:cxn>
                            <a:cxn ang="0">
                              <a:pos x="connsiteX190" y="connsiteY190"/>
                            </a:cxn>
                            <a:cxn ang="0">
                              <a:pos x="connsiteX191" y="connsiteY191"/>
                            </a:cxn>
                            <a:cxn ang="0">
                              <a:pos x="connsiteX192" y="connsiteY192"/>
                            </a:cxn>
                            <a:cxn ang="0">
                              <a:pos x="connsiteX193" y="connsiteY193"/>
                            </a:cxn>
                            <a:cxn ang="0">
                              <a:pos x="connsiteX194" y="connsiteY194"/>
                            </a:cxn>
                            <a:cxn ang="0">
                              <a:pos x="connsiteX195" y="connsiteY195"/>
                            </a:cxn>
                            <a:cxn ang="0">
                              <a:pos x="connsiteX196" y="connsiteY196"/>
                            </a:cxn>
                            <a:cxn ang="0">
                              <a:pos x="connsiteX197" y="connsiteY197"/>
                            </a:cxn>
                            <a:cxn ang="0">
                              <a:pos x="connsiteX198" y="connsiteY198"/>
                            </a:cxn>
                            <a:cxn ang="0">
                              <a:pos x="connsiteX199" y="connsiteY199"/>
                            </a:cxn>
                            <a:cxn ang="0">
                              <a:pos x="connsiteX200" y="connsiteY200"/>
                            </a:cxn>
                            <a:cxn ang="0">
                              <a:pos x="connsiteX201" y="connsiteY201"/>
                            </a:cxn>
                          </a:cxnLst>
                          <a:rect l="l" t="t" r="r" b="b"/>
                          <a:pathLst>
                            <a:path w="760963" h="772485">
                              <a:moveTo>
                                <a:pt x="138257" y="528889"/>
                              </a:moveTo>
                              <a:lnTo>
                                <a:pt x="138257" y="528889"/>
                              </a:lnTo>
                              <a:lnTo>
                                <a:pt x="0" y="438363"/>
                              </a:lnTo>
                              <a:lnTo>
                                <a:pt x="0" y="368686"/>
                              </a:lnTo>
                              <a:lnTo>
                                <a:pt x="30724" y="345643"/>
                              </a:lnTo>
                              <a:lnTo>
                                <a:pt x="40051" y="345094"/>
                              </a:lnTo>
                              <a:lnTo>
                                <a:pt x="44440" y="341254"/>
                              </a:lnTo>
                              <a:lnTo>
                                <a:pt x="49378" y="339059"/>
                              </a:lnTo>
                              <a:lnTo>
                                <a:pt x="53218" y="334122"/>
                              </a:lnTo>
                              <a:lnTo>
                                <a:pt x="56510" y="332476"/>
                              </a:lnTo>
                              <a:lnTo>
                                <a:pt x="60899" y="333025"/>
                              </a:lnTo>
                              <a:lnTo>
                                <a:pt x="65288" y="332476"/>
                              </a:lnTo>
                              <a:lnTo>
                                <a:pt x="69129" y="333573"/>
                              </a:lnTo>
                              <a:lnTo>
                                <a:pt x="75164" y="334122"/>
                              </a:lnTo>
                              <a:lnTo>
                                <a:pt x="76261" y="333025"/>
                              </a:lnTo>
                              <a:lnTo>
                                <a:pt x="76261" y="327538"/>
                              </a:lnTo>
                              <a:lnTo>
                                <a:pt x="77907" y="324795"/>
                              </a:lnTo>
                              <a:lnTo>
                                <a:pt x="88880" y="325343"/>
                              </a:lnTo>
                              <a:lnTo>
                                <a:pt x="92720" y="323698"/>
                              </a:lnTo>
                              <a:lnTo>
                                <a:pt x="109728" y="322052"/>
                              </a:lnTo>
                              <a:lnTo>
                                <a:pt x="121249" y="317114"/>
                              </a:lnTo>
                              <a:lnTo>
                                <a:pt x="129479" y="309982"/>
                              </a:lnTo>
                              <a:lnTo>
                                <a:pt x="131674" y="306690"/>
                              </a:lnTo>
                              <a:lnTo>
                                <a:pt x="131674" y="303946"/>
                              </a:lnTo>
                              <a:lnTo>
                                <a:pt x="134417" y="299557"/>
                              </a:lnTo>
                              <a:lnTo>
                                <a:pt x="141001" y="294071"/>
                              </a:lnTo>
                              <a:lnTo>
                                <a:pt x="150327" y="290230"/>
                              </a:lnTo>
                              <a:lnTo>
                                <a:pt x="154717" y="289682"/>
                              </a:lnTo>
                              <a:lnTo>
                                <a:pt x="172273" y="278709"/>
                              </a:lnTo>
                              <a:lnTo>
                                <a:pt x="187086" y="275417"/>
                              </a:lnTo>
                              <a:lnTo>
                                <a:pt x="188184" y="273223"/>
                              </a:lnTo>
                              <a:lnTo>
                                <a:pt x="187635" y="271028"/>
                              </a:lnTo>
                              <a:lnTo>
                                <a:pt x="184343" y="268285"/>
                              </a:lnTo>
                              <a:lnTo>
                                <a:pt x="183794" y="266639"/>
                              </a:lnTo>
                              <a:lnTo>
                                <a:pt x="182149" y="266090"/>
                              </a:lnTo>
                              <a:lnTo>
                                <a:pt x="180503" y="267736"/>
                              </a:lnTo>
                              <a:lnTo>
                                <a:pt x="178857" y="267188"/>
                              </a:lnTo>
                              <a:lnTo>
                                <a:pt x="180503" y="260055"/>
                              </a:lnTo>
                              <a:lnTo>
                                <a:pt x="183794" y="256215"/>
                              </a:lnTo>
                              <a:lnTo>
                                <a:pt x="182697" y="255118"/>
                              </a:lnTo>
                              <a:lnTo>
                                <a:pt x="179405" y="254569"/>
                              </a:lnTo>
                              <a:lnTo>
                                <a:pt x="178308" y="253472"/>
                              </a:lnTo>
                              <a:lnTo>
                                <a:pt x="178308" y="248534"/>
                              </a:lnTo>
                              <a:lnTo>
                                <a:pt x="179405" y="245242"/>
                              </a:lnTo>
                              <a:lnTo>
                                <a:pt x="182697" y="243047"/>
                              </a:lnTo>
                              <a:lnTo>
                                <a:pt x="186538" y="242499"/>
                              </a:lnTo>
                              <a:lnTo>
                                <a:pt x="190927" y="243596"/>
                              </a:lnTo>
                              <a:lnTo>
                                <a:pt x="210678" y="237561"/>
                              </a:lnTo>
                              <a:lnTo>
                                <a:pt x="211775" y="236464"/>
                              </a:lnTo>
                              <a:lnTo>
                                <a:pt x="212872" y="232075"/>
                              </a:lnTo>
                              <a:lnTo>
                                <a:pt x="211775" y="228234"/>
                              </a:lnTo>
                              <a:lnTo>
                                <a:pt x="213970" y="224942"/>
                              </a:lnTo>
                              <a:lnTo>
                                <a:pt x="215616" y="224394"/>
                              </a:lnTo>
                              <a:lnTo>
                                <a:pt x="220553" y="226040"/>
                              </a:lnTo>
                              <a:lnTo>
                                <a:pt x="223297" y="225491"/>
                              </a:lnTo>
                              <a:lnTo>
                                <a:pt x="225491" y="223845"/>
                              </a:lnTo>
                              <a:lnTo>
                                <a:pt x="253472" y="221650"/>
                              </a:lnTo>
                              <a:lnTo>
                                <a:pt x="256764" y="220553"/>
                              </a:lnTo>
                              <a:lnTo>
                                <a:pt x="272674" y="222199"/>
                              </a:lnTo>
                              <a:lnTo>
                                <a:pt x="277612" y="223845"/>
                              </a:lnTo>
                              <a:lnTo>
                                <a:pt x="279806" y="223297"/>
                              </a:lnTo>
                              <a:lnTo>
                                <a:pt x="279806" y="222199"/>
                              </a:lnTo>
                              <a:lnTo>
                                <a:pt x="277612" y="218907"/>
                              </a:lnTo>
                              <a:lnTo>
                                <a:pt x="278161" y="213970"/>
                              </a:lnTo>
                              <a:lnTo>
                                <a:pt x="281452" y="209032"/>
                              </a:lnTo>
                              <a:lnTo>
                                <a:pt x="284744" y="207934"/>
                              </a:lnTo>
                              <a:lnTo>
                                <a:pt x="284744" y="206837"/>
                              </a:lnTo>
                              <a:lnTo>
                                <a:pt x="273223" y="196962"/>
                              </a:lnTo>
                              <a:lnTo>
                                <a:pt x="268285" y="187086"/>
                              </a:lnTo>
                              <a:lnTo>
                                <a:pt x="268834" y="182697"/>
                              </a:lnTo>
                              <a:lnTo>
                                <a:pt x="265542" y="173370"/>
                              </a:lnTo>
                              <a:lnTo>
                                <a:pt x="265542" y="169530"/>
                              </a:lnTo>
                              <a:lnTo>
                                <a:pt x="267188" y="165689"/>
                              </a:lnTo>
                              <a:lnTo>
                                <a:pt x="266639" y="159654"/>
                              </a:lnTo>
                              <a:lnTo>
                                <a:pt x="262250" y="154717"/>
                              </a:lnTo>
                              <a:lnTo>
                                <a:pt x="263347" y="151973"/>
                              </a:lnTo>
                              <a:lnTo>
                                <a:pt x="264445" y="139903"/>
                              </a:lnTo>
                              <a:lnTo>
                                <a:pt x="261153" y="126736"/>
                              </a:lnTo>
                              <a:lnTo>
                                <a:pt x="262799" y="122347"/>
                              </a:lnTo>
                              <a:lnTo>
                                <a:pt x="259507" y="115763"/>
                              </a:lnTo>
                              <a:lnTo>
                                <a:pt x="260055" y="114666"/>
                              </a:lnTo>
                              <a:lnTo>
                                <a:pt x="261153" y="114117"/>
                              </a:lnTo>
                              <a:lnTo>
                                <a:pt x="261701" y="112471"/>
                              </a:lnTo>
                              <a:lnTo>
                                <a:pt x="260055" y="110277"/>
                              </a:lnTo>
                              <a:lnTo>
                                <a:pt x="257861" y="109179"/>
                              </a:lnTo>
                              <a:lnTo>
                                <a:pt x="255118" y="106436"/>
                              </a:lnTo>
                              <a:lnTo>
                                <a:pt x="254020" y="103693"/>
                              </a:lnTo>
                              <a:lnTo>
                                <a:pt x="249631" y="100950"/>
                              </a:lnTo>
                              <a:lnTo>
                                <a:pt x="247985" y="97658"/>
                              </a:lnTo>
                              <a:lnTo>
                                <a:pt x="247985" y="93817"/>
                              </a:lnTo>
                              <a:lnTo>
                                <a:pt x="247985" y="93817"/>
                              </a:lnTo>
                              <a:lnTo>
                                <a:pt x="252923" y="93269"/>
                              </a:lnTo>
                              <a:lnTo>
                                <a:pt x="273223" y="83942"/>
                              </a:lnTo>
                              <a:lnTo>
                                <a:pt x="284744" y="67483"/>
                              </a:lnTo>
                              <a:lnTo>
                                <a:pt x="292974" y="62545"/>
                              </a:lnTo>
                              <a:lnTo>
                                <a:pt x="303398" y="62545"/>
                              </a:lnTo>
                              <a:lnTo>
                                <a:pt x="311628" y="55961"/>
                              </a:lnTo>
                              <a:lnTo>
                                <a:pt x="318760" y="59802"/>
                              </a:lnTo>
                              <a:lnTo>
                                <a:pt x="326441" y="55961"/>
                              </a:lnTo>
                              <a:lnTo>
                                <a:pt x="335768" y="43891"/>
                              </a:lnTo>
                              <a:lnTo>
                                <a:pt x="345643" y="40051"/>
                              </a:lnTo>
                              <a:lnTo>
                                <a:pt x="352776" y="34016"/>
                              </a:lnTo>
                              <a:lnTo>
                                <a:pt x="379659" y="25237"/>
                              </a:lnTo>
                              <a:lnTo>
                                <a:pt x="424099" y="22494"/>
                              </a:lnTo>
                              <a:lnTo>
                                <a:pt x="437266" y="13716"/>
                              </a:lnTo>
                              <a:lnTo>
                                <a:pt x="442204" y="14813"/>
                              </a:lnTo>
                              <a:lnTo>
                                <a:pt x="450433" y="14265"/>
                              </a:lnTo>
                              <a:lnTo>
                                <a:pt x="454274" y="15362"/>
                              </a:lnTo>
                              <a:lnTo>
                                <a:pt x="460309" y="14265"/>
                              </a:lnTo>
                              <a:lnTo>
                                <a:pt x="470733" y="8778"/>
                              </a:lnTo>
                              <a:lnTo>
                                <a:pt x="509138" y="10424"/>
                              </a:lnTo>
                              <a:lnTo>
                                <a:pt x="515173" y="16459"/>
                              </a:lnTo>
                              <a:lnTo>
                                <a:pt x="522854" y="18654"/>
                              </a:lnTo>
                              <a:lnTo>
                                <a:pt x="555224" y="7681"/>
                              </a:lnTo>
                              <a:lnTo>
                                <a:pt x="560710" y="0"/>
                              </a:lnTo>
                              <a:lnTo>
                                <a:pt x="574975" y="6035"/>
                              </a:lnTo>
                              <a:lnTo>
                                <a:pt x="578815" y="6035"/>
                              </a:lnTo>
                              <a:lnTo>
                                <a:pt x="584850" y="8778"/>
                              </a:lnTo>
                              <a:lnTo>
                                <a:pt x="592531" y="5486"/>
                              </a:lnTo>
                              <a:lnTo>
                                <a:pt x="596372" y="549"/>
                              </a:lnTo>
                              <a:lnTo>
                                <a:pt x="610636" y="5486"/>
                              </a:lnTo>
                              <a:lnTo>
                                <a:pt x="616123" y="10424"/>
                              </a:lnTo>
                              <a:lnTo>
                                <a:pt x="624352" y="9327"/>
                              </a:lnTo>
                              <a:lnTo>
                                <a:pt x="629839" y="6584"/>
                              </a:lnTo>
                              <a:lnTo>
                                <a:pt x="639714" y="8230"/>
                              </a:lnTo>
                              <a:lnTo>
                                <a:pt x="648493" y="6584"/>
                              </a:lnTo>
                              <a:lnTo>
                                <a:pt x="647395" y="10973"/>
                              </a:lnTo>
                              <a:lnTo>
                                <a:pt x="633679" y="23043"/>
                              </a:lnTo>
                              <a:lnTo>
                                <a:pt x="631485" y="26335"/>
                              </a:lnTo>
                              <a:lnTo>
                                <a:pt x="636422" y="27981"/>
                              </a:lnTo>
                              <a:lnTo>
                                <a:pt x="637520" y="31273"/>
                              </a:lnTo>
                              <a:lnTo>
                                <a:pt x="635325" y="81199"/>
                              </a:lnTo>
                              <a:lnTo>
                                <a:pt x="638068" y="85588"/>
                              </a:lnTo>
                              <a:lnTo>
                                <a:pt x="630936" y="115763"/>
                              </a:lnTo>
                              <a:lnTo>
                                <a:pt x="617769" y="124541"/>
                              </a:lnTo>
                              <a:lnTo>
                                <a:pt x="616123" y="131674"/>
                              </a:lnTo>
                              <a:lnTo>
                                <a:pt x="610088" y="134417"/>
                              </a:lnTo>
                              <a:lnTo>
                                <a:pt x="606796" y="138257"/>
                              </a:lnTo>
                              <a:lnTo>
                                <a:pt x="605699" y="139903"/>
                              </a:lnTo>
                              <a:lnTo>
                                <a:pt x="598566" y="144841"/>
                              </a:lnTo>
                              <a:lnTo>
                                <a:pt x="597469" y="144841"/>
                              </a:lnTo>
                              <a:lnTo>
                                <a:pt x="606247" y="175565"/>
                              </a:lnTo>
                              <a:lnTo>
                                <a:pt x="619415" y="180502"/>
                              </a:lnTo>
                              <a:lnTo>
                                <a:pt x="622706" y="184343"/>
                              </a:lnTo>
                              <a:lnTo>
                                <a:pt x="628741" y="198608"/>
                              </a:lnTo>
                              <a:lnTo>
                                <a:pt x="628741" y="211226"/>
                              </a:lnTo>
                              <a:lnTo>
                                <a:pt x="657819" y="227686"/>
                              </a:lnTo>
                              <a:lnTo>
                                <a:pt x="660014" y="227686"/>
                              </a:lnTo>
                              <a:lnTo>
                                <a:pt x="672633" y="305593"/>
                              </a:lnTo>
                              <a:lnTo>
                                <a:pt x="672633" y="307787"/>
                              </a:lnTo>
                              <a:lnTo>
                                <a:pt x="666049" y="312725"/>
                              </a:lnTo>
                              <a:lnTo>
                                <a:pt x="664952" y="323149"/>
                              </a:lnTo>
                              <a:lnTo>
                                <a:pt x="680314" y="347838"/>
                              </a:lnTo>
                              <a:lnTo>
                                <a:pt x="683605" y="468538"/>
                              </a:lnTo>
                              <a:lnTo>
                                <a:pt x="669889" y="474574"/>
                              </a:lnTo>
                              <a:lnTo>
                                <a:pt x="668792" y="480609"/>
                              </a:lnTo>
                              <a:lnTo>
                                <a:pt x="672084" y="489935"/>
                              </a:lnTo>
                              <a:lnTo>
                                <a:pt x="691835" y="515722"/>
                              </a:lnTo>
                              <a:lnTo>
                                <a:pt x="694578" y="537118"/>
                              </a:lnTo>
                              <a:lnTo>
                                <a:pt x="704454" y="547543"/>
                              </a:lnTo>
                              <a:lnTo>
                                <a:pt x="724205" y="548091"/>
                              </a:lnTo>
                              <a:lnTo>
                                <a:pt x="744505" y="557418"/>
                              </a:lnTo>
                              <a:lnTo>
                                <a:pt x="760415" y="587045"/>
                              </a:lnTo>
                              <a:lnTo>
                                <a:pt x="760964" y="591434"/>
                              </a:lnTo>
                              <a:lnTo>
                                <a:pt x="533827" y="750539"/>
                              </a:lnTo>
                              <a:lnTo>
                                <a:pt x="453725" y="772485"/>
                              </a:lnTo>
                              <a:lnTo>
                                <a:pt x="444947" y="771937"/>
                              </a:lnTo>
                              <a:lnTo>
                                <a:pt x="439461" y="765901"/>
                              </a:lnTo>
                              <a:lnTo>
                                <a:pt x="439461" y="763158"/>
                              </a:lnTo>
                              <a:lnTo>
                                <a:pt x="441107" y="759318"/>
                              </a:lnTo>
                              <a:lnTo>
                                <a:pt x="440558" y="754929"/>
                              </a:lnTo>
                              <a:lnTo>
                                <a:pt x="441107" y="753831"/>
                              </a:lnTo>
                              <a:lnTo>
                                <a:pt x="443301" y="752185"/>
                              </a:lnTo>
                              <a:lnTo>
                                <a:pt x="443301" y="750539"/>
                              </a:lnTo>
                              <a:lnTo>
                                <a:pt x="441655" y="747796"/>
                              </a:lnTo>
                              <a:lnTo>
                                <a:pt x="441655" y="745053"/>
                              </a:lnTo>
                              <a:lnTo>
                                <a:pt x="442753" y="742858"/>
                              </a:lnTo>
                              <a:lnTo>
                                <a:pt x="442204" y="739567"/>
                              </a:lnTo>
                              <a:lnTo>
                                <a:pt x="441107" y="739018"/>
                              </a:lnTo>
                              <a:lnTo>
                                <a:pt x="440009" y="737372"/>
                              </a:lnTo>
                              <a:lnTo>
                                <a:pt x="437815" y="735178"/>
                              </a:lnTo>
                              <a:lnTo>
                                <a:pt x="431231" y="733532"/>
                              </a:lnTo>
                              <a:lnTo>
                                <a:pt x="425745" y="729691"/>
                              </a:lnTo>
                              <a:lnTo>
                                <a:pt x="423001" y="729691"/>
                              </a:lnTo>
                              <a:lnTo>
                                <a:pt x="419710" y="728594"/>
                              </a:lnTo>
                              <a:lnTo>
                                <a:pt x="412577" y="728594"/>
                              </a:lnTo>
                              <a:lnTo>
                                <a:pt x="409834" y="726948"/>
                              </a:lnTo>
                              <a:lnTo>
                                <a:pt x="407640" y="721462"/>
                              </a:lnTo>
                              <a:lnTo>
                                <a:pt x="405994" y="720364"/>
                              </a:lnTo>
                              <a:lnTo>
                                <a:pt x="399410" y="721462"/>
                              </a:lnTo>
                              <a:lnTo>
                                <a:pt x="393375" y="720364"/>
                              </a:lnTo>
                              <a:lnTo>
                                <a:pt x="384597" y="713781"/>
                              </a:lnTo>
                              <a:lnTo>
                                <a:pt x="383499" y="711037"/>
                              </a:lnTo>
                              <a:lnTo>
                                <a:pt x="382951" y="706648"/>
                              </a:lnTo>
                              <a:lnTo>
                                <a:pt x="373624" y="701710"/>
                              </a:lnTo>
                              <a:lnTo>
                                <a:pt x="369235" y="700613"/>
                              </a:lnTo>
                              <a:lnTo>
                                <a:pt x="364297" y="697870"/>
                              </a:lnTo>
                              <a:lnTo>
                                <a:pt x="363748" y="695127"/>
                              </a:lnTo>
                              <a:lnTo>
                                <a:pt x="364846" y="689641"/>
                              </a:lnTo>
                              <a:lnTo>
                                <a:pt x="361554" y="686897"/>
                              </a:lnTo>
                              <a:lnTo>
                                <a:pt x="361554" y="683605"/>
                              </a:lnTo>
                              <a:lnTo>
                                <a:pt x="138257" y="528889"/>
                              </a:lnTo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202" name="Graphic 7">
                          <a:extLst>
                            <a:ext uri="{FF2B5EF4-FFF2-40B4-BE49-F238E27FC236}">
                              <a16:creationId xmlns:a16="http://schemas.microsoft.com/office/drawing/2014/main" id="{A85FAB07-5ACA-6EE4-03AB-DB76F2115783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111363" y="4349195"/>
                          <a:ext cx="153882" cy="161598"/>
                        </a:xfrm>
                        <a:custGeom>
                          <a:avLst/>
                          <a:gdLst>
                            <a:gd name="connsiteX0" fmla="*/ 159106 w 196961"/>
                            <a:gd name="connsiteY0" fmla="*/ 2743 h 206837"/>
                            <a:gd name="connsiteX1" fmla="*/ 159106 w 196961"/>
                            <a:gd name="connsiteY1" fmla="*/ 0 h 206837"/>
                            <a:gd name="connsiteX2" fmla="*/ 159106 w 196961"/>
                            <a:gd name="connsiteY2" fmla="*/ 2195 h 206837"/>
                            <a:gd name="connsiteX3" fmla="*/ 140452 w 196961"/>
                            <a:gd name="connsiteY3" fmla="*/ 13716 h 206837"/>
                            <a:gd name="connsiteX4" fmla="*/ 86685 w 196961"/>
                            <a:gd name="connsiteY4" fmla="*/ 20300 h 206837"/>
                            <a:gd name="connsiteX5" fmla="*/ 82296 w 196961"/>
                            <a:gd name="connsiteY5" fmla="*/ 14813 h 206837"/>
                            <a:gd name="connsiteX6" fmla="*/ 74066 w 196961"/>
                            <a:gd name="connsiteY6" fmla="*/ 15362 h 206837"/>
                            <a:gd name="connsiteX7" fmla="*/ 67483 w 196961"/>
                            <a:gd name="connsiteY7" fmla="*/ 17557 h 206837"/>
                            <a:gd name="connsiteX8" fmla="*/ 59802 w 196961"/>
                            <a:gd name="connsiteY8" fmla="*/ 14813 h 206837"/>
                            <a:gd name="connsiteX9" fmla="*/ 50475 w 196961"/>
                            <a:gd name="connsiteY9" fmla="*/ 15362 h 206837"/>
                            <a:gd name="connsiteX10" fmla="*/ 45537 w 196961"/>
                            <a:gd name="connsiteY10" fmla="*/ 19202 h 206837"/>
                            <a:gd name="connsiteX11" fmla="*/ 41697 w 196961"/>
                            <a:gd name="connsiteY11" fmla="*/ 54864 h 206837"/>
                            <a:gd name="connsiteX12" fmla="*/ 43891 w 196961"/>
                            <a:gd name="connsiteY12" fmla="*/ 61448 h 206837"/>
                            <a:gd name="connsiteX13" fmla="*/ 51023 w 196961"/>
                            <a:gd name="connsiteY13" fmla="*/ 67483 h 206837"/>
                            <a:gd name="connsiteX14" fmla="*/ 55961 w 196961"/>
                            <a:gd name="connsiteY14" fmla="*/ 68580 h 206837"/>
                            <a:gd name="connsiteX15" fmla="*/ 58156 w 196961"/>
                            <a:gd name="connsiteY15" fmla="*/ 72421 h 206837"/>
                            <a:gd name="connsiteX16" fmla="*/ 58705 w 196961"/>
                            <a:gd name="connsiteY16" fmla="*/ 76810 h 206837"/>
                            <a:gd name="connsiteX17" fmla="*/ 55961 w 196961"/>
                            <a:gd name="connsiteY17" fmla="*/ 82845 h 206837"/>
                            <a:gd name="connsiteX18" fmla="*/ 46086 w 196961"/>
                            <a:gd name="connsiteY18" fmla="*/ 92720 h 206837"/>
                            <a:gd name="connsiteX19" fmla="*/ 38405 w 196961"/>
                            <a:gd name="connsiteY19" fmla="*/ 96012 h 206837"/>
                            <a:gd name="connsiteX20" fmla="*/ 11521 w 196961"/>
                            <a:gd name="connsiteY20" fmla="*/ 131125 h 206837"/>
                            <a:gd name="connsiteX21" fmla="*/ 0 w 196961"/>
                            <a:gd name="connsiteY21" fmla="*/ 202997 h 206837"/>
                            <a:gd name="connsiteX22" fmla="*/ 3292 w 196961"/>
                            <a:gd name="connsiteY22" fmla="*/ 205192 h 206837"/>
                            <a:gd name="connsiteX23" fmla="*/ 7681 w 196961"/>
                            <a:gd name="connsiteY23" fmla="*/ 206837 h 206837"/>
                            <a:gd name="connsiteX24" fmla="*/ 13167 w 196961"/>
                            <a:gd name="connsiteY24" fmla="*/ 205192 h 206837"/>
                            <a:gd name="connsiteX25" fmla="*/ 17557 w 196961"/>
                            <a:gd name="connsiteY25" fmla="*/ 198608 h 206837"/>
                            <a:gd name="connsiteX26" fmla="*/ 19751 w 196961"/>
                            <a:gd name="connsiteY26" fmla="*/ 195865 h 206837"/>
                            <a:gd name="connsiteX27" fmla="*/ 25237 w 196961"/>
                            <a:gd name="connsiteY27" fmla="*/ 194219 h 206837"/>
                            <a:gd name="connsiteX28" fmla="*/ 28529 w 196961"/>
                            <a:gd name="connsiteY28" fmla="*/ 192573 h 206837"/>
                            <a:gd name="connsiteX29" fmla="*/ 43343 w 196961"/>
                            <a:gd name="connsiteY29" fmla="*/ 194219 h 206837"/>
                            <a:gd name="connsiteX30" fmla="*/ 47732 w 196961"/>
                            <a:gd name="connsiteY30" fmla="*/ 192024 h 206837"/>
                            <a:gd name="connsiteX31" fmla="*/ 47732 w 196961"/>
                            <a:gd name="connsiteY31" fmla="*/ 190927 h 206837"/>
                            <a:gd name="connsiteX32" fmla="*/ 79553 w 196961"/>
                            <a:gd name="connsiteY32" fmla="*/ 190927 h 206837"/>
                            <a:gd name="connsiteX33" fmla="*/ 75712 w 196961"/>
                            <a:gd name="connsiteY33" fmla="*/ 187086 h 206837"/>
                            <a:gd name="connsiteX34" fmla="*/ 83942 w 196961"/>
                            <a:gd name="connsiteY34" fmla="*/ 168433 h 206837"/>
                            <a:gd name="connsiteX35" fmla="*/ 82296 w 196961"/>
                            <a:gd name="connsiteY35" fmla="*/ 164044 h 206837"/>
                            <a:gd name="connsiteX36" fmla="*/ 82845 w 196961"/>
                            <a:gd name="connsiteY36" fmla="*/ 160203 h 206837"/>
                            <a:gd name="connsiteX37" fmla="*/ 97109 w 196961"/>
                            <a:gd name="connsiteY37" fmla="*/ 156362 h 206837"/>
                            <a:gd name="connsiteX38" fmla="*/ 100401 w 196961"/>
                            <a:gd name="connsiteY38" fmla="*/ 151425 h 206837"/>
                            <a:gd name="connsiteX39" fmla="*/ 104790 w 196961"/>
                            <a:gd name="connsiteY39" fmla="*/ 153071 h 206837"/>
                            <a:gd name="connsiteX40" fmla="*/ 108082 w 196961"/>
                            <a:gd name="connsiteY40" fmla="*/ 151973 h 206837"/>
                            <a:gd name="connsiteX41" fmla="*/ 109179 w 196961"/>
                            <a:gd name="connsiteY41" fmla="*/ 147584 h 206837"/>
                            <a:gd name="connsiteX42" fmla="*/ 112471 w 196961"/>
                            <a:gd name="connsiteY42" fmla="*/ 149779 h 206837"/>
                            <a:gd name="connsiteX43" fmla="*/ 120152 w 196961"/>
                            <a:gd name="connsiteY43" fmla="*/ 150328 h 206837"/>
                            <a:gd name="connsiteX44" fmla="*/ 125090 w 196961"/>
                            <a:gd name="connsiteY44" fmla="*/ 153071 h 206837"/>
                            <a:gd name="connsiteX45" fmla="*/ 133868 w 196961"/>
                            <a:gd name="connsiteY45" fmla="*/ 142098 h 206837"/>
                            <a:gd name="connsiteX46" fmla="*/ 147035 w 196961"/>
                            <a:gd name="connsiteY46" fmla="*/ 148133 h 206837"/>
                            <a:gd name="connsiteX47" fmla="*/ 152522 w 196961"/>
                            <a:gd name="connsiteY47" fmla="*/ 145938 h 206837"/>
                            <a:gd name="connsiteX48" fmla="*/ 159106 w 196961"/>
                            <a:gd name="connsiteY48" fmla="*/ 147584 h 206837"/>
                            <a:gd name="connsiteX49" fmla="*/ 195865 w 196961"/>
                            <a:gd name="connsiteY49" fmla="*/ 98207 h 206837"/>
                            <a:gd name="connsiteX50" fmla="*/ 196962 w 196961"/>
                            <a:gd name="connsiteY50" fmla="*/ 56510 h 206837"/>
                            <a:gd name="connsiteX51" fmla="*/ 195865 w 196961"/>
                            <a:gd name="connsiteY51" fmla="*/ 51572 h 206837"/>
                            <a:gd name="connsiteX52" fmla="*/ 190378 w 196961"/>
                            <a:gd name="connsiteY52" fmla="*/ 46086 h 206837"/>
                            <a:gd name="connsiteX53" fmla="*/ 183246 w 196961"/>
                            <a:gd name="connsiteY53" fmla="*/ 41697 h 206837"/>
                            <a:gd name="connsiteX54" fmla="*/ 179954 w 196961"/>
                            <a:gd name="connsiteY54" fmla="*/ 38405 h 206837"/>
                            <a:gd name="connsiteX55" fmla="*/ 175016 w 196961"/>
                            <a:gd name="connsiteY55" fmla="*/ 15911 h 206837"/>
                            <a:gd name="connsiteX56" fmla="*/ 172822 w 196961"/>
                            <a:gd name="connsiteY56" fmla="*/ 13716 h 206837"/>
                            <a:gd name="connsiteX57" fmla="*/ 172273 w 196961"/>
                            <a:gd name="connsiteY57" fmla="*/ 12619 h 206837"/>
                            <a:gd name="connsiteX58" fmla="*/ 172273 w 196961"/>
                            <a:gd name="connsiteY58" fmla="*/ 7681 h 206837"/>
                            <a:gd name="connsiteX59" fmla="*/ 170627 w 196961"/>
                            <a:gd name="connsiteY59" fmla="*/ 6584 h 206837"/>
                            <a:gd name="connsiteX60" fmla="*/ 161849 w 196961"/>
                            <a:gd name="connsiteY60" fmla="*/ 4938 h 206837"/>
                            <a:gd name="connsiteX61" fmla="*/ 160751 w 196961"/>
                            <a:gd name="connsiteY61" fmla="*/ 3292 h 206837"/>
                            <a:gd name="connsiteX62" fmla="*/ 159106 w 196961"/>
                            <a:gd name="connsiteY62" fmla="*/ 2743 h 20683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  <a:cxn ang="0">
                              <a:pos x="connsiteX11" y="connsiteY11"/>
                            </a:cxn>
                            <a:cxn ang="0">
                              <a:pos x="connsiteX12" y="connsiteY12"/>
                            </a:cxn>
                            <a:cxn ang="0">
                              <a:pos x="connsiteX13" y="connsiteY13"/>
                            </a:cxn>
                            <a:cxn ang="0">
                              <a:pos x="connsiteX14" y="connsiteY14"/>
                            </a:cxn>
                            <a:cxn ang="0">
                              <a:pos x="connsiteX15" y="connsiteY15"/>
                            </a:cxn>
                            <a:cxn ang="0">
                              <a:pos x="connsiteX16" y="connsiteY16"/>
                            </a:cxn>
                            <a:cxn ang="0">
                              <a:pos x="connsiteX17" y="connsiteY17"/>
                            </a:cxn>
                            <a:cxn ang="0">
                              <a:pos x="connsiteX18" y="connsiteY18"/>
                            </a:cxn>
                            <a:cxn ang="0">
                              <a:pos x="connsiteX19" y="connsiteY19"/>
                            </a:cxn>
                            <a:cxn ang="0">
                              <a:pos x="connsiteX20" y="connsiteY20"/>
                            </a:cxn>
                            <a:cxn ang="0">
                              <a:pos x="connsiteX21" y="connsiteY21"/>
                            </a:cxn>
                            <a:cxn ang="0">
                              <a:pos x="connsiteX22" y="connsiteY22"/>
                            </a:cxn>
                            <a:cxn ang="0">
                              <a:pos x="connsiteX23" y="connsiteY23"/>
                            </a:cxn>
                            <a:cxn ang="0">
                              <a:pos x="connsiteX24" y="connsiteY24"/>
                            </a:cxn>
                            <a:cxn ang="0">
                              <a:pos x="connsiteX25" y="connsiteY25"/>
                            </a:cxn>
                            <a:cxn ang="0">
                              <a:pos x="connsiteX26" y="connsiteY26"/>
                            </a:cxn>
                            <a:cxn ang="0">
                              <a:pos x="connsiteX27" y="connsiteY27"/>
                            </a:cxn>
                            <a:cxn ang="0">
                              <a:pos x="connsiteX28" y="connsiteY28"/>
                            </a:cxn>
                            <a:cxn ang="0">
                              <a:pos x="connsiteX29" y="connsiteY29"/>
                            </a:cxn>
                            <a:cxn ang="0">
                              <a:pos x="connsiteX30" y="connsiteY30"/>
                            </a:cxn>
                            <a:cxn ang="0">
                              <a:pos x="connsiteX31" y="connsiteY31"/>
                            </a:cxn>
                            <a:cxn ang="0">
                              <a:pos x="connsiteX32" y="connsiteY32"/>
                            </a:cxn>
                            <a:cxn ang="0">
                              <a:pos x="connsiteX33" y="connsiteY33"/>
                            </a:cxn>
                            <a:cxn ang="0">
                              <a:pos x="connsiteX34" y="connsiteY34"/>
                            </a:cxn>
                            <a:cxn ang="0">
                              <a:pos x="connsiteX35" y="connsiteY35"/>
                            </a:cxn>
                            <a:cxn ang="0">
                              <a:pos x="connsiteX36" y="connsiteY36"/>
                            </a:cxn>
                            <a:cxn ang="0">
                              <a:pos x="connsiteX37" y="connsiteY37"/>
                            </a:cxn>
                            <a:cxn ang="0">
                              <a:pos x="connsiteX38" y="connsiteY38"/>
                            </a:cxn>
                            <a:cxn ang="0">
                              <a:pos x="connsiteX39" y="connsiteY39"/>
                            </a:cxn>
                            <a:cxn ang="0">
                              <a:pos x="connsiteX40" y="connsiteY40"/>
                            </a:cxn>
                            <a:cxn ang="0">
                              <a:pos x="connsiteX41" y="connsiteY41"/>
                            </a:cxn>
                            <a:cxn ang="0">
                              <a:pos x="connsiteX42" y="connsiteY42"/>
                            </a:cxn>
                            <a:cxn ang="0">
                              <a:pos x="connsiteX43" y="connsiteY43"/>
                            </a:cxn>
                            <a:cxn ang="0">
                              <a:pos x="connsiteX44" y="connsiteY44"/>
                            </a:cxn>
                            <a:cxn ang="0">
                              <a:pos x="connsiteX45" y="connsiteY45"/>
                            </a:cxn>
                            <a:cxn ang="0">
                              <a:pos x="connsiteX46" y="connsiteY46"/>
                            </a:cxn>
                            <a:cxn ang="0">
                              <a:pos x="connsiteX47" y="connsiteY47"/>
                            </a:cxn>
                            <a:cxn ang="0">
                              <a:pos x="connsiteX48" y="connsiteY48"/>
                            </a:cxn>
                            <a:cxn ang="0">
                              <a:pos x="connsiteX49" y="connsiteY49"/>
                            </a:cxn>
                            <a:cxn ang="0">
                              <a:pos x="connsiteX50" y="connsiteY50"/>
                            </a:cxn>
                            <a:cxn ang="0">
                              <a:pos x="connsiteX51" y="connsiteY51"/>
                            </a:cxn>
                            <a:cxn ang="0">
                              <a:pos x="connsiteX52" y="connsiteY52"/>
                            </a:cxn>
                            <a:cxn ang="0">
                              <a:pos x="connsiteX53" y="connsiteY53"/>
                            </a:cxn>
                            <a:cxn ang="0">
                              <a:pos x="connsiteX54" y="connsiteY54"/>
                            </a:cxn>
                            <a:cxn ang="0">
                              <a:pos x="connsiteX55" y="connsiteY55"/>
                            </a:cxn>
                            <a:cxn ang="0">
                              <a:pos x="connsiteX56" y="connsiteY56"/>
                            </a:cxn>
                            <a:cxn ang="0">
                              <a:pos x="connsiteX57" y="connsiteY57"/>
                            </a:cxn>
                            <a:cxn ang="0">
                              <a:pos x="connsiteX58" y="connsiteY58"/>
                            </a:cxn>
                            <a:cxn ang="0">
                              <a:pos x="connsiteX59" y="connsiteY59"/>
                            </a:cxn>
                            <a:cxn ang="0">
                              <a:pos x="connsiteX60" y="connsiteY60"/>
                            </a:cxn>
                            <a:cxn ang="0">
                              <a:pos x="connsiteX61" y="connsiteY61"/>
                            </a:cxn>
                            <a:cxn ang="0">
                              <a:pos x="connsiteX62" y="connsiteY62"/>
                            </a:cxn>
                          </a:cxnLst>
                          <a:rect l="l" t="t" r="r" b="b"/>
                          <a:pathLst>
                            <a:path w="196961" h="206837">
                              <a:moveTo>
                                <a:pt x="159106" y="2743"/>
                              </a:moveTo>
                              <a:lnTo>
                                <a:pt x="159106" y="0"/>
                              </a:lnTo>
                              <a:lnTo>
                                <a:pt x="159106" y="2195"/>
                              </a:lnTo>
                              <a:lnTo>
                                <a:pt x="140452" y="13716"/>
                              </a:lnTo>
                              <a:lnTo>
                                <a:pt x="86685" y="20300"/>
                              </a:lnTo>
                              <a:lnTo>
                                <a:pt x="82296" y="14813"/>
                              </a:lnTo>
                              <a:lnTo>
                                <a:pt x="74066" y="15362"/>
                              </a:lnTo>
                              <a:lnTo>
                                <a:pt x="67483" y="17557"/>
                              </a:lnTo>
                              <a:lnTo>
                                <a:pt x="59802" y="14813"/>
                              </a:lnTo>
                              <a:lnTo>
                                <a:pt x="50475" y="15362"/>
                              </a:lnTo>
                              <a:lnTo>
                                <a:pt x="45537" y="19202"/>
                              </a:lnTo>
                              <a:lnTo>
                                <a:pt x="41697" y="54864"/>
                              </a:lnTo>
                              <a:lnTo>
                                <a:pt x="43891" y="61448"/>
                              </a:lnTo>
                              <a:lnTo>
                                <a:pt x="51023" y="67483"/>
                              </a:lnTo>
                              <a:lnTo>
                                <a:pt x="55961" y="68580"/>
                              </a:lnTo>
                              <a:lnTo>
                                <a:pt x="58156" y="72421"/>
                              </a:lnTo>
                              <a:lnTo>
                                <a:pt x="58705" y="76810"/>
                              </a:lnTo>
                              <a:lnTo>
                                <a:pt x="55961" y="82845"/>
                              </a:lnTo>
                              <a:lnTo>
                                <a:pt x="46086" y="92720"/>
                              </a:lnTo>
                              <a:lnTo>
                                <a:pt x="38405" y="96012"/>
                              </a:lnTo>
                              <a:lnTo>
                                <a:pt x="11521" y="131125"/>
                              </a:lnTo>
                              <a:lnTo>
                                <a:pt x="0" y="202997"/>
                              </a:lnTo>
                              <a:lnTo>
                                <a:pt x="3292" y="205192"/>
                              </a:lnTo>
                              <a:lnTo>
                                <a:pt x="7681" y="206837"/>
                              </a:lnTo>
                              <a:lnTo>
                                <a:pt x="13167" y="205192"/>
                              </a:lnTo>
                              <a:lnTo>
                                <a:pt x="17557" y="198608"/>
                              </a:lnTo>
                              <a:lnTo>
                                <a:pt x="19751" y="195865"/>
                              </a:lnTo>
                              <a:lnTo>
                                <a:pt x="25237" y="194219"/>
                              </a:lnTo>
                              <a:lnTo>
                                <a:pt x="28529" y="192573"/>
                              </a:lnTo>
                              <a:lnTo>
                                <a:pt x="43343" y="194219"/>
                              </a:lnTo>
                              <a:lnTo>
                                <a:pt x="47732" y="192024"/>
                              </a:lnTo>
                              <a:lnTo>
                                <a:pt x="47732" y="190927"/>
                              </a:lnTo>
                              <a:lnTo>
                                <a:pt x="79553" y="190927"/>
                              </a:lnTo>
                              <a:lnTo>
                                <a:pt x="75712" y="187086"/>
                              </a:lnTo>
                              <a:lnTo>
                                <a:pt x="83942" y="168433"/>
                              </a:lnTo>
                              <a:lnTo>
                                <a:pt x="82296" y="164044"/>
                              </a:lnTo>
                              <a:lnTo>
                                <a:pt x="82845" y="160203"/>
                              </a:lnTo>
                              <a:lnTo>
                                <a:pt x="97109" y="156362"/>
                              </a:lnTo>
                              <a:lnTo>
                                <a:pt x="100401" y="151425"/>
                              </a:lnTo>
                              <a:lnTo>
                                <a:pt x="104790" y="153071"/>
                              </a:lnTo>
                              <a:lnTo>
                                <a:pt x="108082" y="151973"/>
                              </a:lnTo>
                              <a:lnTo>
                                <a:pt x="109179" y="147584"/>
                              </a:lnTo>
                              <a:lnTo>
                                <a:pt x="112471" y="149779"/>
                              </a:lnTo>
                              <a:lnTo>
                                <a:pt x="120152" y="150328"/>
                              </a:lnTo>
                              <a:lnTo>
                                <a:pt x="125090" y="153071"/>
                              </a:lnTo>
                              <a:lnTo>
                                <a:pt x="133868" y="142098"/>
                              </a:lnTo>
                              <a:lnTo>
                                <a:pt x="147035" y="148133"/>
                              </a:lnTo>
                              <a:lnTo>
                                <a:pt x="152522" y="145938"/>
                              </a:lnTo>
                              <a:lnTo>
                                <a:pt x="159106" y="147584"/>
                              </a:lnTo>
                              <a:lnTo>
                                <a:pt x="195865" y="98207"/>
                              </a:lnTo>
                              <a:lnTo>
                                <a:pt x="196962" y="56510"/>
                              </a:lnTo>
                              <a:lnTo>
                                <a:pt x="195865" y="51572"/>
                              </a:lnTo>
                              <a:lnTo>
                                <a:pt x="190378" y="46086"/>
                              </a:lnTo>
                              <a:lnTo>
                                <a:pt x="183246" y="41697"/>
                              </a:lnTo>
                              <a:lnTo>
                                <a:pt x="179954" y="38405"/>
                              </a:lnTo>
                              <a:lnTo>
                                <a:pt x="175016" y="15911"/>
                              </a:lnTo>
                              <a:lnTo>
                                <a:pt x="172822" y="13716"/>
                              </a:lnTo>
                              <a:lnTo>
                                <a:pt x="172273" y="12619"/>
                              </a:lnTo>
                              <a:lnTo>
                                <a:pt x="172273" y="7681"/>
                              </a:lnTo>
                              <a:lnTo>
                                <a:pt x="170627" y="6584"/>
                              </a:lnTo>
                              <a:lnTo>
                                <a:pt x="161849" y="4938"/>
                              </a:lnTo>
                              <a:lnTo>
                                <a:pt x="160751" y="3292"/>
                              </a:lnTo>
                              <a:lnTo>
                                <a:pt x="159106" y="2743"/>
                              </a:lnTo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203" name="Graphic 7">
                          <a:extLst>
                            <a:ext uri="{FF2B5EF4-FFF2-40B4-BE49-F238E27FC236}">
                              <a16:creationId xmlns:a16="http://schemas.microsoft.com/office/drawing/2014/main" id="{5C54B05F-051D-B1AB-D832-0F832EE1876E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143082" y="5245915"/>
                          <a:ext cx="36005" cy="48436"/>
                        </a:xfrm>
                        <a:custGeom>
                          <a:avLst/>
                          <a:gdLst>
                            <a:gd name="connsiteX0" fmla="*/ 46086 w 46085"/>
                            <a:gd name="connsiteY0" fmla="*/ 43343 h 61996"/>
                            <a:gd name="connsiteX1" fmla="*/ 43343 w 46085"/>
                            <a:gd name="connsiteY1" fmla="*/ 3840 h 61996"/>
                            <a:gd name="connsiteX2" fmla="*/ 38405 w 46085"/>
                            <a:gd name="connsiteY2" fmla="*/ 9876 h 61996"/>
                            <a:gd name="connsiteX3" fmla="*/ 22494 w 46085"/>
                            <a:gd name="connsiteY3" fmla="*/ 0 h 61996"/>
                            <a:gd name="connsiteX4" fmla="*/ 13167 w 46085"/>
                            <a:gd name="connsiteY4" fmla="*/ 6035 h 61996"/>
                            <a:gd name="connsiteX5" fmla="*/ 0 w 46085"/>
                            <a:gd name="connsiteY5" fmla="*/ 37308 h 61996"/>
                            <a:gd name="connsiteX6" fmla="*/ 7681 w 46085"/>
                            <a:gd name="connsiteY6" fmla="*/ 58704 h 61996"/>
                            <a:gd name="connsiteX7" fmla="*/ 32370 w 46085"/>
                            <a:gd name="connsiteY7" fmla="*/ 61997 h 61996"/>
                            <a:gd name="connsiteX8" fmla="*/ 37308 w 46085"/>
                            <a:gd name="connsiteY8" fmla="*/ 55413 h 61996"/>
                            <a:gd name="connsiteX9" fmla="*/ 41148 w 46085"/>
                            <a:gd name="connsiteY9" fmla="*/ 45537 h 61996"/>
                            <a:gd name="connsiteX10" fmla="*/ 46086 w 46085"/>
                            <a:gd name="connsiteY10" fmla="*/ 43343 h 61996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</a:cxnLst>
                          <a:rect l="l" t="t" r="r" b="b"/>
                          <a:pathLst>
                            <a:path w="46085" h="61996">
                              <a:moveTo>
                                <a:pt x="46086" y="43343"/>
                              </a:moveTo>
                              <a:lnTo>
                                <a:pt x="43343" y="3840"/>
                              </a:lnTo>
                              <a:lnTo>
                                <a:pt x="38405" y="9876"/>
                              </a:lnTo>
                              <a:lnTo>
                                <a:pt x="22494" y="0"/>
                              </a:lnTo>
                              <a:lnTo>
                                <a:pt x="13167" y="6035"/>
                              </a:lnTo>
                              <a:lnTo>
                                <a:pt x="0" y="37308"/>
                              </a:lnTo>
                              <a:lnTo>
                                <a:pt x="7681" y="58704"/>
                              </a:lnTo>
                              <a:lnTo>
                                <a:pt x="32370" y="61997"/>
                              </a:lnTo>
                              <a:lnTo>
                                <a:pt x="37308" y="55413"/>
                              </a:lnTo>
                              <a:lnTo>
                                <a:pt x="41148" y="45537"/>
                              </a:lnTo>
                              <a:lnTo>
                                <a:pt x="46086" y="43343"/>
                              </a:lnTo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204" name="Graphic 7">
                          <a:extLst>
                            <a:ext uri="{FF2B5EF4-FFF2-40B4-BE49-F238E27FC236}">
                              <a16:creationId xmlns:a16="http://schemas.microsoft.com/office/drawing/2014/main" id="{134E2CCC-BEEA-33CA-5BFC-C1A7B1BAE798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89854" y="4067577"/>
                          <a:ext cx="3429" cy="3000"/>
                        </a:xfrm>
                        <a:custGeom>
                          <a:avLst/>
                          <a:gdLst>
                            <a:gd name="connsiteX0" fmla="*/ 2743 w 4389"/>
                            <a:gd name="connsiteY0" fmla="*/ 0 h 3840"/>
                            <a:gd name="connsiteX1" fmla="*/ 1097 w 4389"/>
                            <a:gd name="connsiteY1" fmla="*/ 1097 h 3840"/>
                            <a:gd name="connsiteX2" fmla="*/ 0 w 4389"/>
                            <a:gd name="connsiteY2" fmla="*/ 3841 h 3840"/>
                            <a:gd name="connsiteX3" fmla="*/ 4389 w 4389"/>
                            <a:gd name="connsiteY3" fmla="*/ 1646 h 3840"/>
                            <a:gd name="connsiteX4" fmla="*/ 3841 w 4389"/>
                            <a:gd name="connsiteY4" fmla="*/ 0 h 3840"/>
                            <a:gd name="connsiteX5" fmla="*/ 2743 w 4389"/>
                            <a:gd name="connsiteY5" fmla="*/ 0 h 3840"/>
                            <a:gd name="connsiteX6" fmla="*/ 2743 w 4389"/>
                            <a:gd name="connsiteY6" fmla="*/ 0 h 3840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</a:cxnLst>
                          <a:rect l="l" t="t" r="r" b="b"/>
                          <a:pathLst>
                            <a:path w="4389" h="3840">
                              <a:moveTo>
                                <a:pt x="2743" y="0"/>
                              </a:moveTo>
                              <a:lnTo>
                                <a:pt x="1097" y="1097"/>
                              </a:lnTo>
                              <a:lnTo>
                                <a:pt x="0" y="3841"/>
                              </a:lnTo>
                              <a:lnTo>
                                <a:pt x="4389" y="1646"/>
                              </a:lnTo>
                              <a:lnTo>
                                <a:pt x="3841" y="0"/>
                              </a:lnTo>
                              <a:lnTo>
                                <a:pt x="2743" y="0"/>
                              </a:lnTo>
                              <a:lnTo>
                                <a:pt x="2743" y="0"/>
                              </a:lnTo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205" name="Graphic 7">
                          <a:extLst>
                            <a:ext uri="{FF2B5EF4-FFF2-40B4-BE49-F238E27FC236}">
                              <a16:creationId xmlns:a16="http://schemas.microsoft.com/office/drawing/2014/main" id="{EE386CCF-890B-D4BA-1ABB-B9EA5457331B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89854" y="4059004"/>
                          <a:ext cx="3429" cy="4286"/>
                        </a:xfrm>
                        <a:custGeom>
                          <a:avLst/>
                          <a:gdLst>
                            <a:gd name="connsiteX0" fmla="*/ 0 w 4389"/>
                            <a:gd name="connsiteY0" fmla="*/ 2743 h 5486"/>
                            <a:gd name="connsiteX1" fmla="*/ 2195 w 4389"/>
                            <a:gd name="connsiteY1" fmla="*/ 3292 h 5486"/>
                            <a:gd name="connsiteX2" fmla="*/ 3292 w 4389"/>
                            <a:gd name="connsiteY2" fmla="*/ 5486 h 5486"/>
                            <a:gd name="connsiteX3" fmla="*/ 4389 w 4389"/>
                            <a:gd name="connsiteY3" fmla="*/ 3841 h 5486"/>
                            <a:gd name="connsiteX4" fmla="*/ 3841 w 4389"/>
                            <a:gd name="connsiteY4" fmla="*/ 549 h 5486"/>
                            <a:gd name="connsiteX5" fmla="*/ 2743 w 4389"/>
                            <a:gd name="connsiteY5" fmla="*/ 0 h 5486"/>
                            <a:gd name="connsiteX6" fmla="*/ 549 w 4389"/>
                            <a:gd name="connsiteY6" fmla="*/ 549 h 5486"/>
                            <a:gd name="connsiteX7" fmla="*/ 0 w 4389"/>
                            <a:gd name="connsiteY7" fmla="*/ 2743 h 5486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</a:cxnLst>
                          <a:rect l="l" t="t" r="r" b="b"/>
                          <a:pathLst>
                            <a:path w="4389" h="5486">
                              <a:moveTo>
                                <a:pt x="0" y="2743"/>
                              </a:moveTo>
                              <a:lnTo>
                                <a:pt x="2195" y="3292"/>
                              </a:lnTo>
                              <a:lnTo>
                                <a:pt x="3292" y="5486"/>
                              </a:lnTo>
                              <a:lnTo>
                                <a:pt x="4389" y="3841"/>
                              </a:lnTo>
                              <a:lnTo>
                                <a:pt x="3841" y="549"/>
                              </a:lnTo>
                              <a:lnTo>
                                <a:pt x="2743" y="0"/>
                              </a:lnTo>
                              <a:lnTo>
                                <a:pt x="549" y="549"/>
                              </a:lnTo>
                              <a:lnTo>
                                <a:pt x="0" y="2743"/>
                              </a:lnTo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206" name="Graphic 7">
                          <a:extLst>
                            <a:ext uri="{FF2B5EF4-FFF2-40B4-BE49-F238E27FC236}">
                              <a16:creationId xmlns:a16="http://schemas.microsoft.com/office/drawing/2014/main" id="{9462B043-491D-DB79-AF56-84D444B717F7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4864443" y="4250179"/>
                          <a:ext cx="9858" cy="5143"/>
                        </a:xfrm>
                        <a:custGeom>
                          <a:avLst/>
                          <a:gdLst>
                            <a:gd name="connsiteX0" fmla="*/ 12619 w 12618"/>
                            <a:gd name="connsiteY0" fmla="*/ 1646 h 6583"/>
                            <a:gd name="connsiteX1" fmla="*/ 11521 w 12618"/>
                            <a:gd name="connsiteY1" fmla="*/ 1646 h 6583"/>
                            <a:gd name="connsiteX2" fmla="*/ 8230 w 12618"/>
                            <a:gd name="connsiteY2" fmla="*/ 0 h 6583"/>
                            <a:gd name="connsiteX3" fmla="*/ 3841 w 12618"/>
                            <a:gd name="connsiteY3" fmla="*/ 1646 h 6583"/>
                            <a:gd name="connsiteX4" fmla="*/ 0 w 12618"/>
                            <a:gd name="connsiteY4" fmla="*/ 1646 h 6583"/>
                            <a:gd name="connsiteX5" fmla="*/ 2195 w 12618"/>
                            <a:gd name="connsiteY5" fmla="*/ 4938 h 6583"/>
                            <a:gd name="connsiteX6" fmla="*/ 6584 w 12618"/>
                            <a:gd name="connsiteY6" fmla="*/ 6584 h 6583"/>
                            <a:gd name="connsiteX7" fmla="*/ 10424 w 12618"/>
                            <a:gd name="connsiteY7" fmla="*/ 6035 h 6583"/>
                            <a:gd name="connsiteX8" fmla="*/ 12619 w 12618"/>
                            <a:gd name="connsiteY8" fmla="*/ 1646 h 658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12618" h="6583">
                              <a:moveTo>
                                <a:pt x="12619" y="1646"/>
                              </a:moveTo>
                              <a:lnTo>
                                <a:pt x="11521" y="1646"/>
                              </a:lnTo>
                              <a:lnTo>
                                <a:pt x="8230" y="0"/>
                              </a:lnTo>
                              <a:lnTo>
                                <a:pt x="3841" y="1646"/>
                              </a:lnTo>
                              <a:lnTo>
                                <a:pt x="0" y="1646"/>
                              </a:lnTo>
                              <a:lnTo>
                                <a:pt x="2195" y="4938"/>
                              </a:lnTo>
                              <a:lnTo>
                                <a:pt x="6584" y="6584"/>
                              </a:lnTo>
                              <a:lnTo>
                                <a:pt x="10424" y="6035"/>
                              </a:lnTo>
                              <a:lnTo>
                                <a:pt x="12619" y="1646"/>
                              </a:lnTo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207" name="Graphic 7">
                          <a:extLst>
                            <a:ext uri="{FF2B5EF4-FFF2-40B4-BE49-F238E27FC236}">
                              <a16:creationId xmlns:a16="http://schemas.microsoft.com/office/drawing/2014/main" id="{3F2F0AAB-D540-1D9B-957F-38D7407F3E2C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05412" y="4613239"/>
                          <a:ext cx="5572" cy="15430"/>
                        </a:xfrm>
                        <a:custGeom>
                          <a:avLst/>
                          <a:gdLst>
                            <a:gd name="connsiteX0" fmla="*/ 6035 w 7132"/>
                            <a:gd name="connsiteY0" fmla="*/ 6035 h 19750"/>
                            <a:gd name="connsiteX1" fmla="*/ 7132 w 7132"/>
                            <a:gd name="connsiteY1" fmla="*/ 12070 h 19750"/>
                            <a:gd name="connsiteX2" fmla="*/ 3840 w 7132"/>
                            <a:gd name="connsiteY2" fmla="*/ 19751 h 19750"/>
                            <a:gd name="connsiteX3" fmla="*/ 0 w 7132"/>
                            <a:gd name="connsiteY3" fmla="*/ 17008 h 19750"/>
                            <a:gd name="connsiteX4" fmla="*/ 549 w 7132"/>
                            <a:gd name="connsiteY4" fmla="*/ 0 h 19750"/>
                            <a:gd name="connsiteX5" fmla="*/ 2743 w 7132"/>
                            <a:gd name="connsiteY5" fmla="*/ 1097 h 19750"/>
                            <a:gd name="connsiteX6" fmla="*/ 5486 w 7132"/>
                            <a:gd name="connsiteY6" fmla="*/ 0 h 19750"/>
                            <a:gd name="connsiteX7" fmla="*/ 6035 w 7132"/>
                            <a:gd name="connsiteY7" fmla="*/ 7132 h 19750"/>
                            <a:gd name="connsiteX8" fmla="*/ 6035 w 7132"/>
                            <a:gd name="connsiteY8" fmla="*/ 6035 h 19750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7132" h="19750">
                              <a:moveTo>
                                <a:pt x="6035" y="6035"/>
                              </a:moveTo>
                              <a:lnTo>
                                <a:pt x="7132" y="12070"/>
                              </a:lnTo>
                              <a:lnTo>
                                <a:pt x="3840" y="19751"/>
                              </a:lnTo>
                              <a:lnTo>
                                <a:pt x="0" y="17008"/>
                              </a:lnTo>
                              <a:lnTo>
                                <a:pt x="549" y="0"/>
                              </a:lnTo>
                              <a:lnTo>
                                <a:pt x="2743" y="1097"/>
                              </a:lnTo>
                              <a:lnTo>
                                <a:pt x="5486" y="0"/>
                              </a:lnTo>
                              <a:lnTo>
                                <a:pt x="6035" y="7132"/>
                              </a:lnTo>
                              <a:lnTo>
                                <a:pt x="6035" y="6035"/>
                              </a:lnTo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208" name="Graphic 7">
                          <a:extLst>
                            <a:ext uri="{FF2B5EF4-FFF2-40B4-BE49-F238E27FC236}">
                              <a16:creationId xmlns:a16="http://schemas.microsoft.com/office/drawing/2014/main" id="{99B191C0-F2D2-7AAF-C49A-B0569396DCB8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392981" y="4638100"/>
                          <a:ext cx="8572" cy="20146"/>
                        </a:xfrm>
                        <a:custGeom>
                          <a:avLst/>
                          <a:gdLst>
                            <a:gd name="connsiteX0" fmla="*/ 3292 w 10972"/>
                            <a:gd name="connsiteY0" fmla="*/ 0 h 25786"/>
                            <a:gd name="connsiteX1" fmla="*/ 4938 w 10972"/>
                            <a:gd name="connsiteY1" fmla="*/ 14265 h 25786"/>
                            <a:gd name="connsiteX2" fmla="*/ 6584 w 10972"/>
                            <a:gd name="connsiteY2" fmla="*/ 17008 h 25786"/>
                            <a:gd name="connsiteX3" fmla="*/ 8778 w 10972"/>
                            <a:gd name="connsiteY3" fmla="*/ 17557 h 25786"/>
                            <a:gd name="connsiteX4" fmla="*/ 10973 w 10972"/>
                            <a:gd name="connsiteY4" fmla="*/ 25786 h 25786"/>
                            <a:gd name="connsiteX5" fmla="*/ 1646 w 10972"/>
                            <a:gd name="connsiteY5" fmla="*/ 19202 h 25786"/>
                            <a:gd name="connsiteX6" fmla="*/ 0 w 10972"/>
                            <a:gd name="connsiteY6" fmla="*/ 5486 h 25786"/>
                            <a:gd name="connsiteX7" fmla="*/ 1646 w 10972"/>
                            <a:gd name="connsiteY7" fmla="*/ 549 h 25786"/>
                            <a:gd name="connsiteX8" fmla="*/ 3292 w 10972"/>
                            <a:gd name="connsiteY8" fmla="*/ 0 h 25786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</a:cxnLst>
                          <a:rect l="l" t="t" r="r" b="b"/>
                          <a:pathLst>
                            <a:path w="10972" h="25786">
                              <a:moveTo>
                                <a:pt x="3292" y="0"/>
                              </a:moveTo>
                              <a:lnTo>
                                <a:pt x="4938" y="14265"/>
                              </a:lnTo>
                              <a:lnTo>
                                <a:pt x="6584" y="17008"/>
                              </a:lnTo>
                              <a:lnTo>
                                <a:pt x="8778" y="17557"/>
                              </a:lnTo>
                              <a:lnTo>
                                <a:pt x="10973" y="25786"/>
                              </a:lnTo>
                              <a:lnTo>
                                <a:pt x="1646" y="19202"/>
                              </a:lnTo>
                              <a:lnTo>
                                <a:pt x="0" y="5486"/>
                              </a:lnTo>
                              <a:lnTo>
                                <a:pt x="1646" y="549"/>
                              </a:lnTo>
                              <a:lnTo>
                                <a:pt x="3292" y="0"/>
                              </a:lnTo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209" name="Graphic 7">
                          <a:extLst>
                            <a:ext uri="{FF2B5EF4-FFF2-40B4-BE49-F238E27FC236}">
                              <a16:creationId xmlns:a16="http://schemas.microsoft.com/office/drawing/2014/main" id="{8A0CC330-C5F6-5A3F-CBFF-0CD6233A496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4724277" y="3975848"/>
                          <a:ext cx="184316" cy="130736"/>
                        </a:xfrm>
                        <a:custGeom>
                          <a:avLst/>
                          <a:gdLst>
                            <a:gd name="connsiteX0" fmla="*/ 38405 w 235915"/>
                            <a:gd name="connsiteY0" fmla="*/ 119055 h 167335"/>
                            <a:gd name="connsiteX1" fmla="*/ 36759 w 235915"/>
                            <a:gd name="connsiteY1" fmla="*/ 119603 h 167335"/>
                            <a:gd name="connsiteX2" fmla="*/ 35113 w 235915"/>
                            <a:gd name="connsiteY2" fmla="*/ 115214 h 167335"/>
                            <a:gd name="connsiteX3" fmla="*/ 30175 w 235915"/>
                            <a:gd name="connsiteY3" fmla="*/ 109179 h 167335"/>
                            <a:gd name="connsiteX4" fmla="*/ 28529 w 235915"/>
                            <a:gd name="connsiteY4" fmla="*/ 100401 h 167335"/>
                            <a:gd name="connsiteX5" fmla="*/ 10424 w 235915"/>
                            <a:gd name="connsiteY5" fmla="*/ 76261 h 167335"/>
                            <a:gd name="connsiteX6" fmla="*/ 7132 w 235915"/>
                            <a:gd name="connsiteY6" fmla="*/ 76261 h 167335"/>
                            <a:gd name="connsiteX7" fmla="*/ 4938 w 235915"/>
                            <a:gd name="connsiteY7" fmla="*/ 76810 h 167335"/>
                            <a:gd name="connsiteX8" fmla="*/ 3292 w 235915"/>
                            <a:gd name="connsiteY8" fmla="*/ 79553 h 167335"/>
                            <a:gd name="connsiteX9" fmla="*/ 549 w 235915"/>
                            <a:gd name="connsiteY9" fmla="*/ 76261 h 167335"/>
                            <a:gd name="connsiteX10" fmla="*/ 0 w 235915"/>
                            <a:gd name="connsiteY10" fmla="*/ 74615 h 167335"/>
                            <a:gd name="connsiteX11" fmla="*/ 1097 w 235915"/>
                            <a:gd name="connsiteY11" fmla="*/ 73518 h 167335"/>
                            <a:gd name="connsiteX12" fmla="*/ 4389 w 235915"/>
                            <a:gd name="connsiteY12" fmla="*/ 73518 h 167335"/>
                            <a:gd name="connsiteX13" fmla="*/ 12070 w 235915"/>
                            <a:gd name="connsiteY13" fmla="*/ 70774 h 167335"/>
                            <a:gd name="connsiteX14" fmla="*/ 25237 w 235915"/>
                            <a:gd name="connsiteY14" fmla="*/ 58705 h 167335"/>
                            <a:gd name="connsiteX15" fmla="*/ 37856 w 235915"/>
                            <a:gd name="connsiteY15" fmla="*/ 38405 h 167335"/>
                            <a:gd name="connsiteX16" fmla="*/ 38953 w 235915"/>
                            <a:gd name="connsiteY16" fmla="*/ 22494 h 167335"/>
                            <a:gd name="connsiteX17" fmla="*/ 40051 w 235915"/>
                            <a:gd name="connsiteY17" fmla="*/ 21946 h 167335"/>
                            <a:gd name="connsiteX18" fmla="*/ 44988 w 235915"/>
                            <a:gd name="connsiteY18" fmla="*/ 14813 h 167335"/>
                            <a:gd name="connsiteX19" fmla="*/ 47732 w 235915"/>
                            <a:gd name="connsiteY19" fmla="*/ 6035 h 167335"/>
                            <a:gd name="connsiteX20" fmla="*/ 50475 w 235915"/>
                            <a:gd name="connsiteY20" fmla="*/ 6035 h 167335"/>
                            <a:gd name="connsiteX21" fmla="*/ 52121 w 235915"/>
                            <a:gd name="connsiteY21" fmla="*/ 4938 h 167335"/>
                            <a:gd name="connsiteX22" fmla="*/ 63094 w 235915"/>
                            <a:gd name="connsiteY22" fmla="*/ 5486 h 167335"/>
                            <a:gd name="connsiteX23" fmla="*/ 70226 w 235915"/>
                            <a:gd name="connsiteY23" fmla="*/ 7681 h 167335"/>
                            <a:gd name="connsiteX24" fmla="*/ 75164 w 235915"/>
                            <a:gd name="connsiteY24" fmla="*/ 6584 h 167335"/>
                            <a:gd name="connsiteX25" fmla="*/ 76261 w 235915"/>
                            <a:gd name="connsiteY25" fmla="*/ 4938 h 167335"/>
                            <a:gd name="connsiteX26" fmla="*/ 84491 w 235915"/>
                            <a:gd name="connsiteY26" fmla="*/ 3292 h 167335"/>
                            <a:gd name="connsiteX27" fmla="*/ 90526 w 235915"/>
                            <a:gd name="connsiteY27" fmla="*/ 3841 h 167335"/>
                            <a:gd name="connsiteX28" fmla="*/ 91623 w 235915"/>
                            <a:gd name="connsiteY28" fmla="*/ 3292 h 167335"/>
                            <a:gd name="connsiteX29" fmla="*/ 91623 w 235915"/>
                            <a:gd name="connsiteY29" fmla="*/ 1097 h 167335"/>
                            <a:gd name="connsiteX30" fmla="*/ 92172 w 235915"/>
                            <a:gd name="connsiteY30" fmla="*/ 549 h 167335"/>
                            <a:gd name="connsiteX31" fmla="*/ 97109 w 235915"/>
                            <a:gd name="connsiteY31" fmla="*/ 1097 h 167335"/>
                            <a:gd name="connsiteX32" fmla="*/ 99852 w 235915"/>
                            <a:gd name="connsiteY32" fmla="*/ 0 h 167335"/>
                            <a:gd name="connsiteX33" fmla="*/ 115214 w 235915"/>
                            <a:gd name="connsiteY33" fmla="*/ 1646 h 167335"/>
                            <a:gd name="connsiteX34" fmla="*/ 116312 w 235915"/>
                            <a:gd name="connsiteY34" fmla="*/ 2194 h 167335"/>
                            <a:gd name="connsiteX35" fmla="*/ 119604 w 235915"/>
                            <a:gd name="connsiteY35" fmla="*/ 1097 h 167335"/>
                            <a:gd name="connsiteX36" fmla="*/ 121249 w 235915"/>
                            <a:gd name="connsiteY36" fmla="*/ 4938 h 167335"/>
                            <a:gd name="connsiteX37" fmla="*/ 125639 w 235915"/>
                            <a:gd name="connsiteY37" fmla="*/ 5486 h 167335"/>
                            <a:gd name="connsiteX38" fmla="*/ 132771 w 235915"/>
                            <a:gd name="connsiteY38" fmla="*/ 12070 h 167335"/>
                            <a:gd name="connsiteX39" fmla="*/ 134417 w 235915"/>
                            <a:gd name="connsiteY39" fmla="*/ 15910 h 167335"/>
                            <a:gd name="connsiteX40" fmla="*/ 139355 w 235915"/>
                            <a:gd name="connsiteY40" fmla="*/ 20848 h 167335"/>
                            <a:gd name="connsiteX41" fmla="*/ 145938 w 235915"/>
                            <a:gd name="connsiteY41" fmla="*/ 18654 h 167335"/>
                            <a:gd name="connsiteX42" fmla="*/ 145938 w 235915"/>
                            <a:gd name="connsiteY42" fmla="*/ 21946 h 167335"/>
                            <a:gd name="connsiteX43" fmla="*/ 148133 w 235915"/>
                            <a:gd name="connsiteY43" fmla="*/ 22494 h 167335"/>
                            <a:gd name="connsiteX44" fmla="*/ 151973 w 235915"/>
                            <a:gd name="connsiteY44" fmla="*/ 20300 h 167335"/>
                            <a:gd name="connsiteX45" fmla="*/ 153619 w 235915"/>
                            <a:gd name="connsiteY45" fmla="*/ 20300 h 167335"/>
                            <a:gd name="connsiteX46" fmla="*/ 163495 w 235915"/>
                            <a:gd name="connsiteY46" fmla="*/ 36759 h 167335"/>
                            <a:gd name="connsiteX47" fmla="*/ 162946 w 235915"/>
                            <a:gd name="connsiteY47" fmla="*/ 38953 h 167335"/>
                            <a:gd name="connsiteX48" fmla="*/ 166238 w 235915"/>
                            <a:gd name="connsiteY48" fmla="*/ 40599 h 167335"/>
                            <a:gd name="connsiteX49" fmla="*/ 168432 w 235915"/>
                            <a:gd name="connsiteY49" fmla="*/ 43342 h 167335"/>
                            <a:gd name="connsiteX50" fmla="*/ 168981 w 235915"/>
                            <a:gd name="connsiteY50" fmla="*/ 45537 h 167335"/>
                            <a:gd name="connsiteX51" fmla="*/ 170078 w 235915"/>
                            <a:gd name="connsiteY51" fmla="*/ 46086 h 167335"/>
                            <a:gd name="connsiteX52" fmla="*/ 172822 w 235915"/>
                            <a:gd name="connsiteY52" fmla="*/ 44989 h 167335"/>
                            <a:gd name="connsiteX53" fmla="*/ 173370 w 235915"/>
                            <a:gd name="connsiteY53" fmla="*/ 45537 h 167335"/>
                            <a:gd name="connsiteX54" fmla="*/ 175016 w 235915"/>
                            <a:gd name="connsiteY54" fmla="*/ 50475 h 167335"/>
                            <a:gd name="connsiteX55" fmla="*/ 177211 w 235915"/>
                            <a:gd name="connsiteY55" fmla="*/ 51023 h 167335"/>
                            <a:gd name="connsiteX56" fmla="*/ 178857 w 235915"/>
                            <a:gd name="connsiteY56" fmla="*/ 53767 h 167335"/>
                            <a:gd name="connsiteX57" fmla="*/ 176113 w 235915"/>
                            <a:gd name="connsiteY57" fmla="*/ 54315 h 167335"/>
                            <a:gd name="connsiteX58" fmla="*/ 176113 w 235915"/>
                            <a:gd name="connsiteY58" fmla="*/ 54864 h 167335"/>
                            <a:gd name="connsiteX59" fmla="*/ 179405 w 235915"/>
                            <a:gd name="connsiteY59" fmla="*/ 56510 h 167335"/>
                            <a:gd name="connsiteX60" fmla="*/ 181051 w 235915"/>
                            <a:gd name="connsiteY60" fmla="*/ 58705 h 167335"/>
                            <a:gd name="connsiteX61" fmla="*/ 183794 w 235915"/>
                            <a:gd name="connsiteY61" fmla="*/ 60350 h 167335"/>
                            <a:gd name="connsiteX62" fmla="*/ 186538 w 235915"/>
                            <a:gd name="connsiteY62" fmla="*/ 60350 h 167335"/>
                            <a:gd name="connsiteX63" fmla="*/ 190378 w 235915"/>
                            <a:gd name="connsiteY63" fmla="*/ 61996 h 167335"/>
                            <a:gd name="connsiteX64" fmla="*/ 192573 w 235915"/>
                            <a:gd name="connsiteY64" fmla="*/ 64191 h 167335"/>
                            <a:gd name="connsiteX65" fmla="*/ 193121 w 235915"/>
                            <a:gd name="connsiteY65" fmla="*/ 68031 h 167335"/>
                            <a:gd name="connsiteX66" fmla="*/ 194219 w 235915"/>
                            <a:gd name="connsiteY66" fmla="*/ 69129 h 167335"/>
                            <a:gd name="connsiteX67" fmla="*/ 198608 w 235915"/>
                            <a:gd name="connsiteY67" fmla="*/ 70774 h 167335"/>
                            <a:gd name="connsiteX68" fmla="*/ 205191 w 235915"/>
                            <a:gd name="connsiteY68" fmla="*/ 76261 h 167335"/>
                            <a:gd name="connsiteX69" fmla="*/ 205191 w 235915"/>
                            <a:gd name="connsiteY69" fmla="*/ 79004 h 167335"/>
                            <a:gd name="connsiteX70" fmla="*/ 203545 w 235915"/>
                            <a:gd name="connsiteY70" fmla="*/ 83393 h 167335"/>
                            <a:gd name="connsiteX71" fmla="*/ 204094 w 235915"/>
                            <a:gd name="connsiteY71" fmla="*/ 88331 h 167335"/>
                            <a:gd name="connsiteX72" fmla="*/ 205191 w 235915"/>
                            <a:gd name="connsiteY72" fmla="*/ 88331 h 167335"/>
                            <a:gd name="connsiteX73" fmla="*/ 206289 w 235915"/>
                            <a:gd name="connsiteY73" fmla="*/ 90526 h 167335"/>
                            <a:gd name="connsiteX74" fmla="*/ 207386 w 235915"/>
                            <a:gd name="connsiteY74" fmla="*/ 91074 h 167335"/>
                            <a:gd name="connsiteX75" fmla="*/ 209580 w 235915"/>
                            <a:gd name="connsiteY75" fmla="*/ 93269 h 167335"/>
                            <a:gd name="connsiteX76" fmla="*/ 210678 w 235915"/>
                            <a:gd name="connsiteY76" fmla="*/ 102047 h 167335"/>
                            <a:gd name="connsiteX77" fmla="*/ 212324 w 235915"/>
                            <a:gd name="connsiteY77" fmla="*/ 106436 h 167335"/>
                            <a:gd name="connsiteX78" fmla="*/ 212872 w 235915"/>
                            <a:gd name="connsiteY78" fmla="*/ 109179 h 167335"/>
                            <a:gd name="connsiteX79" fmla="*/ 209580 w 235915"/>
                            <a:gd name="connsiteY79" fmla="*/ 114117 h 167335"/>
                            <a:gd name="connsiteX80" fmla="*/ 209032 w 235915"/>
                            <a:gd name="connsiteY80" fmla="*/ 116312 h 167335"/>
                            <a:gd name="connsiteX81" fmla="*/ 215067 w 235915"/>
                            <a:gd name="connsiteY81" fmla="*/ 122895 h 167335"/>
                            <a:gd name="connsiteX82" fmla="*/ 216164 w 235915"/>
                            <a:gd name="connsiteY82" fmla="*/ 127285 h 167335"/>
                            <a:gd name="connsiteX83" fmla="*/ 217261 w 235915"/>
                            <a:gd name="connsiteY83" fmla="*/ 128382 h 167335"/>
                            <a:gd name="connsiteX84" fmla="*/ 219456 w 235915"/>
                            <a:gd name="connsiteY84" fmla="*/ 128382 h 167335"/>
                            <a:gd name="connsiteX85" fmla="*/ 221651 w 235915"/>
                            <a:gd name="connsiteY85" fmla="*/ 126736 h 167335"/>
                            <a:gd name="connsiteX86" fmla="*/ 224394 w 235915"/>
                            <a:gd name="connsiteY86" fmla="*/ 127285 h 167335"/>
                            <a:gd name="connsiteX87" fmla="*/ 224942 w 235915"/>
                            <a:gd name="connsiteY87" fmla="*/ 129479 h 167335"/>
                            <a:gd name="connsiteX88" fmla="*/ 227686 w 235915"/>
                            <a:gd name="connsiteY88" fmla="*/ 131674 h 167335"/>
                            <a:gd name="connsiteX89" fmla="*/ 227686 w 235915"/>
                            <a:gd name="connsiteY89" fmla="*/ 134965 h 167335"/>
                            <a:gd name="connsiteX90" fmla="*/ 229880 w 235915"/>
                            <a:gd name="connsiteY90" fmla="*/ 135514 h 167335"/>
                            <a:gd name="connsiteX91" fmla="*/ 231526 w 235915"/>
                            <a:gd name="connsiteY91" fmla="*/ 139354 h 167335"/>
                            <a:gd name="connsiteX92" fmla="*/ 234269 w 235915"/>
                            <a:gd name="connsiteY92" fmla="*/ 142646 h 167335"/>
                            <a:gd name="connsiteX93" fmla="*/ 234818 w 235915"/>
                            <a:gd name="connsiteY93" fmla="*/ 144841 h 167335"/>
                            <a:gd name="connsiteX94" fmla="*/ 233721 w 235915"/>
                            <a:gd name="connsiteY94" fmla="*/ 145390 h 167335"/>
                            <a:gd name="connsiteX95" fmla="*/ 233721 w 235915"/>
                            <a:gd name="connsiteY95" fmla="*/ 146487 h 167335"/>
                            <a:gd name="connsiteX96" fmla="*/ 234818 w 235915"/>
                            <a:gd name="connsiteY96" fmla="*/ 148681 h 167335"/>
                            <a:gd name="connsiteX97" fmla="*/ 234818 w 235915"/>
                            <a:gd name="connsiteY97" fmla="*/ 151425 h 167335"/>
                            <a:gd name="connsiteX98" fmla="*/ 232623 w 235915"/>
                            <a:gd name="connsiteY98" fmla="*/ 153619 h 167335"/>
                            <a:gd name="connsiteX99" fmla="*/ 233172 w 235915"/>
                            <a:gd name="connsiteY99" fmla="*/ 159106 h 167335"/>
                            <a:gd name="connsiteX100" fmla="*/ 235915 w 235915"/>
                            <a:gd name="connsiteY100" fmla="*/ 161300 h 167335"/>
                            <a:gd name="connsiteX101" fmla="*/ 235915 w 235915"/>
                            <a:gd name="connsiteY101" fmla="*/ 162397 h 167335"/>
                            <a:gd name="connsiteX102" fmla="*/ 234269 w 235915"/>
                            <a:gd name="connsiteY102" fmla="*/ 164043 h 167335"/>
                            <a:gd name="connsiteX103" fmla="*/ 227686 w 235915"/>
                            <a:gd name="connsiteY103" fmla="*/ 163495 h 167335"/>
                            <a:gd name="connsiteX104" fmla="*/ 223296 w 235915"/>
                            <a:gd name="connsiteY104" fmla="*/ 165141 h 167335"/>
                            <a:gd name="connsiteX105" fmla="*/ 213421 w 235915"/>
                            <a:gd name="connsiteY105" fmla="*/ 164592 h 167335"/>
                            <a:gd name="connsiteX106" fmla="*/ 211775 w 235915"/>
                            <a:gd name="connsiteY106" fmla="*/ 165141 h 167335"/>
                            <a:gd name="connsiteX107" fmla="*/ 206289 w 235915"/>
                            <a:gd name="connsiteY107" fmla="*/ 165141 h 167335"/>
                            <a:gd name="connsiteX108" fmla="*/ 201351 w 235915"/>
                            <a:gd name="connsiteY108" fmla="*/ 166786 h 167335"/>
                            <a:gd name="connsiteX109" fmla="*/ 196962 w 235915"/>
                            <a:gd name="connsiteY109" fmla="*/ 167335 h 167335"/>
                            <a:gd name="connsiteX110" fmla="*/ 193670 w 235915"/>
                            <a:gd name="connsiteY110" fmla="*/ 165141 h 167335"/>
                            <a:gd name="connsiteX111" fmla="*/ 191475 w 235915"/>
                            <a:gd name="connsiteY111" fmla="*/ 165689 h 167335"/>
                            <a:gd name="connsiteX112" fmla="*/ 185989 w 235915"/>
                            <a:gd name="connsiteY112" fmla="*/ 164043 h 167335"/>
                            <a:gd name="connsiteX113" fmla="*/ 181600 w 235915"/>
                            <a:gd name="connsiteY113" fmla="*/ 164043 h 167335"/>
                            <a:gd name="connsiteX114" fmla="*/ 176662 w 235915"/>
                            <a:gd name="connsiteY114" fmla="*/ 159654 h 167335"/>
                            <a:gd name="connsiteX115" fmla="*/ 175565 w 235915"/>
                            <a:gd name="connsiteY115" fmla="*/ 160751 h 167335"/>
                            <a:gd name="connsiteX116" fmla="*/ 175016 w 235915"/>
                            <a:gd name="connsiteY116" fmla="*/ 162397 h 167335"/>
                            <a:gd name="connsiteX117" fmla="*/ 170078 w 235915"/>
                            <a:gd name="connsiteY117" fmla="*/ 162397 h 167335"/>
                            <a:gd name="connsiteX118" fmla="*/ 170078 w 235915"/>
                            <a:gd name="connsiteY118" fmla="*/ 158008 h 167335"/>
                            <a:gd name="connsiteX119" fmla="*/ 168432 w 235915"/>
                            <a:gd name="connsiteY119" fmla="*/ 156362 h 167335"/>
                            <a:gd name="connsiteX120" fmla="*/ 162946 w 235915"/>
                            <a:gd name="connsiteY120" fmla="*/ 155265 h 167335"/>
                            <a:gd name="connsiteX121" fmla="*/ 158008 w 235915"/>
                            <a:gd name="connsiteY121" fmla="*/ 156362 h 167335"/>
                            <a:gd name="connsiteX122" fmla="*/ 155265 w 235915"/>
                            <a:gd name="connsiteY122" fmla="*/ 153619 h 167335"/>
                            <a:gd name="connsiteX123" fmla="*/ 92720 w 235915"/>
                            <a:gd name="connsiteY123" fmla="*/ 154168 h 167335"/>
                            <a:gd name="connsiteX124" fmla="*/ 70226 w 235915"/>
                            <a:gd name="connsiteY124" fmla="*/ 162946 h 167335"/>
                            <a:gd name="connsiteX125" fmla="*/ 50475 w 235915"/>
                            <a:gd name="connsiteY125" fmla="*/ 162397 h 167335"/>
                            <a:gd name="connsiteX126" fmla="*/ 39502 w 235915"/>
                            <a:gd name="connsiteY126" fmla="*/ 167335 h 167335"/>
                            <a:gd name="connsiteX127" fmla="*/ 35113 w 235915"/>
                            <a:gd name="connsiteY127" fmla="*/ 167335 h 167335"/>
                            <a:gd name="connsiteX128" fmla="*/ 32370 w 235915"/>
                            <a:gd name="connsiteY128" fmla="*/ 166238 h 167335"/>
                            <a:gd name="connsiteX129" fmla="*/ 31272 w 235915"/>
                            <a:gd name="connsiteY129" fmla="*/ 164592 h 167335"/>
                            <a:gd name="connsiteX130" fmla="*/ 29627 w 235915"/>
                            <a:gd name="connsiteY130" fmla="*/ 165141 h 167335"/>
                            <a:gd name="connsiteX131" fmla="*/ 30724 w 235915"/>
                            <a:gd name="connsiteY131" fmla="*/ 164592 h 167335"/>
                            <a:gd name="connsiteX132" fmla="*/ 29078 w 235915"/>
                            <a:gd name="connsiteY132" fmla="*/ 164592 h 167335"/>
                            <a:gd name="connsiteX133" fmla="*/ 30175 w 235915"/>
                            <a:gd name="connsiteY133" fmla="*/ 141001 h 167335"/>
                            <a:gd name="connsiteX134" fmla="*/ 32918 w 235915"/>
                            <a:gd name="connsiteY134" fmla="*/ 136063 h 167335"/>
                            <a:gd name="connsiteX135" fmla="*/ 65288 w 235915"/>
                            <a:gd name="connsiteY135" fmla="*/ 133868 h 167335"/>
                            <a:gd name="connsiteX136" fmla="*/ 66385 w 235915"/>
                            <a:gd name="connsiteY136" fmla="*/ 133319 h 167335"/>
                            <a:gd name="connsiteX137" fmla="*/ 68031 w 235915"/>
                            <a:gd name="connsiteY137" fmla="*/ 128382 h 167335"/>
                            <a:gd name="connsiteX138" fmla="*/ 70775 w 235915"/>
                            <a:gd name="connsiteY138" fmla="*/ 127833 h 167335"/>
                            <a:gd name="connsiteX139" fmla="*/ 74066 w 235915"/>
                            <a:gd name="connsiteY139" fmla="*/ 128382 h 167335"/>
                            <a:gd name="connsiteX140" fmla="*/ 81747 w 235915"/>
                            <a:gd name="connsiteY140" fmla="*/ 128382 h 167335"/>
                            <a:gd name="connsiteX141" fmla="*/ 87782 w 235915"/>
                            <a:gd name="connsiteY141" fmla="*/ 125638 h 167335"/>
                            <a:gd name="connsiteX142" fmla="*/ 90526 w 235915"/>
                            <a:gd name="connsiteY142" fmla="*/ 121798 h 167335"/>
                            <a:gd name="connsiteX143" fmla="*/ 92172 w 235915"/>
                            <a:gd name="connsiteY143" fmla="*/ 120701 h 167335"/>
                            <a:gd name="connsiteX144" fmla="*/ 96561 w 235915"/>
                            <a:gd name="connsiteY144" fmla="*/ 121798 h 167335"/>
                            <a:gd name="connsiteX145" fmla="*/ 98755 w 235915"/>
                            <a:gd name="connsiteY145" fmla="*/ 123993 h 167335"/>
                            <a:gd name="connsiteX146" fmla="*/ 104242 w 235915"/>
                            <a:gd name="connsiteY146" fmla="*/ 125638 h 167335"/>
                            <a:gd name="connsiteX147" fmla="*/ 109728 w 235915"/>
                            <a:gd name="connsiteY147" fmla="*/ 129479 h 167335"/>
                            <a:gd name="connsiteX148" fmla="*/ 114666 w 235915"/>
                            <a:gd name="connsiteY148" fmla="*/ 130028 h 167335"/>
                            <a:gd name="connsiteX149" fmla="*/ 120152 w 235915"/>
                            <a:gd name="connsiteY149" fmla="*/ 132771 h 167335"/>
                            <a:gd name="connsiteX150" fmla="*/ 125090 w 235915"/>
                            <a:gd name="connsiteY150" fmla="*/ 132222 h 167335"/>
                            <a:gd name="connsiteX151" fmla="*/ 127284 w 235915"/>
                            <a:gd name="connsiteY151" fmla="*/ 133868 h 167335"/>
                            <a:gd name="connsiteX152" fmla="*/ 131674 w 235915"/>
                            <a:gd name="connsiteY152" fmla="*/ 131125 h 167335"/>
                            <a:gd name="connsiteX153" fmla="*/ 139903 w 235915"/>
                            <a:gd name="connsiteY153" fmla="*/ 129479 h 167335"/>
                            <a:gd name="connsiteX154" fmla="*/ 142646 w 235915"/>
                            <a:gd name="connsiteY154" fmla="*/ 126736 h 167335"/>
                            <a:gd name="connsiteX155" fmla="*/ 142646 w 235915"/>
                            <a:gd name="connsiteY155" fmla="*/ 123993 h 167335"/>
                            <a:gd name="connsiteX156" fmla="*/ 142098 w 235915"/>
                            <a:gd name="connsiteY156" fmla="*/ 120701 h 167335"/>
                            <a:gd name="connsiteX157" fmla="*/ 141549 w 235915"/>
                            <a:gd name="connsiteY157" fmla="*/ 120701 h 167335"/>
                            <a:gd name="connsiteX158" fmla="*/ 139903 w 235915"/>
                            <a:gd name="connsiteY158" fmla="*/ 121249 h 167335"/>
                            <a:gd name="connsiteX159" fmla="*/ 137160 w 235915"/>
                            <a:gd name="connsiteY159" fmla="*/ 120152 h 167335"/>
                            <a:gd name="connsiteX160" fmla="*/ 134417 w 235915"/>
                            <a:gd name="connsiteY160" fmla="*/ 120152 h 167335"/>
                            <a:gd name="connsiteX161" fmla="*/ 123993 w 235915"/>
                            <a:gd name="connsiteY161" fmla="*/ 123993 h 167335"/>
                            <a:gd name="connsiteX162" fmla="*/ 120152 w 235915"/>
                            <a:gd name="connsiteY162" fmla="*/ 123444 h 167335"/>
                            <a:gd name="connsiteX163" fmla="*/ 116312 w 235915"/>
                            <a:gd name="connsiteY163" fmla="*/ 121249 h 167335"/>
                            <a:gd name="connsiteX164" fmla="*/ 114117 w 235915"/>
                            <a:gd name="connsiteY164" fmla="*/ 117958 h 167335"/>
                            <a:gd name="connsiteX165" fmla="*/ 112471 w 235915"/>
                            <a:gd name="connsiteY165" fmla="*/ 116860 h 167335"/>
                            <a:gd name="connsiteX166" fmla="*/ 104242 w 235915"/>
                            <a:gd name="connsiteY166" fmla="*/ 116860 h 167335"/>
                            <a:gd name="connsiteX167" fmla="*/ 99852 w 235915"/>
                            <a:gd name="connsiteY167" fmla="*/ 111922 h 167335"/>
                            <a:gd name="connsiteX168" fmla="*/ 96561 w 235915"/>
                            <a:gd name="connsiteY168" fmla="*/ 111374 h 167335"/>
                            <a:gd name="connsiteX169" fmla="*/ 94366 w 235915"/>
                            <a:gd name="connsiteY169" fmla="*/ 109728 h 167335"/>
                            <a:gd name="connsiteX170" fmla="*/ 87234 w 235915"/>
                            <a:gd name="connsiteY170" fmla="*/ 111922 h 167335"/>
                            <a:gd name="connsiteX171" fmla="*/ 82845 w 235915"/>
                            <a:gd name="connsiteY171" fmla="*/ 111922 h 167335"/>
                            <a:gd name="connsiteX172" fmla="*/ 79004 w 235915"/>
                            <a:gd name="connsiteY172" fmla="*/ 115214 h 167335"/>
                            <a:gd name="connsiteX173" fmla="*/ 76261 w 235915"/>
                            <a:gd name="connsiteY173" fmla="*/ 119055 h 167335"/>
                            <a:gd name="connsiteX174" fmla="*/ 38405 w 235915"/>
                            <a:gd name="connsiteY174" fmla="*/ 119055 h 167335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  <a:cxn ang="0">
                              <a:pos x="connsiteX11" y="connsiteY11"/>
                            </a:cxn>
                            <a:cxn ang="0">
                              <a:pos x="connsiteX12" y="connsiteY12"/>
                            </a:cxn>
                            <a:cxn ang="0">
                              <a:pos x="connsiteX13" y="connsiteY13"/>
                            </a:cxn>
                            <a:cxn ang="0">
                              <a:pos x="connsiteX14" y="connsiteY14"/>
                            </a:cxn>
                            <a:cxn ang="0">
                              <a:pos x="connsiteX15" y="connsiteY15"/>
                            </a:cxn>
                            <a:cxn ang="0">
                              <a:pos x="connsiteX16" y="connsiteY16"/>
                            </a:cxn>
                            <a:cxn ang="0">
                              <a:pos x="connsiteX17" y="connsiteY17"/>
                            </a:cxn>
                            <a:cxn ang="0">
                              <a:pos x="connsiteX18" y="connsiteY18"/>
                            </a:cxn>
                            <a:cxn ang="0">
                              <a:pos x="connsiteX19" y="connsiteY19"/>
                            </a:cxn>
                            <a:cxn ang="0">
                              <a:pos x="connsiteX20" y="connsiteY20"/>
                            </a:cxn>
                            <a:cxn ang="0">
                              <a:pos x="connsiteX21" y="connsiteY21"/>
                            </a:cxn>
                            <a:cxn ang="0">
                              <a:pos x="connsiteX22" y="connsiteY22"/>
                            </a:cxn>
                            <a:cxn ang="0">
                              <a:pos x="connsiteX23" y="connsiteY23"/>
                            </a:cxn>
                            <a:cxn ang="0">
                              <a:pos x="connsiteX24" y="connsiteY24"/>
                            </a:cxn>
                            <a:cxn ang="0">
                              <a:pos x="connsiteX25" y="connsiteY25"/>
                            </a:cxn>
                            <a:cxn ang="0">
                              <a:pos x="connsiteX26" y="connsiteY26"/>
                            </a:cxn>
                            <a:cxn ang="0">
                              <a:pos x="connsiteX27" y="connsiteY27"/>
                            </a:cxn>
                            <a:cxn ang="0">
                              <a:pos x="connsiteX28" y="connsiteY28"/>
                            </a:cxn>
                            <a:cxn ang="0">
                              <a:pos x="connsiteX29" y="connsiteY29"/>
                            </a:cxn>
                            <a:cxn ang="0">
                              <a:pos x="connsiteX30" y="connsiteY30"/>
                            </a:cxn>
                            <a:cxn ang="0">
                              <a:pos x="connsiteX31" y="connsiteY31"/>
                            </a:cxn>
                            <a:cxn ang="0">
                              <a:pos x="connsiteX32" y="connsiteY32"/>
                            </a:cxn>
                            <a:cxn ang="0">
                              <a:pos x="connsiteX33" y="connsiteY33"/>
                            </a:cxn>
                            <a:cxn ang="0">
                              <a:pos x="connsiteX34" y="connsiteY34"/>
                            </a:cxn>
                            <a:cxn ang="0">
                              <a:pos x="connsiteX35" y="connsiteY35"/>
                            </a:cxn>
                            <a:cxn ang="0">
                              <a:pos x="connsiteX36" y="connsiteY36"/>
                            </a:cxn>
                            <a:cxn ang="0">
                              <a:pos x="connsiteX37" y="connsiteY37"/>
                            </a:cxn>
                            <a:cxn ang="0">
                              <a:pos x="connsiteX38" y="connsiteY38"/>
                            </a:cxn>
                            <a:cxn ang="0">
                              <a:pos x="connsiteX39" y="connsiteY39"/>
                            </a:cxn>
                            <a:cxn ang="0">
                              <a:pos x="connsiteX40" y="connsiteY40"/>
                            </a:cxn>
                            <a:cxn ang="0">
                              <a:pos x="connsiteX41" y="connsiteY41"/>
                            </a:cxn>
                            <a:cxn ang="0">
                              <a:pos x="connsiteX42" y="connsiteY42"/>
                            </a:cxn>
                            <a:cxn ang="0">
                              <a:pos x="connsiteX43" y="connsiteY43"/>
                            </a:cxn>
                            <a:cxn ang="0">
                              <a:pos x="connsiteX44" y="connsiteY44"/>
                            </a:cxn>
                            <a:cxn ang="0">
                              <a:pos x="connsiteX45" y="connsiteY45"/>
                            </a:cxn>
                            <a:cxn ang="0">
                              <a:pos x="connsiteX46" y="connsiteY46"/>
                            </a:cxn>
                            <a:cxn ang="0">
                              <a:pos x="connsiteX47" y="connsiteY47"/>
                            </a:cxn>
                            <a:cxn ang="0">
                              <a:pos x="connsiteX48" y="connsiteY48"/>
                            </a:cxn>
                            <a:cxn ang="0">
                              <a:pos x="connsiteX49" y="connsiteY49"/>
                            </a:cxn>
                            <a:cxn ang="0">
                              <a:pos x="connsiteX50" y="connsiteY50"/>
                            </a:cxn>
                            <a:cxn ang="0">
                              <a:pos x="connsiteX51" y="connsiteY51"/>
                            </a:cxn>
                            <a:cxn ang="0">
                              <a:pos x="connsiteX52" y="connsiteY52"/>
                            </a:cxn>
                            <a:cxn ang="0">
                              <a:pos x="connsiteX53" y="connsiteY53"/>
                            </a:cxn>
                            <a:cxn ang="0">
                              <a:pos x="connsiteX54" y="connsiteY54"/>
                            </a:cxn>
                            <a:cxn ang="0">
                              <a:pos x="connsiteX55" y="connsiteY55"/>
                            </a:cxn>
                            <a:cxn ang="0">
                              <a:pos x="connsiteX56" y="connsiteY56"/>
                            </a:cxn>
                            <a:cxn ang="0">
                              <a:pos x="connsiteX57" y="connsiteY57"/>
                            </a:cxn>
                            <a:cxn ang="0">
                              <a:pos x="connsiteX58" y="connsiteY58"/>
                            </a:cxn>
                            <a:cxn ang="0">
                              <a:pos x="connsiteX59" y="connsiteY59"/>
                            </a:cxn>
                            <a:cxn ang="0">
                              <a:pos x="connsiteX60" y="connsiteY60"/>
                            </a:cxn>
                            <a:cxn ang="0">
                              <a:pos x="connsiteX61" y="connsiteY61"/>
                            </a:cxn>
                            <a:cxn ang="0">
                              <a:pos x="connsiteX62" y="connsiteY62"/>
                            </a:cxn>
                            <a:cxn ang="0">
                              <a:pos x="connsiteX63" y="connsiteY63"/>
                            </a:cxn>
                            <a:cxn ang="0">
                              <a:pos x="connsiteX64" y="connsiteY64"/>
                            </a:cxn>
                            <a:cxn ang="0">
                              <a:pos x="connsiteX65" y="connsiteY65"/>
                            </a:cxn>
                            <a:cxn ang="0">
                              <a:pos x="connsiteX66" y="connsiteY66"/>
                            </a:cxn>
                            <a:cxn ang="0">
                              <a:pos x="connsiteX67" y="connsiteY67"/>
                            </a:cxn>
                            <a:cxn ang="0">
                              <a:pos x="connsiteX68" y="connsiteY68"/>
                            </a:cxn>
                            <a:cxn ang="0">
                              <a:pos x="connsiteX69" y="connsiteY69"/>
                            </a:cxn>
                            <a:cxn ang="0">
                              <a:pos x="connsiteX70" y="connsiteY70"/>
                            </a:cxn>
                            <a:cxn ang="0">
                              <a:pos x="connsiteX71" y="connsiteY71"/>
                            </a:cxn>
                            <a:cxn ang="0">
                              <a:pos x="connsiteX72" y="connsiteY72"/>
                            </a:cxn>
                            <a:cxn ang="0">
                              <a:pos x="connsiteX73" y="connsiteY73"/>
                            </a:cxn>
                            <a:cxn ang="0">
                              <a:pos x="connsiteX74" y="connsiteY74"/>
                            </a:cxn>
                            <a:cxn ang="0">
                              <a:pos x="connsiteX75" y="connsiteY75"/>
                            </a:cxn>
                            <a:cxn ang="0">
                              <a:pos x="connsiteX76" y="connsiteY76"/>
                            </a:cxn>
                            <a:cxn ang="0">
                              <a:pos x="connsiteX77" y="connsiteY77"/>
                            </a:cxn>
                            <a:cxn ang="0">
                              <a:pos x="connsiteX78" y="connsiteY78"/>
                            </a:cxn>
                            <a:cxn ang="0">
                              <a:pos x="connsiteX79" y="connsiteY79"/>
                            </a:cxn>
                            <a:cxn ang="0">
                              <a:pos x="connsiteX80" y="connsiteY80"/>
                            </a:cxn>
                            <a:cxn ang="0">
                              <a:pos x="connsiteX81" y="connsiteY81"/>
                            </a:cxn>
                            <a:cxn ang="0">
                              <a:pos x="connsiteX82" y="connsiteY82"/>
                            </a:cxn>
                            <a:cxn ang="0">
                              <a:pos x="connsiteX83" y="connsiteY83"/>
                            </a:cxn>
                            <a:cxn ang="0">
                              <a:pos x="connsiteX84" y="connsiteY84"/>
                            </a:cxn>
                            <a:cxn ang="0">
                              <a:pos x="connsiteX85" y="connsiteY85"/>
                            </a:cxn>
                            <a:cxn ang="0">
                              <a:pos x="connsiteX86" y="connsiteY86"/>
                            </a:cxn>
                            <a:cxn ang="0">
                              <a:pos x="connsiteX87" y="connsiteY87"/>
                            </a:cxn>
                            <a:cxn ang="0">
                              <a:pos x="connsiteX88" y="connsiteY88"/>
                            </a:cxn>
                            <a:cxn ang="0">
                              <a:pos x="connsiteX89" y="connsiteY89"/>
                            </a:cxn>
                            <a:cxn ang="0">
                              <a:pos x="connsiteX90" y="connsiteY90"/>
                            </a:cxn>
                            <a:cxn ang="0">
                              <a:pos x="connsiteX91" y="connsiteY91"/>
                            </a:cxn>
                            <a:cxn ang="0">
                              <a:pos x="connsiteX92" y="connsiteY92"/>
                            </a:cxn>
                            <a:cxn ang="0">
                              <a:pos x="connsiteX93" y="connsiteY93"/>
                            </a:cxn>
                            <a:cxn ang="0">
                              <a:pos x="connsiteX94" y="connsiteY94"/>
                            </a:cxn>
                            <a:cxn ang="0">
                              <a:pos x="connsiteX95" y="connsiteY95"/>
                            </a:cxn>
                            <a:cxn ang="0">
                              <a:pos x="connsiteX96" y="connsiteY96"/>
                            </a:cxn>
                            <a:cxn ang="0">
                              <a:pos x="connsiteX97" y="connsiteY97"/>
                            </a:cxn>
                            <a:cxn ang="0">
                              <a:pos x="connsiteX98" y="connsiteY98"/>
                            </a:cxn>
                            <a:cxn ang="0">
                              <a:pos x="connsiteX99" y="connsiteY99"/>
                            </a:cxn>
                            <a:cxn ang="0">
                              <a:pos x="connsiteX100" y="connsiteY100"/>
                            </a:cxn>
                            <a:cxn ang="0">
                              <a:pos x="connsiteX101" y="connsiteY101"/>
                            </a:cxn>
                            <a:cxn ang="0">
                              <a:pos x="connsiteX102" y="connsiteY102"/>
                            </a:cxn>
                            <a:cxn ang="0">
                              <a:pos x="connsiteX103" y="connsiteY103"/>
                            </a:cxn>
                            <a:cxn ang="0">
                              <a:pos x="connsiteX104" y="connsiteY104"/>
                            </a:cxn>
                            <a:cxn ang="0">
                              <a:pos x="connsiteX105" y="connsiteY105"/>
                            </a:cxn>
                            <a:cxn ang="0">
                              <a:pos x="connsiteX106" y="connsiteY106"/>
                            </a:cxn>
                            <a:cxn ang="0">
                              <a:pos x="connsiteX107" y="connsiteY107"/>
                            </a:cxn>
                            <a:cxn ang="0">
                              <a:pos x="connsiteX108" y="connsiteY108"/>
                            </a:cxn>
                            <a:cxn ang="0">
                              <a:pos x="connsiteX109" y="connsiteY109"/>
                            </a:cxn>
                            <a:cxn ang="0">
                              <a:pos x="connsiteX110" y="connsiteY110"/>
                            </a:cxn>
                            <a:cxn ang="0">
                              <a:pos x="connsiteX111" y="connsiteY111"/>
                            </a:cxn>
                            <a:cxn ang="0">
                              <a:pos x="connsiteX112" y="connsiteY112"/>
                            </a:cxn>
                            <a:cxn ang="0">
                              <a:pos x="connsiteX113" y="connsiteY113"/>
                            </a:cxn>
                            <a:cxn ang="0">
                              <a:pos x="connsiteX114" y="connsiteY114"/>
                            </a:cxn>
                            <a:cxn ang="0">
                              <a:pos x="connsiteX115" y="connsiteY115"/>
                            </a:cxn>
                            <a:cxn ang="0">
                              <a:pos x="connsiteX116" y="connsiteY116"/>
                            </a:cxn>
                            <a:cxn ang="0">
                              <a:pos x="connsiteX117" y="connsiteY117"/>
                            </a:cxn>
                            <a:cxn ang="0">
                              <a:pos x="connsiteX118" y="connsiteY118"/>
                            </a:cxn>
                            <a:cxn ang="0">
                              <a:pos x="connsiteX119" y="connsiteY119"/>
                            </a:cxn>
                            <a:cxn ang="0">
                              <a:pos x="connsiteX120" y="connsiteY120"/>
                            </a:cxn>
                            <a:cxn ang="0">
                              <a:pos x="connsiteX121" y="connsiteY121"/>
                            </a:cxn>
                            <a:cxn ang="0">
                              <a:pos x="connsiteX122" y="connsiteY122"/>
                            </a:cxn>
                            <a:cxn ang="0">
                              <a:pos x="connsiteX123" y="connsiteY123"/>
                            </a:cxn>
                            <a:cxn ang="0">
                              <a:pos x="connsiteX124" y="connsiteY124"/>
                            </a:cxn>
                            <a:cxn ang="0">
                              <a:pos x="connsiteX125" y="connsiteY125"/>
                            </a:cxn>
                            <a:cxn ang="0">
                              <a:pos x="connsiteX126" y="connsiteY126"/>
                            </a:cxn>
                            <a:cxn ang="0">
                              <a:pos x="connsiteX127" y="connsiteY127"/>
                            </a:cxn>
                            <a:cxn ang="0">
                              <a:pos x="connsiteX128" y="connsiteY128"/>
                            </a:cxn>
                            <a:cxn ang="0">
                              <a:pos x="connsiteX129" y="connsiteY129"/>
                            </a:cxn>
                            <a:cxn ang="0">
                              <a:pos x="connsiteX130" y="connsiteY130"/>
                            </a:cxn>
                            <a:cxn ang="0">
                              <a:pos x="connsiteX131" y="connsiteY131"/>
                            </a:cxn>
                            <a:cxn ang="0">
                              <a:pos x="connsiteX132" y="connsiteY132"/>
                            </a:cxn>
                            <a:cxn ang="0">
                              <a:pos x="connsiteX133" y="connsiteY133"/>
                            </a:cxn>
                            <a:cxn ang="0">
                              <a:pos x="connsiteX134" y="connsiteY134"/>
                            </a:cxn>
                            <a:cxn ang="0">
                              <a:pos x="connsiteX135" y="connsiteY135"/>
                            </a:cxn>
                            <a:cxn ang="0">
                              <a:pos x="connsiteX136" y="connsiteY136"/>
                            </a:cxn>
                            <a:cxn ang="0">
                              <a:pos x="connsiteX137" y="connsiteY137"/>
                            </a:cxn>
                            <a:cxn ang="0">
                              <a:pos x="connsiteX138" y="connsiteY138"/>
                            </a:cxn>
                            <a:cxn ang="0">
                              <a:pos x="connsiteX139" y="connsiteY139"/>
                            </a:cxn>
                            <a:cxn ang="0">
                              <a:pos x="connsiteX140" y="connsiteY140"/>
                            </a:cxn>
                            <a:cxn ang="0">
                              <a:pos x="connsiteX141" y="connsiteY141"/>
                            </a:cxn>
                            <a:cxn ang="0">
                              <a:pos x="connsiteX142" y="connsiteY142"/>
                            </a:cxn>
                            <a:cxn ang="0">
                              <a:pos x="connsiteX143" y="connsiteY143"/>
                            </a:cxn>
                            <a:cxn ang="0">
                              <a:pos x="connsiteX144" y="connsiteY144"/>
                            </a:cxn>
                            <a:cxn ang="0">
                              <a:pos x="connsiteX145" y="connsiteY145"/>
                            </a:cxn>
                            <a:cxn ang="0">
                              <a:pos x="connsiteX146" y="connsiteY146"/>
                            </a:cxn>
                            <a:cxn ang="0">
                              <a:pos x="connsiteX147" y="connsiteY147"/>
                            </a:cxn>
                            <a:cxn ang="0">
                              <a:pos x="connsiteX148" y="connsiteY148"/>
                            </a:cxn>
                            <a:cxn ang="0">
                              <a:pos x="connsiteX149" y="connsiteY149"/>
                            </a:cxn>
                            <a:cxn ang="0">
                              <a:pos x="connsiteX150" y="connsiteY150"/>
                            </a:cxn>
                            <a:cxn ang="0">
                              <a:pos x="connsiteX151" y="connsiteY151"/>
                            </a:cxn>
                            <a:cxn ang="0">
                              <a:pos x="connsiteX152" y="connsiteY152"/>
                            </a:cxn>
                            <a:cxn ang="0">
                              <a:pos x="connsiteX153" y="connsiteY153"/>
                            </a:cxn>
                            <a:cxn ang="0">
                              <a:pos x="connsiteX154" y="connsiteY154"/>
                            </a:cxn>
                            <a:cxn ang="0">
                              <a:pos x="connsiteX155" y="connsiteY155"/>
                            </a:cxn>
                            <a:cxn ang="0">
                              <a:pos x="connsiteX156" y="connsiteY156"/>
                            </a:cxn>
                            <a:cxn ang="0">
                              <a:pos x="connsiteX157" y="connsiteY157"/>
                            </a:cxn>
                            <a:cxn ang="0">
                              <a:pos x="connsiteX158" y="connsiteY158"/>
                            </a:cxn>
                            <a:cxn ang="0">
                              <a:pos x="connsiteX159" y="connsiteY159"/>
                            </a:cxn>
                            <a:cxn ang="0">
                              <a:pos x="connsiteX160" y="connsiteY160"/>
                            </a:cxn>
                            <a:cxn ang="0">
                              <a:pos x="connsiteX161" y="connsiteY161"/>
                            </a:cxn>
                            <a:cxn ang="0">
                              <a:pos x="connsiteX162" y="connsiteY162"/>
                            </a:cxn>
                            <a:cxn ang="0">
                              <a:pos x="connsiteX163" y="connsiteY163"/>
                            </a:cxn>
                            <a:cxn ang="0">
                              <a:pos x="connsiteX164" y="connsiteY164"/>
                            </a:cxn>
                            <a:cxn ang="0">
                              <a:pos x="connsiteX165" y="connsiteY165"/>
                            </a:cxn>
                            <a:cxn ang="0">
                              <a:pos x="connsiteX166" y="connsiteY166"/>
                            </a:cxn>
                            <a:cxn ang="0">
                              <a:pos x="connsiteX167" y="connsiteY167"/>
                            </a:cxn>
                            <a:cxn ang="0">
                              <a:pos x="connsiteX168" y="connsiteY168"/>
                            </a:cxn>
                            <a:cxn ang="0">
                              <a:pos x="connsiteX169" y="connsiteY169"/>
                            </a:cxn>
                            <a:cxn ang="0">
                              <a:pos x="connsiteX170" y="connsiteY170"/>
                            </a:cxn>
                            <a:cxn ang="0">
                              <a:pos x="connsiteX171" y="connsiteY171"/>
                            </a:cxn>
                            <a:cxn ang="0">
                              <a:pos x="connsiteX172" y="connsiteY172"/>
                            </a:cxn>
                            <a:cxn ang="0">
                              <a:pos x="connsiteX173" y="connsiteY173"/>
                            </a:cxn>
                            <a:cxn ang="0">
                              <a:pos x="connsiteX174" y="connsiteY174"/>
                            </a:cxn>
                          </a:cxnLst>
                          <a:rect l="l" t="t" r="r" b="b"/>
                          <a:pathLst>
                            <a:path w="235915" h="167335">
                              <a:moveTo>
                                <a:pt x="38405" y="119055"/>
                              </a:moveTo>
                              <a:lnTo>
                                <a:pt x="36759" y="119603"/>
                              </a:lnTo>
                              <a:lnTo>
                                <a:pt x="35113" y="115214"/>
                              </a:lnTo>
                              <a:lnTo>
                                <a:pt x="30175" y="109179"/>
                              </a:lnTo>
                              <a:lnTo>
                                <a:pt x="28529" y="100401"/>
                              </a:lnTo>
                              <a:lnTo>
                                <a:pt x="10424" y="76261"/>
                              </a:lnTo>
                              <a:lnTo>
                                <a:pt x="7132" y="76261"/>
                              </a:lnTo>
                              <a:lnTo>
                                <a:pt x="4938" y="76810"/>
                              </a:lnTo>
                              <a:lnTo>
                                <a:pt x="3292" y="79553"/>
                              </a:lnTo>
                              <a:lnTo>
                                <a:pt x="549" y="76261"/>
                              </a:lnTo>
                              <a:lnTo>
                                <a:pt x="0" y="74615"/>
                              </a:lnTo>
                              <a:lnTo>
                                <a:pt x="1097" y="73518"/>
                              </a:lnTo>
                              <a:lnTo>
                                <a:pt x="4389" y="73518"/>
                              </a:lnTo>
                              <a:lnTo>
                                <a:pt x="12070" y="70774"/>
                              </a:lnTo>
                              <a:lnTo>
                                <a:pt x="25237" y="58705"/>
                              </a:lnTo>
                              <a:lnTo>
                                <a:pt x="37856" y="38405"/>
                              </a:lnTo>
                              <a:lnTo>
                                <a:pt x="38953" y="22494"/>
                              </a:lnTo>
                              <a:lnTo>
                                <a:pt x="40051" y="21946"/>
                              </a:lnTo>
                              <a:lnTo>
                                <a:pt x="44988" y="14813"/>
                              </a:lnTo>
                              <a:lnTo>
                                <a:pt x="47732" y="6035"/>
                              </a:lnTo>
                              <a:lnTo>
                                <a:pt x="50475" y="6035"/>
                              </a:lnTo>
                              <a:lnTo>
                                <a:pt x="52121" y="4938"/>
                              </a:lnTo>
                              <a:lnTo>
                                <a:pt x="63094" y="5486"/>
                              </a:lnTo>
                              <a:lnTo>
                                <a:pt x="70226" y="7681"/>
                              </a:lnTo>
                              <a:lnTo>
                                <a:pt x="75164" y="6584"/>
                              </a:lnTo>
                              <a:lnTo>
                                <a:pt x="76261" y="4938"/>
                              </a:lnTo>
                              <a:lnTo>
                                <a:pt x="84491" y="3292"/>
                              </a:lnTo>
                              <a:lnTo>
                                <a:pt x="90526" y="3841"/>
                              </a:lnTo>
                              <a:lnTo>
                                <a:pt x="91623" y="3292"/>
                              </a:lnTo>
                              <a:lnTo>
                                <a:pt x="91623" y="1097"/>
                              </a:lnTo>
                              <a:lnTo>
                                <a:pt x="92172" y="549"/>
                              </a:lnTo>
                              <a:lnTo>
                                <a:pt x="97109" y="1097"/>
                              </a:lnTo>
                              <a:lnTo>
                                <a:pt x="99852" y="0"/>
                              </a:lnTo>
                              <a:lnTo>
                                <a:pt x="115214" y="1646"/>
                              </a:lnTo>
                              <a:lnTo>
                                <a:pt x="116312" y="2194"/>
                              </a:lnTo>
                              <a:lnTo>
                                <a:pt x="119604" y="1097"/>
                              </a:lnTo>
                              <a:lnTo>
                                <a:pt x="121249" y="4938"/>
                              </a:lnTo>
                              <a:lnTo>
                                <a:pt x="125639" y="5486"/>
                              </a:lnTo>
                              <a:lnTo>
                                <a:pt x="132771" y="12070"/>
                              </a:lnTo>
                              <a:lnTo>
                                <a:pt x="134417" y="15910"/>
                              </a:lnTo>
                              <a:lnTo>
                                <a:pt x="139355" y="20848"/>
                              </a:lnTo>
                              <a:lnTo>
                                <a:pt x="145938" y="18654"/>
                              </a:lnTo>
                              <a:lnTo>
                                <a:pt x="145938" y="21946"/>
                              </a:lnTo>
                              <a:lnTo>
                                <a:pt x="148133" y="22494"/>
                              </a:lnTo>
                              <a:lnTo>
                                <a:pt x="151973" y="20300"/>
                              </a:lnTo>
                              <a:lnTo>
                                <a:pt x="153619" y="20300"/>
                              </a:lnTo>
                              <a:lnTo>
                                <a:pt x="163495" y="36759"/>
                              </a:lnTo>
                              <a:lnTo>
                                <a:pt x="162946" y="38953"/>
                              </a:lnTo>
                              <a:lnTo>
                                <a:pt x="166238" y="40599"/>
                              </a:lnTo>
                              <a:lnTo>
                                <a:pt x="168432" y="43342"/>
                              </a:lnTo>
                              <a:lnTo>
                                <a:pt x="168981" y="45537"/>
                              </a:lnTo>
                              <a:lnTo>
                                <a:pt x="170078" y="46086"/>
                              </a:lnTo>
                              <a:lnTo>
                                <a:pt x="172822" y="44989"/>
                              </a:lnTo>
                              <a:lnTo>
                                <a:pt x="173370" y="45537"/>
                              </a:lnTo>
                              <a:lnTo>
                                <a:pt x="175016" y="50475"/>
                              </a:lnTo>
                              <a:lnTo>
                                <a:pt x="177211" y="51023"/>
                              </a:lnTo>
                              <a:lnTo>
                                <a:pt x="178857" y="53767"/>
                              </a:lnTo>
                              <a:lnTo>
                                <a:pt x="176113" y="54315"/>
                              </a:lnTo>
                              <a:lnTo>
                                <a:pt x="176113" y="54864"/>
                              </a:lnTo>
                              <a:lnTo>
                                <a:pt x="179405" y="56510"/>
                              </a:lnTo>
                              <a:lnTo>
                                <a:pt x="181051" y="58705"/>
                              </a:lnTo>
                              <a:lnTo>
                                <a:pt x="183794" y="60350"/>
                              </a:lnTo>
                              <a:lnTo>
                                <a:pt x="186538" y="60350"/>
                              </a:lnTo>
                              <a:lnTo>
                                <a:pt x="190378" y="61996"/>
                              </a:lnTo>
                              <a:lnTo>
                                <a:pt x="192573" y="64191"/>
                              </a:lnTo>
                              <a:lnTo>
                                <a:pt x="193121" y="68031"/>
                              </a:lnTo>
                              <a:lnTo>
                                <a:pt x="194219" y="69129"/>
                              </a:lnTo>
                              <a:lnTo>
                                <a:pt x="198608" y="70774"/>
                              </a:lnTo>
                              <a:lnTo>
                                <a:pt x="205191" y="76261"/>
                              </a:lnTo>
                              <a:lnTo>
                                <a:pt x="205191" y="79004"/>
                              </a:lnTo>
                              <a:lnTo>
                                <a:pt x="203545" y="83393"/>
                              </a:lnTo>
                              <a:lnTo>
                                <a:pt x="204094" y="88331"/>
                              </a:lnTo>
                              <a:lnTo>
                                <a:pt x="205191" y="88331"/>
                              </a:lnTo>
                              <a:lnTo>
                                <a:pt x="206289" y="90526"/>
                              </a:lnTo>
                              <a:lnTo>
                                <a:pt x="207386" y="91074"/>
                              </a:lnTo>
                              <a:lnTo>
                                <a:pt x="209580" y="93269"/>
                              </a:lnTo>
                              <a:lnTo>
                                <a:pt x="210678" y="102047"/>
                              </a:lnTo>
                              <a:lnTo>
                                <a:pt x="212324" y="106436"/>
                              </a:lnTo>
                              <a:lnTo>
                                <a:pt x="212872" y="109179"/>
                              </a:lnTo>
                              <a:lnTo>
                                <a:pt x="209580" y="114117"/>
                              </a:lnTo>
                              <a:lnTo>
                                <a:pt x="209032" y="116312"/>
                              </a:lnTo>
                              <a:lnTo>
                                <a:pt x="215067" y="122895"/>
                              </a:lnTo>
                              <a:lnTo>
                                <a:pt x="216164" y="127285"/>
                              </a:lnTo>
                              <a:lnTo>
                                <a:pt x="217261" y="128382"/>
                              </a:lnTo>
                              <a:lnTo>
                                <a:pt x="219456" y="128382"/>
                              </a:lnTo>
                              <a:lnTo>
                                <a:pt x="221651" y="126736"/>
                              </a:lnTo>
                              <a:lnTo>
                                <a:pt x="224394" y="127285"/>
                              </a:lnTo>
                              <a:lnTo>
                                <a:pt x="224942" y="129479"/>
                              </a:lnTo>
                              <a:lnTo>
                                <a:pt x="227686" y="131674"/>
                              </a:lnTo>
                              <a:lnTo>
                                <a:pt x="227686" y="134965"/>
                              </a:lnTo>
                              <a:lnTo>
                                <a:pt x="229880" y="135514"/>
                              </a:lnTo>
                              <a:lnTo>
                                <a:pt x="231526" y="139354"/>
                              </a:lnTo>
                              <a:lnTo>
                                <a:pt x="234269" y="142646"/>
                              </a:lnTo>
                              <a:lnTo>
                                <a:pt x="234818" y="144841"/>
                              </a:lnTo>
                              <a:lnTo>
                                <a:pt x="233721" y="145390"/>
                              </a:lnTo>
                              <a:lnTo>
                                <a:pt x="233721" y="146487"/>
                              </a:lnTo>
                              <a:lnTo>
                                <a:pt x="234818" y="148681"/>
                              </a:lnTo>
                              <a:lnTo>
                                <a:pt x="234818" y="151425"/>
                              </a:lnTo>
                              <a:lnTo>
                                <a:pt x="232623" y="153619"/>
                              </a:lnTo>
                              <a:lnTo>
                                <a:pt x="233172" y="159106"/>
                              </a:lnTo>
                              <a:lnTo>
                                <a:pt x="235915" y="161300"/>
                              </a:lnTo>
                              <a:lnTo>
                                <a:pt x="235915" y="162397"/>
                              </a:lnTo>
                              <a:lnTo>
                                <a:pt x="234269" y="164043"/>
                              </a:lnTo>
                              <a:lnTo>
                                <a:pt x="227686" y="163495"/>
                              </a:lnTo>
                              <a:lnTo>
                                <a:pt x="223296" y="165141"/>
                              </a:lnTo>
                              <a:lnTo>
                                <a:pt x="213421" y="164592"/>
                              </a:lnTo>
                              <a:lnTo>
                                <a:pt x="211775" y="165141"/>
                              </a:lnTo>
                              <a:lnTo>
                                <a:pt x="206289" y="165141"/>
                              </a:lnTo>
                              <a:lnTo>
                                <a:pt x="201351" y="166786"/>
                              </a:lnTo>
                              <a:lnTo>
                                <a:pt x="196962" y="167335"/>
                              </a:lnTo>
                              <a:lnTo>
                                <a:pt x="193670" y="165141"/>
                              </a:lnTo>
                              <a:lnTo>
                                <a:pt x="191475" y="165689"/>
                              </a:lnTo>
                              <a:lnTo>
                                <a:pt x="185989" y="164043"/>
                              </a:lnTo>
                              <a:lnTo>
                                <a:pt x="181600" y="164043"/>
                              </a:lnTo>
                              <a:lnTo>
                                <a:pt x="176662" y="159654"/>
                              </a:lnTo>
                              <a:lnTo>
                                <a:pt x="175565" y="160751"/>
                              </a:lnTo>
                              <a:lnTo>
                                <a:pt x="175016" y="162397"/>
                              </a:lnTo>
                              <a:lnTo>
                                <a:pt x="170078" y="162397"/>
                              </a:lnTo>
                              <a:lnTo>
                                <a:pt x="170078" y="158008"/>
                              </a:lnTo>
                              <a:lnTo>
                                <a:pt x="168432" y="156362"/>
                              </a:lnTo>
                              <a:lnTo>
                                <a:pt x="162946" y="155265"/>
                              </a:lnTo>
                              <a:lnTo>
                                <a:pt x="158008" y="156362"/>
                              </a:lnTo>
                              <a:lnTo>
                                <a:pt x="155265" y="153619"/>
                              </a:lnTo>
                              <a:lnTo>
                                <a:pt x="92720" y="154168"/>
                              </a:lnTo>
                              <a:lnTo>
                                <a:pt x="70226" y="162946"/>
                              </a:lnTo>
                              <a:lnTo>
                                <a:pt x="50475" y="162397"/>
                              </a:lnTo>
                              <a:lnTo>
                                <a:pt x="39502" y="167335"/>
                              </a:lnTo>
                              <a:lnTo>
                                <a:pt x="35113" y="167335"/>
                              </a:lnTo>
                              <a:lnTo>
                                <a:pt x="32370" y="166238"/>
                              </a:lnTo>
                              <a:lnTo>
                                <a:pt x="31272" y="164592"/>
                              </a:lnTo>
                              <a:lnTo>
                                <a:pt x="29627" y="165141"/>
                              </a:lnTo>
                              <a:lnTo>
                                <a:pt x="30724" y="164592"/>
                              </a:lnTo>
                              <a:lnTo>
                                <a:pt x="29078" y="164592"/>
                              </a:lnTo>
                              <a:lnTo>
                                <a:pt x="30175" y="141001"/>
                              </a:lnTo>
                              <a:lnTo>
                                <a:pt x="32918" y="136063"/>
                              </a:lnTo>
                              <a:lnTo>
                                <a:pt x="65288" y="133868"/>
                              </a:lnTo>
                              <a:lnTo>
                                <a:pt x="66385" y="133319"/>
                              </a:lnTo>
                              <a:lnTo>
                                <a:pt x="68031" y="128382"/>
                              </a:lnTo>
                              <a:lnTo>
                                <a:pt x="70775" y="127833"/>
                              </a:lnTo>
                              <a:lnTo>
                                <a:pt x="74066" y="128382"/>
                              </a:lnTo>
                              <a:lnTo>
                                <a:pt x="81747" y="128382"/>
                              </a:lnTo>
                              <a:lnTo>
                                <a:pt x="87782" y="125638"/>
                              </a:lnTo>
                              <a:lnTo>
                                <a:pt x="90526" y="121798"/>
                              </a:lnTo>
                              <a:lnTo>
                                <a:pt x="92172" y="120701"/>
                              </a:lnTo>
                              <a:lnTo>
                                <a:pt x="96561" y="121798"/>
                              </a:lnTo>
                              <a:lnTo>
                                <a:pt x="98755" y="123993"/>
                              </a:lnTo>
                              <a:lnTo>
                                <a:pt x="104242" y="125638"/>
                              </a:lnTo>
                              <a:lnTo>
                                <a:pt x="109728" y="129479"/>
                              </a:lnTo>
                              <a:lnTo>
                                <a:pt x="114666" y="130028"/>
                              </a:lnTo>
                              <a:lnTo>
                                <a:pt x="120152" y="132771"/>
                              </a:lnTo>
                              <a:lnTo>
                                <a:pt x="125090" y="132222"/>
                              </a:lnTo>
                              <a:lnTo>
                                <a:pt x="127284" y="133868"/>
                              </a:lnTo>
                              <a:lnTo>
                                <a:pt x="131674" y="131125"/>
                              </a:lnTo>
                              <a:lnTo>
                                <a:pt x="139903" y="129479"/>
                              </a:lnTo>
                              <a:lnTo>
                                <a:pt x="142646" y="126736"/>
                              </a:lnTo>
                              <a:lnTo>
                                <a:pt x="142646" y="123993"/>
                              </a:lnTo>
                              <a:lnTo>
                                <a:pt x="142098" y="120701"/>
                              </a:lnTo>
                              <a:lnTo>
                                <a:pt x="141549" y="120701"/>
                              </a:lnTo>
                              <a:lnTo>
                                <a:pt x="139903" y="121249"/>
                              </a:lnTo>
                              <a:lnTo>
                                <a:pt x="137160" y="120152"/>
                              </a:lnTo>
                              <a:lnTo>
                                <a:pt x="134417" y="120152"/>
                              </a:lnTo>
                              <a:lnTo>
                                <a:pt x="123993" y="123993"/>
                              </a:lnTo>
                              <a:lnTo>
                                <a:pt x="120152" y="123444"/>
                              </a:lnTo>
                              <a:lnTo>
                                <a:pt x="116312" y="121249"/>
                              </a:lnTo>
                              <a:lnTo>
                                <a:pt x="114117" y="117958"/>
                              </a:lnTo>
                              <a:lnTo>
                                <a:pt x="112471" y="116860"/>
                              </a:lnTo>
                              <a:lnTo>
                                <a:pt x="104242" y="116860"/>
                              </a:lnTo>
                              <a:lnTo>
                                <a:pt x="99852" y="111922"/>
                              </a:lnTo>
                              <a:lnTo>
                                <a:pt x="96561" y="111374"/>
                              </a:lnTo>
                              <a:lnTo>
                                <a:pt x="94366" y="109728"/>
                              </a:lnTo>
                              <a:lnTo>
                                <a:pt x="87234" y="111922"/>
                              </a:lnTo>
                              <a:lnTo>
                                <a:pt x="82845" y="111922"/>
                              </a:lnTo>
                              <a:lnTo>
                                <a:pt x="79004" y="115214"/>
                              </a:lnTo>
                              <a:lnTo>
                                <a:pt x="76261" y="119055"/>
                              </a:lnTo>
                              <a:lnTo>
                                <a:pt x="38405" y="119055"/>
                              </a:lnTo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210" name="Graphic 7">
                          <a:extLst>
                            <a:ext uri="{FF2B5EF4-FFF2-40B4-BE49-F238E27FC236}">
                              <a16:creationId xmlns:a16="http://schemas.microsoft.com/office/drawing/2014/main" id="{1D6DA9F8-79E7-EB55-614D-AFAA90C29D85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110077" y="4497935"/>
                          <a:ext cx="318481" cy="316338"/>
                        </a:xfrm>
                        <a:custGeom>
                          <a:avLst/>
                          <a:gdLst>
                            <a:gd name="connsiteX0" fmla="*/ 302301 w 407639"/>
                            <a:gd name="connsiteY0" fmla="*/ 76810 h 404896"/>
                            <a:gd name="connsiteX1" fmla="*/ 310530 w 407639"/>
                            <a:gd name="connsiteY1" fmla="*/ 105887 h 404896"/>
                            <a:gd name="connsiteX2" fmla="*/ 362651 w 407639"/>
                            <a:gd name="connsiteY2" fmla="*/ 137709 h 404896"/>
                            <a:gd name="connsiteX3" fmla="*/ 345095 w 407639"/>
                            <a:gd name="connsiteY3" fmla="*/ 192024 h 404896"/>
                            <a:gd name="connsiteX4" fmla="*/ 347289 w 407639"/>
                            <a:gd name="connsiteY4" fmla="*/ 203545 h 404896"/>
                            <a:gd name="connsiteX5" fmla="*/ 358262 w 407639"/>
                            <a:gd name="connsiteY5" fmla="*/ 211226 h 404896"/>
                            <a:gd name="connsiteX6" fmla="*/ 362102 w 407639"/>
                            <a:gd name="connsiteY6" fmla="*/ 216713 h 404896"/>
                            <a:gd name="connsiteX7" fmla="*/ 368137 w 407639"/>
                            <a:gd name="connsiteY7" fmla="*/ 222199 h 404896"/>
                            <a:gd name="connsiteX8" fmla="*/ 372527 w 407639"/>
                            <a:gd name="connsiteY8" fmla="*/ 230429 h 404896"/>
                            <a:gd name="connsiteX9" fmla="*/ 372527 w 407639"/>
                            <a:gd name="connsiteY9" fmla="*/ 233172 h 404896"/>
                            <a:gd name="connsiteX10" fmla="*/ 370332 w 407639"/>
                            <a:gd name="connsiteY10" fmla="*/ 234269 h 404896"/>
                            <a:gd name="connsiteX11" fmla="*/ 367040 w 407639"/>
                            <a:gd name="connsiteY11" fmla="*/ 239207 h 404896"/>
                            <a:gd name="connsiteX12" fmla="*/ 365394 w 407639"/>
                            <a:gd name="connsiteY12" fmla="*/ 252374 h 404896"/>
                            <a:gd name="connsiteX13" fmla="*/ 367040 w 407639"/>
                            <a:gd name="connsiteY13" fmla="*/ 256215 h 404896"/>
                            <a:gd name="connsiteX14" fmla="*/ 367040 w 407639"/>
                            <a:gd name="connsiteY14" fmla="*/ 260056 h 404896"/>
                            <a:gd name="connsiteX15" fmla="*/ 368137 w 407639"/>
                            <a:gd name="connsiteY15" fmla="*/ 263347 h 404896"/>
                            <a:gd name="connsiteX16" fmla="*/ 367040 w 407639"/>
                            <a:gd name="connsiteY16" fmla="*/ 270479 h 404896"/>
                            <a:gd name="connsiteX17" fmla="*/ 362651 w 407639"/>
                            <a:gd name="connsiteY17" fmla="*/ 271028 h 404896"/>
                            <a:gd name="connsiteX18" fmla="*/ 362102 w 407639"/>
                            <a:gd name="connsiteY18" fmla="*/ 275966 h 404896"/>
                            <a:gd name="connsiteX19" fmla="*/ 367040 w 407639"/>
                            <a:gd name="connsiteY19" fmla="*/ 291328 h 404896"/>
                            <a:gd name="connsiteX20" fmla="*/ 370332 w 407639"/>
                            <a:gd name="connsiteY20" fmla="*/ 294071 h 404896"/>
                            <a:gd name="connsiteX21" fmla="*/ 370332 w 407639"/>
                            <a:gd name="connsiteY21" fmla="*/ 295717 h 404896"/>
                            <a:gd name="connsiteX22" fmla="*/ 368137 w 407639"/>
                            <a:gd name="connsiteY22" fmla="*/ 297911 h 404896"/>
                            <a:gd name="connsiteX23" fmla="*/ 376916 w 407639"/>
                            <a:gd name="connsiteY23" fmla="*/ 311627 h 404896"/>
                            <a:gd name="connsiteX24" fmla="*/ 377464 w 407639"/>
                            <a:gd name="connsiteY24" fmla="*/ 314920 h 404896"/>
                            <a:gd name="connsiteX25" fmla="*/ 376916 w 407639"/>
                            <a:gd name="connsiteY25" fmla="*/ 319857 h 404896"/>
                            <a:gd name="connsiteX26" fmla="*/ 380207 w 407639"/>
                            <a:gd name="connsiteY26" fmla="*/ 323149 h 404896"/>
                            <a:gd name="connsiteX27" fmla="*/ 381853 w 407639"/>
                            <a:gd name="connsiteY27" fmla="*/ 327538 h 404896"/>
                            <a:gd name="connsiteX28" fmla="*/ 381853 w 407639"/>
                            <a:gd name="connsiteY28" fmla="*/ 331927 h 404896"/>
                            <a:gd name="connsiteX29" fmla="*/ 384048 w 407639"/>
                            <a:gd name="connsiteY29" fmla="*/ 334670 h 404896"/>
                            <a:gd name="connsiteX30" fmla="*/ 384048 w 407639"/>
                            <a:gd name="connsiteY30" fmla="*/ 339608 h 404896"/>
                            <a:gd name="connsiteX31" fmla="*/ 391729 w 407639"/>
                            <a:gd name="connsiteY31" fmla="*/ 343997 h 404896"/>
                            <a:gd name="connsiteX32" fmla="*/ 395569 w 407639"/>
                            <a:gd name="connsiteY32" fmla="*/ 350581 h 404896"/>
                            <a:gd name="connsiteX33" fmla="*/ 401604 w 407639"/>
                            <a:gd name="connsiteY33" fmla="*/ 352227 h 404896"/>
                            <a:gd name="connsiteX34" fmla="*/ 405445 w 407639"/>
                            <a:gd name="connsiteY34" fmla="*/ 354421 h 404896"/>
                            <a:gd name="connsiteX35" fmla="*/ 407091 w 407639"/>
                            <a:gd name="connsiteY35" fmla="*/ 354970 h 404896"/>
                            <a:gd name="connsiteX36" fmla="*/ 407639 w 407639"/>
                            <a:gd name="connsiteY36" fmla="*/ 359359 h 404896"/>
                            <a:gd name="connsiteX37" fmla="*/ 386243 w 407639"/>
                            <a:gd name="connsiteY37" fmla="*/ 375818 h 404896"/>
                            <a:gd name="connsiteX38" fmla="*/ 341254 w 407639"/>
                            <a:gd name="connsiteY38" fmla="*/ 391180 h 404896"/>
                            <a:gd name="connsiteX39" fmla="*/ 334670 w 407639"/>
                            <a:gd name="connsiteY39" fmla="*/ 390632 h 404896"/>
                            <a:gd name="connsiteX40" fmla="*/ 325892 w 407639"/>
                            <a:gd name="connsiteY40" fmla="*/ 386243 h 404896"/>
                            <a:gd name="connsiteX41" fmla="*/ 319308 w 407639"/>
                            <a:gd name="connsiteY41" fmla="*/ 388437 h 404896"/>
                            <a:gd name="connsiteX42" fmla="*/ 309982 w 407639"/>
                            <a:gd name="connsiteY42" fmla="*/ 388986 h 404896"/>
                            <a:gd name="connsiteX43" fmla="*/ 300655 w 407639"/>
                            <a:gd name="connsiteY43" fmla="*/ 398313 h 404896"/>
                            <a:gd name="connsiteX44" fmla="*/ 272125 w 407639"/>
                            <a:gd name="connsiteY44" fmla="*/ 398313 h 404896"/>
                            <a:gd name="connsiteX45" fmla="*/ 264993 w 407639"/>
                            <a:gd name="connsiteY45" fmla="*/ 403250 h 404896"/>
                            <a:gd name="connsiteX46" fmla="*/ 258958 w 407639"/>
                            <a:gd name="connsiteY46" fmla="*/ 403250 h 404896"/>
                            <a:gd name="connsiteX47" fmla="*/ 253472 w 407639"/>
                            <a:gd name="connsiteY47" fmla="*/ 404896 h 404896"/>
                            <a:gd name="connsiteX48" fmla="*/ 250180 w 407639"/>
                            <a:gd name="connsiteY48" fmla="*/ 404348 h 404896"/>
                            <a:gd name="connsiteX49" fmla="*/ 243047 w 407639"/>
                            <a:gd name="connsiteY49" fmla="*/ 397216 h 404896"/>
                            <a:gd name="connsiteX50" fmla="*/ 238110 w 407639"/>
                            <a:gd name="connsiteY50" fmla="*/ 395569 h 404896"/>
                            <a:gd name="connsiteX51" fmla="*/ 233172 w 407639"/>
                            <a:gd name="connsiteY51" fmla="*/ 395569 h 404896"/>
                            <a:gd name="connsiteX52" fmla="*/ 228783 w 407639"/>
                            <a:gd name="connsiteY52" fmla="*/ 399410 h 404896"/>
                            <a:gd name="connsiteX53" fmla="*/ 198608 w 407639"/>
                            <a:gd name="connsiteY53" fmla="*/ 398861 h 404896"/>
                            <a:gd name="connsiteX54" fmla="*/ 198059 w 407639"/>
                            <a:gd name="connsiteY54" fmla="*/ 396118 h 404896"/>
                            <a:gd name="connsiteX55" fmla="*/ 195316 w 407639"/>
                            <a:gd name="connsiteY55" fmla="*/ 390632 h 404896"/>
                            <a:gd name="connsiteX56" fmla="*/ 187635 w 407639"/>
                            <a:gd name="connsiteY56" fmla="*/ 383500 h 404896"/>
                            <a:gd name="connsiteX57" fmla="*/ 187635 w 407639"/>
                            <a:gd name="connsiteY57" fmla="*/ 381853 h 404896"/>
                            <a:gd name="connsiteX58" fmla="*/ 187635 w 407639"/>
                            <a:gd name="connsiteY58" fmla="*/ 368686 h 404896"/>
                            <a:gd name="connsiteX59" fmla="*/ 177759 w 407639"/>
                            <a:gd name="connsiteY59" fmla="*/ 333573 h 404896"/>
                            <a:gd name="connsiteX60" fmla="*/ 170078 w 407639"/>
                            <a:gd name="connsiteY60" fmla="*/ 325892 h 404896"/>
                            <a:gd name="connsiteX61" fmla="*/ 161849 w 407639"/>
                            <a:gd name="connsiteY61" fmla="*/ 323698 h 404896"/>
                            <a:gd name="connsiteX62" fmla="*/ 158557 w 407639"/>
                            <a:gd name="connsiteY62" fmla="*/ 328087 h 404896"/>
                            <a:gd name="connsiteX63" fmla="*/ 155814 w 407639"/>
                            <a:gd name="connsiteY63" fmla="*/ 324246 h 404896"/>
                            <a:gd name="connsiteX64" fmla="*/ 154168 w 407639"/>
                            <a:gd name="connsiteY64" fmla="*/ 323149 h 404896"/>
                            <a:gd name="connsiteX65" fmla="*/ 151425 w 407639"/>
                            <a:gd name="connsiteY65" fmla="*/ 323149 h 404896"/>
                            <a:gd name="connsiteX66" fmla="*/ 143195 w 407639"/>
                            <a:gd name="connsiteY66" fmla="*/ 325892 h 404896"/>
                            <a:gd name="connsiteX67" fmla="*/ 141549 w 407639"/>
                            <a:gd name="connsiteY67" fmla="*/ 324795 h 404896"/>
                            <a:gd name="connsiteX68" fmla="*/ 139355 w 407639"/>
                            <a:gd name="connsiteY68" fmla="*/ 320954 h 404896"/>
                            <a:gd name="connsiteX69" fmla="*/ 132222 w 407639"/>
                            <a:gd name="connsiteY69" fmla="*/ 321503 h 404896"/>
                            <a:gd name="connsiteX70" fmla="*/ 124541 w 407639"/>
                            <a:gd name="connsiteY70" fmla="*/ 317114 h 404896"/>
                            <a:gd name="connsiteX71" fmla="*/ 121798 w 407639"/>
                            <a:gd name="connsiteY71" fmla="*/ 313822 h 404896"/>
                            <a:gd name="connsiteX72" fmla="*/ 120152 w 407639"/>
                            <a:gd name="connsiteY72" fmla="*/ 312725 h 404896"/>
                            <a:gd name="connsiteX73" fmla="*/ 79553 w 407639"/>
                            <a:gd name="connsiteY73" fmla="*/ 299557 h 404896"/>
                            <a:gd name="connsiteX74" fmla="*/ 64191 w 407639"/>
                            <a:gd name="connsiteY74" fmla="*/ 286390 h 404896"/>
                            <a:gd name="connsiteX75" fmla="*/ 59802 w 407639"/>
                            <a:gd name="connsiteY75" fmla="*/ 284744 h 404896"/>
                            <a:gd name="connsiteX76" fmla="*/ 54864 w 407639"/>
                            <a:gd name="connsiteY76" fmla="*/ 285293 h 404896"/>
                            <a:gd name="connsiteX77" fmla="*/ 33467 w 407639"/>
                            <a:gd name="connsiteY77" fmla="*/ 240304 h 404896"/>
                            <a:gd name="connsiteX78" fmla="*/ 33467 w 407639"/>
                            <a:gd name="connsiteY78" fmla="*/ 224942 h 404896"/>
                            <a:gd name="connsiteX79" fmla="*/ 20848 w 407639"/>
                            <a:gd name="connsiteY79" fmla="*/ 211775 h 404896"/>
                            <a:gd name="connsiteX80" fmla="*/ 6035 w 407639"/>
                            <a:gd name="connsiteY80" fmla="*/ 203545 h 404896"/>
                            <a:gd name="connsiteX81" fmla="*/ 3840 w 407639"/>
                            <a:gd name="connsiteY81" fmla="*/ 194219 h 404896"/>
                            <a:gd name="connsiteX82" fmla="*/ 7681 w 407639"/>
                            <a:gd name="connsiteY82" fmla="*/ 190378 h 404896"/>
                            <a:gd name="connsiteX83" fmla="*/ 9875 w 407639"/>
                            <a:gd name="connsiteY83" fmla="*/ 185989 h 404896"/>
                            <a:gd name="connsiteX84" fmla="*/ 5486 w 407639"/>
                            <a:gd name="connsiteY84" fmla="*/ 168433 h 404896"/>
                            <a:gd name="connsiteX85" fmla="*/ 5486 w 407639"/>
                            <a:gd name="connsiteY85" fmla="*/ 158557 h 404896"/>
                            <a:gd name="connsiteX86" fmla="*/ 3292 w 407639"/>
                            <a:gd name="connsiteY86" fmla="*/ 154717 h 404896"/>
                            <a:gd name="connsiteX87" fmla="*/ 0 w 407639"/>
                            <a:gd name="connsiteY87" fmla="*/ 151973 h 404896"/>
                            <a:gd name="connsiteX88" fmla="*/ 0 w 407639"/>
                            <a:gd name="connsiteY88" fmla="*/ 128382 h 404896"/>
                            <a:gd name="connsiteX89" fmla="*/ 1646 w 407639"/>
                            <a:gd name="connsiteY89" fmla="*/ 126736 h 404896"/>
                            <a:gd name="connsiteX90" fmla="*/ 18654 w 407639"/>
                            <a:gd name="connsiteY90" fmla="*/ 122347 h 404896"/>
                            <a:gd name="connsiteX91" fmla="*/ 43343 w 407639"/>
                            <a:gd name="connsiteY91" fmla="*/ 82845 h 404896"/>
                            <a:gd name="connsiteX92" fmla="*/ 43343 w 407639"/>
                            <a:gd name="connsiteY92" fmla="*/ 77358 h 404896"/>
                            <a:gd name="connsiteX93" fmla="*/ 41697 w 407639"/>
                            <a:gd name="connsiteY93" fmla="*/ 72969 h 404896"/>
                            <a:gd name="connsiteX94" fmla="*/ 39502 w 407639"/>
                            <a:gd name="connsiteY94" fmla="*/ 71323 h 404896"/>
                            <a:gd name="connsiteX95" fmla="*/ 35113 w 407639"/>
                            <a:gd name="connsiteY95" fmla="*/ 70226 h 404896"/>
                            <a:gd name="connsiteX96" fmla="*/ 32918 w 407639"/>
                            <a:gd name="connsiteY96" fmla="*/ 67483 h 404896"/>
                            <a:gd name="connsiteX97" fmla="*/ 32370 w 407639"/>
                            <a:gd name="connsiteY97" fmla="*/ 61448 h 404896"/>
                            <a:gd name="connsiteX98" fmla="*/ 33467 w 407639"/>
                            <a:gd name="connsiteY98" fmla="*/ 56510 h 404896"/>
                            <a:gd name="connsiteX99" fmla="*/ 44440 w 407639"/>
                            <a:gd name="connsiteY99" fmla="*/ 42794 h 404896"/>
                            <a:gd name="connsiteX100" fmla="*/ 46634 w 407639"/>
                            <a:gd name="connsiteY100" fmla="*/ 36759 h 404896"/>
                            <a:gd name="connsiteX101" fmla="*/ 30175 w 407639"/>
                            <a:gd name="connsiteY101" fmla="*/ 2195 h 404896"/>
                            <a:gd name="connsiteX102" fmla="*/ 44988 w 407639"/>
                            <a:gd name="connsiteY102" fmla="*/ 3841 h 404896"/>
                            <a:gd name="connsiteX103" fmla="*/ 49378 w 407639"/>
                            <a:gd name="connsiteY103" fmla="*/ 1646 h 404896"/>
                            <a:gd name="connsiteX104" fmla="*/ 49378 w 407639"/>
                            <a:gd name="connsiteY104" fmla="*/ 549 h 404896"/>
                            <a:gd name="connsiteX105" fmla="*/ 81199 w 407639"/>
                            <a:gd name="connsiteY105" fmla="*/ 549 h 404896"/>
                            <a:gd name="connsiteX106" fmla="*/ 76810 w 407639"/>
                            <a:gd name="connsiteY106" fmla="*/ 41148 h 404896"/>
                            <a:gd name="connsiteX107" fmla="*/ 80101 w 407639"/>
                            <a:gd name="connsiteY107" fmla="*/ 56510 h 404896"/>
                            <a:gd name="connsiteX108" fmla="*/ 79553 w 407639"/>
                            <a:gd name="connsiteY108" fmla="*/ 61448 h 404896"/>
                            <a:gd name="connsiteX109" fmla="*/ 82845 w 407639"/>
                            <a:gd name="connsiteY109" fmla="*/ 67483 h 404896"/>
                            <a:gd name="connsiteX110" fmla="*/ 88331 w 407639"/>
                            <a:gd name="connsiteY110" fmla="*/ 64739 h 404896"/>
                            <a:gd name="connsiteX111" fmla="*/ 91074 w 407639"/>
                            <a:gd name="connsiteY111" fmla="*/ 59802 h 404896"/>
                            <a:gd name="connsiteX112" fmla="*/ 94915 w 407639"/>
                            <a:gd name="connsiteY112" fmla="*/ 59802 h 404896"/>
                            <a:gd name="connsiteX113" fmla="*/ 93817 w 407639"/>
                            <a:gd name="connsiteY113" fmla="*/ 53767 h 404896"/>
                            <a:gd name="connsiteX114" fmla="*/ 97658 w 407639"/>
                            <a:gd name="connsiteY114" fmla="*/ 49378 h 404896"/>
                            <a:gd name="connsiteX115" fmla="*/ 111923 w 407639"/>
                            <a:gd name="connsiteY115" fmla="*/ 61448 h 404896"/>
                            <a:gd name="connsiteX116" fmla="*/ 115763 w 407639"/>
                            <a:gd name="connsiteY116" fmla="*/ 59253 h 404896"/>
                            <a:gd name="connsiteX117" fmla="*/ 118506 w 407639"/>
                            <a:gd name="connsiteY117" fmla="*/ 59802 h 404896"/>
                            <a:gd name="connsiteX118" fmla="*/ 120152 w 407639"/>
                            <a:gd name="connsiteY118" fmla="*/ 72969 h 404896"/>
                            <a:gd name="connsiteX119" fmla="*/ 125090 w 407639"/>
                            <a:gd name="connsiteY119" fmla="*/ 69129 h 404896"/>
                            <a:gd name="connsiteX120" fmla="*/ 124541 w 407639"/>
                            <a:gd name="connsiteY120" fmla="*/ 64191 h 404896"/>
                            <a:gd name="connsiteX121" fmla="*/ 126736 w 407639"/>
                            <a:gd name="connsiteY121" fmla="*/ 57607 h 404896"/>
                            <a:gd name="connsiteX122" fmla="*/ 129479 w 407639"/>
                            <a:gd name="connsiteY122" fmla="*/ 57059 h 404896"/>
                            <a:gd name="connsiteX123" fmla="*/ 140452 w 407639"/>
                            <a:gd name="connsiteY123" fmla="*/ 56510 h 404896"/>
                            <a:gd name="connsiteX124" fmla="*/ 146487 w 407639"/>
                            <a:gd name="connsiteY124" fmla="*/ 54315 h 404896"/>
                            <a:gd name="connsiteX125" fmla="*/ 153619 w 407639"/>
                            <a:gd name="connsiteY125" fmla="*/ 48829 h 404896"/>
                            <a:gd name="connsiteX126" fmla="*/ 154168 w 407639"/>
                            <a:gd name="connsiteY126" fmla="*/ 47183 h 404896"/>
                            <a:gd name="connsiteX127" fmla="*/ 152522 w 407639"/>
                            <a:gd name="connsiteY127" fmla="*/ 44440 h 404896"/>
                            <a:gd name="connsiteX128" fmla="*/ 142646 w 407639"/>
                            <a:gd name="connsiteY128" fmla="*/ 44989 h 404896"/>
                            <a:gd name="connsiteX129" fmla="*/ 136611 w 407639"/>
                            <a:gd name="connsiteY129" fmla="*/ 42245 h 404896"/>
                            <a:gd name="connsiteX130" fmla="*/ 138257 w 407639"/>
                            <a:gd name="connsiteY130" fmla="*/ 40051 h 404896"/>
                            <a:gd name="connsiteX131" fmla="*/ 144841 w 407639"/>
                            <a:gd name="connsiteY131" fmla="*/ 35662 h 404896"/>
                            <a:gd name="connsiteX132" fmla="*/ 142646 w 407639"/>
                            <a:gd name="connsiteY132" fmla="*/ 33467 h 404896"/>
                            <a:gd name="connsiteX133" fmla="*/ 144841 w 407639"/>
                            <a:gd name="connsiteY133" fmla="*/ 31273 h 404896"/>
                            <a:gd name="connsiteX134" fmla="*/ 149230 w 407639"/>
                            <a:gd name="connsiteY134" fmla="*/ 31273 h 404896"/>
                            <a:gd name="connsiteX135" fmla="*/ 150327 w 407639"/>
                            <a:gd name="connsiteY135" fmla="*/ 28529 h 404896"/>
                            <a:gd name="connsiteX136" fmla="*/ 154168 w 407639"/>
                            <a:gd name="connsiteY136" fmla="*/ 23591 h 404896"/>
                            <a:gd name="connsiteX137" fmla="*/ 154168 w 407639"/>
                            <a:gd name="connsiteY137" fmla="*/ 20848 h 404896"/>
                            <a:gd name="connsiteX138" fmla="*/ 158008 w 407639"/>
                            <a:gd name="connsiteY138" fmla="*/ 19751 h 404896"/>
                            <a:gd name="connsiteX139" fmla="*/ 159106 w 407639"/>
                            <a:gd name="connsiteY139" fmla="*/ 13716 h 404896"/>
                            <a:gd name="connsiteX140" fmla="*/ 162946 w 407639"/>
                            <a:gd name="connsiteY140" fmla="*/ 14265 h 404896"/>
                            <a:gd name="connsiteX141" fmla="*/ 164043 w 407639"/>
                            <a:gd name="connsiteY141" fmla="*/ 12070 h 404896"/>
                            <a:gd name="connsiteX142" fmla="*/ 161849 w 407639"/>
                            <a:gd name="connsiteY142" fmla="*/ 7681 h 404896"/>
                            <a:gd name="connsiteX143" fmla="*/ 164043 w 407639"/>
                            <a:gd name="connsiteY143" fmla="*/ 3292 h 404896"/>
                            <a:gd name="connsiteX144" fmla="*/ 171176 w 407639"/>
                            <a:gd name="connsiteY144" fmla="*/ 0 h 404896"/>
                            <a:gd name="connsiteX145" fmla="*/ 302301 w 407639"/>
                            <a:gd name="connsiteY145" fmla="*/ 76810 h 404896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  <a:cxn ang="0">
                              <a:pos x="connsiteX11" y="connsiteY11"/>
                            </a:cxn>
                            <a:cxn ang="0">
                              <a:pos x="connsiteX12" y="connsiteY12"/>
                            </a:cxn>
                            <a:cxn ang="0">
                              <a:pos x="connsiteX13" y="connsiteY13"/>
                            </a:cxn>
                            <a:cxn ang="0">
                              <a:pos x="connsiteX14" y="connsiteY14"/>
                            </a:cxn>
                            <a:cxn ang="0">
                              <a:pos x="connsiteX15" y="connsiteY15"/>
                            </a:cxn>
                            <a:cxn ang="0">
                              <a:pos x="connsiteX16" y="connsiteY16"/>
                            </a:cxn>
                            <a:cxn ang="0">
                              <a:pos x="connsiteX17" y="connsiteY17"/>
                            </a:cxn>
                            <a:cxn ang="0">
                              <a:pos x="connsiteX18" y="connsiteY18"/>
                            </a:cxn>
                            <a:cxn ang="0">
                              <a:pos x="connsiteX19" y="connsiteY19"/>
                            </a:cxn>
                            <a:cxn ang="0">
                              <a:pos x="connsiteX20" y="connsiteY20"/>
                            </a:cxn>
                            <a:cxn ang="0">
                              <a:pos x="connsiteX21" y="connsiteY21"/>
                            </a:cxn>
                            <a:cxn ang="0">
                              <a:pos x="connsiteX22" y="connsiteY22"/>
                            </a:cxn>
                            <a:cxn ang="0">
                              <a:pos x="connsiteX23" y="connsiteY23"/>
                            </a:cxn>
                            <a:cxn ang="0">
                              <a:pos x="connsiteX24" y="connsiteY24"/>
                            </a:cxn>
                            <a:cxn ang="0">
                              <a:pos x="connsiteX25" y="connsiteY25"/>
                            </a:cxn>
                            <a:cxn ang="0">
                              <a:pos x="connsiteX26" y="connsiteY26"/>
                            </a:cxn>
                            <a:cxn ang="0">
                              <a:pos x="connsiteX27" y="connsiteY27"/>
                            </a:cxn>
                            <a:cxn ang="0">
                              <a:pos x="connsiteX28" y="connsiteY28"/>
                            </a:cxn>
                            <a:cxn ang="0">
                              <a:pos x="connsiteX29" y="connsiteY29"/>
                            </a:cxn>
                            <a:cxn ang="0">
                              <a:pos x="connsiteX30" y="connsiteY30"/>
                            </a:cxn>
                            <a:cxn ang="0">
                              <a:pos x="connsiteX31" y="connsiteY31"/>
                            </a:cxn>
                            <a:cxn ang="0">
                              <a:pos x="connsiteX32" y="connsiteY32"/>
                            </a:cxn>
                            <a:cxn ang="0">
                              <a:pos x="connsiteX33" y="connsiteY33"/>
                            </a:cxn>
                            <a:cxn ang="0">
                              <a:pos x="connsiteX34" y="connsiteY34"/>
                            </a:cxn>
                            <a:cxn ang="0">
                              <a:pos x="connsiteX35" y="connsiteY35"/>
                            </a:cxn>
                            <a:cxn ang="0">
                              <a:pos x="connsiteX36" y="connsiteY36"/>
                            </a:cxn>
                            <a:cxn ang="0">
                              <a:pos x="connsiteX37" y="connsiteY37"/>
                            </a:cxn>
                            <a:cxn ang="0">
                              <a:pos x="connsiteX38" y="connsiteY38"/>
                            </a:cxn>
                            <a:cxn ang="0">
                              <a:pos x="connsiteX39" y="connsiteY39"/>
                            </a:cxn>
                            <a:cxn ang="0">
                              <a:pos x="connsiteX40" y="connsiteY40"/>
                            </a:cxn>
                            <a:cxn ang="0">
                              <a:pos x="connsiteX41" y="connsiteY41"/>
                            </a:cxn>
                            <a:cxn ang="0">
                              <a:pos x="connsiteX42" y="connsiteY42"/>
                            </a:cxn>
                            <a:cxn ang="0">
                              <a:pos x="connsiteX43" y="connsiteY43"/>
                            </a:cxn>
                            <a:cxn ang="0">
                              <a:pos x="connsiteX44" y="connsiteY44"/>
                            </a:cxn>
                            <a:cxn ang="0">
                              <a:pos x="connsiteX45" y="connsiteY45"/>
                            </a:cxn>
                            <a:cxn ang="0">
                              <a:pos x="connsiteX46" y="connsiteY46"/>
                            </a:cxn>
                            <a:cxn ang="0">
                              <a:pos x="connsiteX47" y="connsiteY47"/>
                            </a:cxn>
                            <a:cxn ang="0">
                              <a:pos x="connsiteX48" y="connsiteY48"/>
                            </a:cxn>
                            <a:cxn ang="0">
                              <a:pos x="connsiteX49" y="connsiteY49"/>
                            </a:cxn>
                            <a:cxn ang="0">
                              <a:pos x="connsiteX50" y="connsiteY50"/>
                            </a:cxn>
                            <a:cxn ang="0">
                              <a:pos x="connsiteX51" y="connsiteY51"/>
                            </a:cxn>
                            <a:cxn ang="0">
                              <a:pos x="connsiteX52" y="connsiteY52"/>
                            </a:cxn>
                            <a:cxn ang="0">
                              <a:pos x="connsiteX53" y="connsiteY53"/>
                            </a:cxn>
                            <a:cxn ang="0">
                              <a:pos x="connsiteX54" y="connsiteY54"/>
                            </a:cxn>
                            <a:cxn ang="0">
                              <a:pos x="connsiteX55" y="connsiteY55"/>
                            </a:cxn>
                            <a:cxn ang="0">
                              <a:pos x="connsiteX56" y="connsiteY56"/>
                            </a:cxn>
                            <a:cxn ang="0">
                              <a:pos x="connsiteX57" y="connsiteY57"/>
                            </a:cxn>
                            <a:cxn ang="0">
                              <a:pos x="connsiteX58" y="connsiteY58"/>
                            </a:cxn>
                            <a:cxn ang="0">
                              <a:pos x="connsiteX59" y="connsiteY59"/>
                            </a:cxn>
                            <a:cxn ang="0">
                              <a:pos x="connsiteX60" y="connsiteY60"/>
                            </a:cxn>
                            <a:cxn ang="0">
                              <a:pos x="connsiteX61" y="connsiteY61"/>
                            </a:cxn>
                            <a:cxn ang="0">
                              <a:pos x="connsiteX62" y="connsiteY62"/>
                            </a:cxn>
                            <a:cxn ang="0">
                              <a:pos x="connsiteX63" y="connsiteY63"/>
                            </a:cxn>
                            <a:cxn ang="0">
                              <a:pos x="connsiteX64" y="connsiteY64"/>
                            </a:cxn>
                            <a:cxn ang="0">
                              <a:pos x="connsiteX65" y="connsiteY65"/>
                            </a:cxn>
                            <a:cxn ang="0">
                              <a:pos x="connsiteX66" y="connsiteY66"/>
                            </a:cxn>
                            <a:cxn ang="0">
                              <a:pos x="connsiteX67" y="connsiteY67"/>
                            </a:cxn>
                            <a:cxn ang="0">
                              <a:pos x="connsiteX68" y="connsiteY68"/>
                            </a:cxn>
                            <a:cxn ang="0">
                              <a:pos x="connsiteX69" y="connsiteY69"/>
                            </a:cxn>
                            <a:cxn ang="0">
                              <a:pos x="connsiteX70" y="connsiteY70"/>
                            </a:cxn>
                            <a:cxn ang="0">
                              <a:pos x="connsiteX71" y="connsiteY71"/>
                            </a:cxn>
                            <a:cxn ang="0">
                              <a:pos x="connsiteX72" y="connsiteY72"/>
                            </a:cxn>
                            <a:cxn ang="0">
                              <a:pos x="connsiteX73" y="connsiteY73"/>
                            </a:cxn>
                            <a:cxn ang="0">
                              <a:pos x="connsiteX74" y="connsiteY74"/>
                            </a:cxn>
                            <a:cxn ang="0">
                              <a:pos x="connsiteX75" y="connsiteY75"/>
                            </a:cxn>
                            <a:cxn ang="0">
                              <a:pos x="connsiteX76" y="connsiteY76"/>
                            </a:cxn>
                            <a:cxn ang="0">
                              <a:pos x="connsiteX77" y="connsiteY77"/>
                            </a:cxn>
                            <a:cxn ang="0">
                              <a:pos x="connsiteX78" y="connsiteY78"/>
                            </a:cxn>
                            <a:cxn ang="0">
                              <a:pos x="connsiteX79" y="connsiteY79"/>
                            </a:cxn>
                            <a:cxn ang="0">
                              <a:pos x="connsiteX80" y="connsiteY80"/>
                            </a:cxn>
                            <a:cxn ang="0">
                              <a:pos x="connsiteX81" y="connsiteY81"/>
                            </a:cxn>
                            <a:cxn ang="0">
                              <a:pos x="connsiteX82" y="connsiteY82"/>
                            </a:cxn>
                            <a:cxn ang="0">
                              <a:pos x="connsiteX83" y="connsiteY83"/>
                            </a:cxn>
                            <a:cxn ang="0">
                              <a:pos x="connsiteX84" y="connsiteY84"/>
                            </a:cxn>
                            <a:cxn ang="0">
                              <a:pos x="connsiteX85" y="connsiteY85"/>
                            </a:cxn>
                            <a:cxn ang="0">
                              <a:pos x="connsiteX86" y="connsiteY86"/>
                            </a:cxn>
                            <a:cxn ang="0">
                              <a:pos x="connsiteX87" y="connsiteY87"/>
                            </a:cxn>
                            <a:cxn ang="0">
                              <a:pos x="connsiteX88" y="connsiteY88"/>
                            </a:cxn>
                            <a:cxn ang="0">
                              <a:pos x="connsiteX89" y="connsiteY89"/>
                            </a:cxn>
                            <a:cxn ang="0">
                              <a:pos x="connsiteX90" y="connsiteY90"/>
                            </a:cxn>
                            <a:cxn ang="0">
                              <a:pos x="connsiteX91" y="connsiteY91"/>
                            </a:cxn>
                            <a:cxn ang="0">
                              <a:pos x="connsiteX92" y="connsiteY92"/>
                            </a:cxn>
                            <a:cxn ang="0">
                              <a:pos x="connsiteX93" y="connsiteY93"/>
                            </a:cxn>
                            <a:cxn ang="0">
                              <a:pos x="connsiteX94" y="connsiteY94"/>
                            </a:cxn>
                            <a:cxn ang="0">
                              <a:pos x="connsiteX95" y="connsiteY95"/>
                            </a:cxn>
                            <a:cxn ang="0">
                              <a:pos x="connsiteX96" y="connsiteY96"/>
                            </a:cxn>
                            <a:cxn ang="0">
                              <a:pos x="connsiteX97" y="connsiteY97"/>
                            </a:cxn>
                            <a:cxn ang="0">
                              <a:pos x="connsiteX98" y="connsiteY98"/>
                            </a:cxn>
                            <a:cxn ang="0">
                              <a:pos x="connsiteX99" y="connsiteY99"/>
                            </a:cxn>
                            <a:cxn ang="0">
                              <a:pos x="connsiteX100" y="connsiteY100"/>
                            </a:cxn>
                            <a:cxn ang="0">
                              <a:pos x="connsiteX101" y="connsiteY101"/>
                            </a:cxn>
                            <a:cxn ang="0">
                              <a:pos x="connsiteX102" y="connsiteY102"/>
                            </a:cxn>
                            <a:cxn ang="0">
                              <a:pos x="connsiteX103" y="connsiteY103"/>
                            </a:cxn>
                            <a:cxn ang="0">
                              <a:pos x="connsiteX104" y="connsiteY104"/>
                            </a:cxn>
                            <a:cxn ang="0">
                              <a:pos x="connsiteX105" y="connsiteY105"/>
                            </a:cxn>
                            <a:cxn ang="0">
                              <a:pos x="connsiteX106" y="connsiteY106"/>
                            </a:cxn>
                            <a:cxn ang="0">
                              <a:pos x="connsiteX107" y="connsiteY107"/>
                            </a:cxn>
                            <a:cxn ang="0">
                              <a:pos x="connsiteX108" y="connsiteY108"/>
                            </a:cxn>
                            <a:cxn ang="0">
                              <a:pos x="connsiteX109" y="connsiteY109"/>
                            </a:cxn>
                            <a:cxn ang="0">
                              <a:pos x="connsiteX110" y="connsiteY110"/>
                            </a:cxn>
                            <a:cxn ang="0">
                              <a:pos x="connsiteX111" y="connsiteY111"/>
                            </a:cxn>
                            <a:cxn ang="0">
                              <a:pos x="connsiteX112" y="connsiteY112"/>
                            </a:cxn>
                            <a:cxn ang="0">
                              <a:pos x="connsiteX113" y="connsiteY113"/>
                            </a:cxn>
                            <a:cxn ang="0">
                              <a:pos x="connsiteX114" y="connsiteY114"/>
                            </a:cxn>
                            <a:cxn ang="0">
                              <a:pos x="connsiteX115" y="connsiteY115"/>
                            </a:cxn>
                            <a:cxn ang="0">
                              <a:pos x="connsiteX116" y="connsiteY116"/>
                            </a:cxn>
                            <a:cxn ang="0">
                              <a:pos x="connsiteX117" y="connsiteY117"/>
                            </a:cxn>
                            <a:cxn ang="0">
                              <a:pos x="connsiteX118" y="connsiteY118"/>
                            </a:cxn>
                            <a:cxn ang="0">
                              <a:pos x="connsiteX119" y="connsiteY119"/>
                            </a:cxn>
                            <a:cxn ang="0">
                              <a:pos x="connsiteX120" y="connsiteY120"/>
                            </a:cxn>
                            <a:cxn ang="0">
                              <a:pos x="connsiteX121" y="connsiteY121"/>
                            </a:cxn>
                            <a:cxn ang="0">
                              <a:pos x="connsiteX122" y="connsiteY122"/>
                            </a:cxn>
                            <a:cxn ang="0">
                              <a:pos x="connsiteX123" y="connsiteY123"/>
                            </a:cxn>
                            <a:cxn ang="0">
                              <a:pos x="connsiteX124" y="connsiteY124"/>
                            </a:cxn>
                            <a:cxn ang="0">
                              <a:pos x="connsiteX125" y="connsiteY125"/>
                            </a:cxn>
                            <a:cxn ang="0">
                              <a:pos x="connsiteX126" y="connsiteY126"/>
                            </a:cxn>
                            <a:cxn ang="0">
                              <a:pos x="connsiteX127" y="connsiteY127"/>
                            </a:cxn>
                            <a:cxn ang="0">
                              <a:pos x="connsiteX128" y="connsiteY128"/>
                            </a:cxn>
                            <a:cxn ang="0">
                              <a:pos x="connsiteX129" y="connsiteY129"/>
                            </a:cxn>
                            <a:cxn ang="0">
                              <a:pos x="connsiteX130" y="connsiteY130"/>
                            </a:cxn>
                            <a:cxn ang="0">
                              <a:pos x="connsiteX131" y="connsiteY131"/>
                            </a:cxn>
                            <a:cxn ang="0">
                              <a:pos x="connsiteX132" y="connsiteY132"/>
                            </a:cxn>
                            <a:cxn ang="0">
                              <a:pos x="connsiteX133" y="connsiteY133"/>
                            </a:cxn>
                            <a:cxn ang="0">
                              <a:pos x="connsiteX134" y="connsiteY134"/>
                            </a:cxn>
                            <a:cxn ang="0">
                              <a:pos x="connsiteX135" y="connsiteY135"/>
                            </a:cxn>
                            <a:cxn ang="0">
                              <a:pos x="connsiteX136" y="connsiteY136"/>
                            </a:cxn>
                            <a:cxn ang="0">
                              <a:pos x="connsiteX137" y="connsiteY137"/>
                            </a:cxn>
                            <a:cxn ang="0">
                              <a:pos x="connsiteX138" y="connsiteY138"/>
                            </a:cxn>
                            <a:cxn ang="0">
                              <a:pos x="connsiteX139" y="connsiteY139"/>
                            </a:cxn>
                            <a:cxn ang="0">
                              <a:pos x="connsiteX140" y="connsiteY140"/>
                            </a:cxn>
                            <a:cxn ang="0">
                              <a:pos x="connsiteX141" y="connsiteY141"/>
                            </a:cxn>
                            <a:cxn ang="0">
                              <a:pos x="connsiteX142" y="connsiteY142"/>
                            </a:cxn>
                            <a:cxn ang="0">
                              <a:pos x="connsiteX143" y="connsiteY143"/>
                            </a:cxn>
                            <a:cxn ang="0">
                              <a:pos x="connsiteX144" y="connsiteY144"/>
                            </a:cxn>
                            <a:cxn ang="0">
                              <a:pos x="connsiteX145" y="connsiteY145"/>
                            </a:cxn>
                          </a:cxnLst>
                          <a:rect l="l" t="t" r="r" b="b"/>
                          <a:pathLst>
                            <a:path w="407639" h="404896">
                              <a:moveTo>
                                <a:pt x="302301" y="76810"/>
                              </a:moveTo>
                              <a:lnTo>
                                <a:pt x="310530" y="105887"/>
                              </a:lnTo>
                              <a:lnTo>
                                <a:pt x="362651" y="137709"/>
                              </a:lnTo>
                              <a:lnTo>
                                <a:pt x="345095" y="192024"/>
                              </a:lnTo>
                              <a:lnTo>
                                <a:pt x="347289" y="203545"/>
                              </a:lnTo>
                              <a:lnTo>
                                <a:pt x="358262" y="211226"/>
                              </a:lnTo>
                              <a:lnTo>
                                <a:pt x="362102" y="216713"/>
                              </a:lnTo>
                              <a:lnTo>
                                <a:pt x="368137" y="222199"/>
                              </a:lnTo>
                              <a:lnTo>
                                <a:pt x="372527" y="230429"/>
                              </a:lnTo>
                              <a:lnTo>
                                <a:pt x="372527" y="233172"/>
                              </a:lnTo>
                              <a:lnTo>
                                <a:pt x="370332" y="234269"/>
                              </a:lnTo>
                              <a:lnTo>
                                <a:pt x="367040" y="239207"/>
                              </a:lnTo>
                              <a:lnTo>
                                <a:pt x="365394" y="252374"/>
                              </a:lnTo>
                              <a:lnTo>
                                <a:pt x="367040" y="256215"/>
                              </a:lnTo>
                              <a:lnTo>
                                <a:pt x="367040" y="260056"/>
                              </a:lnTo>
                              <a:lnTo>
                                <a:pt x="368137" y="263347"/>
                              </a:lnTo>
                              <a:lnTo>
                                <a:pt x="367040" y="270479"/>
                              </a:lnTo>
                              <a:lnTo>
                                <a:pt x="362651" y="271028"/>
                              </a:lnTo>
                              <a:lnTo>
                                <a:pt x="362102" y="275966"/>
                              </a:lnTo>
                              <a:lnTo>
                                <a:pt x="367040" y="291328"/>
                              </a:lnTo>
                              <a:lnTo>
                                <a:pt x="370332" y="294071"/>
                              </a:lnTo>
                              <a:lnTo>
                                <a:pt x="370332" y="295717"/>
                              </a:lnTo>
                              <a:lnTo>
                                <a:pt x="368137" y="297911"/>
                              </a:lnTo>
                              <a:lnTo>
                                <a:pt x="376916" y="311627"/>
                              </a:lnTo>
                              <a:lnTo>
                                <a:pt x="377464" y="314920"/>
                              </a:lnTo>
                              <a:lnTo>
                                <a:pt x="376916" y="319857"/>
                              </a:lnTo>
                              <a:lnTo>
                                <a:pt x="380207" y="323149"/>
                              </a:lnTo>
                              <a:lnTo>
                                <a:pt x="381853" y="327538"/>
                              </a:lnTo>
                              <a:lnTo>
                                <a:pt x="381853" y="331927"/>
                              </a:lnTo>
                              <a:lnTo>
                                <a:pt x="384048" y="334670"/>
                              </a:lnTo>
                              <a:lnTo>
                                <a:pt x="384048" y="339608"/>
                              </a:lnTo>
                              <a:lnTo>
                                <a:pt x="391729" y="343997"/>
                              </a:lnTo>
                              <a:lnTo>
                                <a:pt x="395569" y="350581"/>
                              </a:lnTo>
                              <a:lnTo>
                                <a:pt x="401604" y="352227"/>
                              </a:lnTo>
                              <a:lnTo>
                                <a:pt x="405445" y="354421"/>
                              </a:lnTo>
                              <a:lnTo>
                                <a:pt x="407091" y="354970"/>
                              </a:lnTo>
                              <a:lnTo>
                                <a:pt x="407639" y="359359"/>
                              </a:lnTo>
                              <a:lnTo>
                                <a:pt x="386243" y="375818"/>
                              </a:lnTo>
                              <a:lnTo>
                                <a:pt x="341254" y="391180"/>
                              </a:lnTo>
                              <a:lnTo>
                                <a:pt x="334670" y="390632"/>
                              </a:lnTo>
                              <a:lnTo>
                                <a:pt x="325892" y="386243"/>
                              </a:lnTo>
                              <a:lnTo>
                                <a:pt x="319308" y="388437"/>
                              </a:lnTo>
                              <a:lnTo>
                                <a:pt x="309982" y="388986"/>
                              </a:lnTo>
                              <a:lnTo>
                                <a:pt x="300655" y="398313"/>
                              </a:lnTo>
                              <a:lnTo>
                                <a:pt x="272125" y="398313"/>
                              </a:lnTo>
                              <a:lnTo>
                                <a:pt x="264993" y="403250"/>
                              </a:lnTo>
                              <a:lnTo>
                                <a:pt x="258958" y="403250"/>
                              </a:lnTo>
                              <a:lnTo>
                                <a:pt x="253472" y="404896"/>
                              </a:lnTo>
                              <a:lnTo>
                                <a:pt x="250180" y="404348"/>
                              </a:lnTo>
                              <a:lnTo>
                                <a:pt x="243047" y="397216"/>
                              </a:lnTo>
                              <a:lnTo>
                                <a:pt x="238110" y="395569"/>
                              </a:lnTo>
                              <a:lnTo>
                                <a:pt x="233172" y="395569"/>
                              </a:lnTo>
                              <a:lnTo>
                                <a:pt x="228783" y="399410"/>
                              </a:lnTo>
                              <a:lnTo>
                                <a:pt x="198608" y="398861"/>
                              </a:lnTo>
                              <a:lnTo>
                                <a:pt x="198059" y="396118"/>
                              </a:lnTo>
                              <a:lnTo>
                                <a:pt x="195316" y="390632"/>
                              </a:lnTo>
                              <a:lnTo>
                                <a:pt x="187635" y="383500"/>
                              </a:lnTo>
                              <a:lnTo>
                                <a:pt x="187635" y="381853"/>
                              </a:lnTo>
                              <a:lnTo>
                                <a:pt x="187635" y="368686"/>
                              </a:lnTo>
                              <a:lnTo>
                                <a:pt x="177759" y="333573"/>
                              </a:lnTo>
                              <a:lnTo>
                                <a:pt x="170078" y="325892"/>
                              </a:lnTo>
                              <a:lnTo>
                                <a:pt x="161849" y="323698"/>
                              </a:lnTo>
                              <a:lnTo>
                                <a:pt x="158557" y="328087"/>
                              </a:lnTo>
                              <a:lnTo>
                                <a:pt x="155814" y="324246"/>
                              </a:lnTo>
                              <a:lnTo>
                                <a:pt x="154168" y="323149"/>
                              </a:lnTo>
                              <a:lnTo>
                                <a:pt x="151425" y="323149"/>
                              </a:lnTo>
                              <a:lnTo>
                                <a:pt x="143195" y="325892"/>
                              </a:lnTo>
                              <a:lnTo>
                                <a:pt x="141549" y="324795"/>
                              </a:lnTo>
                              <a:lnTo>
                                <a:pt x="139355" y="320954"/>
                              </a:lnTo>
                              <a:lnTo>
                                <a:pt x="132222" y="321503"/>
                              </a:lnTo>
                              <a:lnTo>
                                <a:pt x="124541" y="317114"/>
                              </a:lnTo>
                              <a:lnTo>
                                <a:pt x="121798" y="313822"/>
                              </a:lnTo>
                              <a:lnTo>
                                <a:pt x="120152" y="312725"/>
                              </a:lnTo>
                              <a:lnTo>
                                <a:pt x="79553" y="299557"/>
                              </a:lnTo>
                              <a:lnTo>
                                <a:pt x="64191" y="286390"/>
                              </a:lnTo>
                              <a:lnTo>
                                <a:pt x="59802" y="284744"/>
                              </a:lnTo>
                              <a:lnTo>
                                <a:pt x="54864" y="285293"/>
                              </a:lnTo>
                              <a:lnTo>
                                <a:pt x="33467" y="240304"/>
                              </a:lnTo>
                              <a:lnTo>
                                <a:pt x="33467" y="224942"/>
                              </a:lnTo>
                              <a:lnTo>
                                <a:pt x="20848" y="211775"/>
                              </a:lnTo>
                              <a:lnTo>
                                <a:pt x="6035" y="203545"/>
                              </a:lnTo>
                              <a:lnTo>
                                <a:pt x="3840" y="194219"/>
                              </a:lnTo>
                              <a:lnTo>
                                <a:pt x="7681" y="190378"/>
                              </a:lnTo>
                              <a:lnTo>
                                <a:pt x="9875" y="185989"/>
                              </a:lnTo>
                              <a:lnTo>
                                <a:pt x="5486" y="168433"/>
                              </a:lnTo>
                              <a:lnTo>
                                <a:pt x="5486" y="158557"/>
                              </a:lnTo>
                              <a:lnTo>
                                <a:pt x="3292" y="154717"/>
                              </a:lnTo>
                              <a:lnTo>
                                <a:pt x="0" y="151973"/>
                              </a:lnTo>
                              <a:lnTo>
                                <a:pt x="0" y="128382"/>
                              </a:lnTo>
                              <a:lnTo>
                                <a:pt x="1646" y="126736"/>
                              </a:lnTo>
                              <a:lnTo>
                                <a:pt x="18654" y="122347"/>
                              </a:lnTo>
                              <a:lnTo>
                                <a:pt x="43343" y="82845"/>
                              </a:lnTo>
                              <a:lnTo>
                                <a:pt x="43343" y="77358"/>
                              </a:lnTo>
                              <a:lnTo>
                                <a:pt x="41697" y="72969"/>
                              </a:lnTo>
                              <a:lnTo>
                                <a:pt x="39502" y="71323"/>
                              </a:lnTo>
                              <a:lnTo>
                                <a:pt x="35113" y="70226"/>
                              </a:lnTo>
                              <a:lnTo>
                                <a:pt x="32918" y="67483"/>
                              </a:lnTo>
                              <a:lnTo>
                                <a:pt x="32370" y="61448"/>
                              </a:lnTo>
                              <a:lnTo>
                                <a:pt x="33467" y="56510"/>
                              </a:lnTo>
                              <a:lnTo>
                                <a:pt x="44440" y="42794"/>
                              </a:lnTo>
                              <a:lnTo>
                                <a:pt x="46634" y="36759"/>
                              </a:lnTo>
                              <a:lnTo>
                                <a:pt x="30175" y="2195"/>
                              </a:lnTo>
                              <a:lnTo>
                                <a:pt x="44988" y="3841"/>
                              </a:lnTo>
                              <a:lnTo>
                                <a:pt x="49378" y="1646"/>
                              </a:lnTo>
                              <a:lnTo>
                                <a:pt x="49378" y="549"/>
                              </a:lnTo>
                              <a:lnTo>
                                <a:pt x="81199" y="549"/>
                              </a:lnTo>
                              <a:lnTo>
                                <a:pt x="76810" y="41148"/>
                              </a:lnTo>
                              <a:lnTo>
                                <a:pt x="80101" y="56510"/>
                              </a:lnTo>
                              <a:lnTo>
                                <a:pt x="79553" y="61448"/>
                              </a:lnTo>
                              <a:lnTo>
                                <a:pt x="82845" y="67483"/>
                              </a:lnTo>
                              <a:lnTo>
                                <a:pt x="88331" y="64739"/>
                              </a:lnTo>
                              <a:lnTo>
                                <a:pt x="91074" y="59802"/>
                              </a:lnTo>
                              <a:lnTo>
                                <a:pt x="94915" y="59802"/>
                              </a:lnTo>
                              <a:lnTo>
                                <a:pt x="93817" y="53767"/>
                              </a:lnTo>
                              <a:lnTo>
                                <a:pt x="97658" y="49378"/>
                              </a:lnTo>
                              <a:lnTo>
                                <a:pt x="111923" y="61448"/>
                              </a:lnTo>
                              <a:lnTo>
                                <a:pt x="115763" y="59253"/>
                              </a:lnTo>
                              <a:lnTo>
                                <a:pt x="118506" y="59802"/>
                              </a:lnTo>
                              <a:lnTo>
                                <a:pt x="120152" y="72969"/>
                              </a:lnTo>
                              <a:lnTo>
                                <a:pt x="125090" y="69129"/>
                              </a:lnTo>
                              <a:lnTo>
                                <a:pt x="124541" y="64191"/>
                              </a:lnTo>
                              <a:lnTo>
                                <a:pt x="126736" y="57607"/>
                              </a:lnTo>
                              <a:lnTo>
                                <a:pt x="129479" y="57059"/>
                              </a:lnTo>
                              <a:lnTo>
                                <a:pt x="140452" y="56510"/>
                              </a:lnTo>
                              <a:lnTo>
                                <a:pt x="146487" y="54315"/>
                              </a:lnTo>
                              <a:lnTo>
                                <a:pt x="153619" y="48829"/>
                              </a:lnTo>
                              <a:lnTo>
                                <a:pt x="154168" y="47183"/>
                              </a:lnTo>
                              <a:lnTo>
                                <a:pt x="152522" y="44440"/>
                              </a:lnTo>
                              <a:lnTo>
                                <a:pt x="142646" y="44989"/>
                              </a:lnTo>
                              <a:lnTo>
                                <a:pt x="136611" y="42245"/>
                              </a:lnTo>
                              <a:lnTo>
                                <a:pt x="138257" y="40051"/>
                              </a:lnTo>
                              <a:lnTo>
                                <a:pt x="144841" y="35662"/>
                              </a:lnTo>
                              <a:lnTo>
                                <a:pt x="142646" y="33467"/>
                              </a:lnTo>
                              <a:lnTo>
                                <a:pt x="144841" y="31273"/>
                              </a:lnTo>
                              <a:lnTo>
                                <a:pt x="149230" y="31273"/>
                              </a:lnTo>
                              <a:lnTo>
                                <a:pt x="150327" y="28529"/>
                              </a:lnTo>
                              <a:lnTo>
                                <a:pt x="154168" y="23591"/>
                              </a:lnTo>
                              <a:lnTo>
                                <a:pt x="154168" y="20848"/>
                              </a:lnTo>
                              <a:lnTo>
                                <a:pt x="158008" y="19751"/>
                              </a:lnTo>
                              <a:lnTo>
                                <a:pt x="159106" y="13716"/>
                              </a:lnTo>
                              <a:lnTo>
                                <a:pt x="162946" y="14265"/>
                              </a:lnTo>
                              <a:lnTo>
                                <a:pt x="164043" y="12070"/>
                              </a:lnTo>
                              <a:lnTo>
                                <a:pt x="161849" y="7681"/>
                              </a:lnTo>
                              <a:lnTo>
                                <a:pt x="164043" y="3292"/>
                              </a:lnTo>
                              <a:lnTo>
                                <a:pt x="171176" y="0"/>
                              </a:lnTo>
                              <a:lnTo>
                                <a:pt x="302301" y="76810"/>
                              </a:lnTo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211" name="Graphic 7">
                          <a:extLst>
                            <a:ext uri="{FF2B5EF4-FFF2-40B4-BE49-F238E27FC236}">
                              <a16:creationId xmlns:a16="http://schemas.microsoft.com/office/drawing/2014/main" id="{AFE0DC85-1CE4-6106-1B44-2DF744ACF63B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4859299" y="3346602"/>
                          <a:ext cx="351058" cy="281618"/>
                        </a:xfrm>
                        <a:custGeom>
                          <a:avLst/>
                          <a:gdLst>
                            <a:gd name="connsiteX0" fmla="*/ 164592 w 449336"/>
                            <a:gd name="connsiteY0" fmla="*/ 312725 h 360456"/>
                            <a:gd name="connsiteX1" fmla="*/ 164592 w 449336"/>
                            <a:gd name="connsiteY1" fmla="*/ 359908 h 360456"/>
                            <a:gd name="connsiteX2" fmla="*/ 0 w 449336"/>
                            <a:gd name="connsiteY2" fmla="*/ 360456 h 360456"/>
                            <a:gd name="connsiteX3" fmla="*/ 2743 w 449336"/>
                            <a:gd name="connsiteY3" fmla="*/ 352227 h 360456"/>
                            <a:gd name="connsiteX4" fmla="*/ 51572 w 449336"/>
                            <a:gd name="connsiteY4" fmla="*/ 339608 h 360456"/>
                            <a:gd name="connsiteX5" fmla="*/ 76810 w 449336"/>
                            <a:gd name="connsiteY5" fmla="*/ 317114 h 360456"/>
                            <a:gd name="connsiteX6" fmla="*/ 88331 w 449336"/>
                            <a:gd name="connsiteY6" fmla="*/ 312176 h 360456"/>
                            <a:gd name="connsiteX7" fmla="*/ 96012 w 449336"/>
                            <a:gd name="connsiteY7" fmla="*/ 305044 h 360456"/>
                            <a:gd name="connsiteX8" fmla="*/ 98207 w 449336"/>
                            <a:gd name="connsiteY8" fmla="*/ 300655 h 360456"/>
                            <a:gd name="connsiteX9" fmla="*/ 105339 w 449336"/>
                            <a:gd name="connsiteY9" fmla="*/ 295717 h 360456"/>
                            <a:gd name="connsiteX10" fmla="*/ 124541 w 449336"/>
                            <a:gd name="connsiteY10" fmla="*/ 262798 h 360456"/>
                            <a:gd name="connsiteX11" fmla="*/ 123993 w 449336"/>
                            <a:gd name="connsiteY11" fmla="*/ 247437 h 360456"/>
                            <a:gd name="connsiteX12" fmla="*/ 117409 w 449336"/>
                            <a:gd name="connsiteY12" fmla="*/ 234818 h 360456"/>
                            <a:gd name="connsiteX13" fmla="*/ 120701 w 449336"/>
                            <a:gd name="connsiteY13" fmla="*/ 203545 h 360456"/>
                            <a:gd name="connsiteX14" fmla="*/ 132771 w 449336"/>
                            <a:gd name="connsiteY14" fmla="*/ 183246 h 360456"/>
                            <a:gd name="connsiteX15" fmla="*/ 132771 w 449336"/>
                            <a:gd name="connsiteY15" fmla="*/ 180502 h 360456"/>
                            <a:gd name="connsiteX16" fmla="*/ 141549 w 449336"/>
                            <a:gd name="connsiteY16" fmla="*/ 175565 h 360456"/>
                            <a:gd name="connsiteX17" fmla="*/ 139903 w 449336"/>
                            <a:gd name="connsiteY17" fmla="*/ 176662 h 360456"/>
                            <a:gd name="connsiteX18" fmla="*/ 146487 w 449336"/>
                            <a:gd name="connsiteY18" fmla="*/ 160751 h 360456"/>
                            <a:gd name="connsiteX19" fmla="*/ 145390 w 449336"/>
                            <a:gd name="connsiteY19" fmla="*/ 153070 h 360456"/>
                            <a:gd name="connsiteX20" fmla="*/ 173370 w 449336"/>
                            <a:gd name="connsiteY20" fmla="*/ 119603 h 360456"/>
                            <a:gd name="connsiteX21" fmla="*/ 229880 w 449336"/>
                            <a:gd name="connsiteY21" fmla="*/ 90526 h 360456"/>
                            <a:gd name="connsiteX22" fmla="*/ 237561 w 449336"/>
                            <a:gd name="connsiteY22" fmla="*/ 81747 h 360456"/>
                            <a:gd name="connsiteX23" fmla="*/ 242499 w 449336"/>
                            <a:gd name="connsiteY23" fmla="*/ 70226 h 360456"/>
                            <a:gd name="connsiteX24" fmla="*/ 250180 w 449336"/>
                            <a:gd name="connsiteY24" fmla="*/ 60350 h 360456"/>
                            <a:gd name="connsiteX25" fmla="*/ 268285 w 449336"/>
                            <a:gd name="connsiteY25" fmla="*/ 7681 h 360456"/>
                            <a:gd name="connsiteX26" fmla="*/ 272674 w 449336"/>
                            <a:gd name="connsiteY26" fmla="*/ 4389 h 360456"/>
                            <a:gd name="connsiteX27" fmla="*/ 286939 w 449336"/>
                            <a:gd name="connsiteY27" fmla="*/ 0 h 360456"/>
                            <a:gd name="connsiteX28" fmla="*/ 292974 w 449336"/>
                            <a:gd name="connsiteY28" fmla="*/ 12070 h 360456"/>
                            <a:gd name="connsiteX29" fmla="*/ 317663 w 449336"/>
                            <a:gd name="connsiteY29" fmla="*/ 32918 h 360456"/>
                            <a:gd name="connsiteX30" fmla="*/ 324795 w 449336"/>
                            <a:gd name="connsiteY30" fmla="*/ 34564 h 360456"/>
                            <a:gd name="connsiteX31" fmla="*/ 341254 w 449336"/>
                            <a:gd name="connsiteY31" fmla="*/ 29078 h 360456"/>
                            <a:gd name="connsiteX32" fmla="*/ 370332 w 449336"/>
                            <a:gd name="connsiteY32" fmla="*/ 29626 h 360456"/>
                            <a:gd name="connsiteX33" fmla="*/ 374721 w 449336"/>
                            <a:gd name="connsiteY33" fmla="*/ 27432 h 360456"/>
                            <a:gd name="connsiteX34" fmla="*/ 386243 w 449336"/>
                            <a:gd name="connsiteY34" fmla="*/ 34564 h 360456"/>
                            <a:gd name="connsiteX35" fmla="*/ 392826 w 449336"/>
                            <a:gd name="connsiteY35" fmla="*/ 36210 h 360456"/>
                            <a:gd name="connsiteX36" fmla="*/ 400507 w 449336"/>
                            <a:gd name="connsiteY36" fmla="*/ 35662 h 360456"/>
                            <a:gd name="connsiteX37" fmla="*/ 412577 w 449336"/>
                            <a:gd name="connsiteY37" fmla="*/ 37856 h 360456"/>
                            <a:gd name="connsiteX38" fmla="*/ 412577 w 449336"/>
                            <a:gd name="connsiteY38" fmla="*/ 41697 h 360456"/>
                            <a:gd name="connsiteX39" fmla="*/ 414223 w 449336"/>
                            <a:gd name="connsiteY39" fmla="*/ 44988 h 360456"/>
                            <a:gd name="connsiteX40" fmla="*/ 418612 w 449336"/>
                            <a:gd name="connsiteY40" fmla="*/ 47731 h 360456"/>
                            <a:gd name="connsiteX41" fmla="*/ 419710 w 449336"/>
                            <a:gd name="connsiteY41" fmla="*/ 50475 h 360456"/>
                            <a:gd name="connsiteX42" fmla="*/ 422453 w 449336"/>
                            <a:gd name="connsiteY42" fmla="*/ 53218 h 360456"/>
                            <a:gd name="connsiteX43" fmla="*/ 424647 w 449336"/>
                            <a:gd name="connsiteY43" fmla="*/ 54315 h 360456"/>
                            <a:gd name="connsiteX44" fmla="*/ 426293 w 449336"/>
                            <a:gd name="connsiteY44" fmla="*/ 56510 h 360456"/>
                            <a:gd name="connsiteX45" fmla="*/ 425745 w 449336"/>
                            <a:gd name="connsiteY45" fmla="*/ 58156 h 360456"/>
                            <a:gd name="connsiteX46" fmla="*/ 424647 w 449336"/>
                            <a:gd name="connsiteY46" fmla="*/ 58704 h 360456"/>
                            <a:gd name="connsiteX47" fmla="*/ 424099 w 449336"/>
                            <a:gd name="connsiteY47" fmla="*/ 59802 h 360456"/>
                            <a:gd name="connsiteX48" fmla="*/ 427391 w 449336"/>
                            <a:gd name="connsiteY48" fmla="*/ 66385 h 360456"/>
                            <a:gd name="connsiteX49" fmla="*/ 425745 w 449336"/>
                            <a:gd name="connsiteY49" fmla="*/ 70774 h 360456"/>
                            <a:gd name="connsiteX50" fmla="*/ 429037 w 449336"/>
                            <a:gd name="connsiteY50" fmla="*/ 83942 h 360456"/>
                            <a:gd name="connsiteX51" fmla="*/ 427939 w 449336"/>
                            <a:gd name="connsiteY51" fmla="*/ 96012 h 360456"/>
                            <a:gd name="connsiteX52" fmla="*/ 426842 w 449336"/>
                            <a:gd name="connsiteY52" fmla="*/ 98755 h 360456"/>
                            <a:gd name="connsiteX53" fmla="*/ 431231 w 449336"/>
                            <a:gd name="connsiteY53" fmla="*/ 103693 h 360456"/>
                            <a:gd name="connsiteX54" fmla="*/ 431780 w 449336"/>
                            <a:gd name="connsiteY54" fmla="*/ 109728 h 360456"/>
                            <a:gd name="connsiteX55" fmla="*/ 430134 w 449336"/>
                            <a:gd name="connsiteY55" fmla="*/ 113568 h 360456"/>
                            <a:gd name="connsiteX56" fmla="*/ 430134 w 449336"/>
                            <a:gd name="connsiteY56" fmla="*/ 117409 h 360456"/>
                            <a:gd name="connsiteX57" fmla="*/ 433426 w 449336"/>
                            <a:gd name="connsiteY57" fmla="*/ 126736 h 360456"/>
                            <a:gd name="connsiteX58" fmla="*/ 432877 w 449336"/>
                            <a:gd name="connsiteY58" fmla="*/ 131125 h 360456"/>
                            <a:gd name="connsiteX59" fmla="*/ 437815 w 449336"/>
                            <a:gd name="connsiteY59" fmla="*/ 141000 h 360456"/>
                            <a:gd name="connsiteX60" fmla="*/ 449336 w 449336"/>
                            <a:gd name="connsiteY60" fmla="*/ 150876 h 360456"/>
                            <a:gd name="connsiteX61" fmla="*/ 449336 w 449336"/>
                            <a:gd name="connsiteY61" fmla="*/ 151973 h 360456"/>
                            <a:gd name="connsiteX62" fmla="*/ 446044 w 449336"/>
                            <a:gd name="connsiteY62" fmla="*/ 153070 h 360456"/>
                            <a:gd name="connsiteX63" fmla="*/ 442753 w 449336"/>
                            <a:gd name="connsiteY63" fmla="*/ 158008 h 360456"/>
                            <a:gd name="connsiteX64" fmla="*/ 442204 w 449336"/>
                            <a:gd name="connsiteY64" fmla="*/ 162946 h 360456"/>
                            <a:gd name="connsiteX65" fmla="*/ 444398 w 449336"/>
                            <a:gd name="connsiteY65" fmla="*/ 166238 h 360456"/>
                            <a:gd name="connsiteX66" fmla="*/ 444398 w 449336"/>
                            <a:gd name="connsiteY66" fmla="*/ 167335 h 360456"/>
                            <a:gd name="connsiteX67" fmla="*/ 442204 w 449336"/>
                            <a:gd name="connsiteY67" fmla="*/ 167884 h 360456"/>
                            <a:gd name="connsiteX68" fmla="*/ 437266 w 449336"/>
                            <a:gd name="connsiteY68" fmla="*/ 166238 h 360456"/>
                            <a:gd name="connsiteX69" fmla="*/ 421356 w 449336"/>
                            <a:gd name="connsiteY69" fmla="*/ 164592 h 360456"/>
                            <a:gd name="connsiteX70" fmla="*/ 418064 w 449336"/>
                            <a:gd name="connsiteY70" fmla="*/ 165689 h 360456"/>
                            <a:gd name="connsiteX71" fmla="*/ 390083 w 449336"/>
                            <a:gd name="connsiteY71" fmla="*/ 167884 h 360456"/>
                            <a:gd name="connsiteX72" fmla="*/ 387889 w 449336"/>
                            <a:gd name="connsiteY72" fmla="*/ 169530 h 360456"/>
                            <a:gd name="connsiteX73" fmla="*/ 385145 w 449336"/>
                            <a:gd name="connsiteY73" fmla="*/ 170078 h 360456"/>
                            <a:gd name="connsiteX74" fmla="*/ 380208 w 449336"/>
                            <a:gd name="connsiteY74" fmla="*/ 168432 h 360456"/>
                            <a:gd name="connsiteX75" fmla="*/ 378562 w 449336"/>
                            <a:gd name="connsiteY75" fmla="*/ 168981 h 360456"/>
                            <a:gd name="connsiteX76" fmla="*/ 376367 w 449336"/>
                            <a:gd name="connsiteY76" fmla="*/ 172273 h 360456"/>
                            <a:gd name="connsiteX77" fmla="*/ 377464 w 449336"/>
                            <a:gd name="connsiteY77" fmla="*/ 176113 h 360456"/>
                            <a:gd name="connsiteX78" fmla="*/ 376367 w 449336"/>
                            <a:gd name="connsiteY78" fmla="*/ 180502 h 360456"/>
                            <a:gd name="connsiteX79" fmla="*/ 375270 w 449336"/>
                            <a:gd name="connsiteY79" fmla="*/ 181600 h 360456"/>
                            <a:gd name="connsiteX80" fmla="*/ 355519 w 449336"/>
                            <a:gd name="connsiteY80" fmla="*/ 187635 h 360456"/>
                            <a:gd name="connsiteX81" fmla="*/ 351130 w 449336"/>
                            <a:gd name="connsiteY81" fmla="*/ 186538 h 360456"/>
                            <a:gd name="connsiteX82" fmla="*/ 347289 w 449336"/>
                            <a:gd name="connsiteY82" fmla="*/ 187086 h 360456"/>
                            <a:gd name="connsiteX83" fmla="*/ 343997 w 449336"/>
                            <a:gd name="connsiteY83" fmla="*/ 189281 h 360456"/>
                            <a:gd name="connsiteX84" fmla="*/ 342900 w 449336"/>
                            <a:gd name="connsiteY84" fmla="*/ 192573 h 360456"/>
                            <a:gd name="connsiteX85" fmla="*/ 342900 w 449336"/>
                            <a:gd name="connsiteY85" fmla="*/ 197510 h 360456"/>
                            <a:gd name="connsiteX86" fmla="*/ 343997 w 449336"/>
                            <a:gd name="connsiteY86" fmla="*/ 198607 h 360456"/>
                            <a:gd name="connsiteX87" fmla="*/ 347289 w 449336"/>
                            <a:gd name="connsiteY87" fmla="*/ 199156 h 360456"/>
                            <a:gd name="connsiteX88" fmla="*/ 348386 w 449336"/>
                            <a:gd name="connsiteY88" fmla="*/ 200254 h 360456"/>
                            <a:gd name="connsiteX89" fmla="*/ 345095 w 449336"/>
                            <a:gd name="connsiteY89" fmla="*/ 204094 h 360456"/>
                            <a:gd name="connsiteX90" fmla="*/ 343449 w 449336"/>
                            <a:gd name="connsiteY90" fmla="*/ 211226 h 360456"/>
                            <a:gd name="connsiteX91" fmla="*/ 345095 w 449336"/>
                            <a:gd name="connsiteY91" fmla="*/ 211775 h 360456"/>
                            <a:gd name="connsiteX92" fmla="*/ 346741 w 449336"/>
                            <a:gd name="connsiteY92" fmla="*/ 210129 h 360456"/>
                            <a:gd name="connsiteX93" fmla="*/ 348386 w 449336"/>
                            <a:gd name="connsiteY93" fmla="*/ 210678 h 360456"/>
                            <a:gd name="connsiteX94" fmla="*/ 348935 w 449336"/>
                            <a:gd name="connsiteY94" fmla="*/ 212323 h 360456"/>
                            <a:gd name="connsiteX95" fmla="*/ 352227 w 449336"/>
                            <a:gd name="connsiteY95" fmla="*/ 215067 h 360456"/>
                            <a:gd name="connsiteX96" fmla="*/ 352776 w 449336"/>
                            <a:gd name="connsiteY96" fmla="*/ 217261 h 360456"/>
                            <a:gd name="connsiteX97" fmla="*/ 351678 w 449336"/>
                            <a:gd name="connsiteY97" fmla="*/ 219456 h 360456"/>
                            <a:gd name="connsiteX98" fmla="*/ 336865 w 449336"/>
                            <a:gd name="connsiteY98" fmla="*/ 222748 h 360456"/>
                            <a:gd name="connsiteX99" fmla="*/ 319309 w 449336"/>
                            <a:gd name="connsiteY99" fmla="*/ 233721 h 360456"/>
                            <a:gd name="connsiteX100" fmla="*/ 314919 w 449336"/>
                            <a:gd name="connsiteY100" fmla="*/ 234269 h 360456"/>
                            <a:gd name="connsiteX101" fmla="*/ 305593 w 449336"/>
                            <a:gd name="connsiteY101" fmla="*/ 238110 h 360456"/>
                            <a:gd name="connsiteX102" fmla="*/ 299009 w 449336"/>
                            <a:gd name="connsiteY102" fmla="*/ 243596 h 360456"/>
                            <a:gd name="connsiteX103" fmla="*/ 296266 w 449336"/>
                            <a:gd name="connsiteY103" fmla="*/ 247985 h 360456"/>
                            <a:gd name="connsiteX104" fmla="*/ 296266 w 449336"/>
                            <a:gd name="connsiteY104" fmla="*/ 250728 h 360456"/>
                            <a:gd name="connsiteX105" fmla="*/ 294071 w 449336"/>
                            <a:gd name="connsiteY105" fmla="*/ 254020 h 360456"/>
                            <a:gd name="connsiteX106" fmla="*/ 285841 w 449336"/>
                            <a:gd name="connsiteY106" fmla="*/ 261153 h 360456"/>
                            <a:gd name="connsiteX107" fmla="*/ 262799 w 449336"/>
                            <a:gd name="connsiteY107" fmla="*/ 267736 h 360456"/>
                            <a:gd name="connsiteX108" fmla="*/ 257312 w 449336"/>
                            <a:gd name="connsiteY108" fmla="*/ 267736 h 360456"/>
                            <a:gd name="connsiteX109" fmla="*/ 253472 w 449336"/>
                            <a:gd name="connsiteY109" fmla="*/ 269382 h 360456"/>
                            <a:gd name="connsiteX110" fmla="*/ 242499 w 449336"/>
                            <a:gd name="connsiteY110" fmla="*/ 268834 h 360456"/>
                            <a:gd name="connsiteX111" fmla="*/ 240853 w 449336"/>
                            <a:gd name="connsiteY111" fmla="*/ 271577 h 360456"/>
                            <a:gd name="connsiteX112" fmla="*/ 240853 w 449336"/>
                            <a:gd name="connsiteY112" fmla="*/ 277063 h 360456"/>
                            <a:gd name="connsiteX113" fmla="*/ 239756 w 449336"/>
                            <a:gd name="connsiteY113" fmla="*/ 278160 h 360456"/>
                            <a:gd name="connsiteX114" fmla="*/ 233721 w 449336"/>
                            <a:gd name="connsiteY114" fmla="*/ 277612 h 360456"/>
                            <a:gd name="connsiteX115" fmla="*/ 229880 w 449336"/>
                            <a:gd name="connsiteY115" fmla="*/ 276514 h 360456"/>
                            <a:gd name="connsiteX116" fmla="*/ 225491 w 449336"/>
                            <a:gd name="connsiteY116" fmla="*/ 277063 h 360456"/>
                            <a:gd name="connsiteX117" fmla="*/ 221102 w 449336"/>
                            <a:gd name="connsiteY117" fmla="*/ 276514 h 360456"/>
                            <a:gd name="connsiteX118" fmla="*/ 217810 w 449336"/>
                            <a:gd name="connsiteY118" fmla="*/ 278160 h 360456"/>
                            <a:gd name="connsiteX119" fmla="*/ 213970 w 449336"/>
                            <a:gd name="connsiteY119" fmla="*/ 283098 h 360456"/>
                            <a:gd name="connsiteX120" fmla="*/ 209032 w 449336"/>
                            <a:gd name="connsiteY120" fmla="*/ 285293 h 360456"/>
                            <a:gd name="connsiteX121" fmla="*/ 204643 w 449336"/>
                            <a:gd name="connsiteY121" fmla="*/ 289133 h 360456"/>
                            <a:gd name="connsiteX122" fmla="*/ 195316 w 449336"/>
                            <a:gd name="connsiteY122" fmla="*/ 289682 h 360456"/>
                            <a:gd name="connsiteX123" fmla="*/ 164592 w 449336"/>
                            <a:gd name="connsiteY123" fmla="*/ 312725 h 360456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  <a:cxn ang="0">
                              <a:pos x="connsiteX11" y="connsiteY11"/>
                            </a:cxn>
                            <a:cxn ang="0">
                              <a:pos x="connsiteX12" y="connsiteY12"/>
                            </a:cxn>
                            <a:cxn ang="0">
                              <a:pos x="connsiteX13" y="connsiteY13"/>
                            </a:cxn>
                            <a:cxn ang="0">
                              <a:pos x="connsiteX14" y="connsiteY14"/>
                            </a:cxn>
                            <a:cxn ang="0">
                              <a:pos x="connsiteX15" y="connsiteY15"/>
                            </a:cxn>
                            <a:cxn ang="0">
                              <a:pos x="connsiteX16" y="connsiteY16"/>
                            </a:cxn>
                            <a:cxn ang="0">
                              <a:pos x="connsiteX17" y="connsiteY17"/>
                            </a:cxn>
                            <a:cxn ang="0">
                              <a:pos x="connsiteX18" y="connsiteY18"/>
                            </a:cxn>
                            <a:cxn ang="0">
                              <a:pos x="connsiteX19" y="connsiteY19"/>
                            </a:cxn>
                            <a:cxn ang="0">
                              <a:pos x="connsiteX20" y="connsiteY20"/>
                            </a:cxn>
                            <a:cxn ang="0">
                              <a:pos x="connsiteX21" y="connsiteY21"/>
                            </a:cxn>
                            <a:cxn ang="0">
                              <a:pos x="connsiteX22" y="connsiteY22"/>
                            </a:cxn>
                            <a:cxn ang="0">
                              <a:pos x="connsiteX23" y="connsiteY23"/>
                            </a:cxn>
                            <a:cxn ang="0">
                              <a:pos x="connsiteX24" y="connsiteY24"/>
                            </a:cxn>
                            <a:cxn ang="0">
                              <a:pos x="connsiteX25" y="connsiteY25"/>
                            </a:cxn>
                            <a:cxn ang="0">
                              <a:pos x="connsiteX26" y="connsiteY26"/>
                            </a:cxn>
                            <a:cxn ang="0">
                              <a:pos x="connsiteX27" y="connsiteY27"/>
                            </a:cxn>
                            <a:cxn ang="0">
                              <a:pos x="connsiteX28" y="connsiteY28"/>
                            </a:cxn>
                            <a:cxn ang="0">
                              <a:pos x="connsiteX29" y="connsiteY29"/>
                            </a:cxn>
                            <a:cxn ang="0">
                              <a:pos x="connsiteX30" y="connsiteY30"/>
                            </a:cxn>
                            <a:cxn ang="0">
                              <a:pos x="connsiteX31" y="connsiteY31"/>
                            </a:cxn>
                            <a:cxn ang="0">
                              <a:pos x="connsiteX32" y="connsiteY32"/>
                            </a:cxn>
                            <a:cxn ang="0">
                              <a:pos x="connsiteX33" y="connsiteY33"/>
                            </a:cxn>
                            <a:cxn ang="0">
                              <a:pos x="connsiteX34" y="connsiteY34"/>
                            </a:cxn>
                            <a:cxn ang="0">
                              <a:pos x="connsiteX35" y="connsiteY35"/>
                            </a:cxn>
                            <a:cxn ang="0">
                              <a:pos x="connsiteX36" y="connsiteY36"/>
                            </a:cxn>
                            <a:cxn ang="0">
                              <a:pos x="connsiteX37" y="connsiteY37"/>
                            </a:cxn>
                            <a:cxn ang="0">
                              <a:pos x="connsiteX38" y="connsiteY38"/>
                            </a:cxn>
                            <a:cxn ang="0">
                              <a:pos x="connsiteX39" y="connsiteY39"/>
                            </a:cxn>
                            <a:cxn ang="0">
                              <a:pos x="connsiteX40" y="connsiteY40"/>
                            </a:cxn>
                            <a:cxn ang="0">
                              <a:pos x="connsiteX41" y="connsiteY41"/>
                            </a:cxn>
                            <a:cxn ang="0">
                              <a:pos x="connsiteX42" y="connsiteY42"/>
                            </a:cxn>
                            <a:cxn ang="0">
                              <a:pos x="connsiteX43" y="connsiteY43"/>
                            </a:cxn>
                            <a:cxn ang="0">
                              <a:pos x="connsiteX44" y="connsiteY44"/>
                            </a:cxn>
                            <a:cxn ang="0">
                              <a:pos x="connsiteX45" y="connsiteY45"/>
                            </a:cxn>
                            <a:cxn ang="0">
                              <a:pos x="connsiteX46" y="connsiteY46"/>
                            </a:cxn>
                            <a:cxn ang="0">
                              <a:pos x="connsiteX47" y="connsiteY47"/>
                            </a:cxn>
                            <a:cxn ang="0">
                              <a:pos x="connsiteX48" y="connsiteY48"/>
                            </a:cxn>
                            <a:cxn ang="0">
                              <a:pos x="connsiteX49" y="connsiteY49"/>
                            </a:cxn>
                            <a:cxn ang="0">
                              <a:pos x="connsiteX50" y="connsiteY50"/>
                            </a:cxn>
                            <a:cxn ang="0">
                              <a:pos x="connsiteX51" y="connsiteY51"/>
                            </a:cxn>
                            <a:cxn ang="0">
                              <a:pos x="connsiteX52" y="connsiteY52"/>
                            </a:cxn>
                            <a:cxn ang="0">
                              <a:pos x="connsiteX53" y="connsiteY53"/>
                            </a:cxn>
                            <a:cxn ang="0">
                              <a:pos x="connsiteX54" y="connsiteY54"/>
                            </a:cxn>
                            <a:cxn ang="0">
                              <a:pos x="connsiteX55" y="connsiteY55"/>
                            </a:cxn>
                            <a:cxn ang="0">
                              <a:pos x="connsiteX56" y="connsiteY56"/>
                            </a:cxn>
                            <a:cxn ang="0">
                              <a:pos x="connsiteX57" y="connsiteY57"/>
                            </a:cxn>
                            <a:cxn ang="0">
                              <a:pos x="connsiteX58" y="connsiteY58"/>
                            </a:cxn>
                            <a:cxn ang="0">
                              <a:pos x="connsiteX59" y="connsiteY59"/>
                            </a:cxn>
                            <a:cxn ang="0">
                              <a:pos x="connsiteX60" y="connsiteY60"/>
                            </a:cxn>
                            <a:cxn ang="0">
                              <a:pos x="connsiteX61" y="connsiteY61"/>
                            </a:cxn>
                            <a:cxn ang="0">
                              <a:pos x="connsiteX62" y="connsiteY62"/>
                            </a:cxn>
                            <a:cxn ang="0">
                              <a:pos x="connsiteX63" y="connsiteY63"/>
                            </a:cxn>
                            <a:cxn ang="0">
                              <a:pos x="connsiteX64" y="connsiteY64"/>
                            </a:cxn>
                            <a:cxn ang="0">
                              <a:pos x="connsiteX65" y="connsiteY65"/>
                            </a:cxn>
                            <a:cxn ang="0">
                              <a:pos x="connsiteX66" y="connsiteY66"/>
                            </a:cxn>
                            <a:cxn ang="0">
                              <a:pos x="connsiteX67" y="connsiteY67"/>
                            </a:cxn>
                            <a:cxn ang="0">
                              <a:pos x="connsiteX68" y="connsiteY68"/>
                            </a:cxn>
                            <a:cxn ang="0">
                              <a:pos x="connsiteX69" y="connsiteY69"/>
                            </a:cxn>
                            <a:cxn ang="0">
                              <a:pos x="connsiteX70" y="connsiteY70"/>
                            </a:cxn>
                            <a:cxn ang="0">
                              <a:pos x="connsiteX71" y="connsiteY71"/>
                            </a:cxn>
                            <a:cxn ang="0">
                              <a:pos x="connsiteX72" y="connsiteY72"/>
                            </a:cxn>
                            <a:cxn ang="0">
                              <a:pos x="connsiteX73" y="connsiteY73"/>
                            </a:cxn>
                            <a:cxn ang="0">
                              <a:pos x="connsiteX74" y="connsiteY74"/>
                            </a:cxn>
                            <a:cxn ang="0">
                              <a:pos x="connsiteX75" y="connsiteY75"/>
                            </a:cxn>
                            <a:cxn ang="0">
                              <a:pos x="connsiteX76" y="connsiteY76"/>
                            </a:cxn>
                            <a:cxn ang="0">
                              <a:pos x="connsiteX77" y="connsiteY77"/>
                            </a:cxn>
                            <a:cxn ang="0">
                              <a:pos x="connsiteX78" y="connsiteY78"/>
                            </a:cxn>
                            <a:cxn ang="0">
                              <a:pos x="connsiteX79" y="connsiteY79"/>
                            </a:cxn>
                            <a:cxn ang="0">
                              <a:pos x="connsiteX80" y="connsiteY80"/>
                            </a:cxn>
                            <a:cxn ang="0">
                              <a:pos x="connsiteX81" y="connsiteY81"/>
                            </a:cxn>
                            <a:cxn ang="0">
                              <a:pos x="connsiteX82" y="connsiteY82"/>
                            </a:cxn>
                            <a:cxn ang="0">
                              <a:pos x="connsiteX83" y="connsiteY83"/>
                            </a:cxn>
                            <a:cxn ang="0">
                              <a:pos x="connsiteX84" y="connsiteY84"/>
                            </a:cxn>
                            <a:cxn ang="0">
                              <a:pos x="connsiteX85" y="connsiteY85"/>
                            </a:cxn>
                            <a:cxn ang="0">
                              <a:pos x="connsiteX86" y="connsiteY86"/>
                            </a:cxn>
                            <a:cxn ang="0">
                              <a:pos x="connsiteX87" y="connsiteY87"/>
                            </a:cxn>
                            <a:cxn ang="0">
                              <a:pos x="connsiteX88" y="connsiteY88"/>
                            </a:cxn>
                            <a:cxn ang="0">
                              <a:pos x="connsiteX89" y="connsiteY89"/>
                            </a:cxn>
                            <a:cxn ang="0">
                              <a:pos x="connsiteX90" y="connsiteY90"/>
                            </a:cxn>
                            <a:cxn ang="0">
                              <a:pos x="connsiteX91" y="connsiteY91"/>
                            </a:cxn>
                            <a:cxn ang="0">
                              <a:pos x="connsiteX92" y="connsiteY92"/>
                            </a:cxn>
                            <a:cxn ang="0">
                              <a:pos x="connsiteX93" y="connsiteY93"/>
                            </a:cxn>
                            <a:cxn ang="0">
                              <a:pos x="connsiteX94" y="connsiteY94"/>
                            </a:cxn>
                            <a:cxn ang="0">
                              <a:pos x="connsiteX95" y="connsiteY95"/>
                            </a:cxn>
                            <a:cxn ang="0">
                              <a:pos x="connsiteX96" y="connsiteY96"/>
                            </a:cxn>
                            <a:cxn ang="0">
                              <a:pos x="connsiteX97" y="connsiteY97"/>
                            </a:cxn>
                            <a:cxn ang="0">
                              <a:pos x="connsiteX98" y="connsiteY98"/>
                            </a:cxn>
                            <a:cxn ang="0">
                              <a:pos x="connsiteX99" y="connsiteY99"/>
                            </a:cxn>
                            <a:cxn ang="0">
                              <a:pos x="connsiteX100" y="connsiteY100"/>
                            </a:cxn>
                            <a:cxn ang="0">
                              <a:pos x="connsiteX101" y="connsiteY101"/>
                            </a:cxn>
                            <a:cxn ang="0">
                              <a:pos x="connsiteX102" y="connsiteY102"/>
                            </a:cxn>
                            <a:cxn ang="0">
                              <a:pos x="connsiteX103" y="connsiteY103"/>
                            </a:cxn>
                            <a:cxn ang="0">
                              <a:pos x="connsiteX104" y="connsiteY104"/>
                            </a:cxn>
                            <a:cxn ang="0">
                              <a:pos x="connsiteX105" y="connsiteY105"/>
                            </a:cxn>
                            <a:cxn ang="0">
                              <a:pos x="connsiteX106" y="connsiteY106"/>
                            </a:cxn>
                            <a:cxn ang="0">
                              <a:pos x="connsiteX107" y="connsiteY107"/>
                            </a:cxn>
                            <a:cxn ang="0">
                              <a:pos x="connsiteX108" y="connsiteY108"/>
                            </a:cxn>
                            <a:cxn ang="0">
                              <a:pos x="connsiteX109" y="connsiteY109"/>
                            </a:cxn>
                            <a:cxn ang="0">
                              <a:pos x="connsiteX110" y="connsiteY110"/>
                            </a:cxn>
                            <a:cxn ang="0">
                              <a:pos x="connsiteX111" y="connsiteY111"/>
                            </a:cxn>
                            <a:cxn ang="0">
                              <a:pos x="connsiteX112" y="connsiteY112"/>
                            </a:cxn>
                            <a:cxn ang="0">
                              <a:pos x="connsiteX113" y="connsiteY113"/>
                            </a:cxn>
                            <a:cxn ang="0">
                              <a:pos x="connsiteX114" y="connsiteY114"/>
                            </a:cxn>
                            <a:cxn ang="0">
                              <a:pos x="connsiteX115" y="connsiteY115"/>
                            </a:cxn>
                            <a:cxn ang="0">
                              <a:pos x="connsiteX116" y="connsiteY116"/>
                            </a:cxn>
                            <a:cxn ang="0">
                              <a:pos x="connsiteX117" y="connsiteY117"/>
                            </a:cxn>
                            <a:cxn ang="0">
                              <a:pos x="connsiteX118" y="connsiteY118"/>
                            </a:cxn>
                            <a:cxn ang="0">
                              <a:pos x="connsiteX119" y="connsiteY119"/>
                            </a:cxn>
                            <a:cxn ang="0">
                              <a:pos x="connsiteX120" y="connsiteY120"/>
                            </a:cxn>
                            <a:cxn ang="0">
                              <a:pos x="connsiteX121" y="connsiteY121"/>
                            </a:cxn>
                            <a:cxn ang="0">
                              <a:pos x="connsiteX122" y="connsiteY122"/>
                            </a:cxn>
                            <a:cxn ang="0">
                              <a:pos x="connsiteX123" y="connsiteY123"/>
                            </a:cxn>
                          </a:cxnLst>
                          <a:rect l="l" t="t" r="r" b="b"/>
                          <a:pathLst>
                            <a:path w="449336" h="360456">
                              <a:moveTo>
                                <a:pt x="164592" y="312725"/>
                              </a:moveTo>
                              <a:lnTo>
                                <a:pt x="164592" y="359908"/>
                              </a:lnTo>
                              <a:lnTo>
                                <a:pt x="0" y="360456"/>
                              </a:lnTo>
                              <a:lnTo>
                                <a:pt x="2743" y="352227"/>
                              </a:lnTo>
                              <a:lnTo>
                                <a:pt x="51572" y="339608"/>
                              </a:lnTo>
                              <a:lnTo>
                                <a:pt x="76810" y="317114"/>
                              </a:lnTo>
                              <a:lnTo>
                                <a:pt x="88331" y="312176"/>
                              </a:lnTo>
                              <a:lnTo>
                                <a:pt x="96012" y="305044"/>
                              </a:lnTo>
                              <a:lnTo>
                                <a:pt x="98207" y="300655"/>
                              </a:lnTo>
                              <a:lnTo>
                                <a:pt x="105339" y="295717"/>
                              </a:lnTo>
                              <a:lnTo>
                                <a:pt x="124541" y="262798"/>
                              </a:lnTo>
                              <a:lnTo>
                                <a:pt x="123993" y="247437"/>
                              </a:lnTo>
                              <a:lnTo>
                                <a:pt x="117409" y="234818"/>
                              </a:lnTo>
                              <a:lnTo>
                                <a:pt x="120701" y="203545"/>
                              </a:lnTo>
                              <a:lnTo>
                                <a:pt x="132771" y="183246"/>
                              </a:lnTo>
                              <a:lnTo>
                                <a:pt x="132771" y="180502"/>
                              </a:lnTo>
                              <a:lnTo>
                                <a:pt x="141549" y="175565"/>
                              </a:lnTo>
                              <a:lnTo>
                                <a:pt x="139903" y="176662"/>
                              </a:lnTo>
                              <a:lnTo>
                                <a:pt x="146487" y="160751"/>
                              </a:lnTo>
                              <a:lnTo>
                                <a:pt x="145390" y="153070"/>
                              </a:lnTo>
                              <a:lnTo>
                                <a:pt x="173370" y="119603"/>
                              </a:lnTo>
                              <a:lnTo>
                                <a:pt x="229880" y="90526"/>
                              </a:lnTo>
                              <a:lnTo>
                                <a:pt x="237561" y="81747"/>
                              </a:lnTo>
                              <a:lnTo>
                                <a:pt x="242499" y="70226"/>
                              </a:lnTo>
                              <a:lnTo>
                                <a:pt x="250180" y="60350"/>
                              </a:lnTo>
                              <a:lnTo>
                                <a:pt x="268285" y="7681"/>
                              </a:lnTo>
                              <a:lnTo>
                                <a:pt x="272674" y="4389"/>
                              </a:lnTo>
                              <a:lnTo>
                                <a:pt x="286939" y="0"/>
                              </a:lnTo>
                              <a:lnTo>
                                <a:pt x="292974" y="12070"/>
                              </a:lnTo>
                              <a:lnTo>
                                <a:pt x="317663" y="32918"/>
                              </a:lnTo>
                              <a:lnTo>
                                <a:pt x="324795" y="34564"/>
                              </a:lnTo>
                              <a:lnTo>
                                <a:pt x="341254" y="29078"/>
                              </a:lnTo>
                              <a:lnTo>
                                <a:pt x="370332" y="29626"/>
                              </a:lnTo>
                              <a:lnTo>
                                <a:pt x="374721" y="27432"/>
                              </a:lnTo>
                              <a:lnTo>
                                <a:pt x="386243" y="34564"/>
                              </a:lnTo>
                              <a:lnTo>
                                <a:pt x="392826" y="36210"/>
                              </a:lnTo>
                              <a:lnTo>
                                <a:pt x="400507" y="35662"/>
                              </a:lnTo>
                              <a:lnTo>
                                <a:pt x="412577" y="37856"/>
                              </a:lnTo>
                              <a:lnTo>
                                <a:pt x="412577" y="41697"/>
                              </a:lnTo>
                              <a:lnTo>
                                <a:pt x="414223" y="44988"/>
                              </a:lnTo>
                              <a:lnTo>
                                <a:pt x="418612" y="47731"/>
                              </a:lnTo>
                              <a:lnTo>
                                <a:pt x="419710" y="50475"/>
                              </a:lnTo>
                              <a:lnTo>
                                <a:pt x="422453" y="53218"/>
                              </a:lnTo>
                              <a:lnTo>
                                <a:pt x="424647" y="54315"/>
                              </a:lnTo>
                              <a:lnTo>
                                <a:pt x="426293" y="56510"/>
                              </a:lnTo>
                              <a:lnTo>
                                <a:pt x="425745" y="58156"/>
                              </a:lnTo>
                              <a:lnTo>
                                <a:pt x="424647" y="58704"/>
                              </a:lnTo>
                              <a:lnTo>
                                <a:pt x="424099" y="59802"/>
                              </a:lnTo>
                              <a:lnTo>
                                <a:pt x="427391" y="66385"/>
                              </a:lnTo>
                              <a:lnTo>
                                <a:pt x="425745" y="70774"/>
                              </a:lnTo>
                              <a:lnTo>
                                <a:pt x="429037" y="83942"/>
                              </a:lnTo>
                              <a:lnTo>
                                <a:pt x="427939" y="96012"/>
                              </a:lnTo>
                              <a:lnTo>
                                <a:pt x="426842" y="98755"/>
                              </a:lnTo>
                              <a:lnTo>
                                <a:pt x="431231" y="103693"/>
                              </a:lnTo>
                              <a:lnTo>
                                <a:pt x="431780" y="109728"/>
                              </a:lnTo>
                              <a:lnTo>
                                <a:pt x="430134" y="113568"/>
                              </a:lnTo>
                              <a:lnTo>
                                <a:pt x="430134" y="117409"/>
                              </a:lnTo>
                              <a:lnTo>
                                <a:pt x="433426" y="126736"/>
                              </a:lnTo>
                              <a:lnTo>
                                <a:pt x="432877" y="131125"/>
                              </a:lnTo>
                              <a:lnTo>
                                <a:pt x="437815" y="141000"/>
                              </a:lnTo>
                              <a:lnTo>
                                <a:pt x="449336" y="150876"/>
                              </a:lnTo>
                              <a:lnTo>
                                <a:pt x="449336" y="151973"/>
                              </a:lnTo>
                              <a:lnTo>
                                <a:pt x="446044" y="153070"/>
                              </a:lnTo>
                              <a:lnTo>
                                <a:pt x="442753" y="158008"/>
                              </a:lnTo>
                              <a:lnTo>
                                <a:pt x="442204" y="162946"/>
                              </a:lnTo>
                              <a:lnTo>
                                <a:pt x="444398" y="166238"/>
                              </a:lnTo>
                              <a:lnTo>
                                <a:pt x="444398" y="167335"/>
                              </a:lnTo>
                              <a:lnTo>
                                <a:pt x="442204" y="167884"/>
                              </a:lnTo>
                              <a:lnTo>
                                <a:pt x="437266" y="166238"/>
                              </a:lnTo>
                              <a:lnTo>
                                <a:pt x="421356" y="164592"/>
                              </a:lnTo>
                              <a:lnTo>
                                <a:pt x="418064" y="165689"/>
                              </a:lnTo>
                              <a:lnTo>
                                <a:pt x="390083" y="167884"/>
                              </a:lnTo>
                              <a:lnTo>
                                <a:pt x="387889" y="169530"/>
                              </a:lnTo>
                              <a:lnTo>
                                <a:pt x="385145" y="170078"/>
                              </a:lnTo>
                              <a:lnTo>
                                <a:pt x="380208" y="168432"/>
                              </a:lnTo>
                              <a:lnTo>
                                <a:pt x="378562" y="168981"/>
                              </a:lnTo>
                              <a:lnTo>
                                <a:pt x="376367" y="172273"/>
                              </a:lnTo>
                              <a:lnTo>
                                <a:pt x="377464" y="176113"/>
                              </a:lnTo>
                              <a:lnTo>
                                <a:pt x="376367" y="180502"/>
                              </a:lnTo>
                              <a:lnTo>
                                <a:pt x="375270" y="181600"/>
                              </a:lnTo>
                              <a:lnTo>
                                <a:pt x="355519" y="187635"/>
                              </a:lnTo>
                              <a:lnTo>
                                <a:pt x="351130" y="186538"/>
                              </a:lnTo>
                              <a:lnTo>
                                <a:pt x="347289" y="187086"/>
                              </a:lnTo>
                              <a:lnTo>
                                <a:pt x="343997" y="189281"/>
                              </a:lnTo>
                              <a:lnTo>
                                <a:pt x="342900" y="192573"/>
                              </a:lnTo>
                              <a:lnTo>
                                <a:pt x="342900" y="197510"/>
                              </a:lnTo>
                              <a:lnTo>
                                <a:pt x="343997" y="198607"/>
                              </a:lnTo>
                              <a:lnTo>
                                <a:pt x="347289" y="199156"/>
                              </a:lnTo>
                              <a:lnTo>
                                <a:pt x="348386" y="200254"/>
                              </a:lnTo>
                              <a:lnTo>
                                <a:pt x="345095" y="204094"/>
                              </a:lnTo>
                              <a:lnTo>
                                <a:pt x="343449" y="211226"/>
                              </a:lnTo>
                              <a:lnTo>
                                <a:pt x="345095" y="211775"/>
                              </a:lnTo>
                              <a:lnTo>
                                <a:pt x="346741" y="210129"/>
                              </a:lnTo>
                              <a:lnTo>
                                <a:pt x="348386" y="210678"/>
                              </a:lnTo>
                              <a:lnTo>
                                <a:pt x="348935" y="212323"/>
                              </a:lnTo>
                              <a:lnTo>
                                <a:pt x="352227" y="215067"/>
                              </a:lnTo>
                              <a:lnTo>
                                <a:pt x="352776" y="217261"/>
                              </a:lnTo>
                              <a:lnTo>
                                <a:pt x="351678" y="219456"/>
                              </a:lnTo>
                              <a:lnTo>
                                <a:pt x="336865" y="222748"/>
                              </a:lnTo>
                              <a:lnTo>
                                <a:pt x="319309" y="233721"/>
                              </a:lnTo>
                              <a:lnTo>
                                <a:pt x="314919" y="234269"/>
                              </a:lnTo>
                              <a:lnTo>
                                <a:pt x="305593" y="238110"/>
                              </a:lnTo>
                              <a:lnTo>
                                <a:pt x="299009" y="243596"/>
                              </a:lnTo>
                              <a:lnTo>
                                <a:pt x="296266" y="247985"/>
                              </a:lnTo>
                              <a:lnTo>
                                <a:pt x="296266" y="250728"/>
                              </a:lnTo>
                              <a:lnTo>
                                <a:pt x="294071" y="254020"/>
                              </a:lnTo>
                              <a:lnTo>
                                <a:pt x="285841" y="261153"/>
                              </a:lnTo>
                              <a:lnTo>
                                <a:pt x="262799" y="267736"/>
                              </a:lnTo>
                              <a:lnTo>
                                <a:pt x="257312" y="267736"/>
                              </a:lnTo>
                              <a:lnTo>
                                <a:pt x="253472" y="269382"/>
                              </a:lnTo>
                              <a:lnTo>
                                <a:pt x="242499" y="268834"/>
                              </a:lnTo>
                              <a:lnTo>
                                <a:pt x="240853" y="271577"/>
                              </a:lnTo>
                              <a:lnTo>
                                <a:pt x="240853" y="277063"/>
                              </a:lnTo>
                              <a:lnTo>
                                <a:pt x="239756" y="278160"/>
                              </a:lnTo>
                              <a:lnTo>
                                <a:pt x="233721" y="277612"/>
                              </a:lnTo>
                              <a:lnTo>
                                <a:pt x="229880" y="276514"/>
                              </a:lnTo>
                              <a:lnTo>
                                <a:pt x="225491" y="277063"/>
                              </a:lnTo>
                              <a:lnTo>
                                <a:pt x="221102" y="276514"/>
                              </a:lnTo>
                              <a:lnTo>
                                <a:pt x="217810" y="278160"/>
                              </a:lnTo>
                              <a:lnTo>
                                <a:pt x="213970" y="283098"/>
                              </a:lnTo>
                              <a:lnTo>
                                <a:pt x="209032" y="285293"/>
                              </a:lnTo>
                              <a:lnTo>
                                <a:pt x="204643" y="289133"/>
                              </a:lnTo>
                              <a:lnTo>
                                <a:pt x="195316" y="289682"/>
                              </a:lnTo>
                              <a:lnTo>
                                <a:pt x="164592" y="312725"/>
                              </a:lnTo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212" name="Graphic 7">
                          <a:extLst>
                            <a:ext uri="{FF2B5EF4-FFF2-40B4-BE49-F238E27FC236}">
                              <a16:creationId xmlns:a16="http://schemas.microsoft.com/office/drawing/2014/main" id="{D85896E7-B273-46CB-6673-8BF9DC2D759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4849011" y="4176881"/>
                          <a:ext cx="89157" cy="88729"/>
                        </a:xfrm>
                        <a:custGeom>
                          <a:avLst/>
                          <a:gdLst>
                            <a:gd name="connsiteX0" fmla="*/ 1646 w 114117"/>
                            <a:gd name="connsiteY0" fmla="*/ 33467 h 113568"/>
                            <a:gd name="connsiteX1" fmla="*/ 5486 w 114117"/>
                            <a:gd name="connsiteY1" fmla="*/ 35113 h 113568"/>
                            <a:gd name="connsiteX2" fmla="*/ 10973 w 114117"/>
                            <a:gd name="connsiteY2" fmla="*/ 34565 h 113568"/>
                            <a:gd name="connsiteX3" fmla="*/ 12619 w 114117"/>
                            <a:gd name="connsiteY3" fmla="*/ 33467 h 113568"/>
                            <a:gd name="connsiteX4" fmla="*/ 15911 w 114117"/>
                            <a:gd name="connsiteY4" fmla="*/ 26883 h 113568"/>
                            <a:gd name="connsiteX5" fmla="*/ 19202 w 114117"/>
                            <a:gd name="connsiteY5" fmla="*/ 26335 h 113568"/>
                            <a:gd name="connsiteX6" fmla="*/ 20848 w 114117"/>
                            <a:gd name="connsiteY6" fmla="*/ 25238 h 113568"/>
                            <a:gd name="connsiteX7" fmla="*/ 21397 w 114117"/>
                            <a:gd name="connsiteY7" fmla="*/ 21946 h 113568"/>
                            <a:gd name="connsiteX8" fmla="*/ 24689 w 114117"/>
                            <a:gd name="connsiteY8" fmla="*/ 20300 h 113568"/>
                            <a:gd name="connsiteX9" fmla="*/ 31821 w 114117"/>
                            <a:gd name="connsiteY9" fmla="*/ 10424 h 113568"/>
                            <a:gd name="connsiteX10" fmla="*/ 31272 w 114117"/>
                            <a:gd name="connsiteY10" fmla="*/ 4938 h 113568"/>
                            <a:gd name="connsiteX11" fmla="*/ 33467 w 114117"/>
                            <a:gd name="connsiteY11" fmla="*/ 3841 h 113568"/>
                            <a:gd name="connsiteX12" fmla="*/ 38953 w 114117"/>
                            <a:gd name="connsiteY12" fmla="*/ 3292 h 113568"/>
                            <a:gd name="connsiteX13" fmla="*/ 41697 w 114117"/>
                            <a:gd name="connsiteY13" fmla="*/ 4938 h 113568"/>
                            <a:gd name="connsiteX14" fmla="*/ 52121 w 114117"/>
                            <a:gd name="connsiteY14" fmla="*/ 3292 h 113568"/>
                            <a:gd name="connsiteX15" fmla="*/ 52121 w 114117"/>
                            <a:gd name="connsiteY15" fmla="*/ 0 h 113568"/>
                            <a:gd name="connsiteX16" fmla="*/ 78456 w 114117"/>
                            <a:gd name="connsiteY16" fmla="*/ 1097 h 113568"/>
                            <a:gd name="connsiteX17" fmla="*/ 81199 w 114117"/>
                            <a:gd name="connsiteY17" fmla="*/ 5486 h 113568"/>
                            <a:gd name="connsiteX18" fmla="*/ 85588 w 114117"/>
                            <a:gd name="connsiteY18" fmla="*/ 7681 h 113568"/>
                            <a:gd name="connsiteX19" fmla="*/ 87782 w 114117"/>
                            <a:gd name="connsiteY19" fmla="*/ 12070 h 113568"/>
                            <a:gd name="connsiteX20" fmla="*/ 91074 w 114117"/>
                            <a:gd name="connsiteY20" fmla="*/ 13716 h 113568"/>
                            <a:gd name="connsiteX21" fmla="*/ 91074 w 114117"/>
                            <a:gd name="connsiteY21" fmla="*/ 15911 h 113568"/>
                            <a:gd name="connsiteX22" fmla="*/ 93269 w 114117"/>
                            <a:gd name="connsiteY22" fmla="*/ 18105 h 113568"/>
                            <a:gd name="connsiteX23" fmla="*/ 92172 w 114117"/>
                            <a:gd name="connsiteY23" fmla="*/ 20300 h 113568"/>
                            <a:gd name="connsiteX24" fmla="*/ 92720 w 114117"/>
                            <a:gd name="connsiteY24" fmla="*/ 21946 h 113568"/>
                            <a:gd name="connsiteX25" fmla="*/ 97658 w 114117"/>
                            <a:gd name="connsiteY25" fmla="*/ 23043 h 113568"/>
                            <a:gd name="connsiteX26" fmla="*/ 99304 w 114117"/>
                            <a:gd name="connsiteY26" fmla="*/ 24689 h 113568"/>
                            <a:gd name="connsiteX27" fmla="*/ 99304 w 114117"/>
                            <a:gd name="connsiteY27" fmla="*/ 25786 h 113568"/>
                            <a:gd name="connsiteX28" fmla="*/ 98207 w 114117"/>
                            <a:gd name="connsiteY28" fmla="*/ 27432 h 113568"/>
                            <a:gd name="connsiteX29" fmla="*/ 99304 w 114117"/>
                            <a:gd name="connsiteY29" fmla="*/ 30724 h 113568"/>
                            <a:gd name="connsiteX30" fmla="*/ 98207 w 114117"/>
                            <a:gd name="connsiteY30" fmla="*/ 31273 h 113568"/>
                            <a:gd name="connsiteX31" fmla="*/ 99304 w 114117"/>
                            <a:gd name="connsiteY31" fmla="*/ 34565 h 113568"/>
                            <a:gd name="connsiteX32" fmla="*/ 99852 w 114117"/>
                            <a:gd name="connsiteY32" fmla="*/ 36210 h 113568"/>
                            <a:gd name="connsiteX33" fmla="*/ 103144 w 114117"/>
                            <a:gd name="connsiteY33" fmla="*/ 38405 h 113568"/>
                            <a:gd name="connsiteX34" fmla="*/ 104242 w 114117"/>
                            <a:gd name="connsiteY34" fmla="*/ 40599 h 113568"/>
                            <a:gd name="connsiteX35" fmla="*/ 105339 w 114117"/>
                            <a:gd name="connsiteY35" fmla="*/ 48281 h 113568"/>
                            <a:gd name="connsiteX36" fmla="*/ 105339 w 114117"/>
                            <a:gd name="connsiteY36" fmla="*/ 48829 h 113568"/>
                            <a:gd name="connsiteX37" fmla="*/ 101498 w 114117"/>
                            <a:gd name="connsiteY37" fmla="*/ 49926 h 113568"/>
                            <a:gd name="connsiteX38" fmla="*/ 98207 w 114117"/>
                            <a:gd name="connsiteY38" fmla="*/ 61448 h 113568"/>
                            <a:gd name="connsiteX39" fmla="*/ 98207 w 114117"/>
                            <a:gd name="connsiteY39" fmla="*/ 63094 h 113568"/>
                            <a:gd name="connsiteX40" fmla="*/ 106436 w 114117"/>
                            <a:gd name="connsiteY40" fmla="*/ 59802 h 113568"/>
                            <a:gd name="connsiteX41" fmla="*/ 110825 w 114117"/>
                            <a:gd name="connsiteY41" fmla="*/ 56510 h 113568"/>
                            <a:gd name="connsiteX42" fmla="*/ 111374 w 114117"/>
                            <a:gd name="connsiteY42" fmla="*/ 56510 h 113568"/>
                            <a:gd name="connsiteX43" fmla="*/ 111923 w 114117"/>
                            <a:gd name="connsiteY43" fmla="*/ 58156 h 113568"/>
                            <a:gd name="connsiteX44" fmla="*/ 111923 w 114117"/>
                            <a:gd name="connsiteY44" fmla="*/ 64191 h 113568"/>
                            <a:gd name="connsiteX45" fmla="*/ 114117 w 114117"/>
                            <a:gd name="connsiteY45" fmla="*/ 66386 h 113568"/>
                            <a:gd name="connsiteX46" fmla="*/ 113568 w 114117"/>
                            <a:gd name="connsiteY46" fmla="*/ 67483 h 113568"/>
                            <a:gd name="connsiteX47" fmla="*/ 106985 w 114117"/>
                            <a:gd name="connsiteY47" fmla="*/ 68580 h 113568"/>
                            <a:gd name="connsiteX48" fmla="*/ 104242 w 114117"/>
                            <a:gd name="connsiteY48" fmla="*/ 72421 h 113568"/>
                            <a:gd name="connsiteX49" fmla="*/ 102047 w 114117"/>
                            <a:gd name="connsiteY49" fmla="*/ 73518 h 113568"/>
                            <a:gd name="connsiteX50" fmla="*/ 102047 w 114117"/>
                            <a:gd name="connsiteY50" fmla="*/ 83942 h 113568"/>
                            <a:gd name="connsiteX51" fmla="*/ 99852 w 114117"/>
                            <a:gd name="connsiteY51" fmla="*/ 85039 h 113568"/>
                            <a:gd name="connsiteX52" fmla="*/ 98207 w 114117"/>
                            <a:gd name="connsiteY52" fmla="*/ 87782 h 113568"/>
                            <a:gd name="connsiteX53" fmla="*/ 95463 w 114117"/>
                            <a:gd name="connsiteY53" fmla="*/ 88331 h 113568"/>
                            <a:gd name="connsiteX54" fmla="*/ 93269 w 114117"/>
                            <a:gd name="connsiteY54" fmla="*/ 92720 h 113568"/>
                            <a:gd name="connsiteX55" fmla="*/ 88331 w 114117"/>
                            <a:gd name="connsiteY55" fmla="*/ 94366 h 113568"/>
                            <a:gd name="connsiteX56" fmla="*/ 80101 w 114117"/>
                            <a:gd name="connsiteY56" fmla="*/ 102047 h 113568"/>
                            <a:gd name="connsiteX57" fmla="*/ 77358 w 114117"/>
                            <a:gd name="connsiteY57" fmla="*/ 102047 h 113568"/>
                            <a:gd name="connsiteX58" fmla="*/ 76261 w 114117"/>
                            <a:gd name="connsiteY58" fmla="*/ 103693 h 113568"/>
                            <a:gd name="connsiteX59" fmla="*/ 76261 w 114117"/>
                            <a:gd name="connsiteY59" fmla="*/ 106985 h 113568"/>
                            <a:gd name="connsiteX60" fmla="*/ 74615 w 114117"/>
                            <a:gd name="connsiteY60" fmla="*/ 107534 h 113568"/>
                            <a:gd name="connsiteX61" fmla="*/ 73518 w 114117"/>
                            <a:gd name="connsiteY61" fmla="*/ 111923 h 113568"/>
                            <a:gd name="connsiteX62" fmla="*/ 70226 w 114117"/>
                            <a:gd name="connsiteY62" fmla="*/ 113569 h 113568"/>
                            <a:gd name="connsiteX63" fmla="*/ 69129 w 114117"/>
                            <a:gd name="connsiteY63" fmla="*/ 113569 h 113568"/>
                            <a:gd name="connsiteX64" fmla="*/ 35662 w 114117"/>
                            <a:gd name="connsiteY64" fmla="*/ 99853 h 113568"/>
                            <a:gd name="connsiteX65" fmla="*/ 34564 w 114117"/>
                            <a:gd name="connsiteY65" fmla="*/ 96012 h 113568"/>
                            <a:gd name="connsiteX66" fmla="*/ 32370 w 114117"/>
                            <a:gd name="connsiteY66" fmla="*/ 92172 h 113568"/>
                            <a:gd name="connsiteX67" fmla="*/ 15362 w 114117"/>
                            <a:gd name="connsiteY67" fmla="*/ 80650 h 113568"/>
                            <a:gd name="connsiteX68" fmla="*/ 15911 w 114117"/>
                            <a:gd name="connsiteY68" fmla="*/ 76810 h 113568"/>
                            <a:gd name="connsiteX69" fmla="*/ 14813 w 114117"/>
                            <a:gd name="connsiteY69" fmla="*/ 75164 h 113568"/>
                            <a:gd name="connsiteX70" fmla="*/ 14265 w 114117"/>
                            <a:gd name="connsiteY70" fmla="*/ 72969 h 113568"/>
                            <a:gd name="connsiteX71" fmla="*/ 10973 w 114117"/>
                            <a:gd name="connsiteY71" fmla="*/ 69677 h 113568"/>
                            <a:gd name="connsiteX72" fmla="*/ 6584 w 114117"/>
                            <a:gd name="connsiteY72" fmla="*/ 69129 h 113568"/>
                            <a:gd name="connsiteX73" fmla="*/ 3292 w 114117"/>
                            <a:gd name="connsiteY73" fmla="*/ 63094 h 113568"/>
                            <a:gd name="connsiteX74" fmla="*/ 3292 w 114117"/>
                            <a:gd name="connsiteY74" fmla="*/ 58705 h 113568"/>
                            <a:gd name="connsiteX75" fmla="*/ 5486 w 114117"/>
                            <a:gd name="connsiteY75" fmla="*/ 58705 h 113568"/>
                            <a:gd name="connsiteX76" fmla="*/ 6035 w 114117"/>
                            <a:gd name="connsiteY76" fmla="*/ 59253 h 113568"/>
                            <a:gd name="connsiteX77" fmla="*/ 8778 w 114117"/>
                            <a:gd name="connsiteY77" fmla="*/ 59253 h 113568"/>
                            <a:gd name="connsiteX78" fmla="*/ 8778 w 114117"/>
                            <a:gd name="connsiteY78" fmla="*/ 58705 h 113568"/>
                            <a:gd name="connsiteX79" fmla="*/ 7681 w 114117"/>
                            <a:gd name="connsiteY79" fmla="*/ 55961 h 113568"/>
                            <a:gd name="connsiteX80" fmla="*/ 4938 w 114117"/>
                            <a:gd name="connsiteY80" fmla="*/ 55961 h 113568"/>
                            <a:gd name="connsiteX81" fmla="*/ 2743 w 114117"/>
                            <a:gd name="connsiteY81" fmla="*/ 53767 h 113568"/>
                            <a:gd name="connsiteX82" fmla="*/ 3840 w 114117"/>
                            <a:gd name="connsiteY82" fmla="*/ 48829 h 113568"/>
                            <a:gd name="connsiteX83" fmla="*/ 3292 w 114117"/>
                            <a:gd name="connsiteY83" fmla="*/ 44440 h 113568"/>
                            <a:gd name="connsiteX84" fmla="*/ 2743 w 114117"/>
                            <a:gd name="connsiteY84" fmla="*/ 42794 h 113568"/>
                            <a:gd name="connsiteX85" fmla="*/ 0 w 114117"/>
                            <a:gd name="connsiteY85" fmla="*/ 40599 h 113568"/>
                            <a:gd name="connsiteX86" fmla="*/ 0 w 114117"/>
                            <a:gd name="connsiteY86" fmla="*/ 37856 h 113568"/>
                            <a:gd name="connsiteX87" fmla="*/ 1646 w 114117"/>
                            <a:gd name="connsiteY87" fmla="*/ 33467 h 113568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  <a:cxn ang="0">
                              <a:pos x="connsiteX11" y="connsiteY11"/>
                            </a:cxn>
                            <a:cxn ang="0">
                              <a:pos x="connsiteX12" y="connsiteY12"/>
                            </a:cxn>
                            <a:cxn ang="0">
                              <a:pos x="connsiteX13" y="connsiteY13"/>
                            </a:cxn>
                            <a:cxn ang="0">
                              <a:pos x="connsiteX14" y="connsiteY14"/>
                            </a:cxn>
                            <a:cxn ang="0">
                              <a:pos x="connsiteX15" y="connsiteY15"/>
                            </a:cxn>
                            <a:cxn ang="0">
                              <a:pos x="connsiteX16" y="connsiteY16"/>
                            </a:cxn>
                            <a:cxn ang="0">
                              <a:pos x="connsiteX17" y="connsiteY17"/>
                            </a:cxn>
                            <a:cxn ang="0">
                              <a:pos x="connsiteX18" y="connsiteY18"/>
                            </a:cxn>
                            <a:cxn ang="0">
                              <a:pos x="connsiteX19" y="connsiteY19"/>
                            </a:cxn>
                            <a:cxn ang="0">
                              <a:pos x="connsiteX20" y="connsiteY20"/>
                            </a:cxn>
                            <a:cxn ang="0">
                              <a:pos x="connsiteX21" y="connsiteY21"/>
                            </a:cxn>
                            <a:cxn ang="0">
                              <a:pos x="connsiteX22" y="connsiteY22"/>
                            </a:cxn>
                            <a:cxn ang="0">
                              <a:pos x="connsiteX23" y="connsiteY23"/>
                            </a:cxn>
                            <a:cxn ang="0">
                              <a:pos x="connsiteX24" y="connsiteY24"/>
                            </a:cxn>
                            <a:cxn ang="0">
                              <a:pos x="connsiteX25" y="connsiteY25"/>
                            </a:cxn>
                            <a:cxn ang="0">
                              <a:pos x="connsiteX26" y="connsiteY26"/>
                            </a:cxn>
                            <a:cxn ang="0">
                              <a:pos x="connsiteX27" y="connsiteY27"/>
                            </a:cxn>
                            <a:cxn ang="0">
                              <a:pos x="connsiteX28" y="connsiteY28"/>
                            </a:cxn>
                            <a:cxn ang="0">
                              <a:pos x="connsiteX29" y="connsiteY29"/>
                            </a:cxn>
                            <a:cxn ang="0">
                              <a:pos x="connsiteX30" y="connsiteY30"/>
                            </a:cxn>
                            <a:cxn ang="0">
                              <a:pos x="connsiteX31" y="connsiteY31"/>
                            </a:cxn>
                            <a:cxn ang="0">
                              <a:pos x="connsiteX32" y="connsiteY32"/>
                            </a:cxn>
                            <a:cxn ang="0">
                              <a:pos x="connsiteX33" y="connsiteY33"/>
                            </a:cxn>
                            <a:cxn ang="0">
                              <a:pos x="connsiteX34" y="connsiteY34"/>
                            </a:cxn>
                            <a:cxn ang="0">
                              <a:pos x="connsiteX35" y="connsiteY35"/>
                            </a:cxn>
                            <a:cxn ang="0">
                              <a:pos x="connsiteX36" y="connsiteY36"/>
                            </a:cxn>
                            <a:cxn ang="0">
                              <a:pos x="connsiteX37" y="connsiteY37"/>
                            </a:cxn>
                            <a:cxn ang="0">
                              <a:pos x="connsiteX38" y="connsiteY38"/>
                            </a:cxn>
                            <a:cxn ang="0">
                              <a:pos x="connsiteX39" y="connsiteY39"/>
                            </a:cxn>
                            <a:cxn ang="0">
                              <a:pos x="connsiteX40" y="connsiteY40"/>
                            </a:cxn>
                            <a:cxn ang="0">
                              <a:pos x="connsiteX41" y="connsiteY41"/>
                            </a:cxn>
                            <a:cxn ang="0">
                              <a:pos x="connsiteX42" y="connsiteY42"/>
                            </a:cxn>
                            <a:cxn ang="0">
                              <a:pos x="connsiteX43" y="connsiteY43"/>
                            </a:cxn>
                            <a:cxn ang="0">
                              <a:pos x="connsiteX44" y="connsiteY44"/>
                            </a:cxn>
                            <a:cxn ang="0">
                              <a:pos x="connsiteX45" y="connsiteY45"/>
                            </a:cxn>
                            <a:cxn ang="0">
                              <a:pos x="connsiteX46" y="connsiteY46"/>
                            </a:cxn>
                            <a:cxn ang="0">
                              <a:pos x="connsiteX47" y="connsiteY47"/>
                            </a:cxn>
                            <a:cxn ang="0">
                              <a:pos x="connsiteX48" y="connsiteY48"/>
                            </a:cxn>
                            <a:cxn ang="0">
                              <a:pos x="connsiteX49" y="connsiteY49"/>
                            </a:cxn>
                            <a:cxn ang="0">
                              <a:pos x="connsiteX50" y="connsiteY50"/>
                            </a:cxn>
                            <a:cxn ang="0">
                              <a:pos x="connsiteX51" y="connsiteY51"/>
                            </a:cxn>
                            <a:cxn ang="0">
                              <a:pos x="connsiteX52" y="connsiteY52"/>
                            </a:cxn>
                            <a:cxn ang="0">
                              <a:pos x="connsiteX53" y="connsiteY53"/>
                            </a:cxn>
                            <a:cxn ang="0">
                              <a:pos x="connsiteX54" y="connsiteY54"/>
                            </a:cxn>
                            <a:cxn ang="0">
                              <a:pos x="connsiteX55" y="connsiteY55"/>
                            </a:cxn>
                            <a:cxn ang="0">
                              <a:pos x="connsiteX56" y="connsiteY56"/>
                            </a:cxn>
                            <a:cxn ang="0">
                              <a:pos x="connsiteX57" y="connsiteY57"/>
                            </a:cxn>
                            <a:cxn ang="0">
                              <a:pos x="connsiteX58" y="connsiteY58"/>
                            </a:cxn>
                            <a:cxn ang="0">
                              <a:pos x="connsiteX59" y="connsiteY59"/>
                            </a:cxn>
                            <a:cxn ang="0">
                              <a:pos x="connsiteX60" y="connsiteY60"/>
                            </a:cxn>
                            <a:cxn ang="0">
                              <a:pos x="connsiteX61" y="connsiteY61"/>
                            </a:cxn>
                            <a:cxn ang="0">
                              <a:pos x="connsiteX62" y="connsiteY62"/>
                            </a:cxn>
                            <a:cxn ang="0">
                              <a:pos x="connsiteX63" y="connsiteY63"/>
                            </a:cxn>
                            <a:cxn ang="0">
                              <a:pos x="connsiteX64" y="connsiteY64"/>
                            </a:cxn>
                            <a:cxn ang="0">
                              <a:pos x="connsiteX65" y="connsiteY65"/>
                            </a:cxn>
                            <a:cxn ang="0">
                              <a:pos x="connsiteX66" y="connsiteY66"/>
                            </a:cxn>
                            <a:cxn ang="0">
                              <a:pos x="connsiteX67" y="connsiteY67"/>
                            </a:cxn>
                            <a:cxn ang="0">
                              <a:pos x="connsiteX68" y="connsiteY68"/>
                            </a:cxn>
                            <a:cxn ang="0">
                              <a:pos x="connsiteX69" y="connsiteY69"/>
                            </a:cxn>
                            <a:cxn ang="0">
                              <a:pos x="connsiteX70" y="connsiteY70"/>
                            </a:cxn>
                            <a:cxn ang="0">
                              <a:pos x="connsiteX71" y="connsiteY71"/>
                            </a:cxn>
                            <a:cxn ang="0">
                              <a:pos x="connsiteX72" y="connsiteY72"/>
                            </a:cxn>
                            <a:cxn ang="0">
                              <a:pos x="connsiteX73" y="connsiteY73"/>
                            </a:cxn>
                            <a:cxn ang="0">
                              <a:pos x="connsiteX74" y="connsiteY74"/>
                            </a:cxn>
                            <a:cxn ang="0">
                              <a:pos x="connsiteX75" y="connsiteY75"/>
                            </a:cxn>
                            <a:cxn ang="0">
                              <a:pos x="connsiteX76" y="connsiteY76"/>
                            </a:cxn>
                            <a:cxn ang="0">
                              <a:pos x="connsiteX77" y="connsiteY77"/>
                            </a:cxn>
                            <a:cxn ang="0">
                              <a:pos x="connsiteX78" y="connsiteY78"/>
                            </a:cxn>
                            <a:cxn ang="0">
                              <a:pos x="connsiteX79" y="connsiteY79"/>
                            </a:cxn>
                            <a:cxn ang="0">
                              <a:pos x="connsiteX80" y="connsiteY80"/>
                            </a:cxn>
                            <a:cxn ang="0">
                              <a:pos x="connsiteX81" y="connsiteY81"/>
                            </a:cxn>
                            <a:cxn ang="0">
                              <a:pos x="connsiteX82" y="connsiteY82"/>
                            </a:cxn>
                            <a:cxn ang="0">
                              <a:pos x="connsiteX83" y="connsiteY83"/>
                            </a:cxn>
                            <a:cxn ang="0">
                              <a:pos x="connsiteX84" y="connsiteY84"/>
                            </a:cxn>
                            <a:cxn ang="0">
                              <a:pos x="connsiteX85" y="connsiteY85"/>
                            </a:cxn>
                            <a:cxn ang="0">
                              <a:pos x="connsiteX86" y="connsiteY86"/>
                            </a:cxn>
                            <a:cxn ang="0">
                              <a:pos x="connsiteX87" y="connsiteY87"/>
                            </a:cxn>
                          </a:cxnLst>
                          <a:rect l="l" t="t" r="r" b="b"/>
                          <a:pathLst>
                            <a:path w="114117" h="113568">
                              <a:moveTo>
                                <a:pt x="1646" y="33467"/>
                              </a:moveTo>
                              <a:lnTo>
                                <a:pt x="5486" y="35113"/>
                              </a:lnTo>
                              <a:lnTo>
                                <a:pt x="10973" y="34565"/>
                              </a:lnTo>
                              <a:lnTo>
                                <a:pt x="12619" y="33467"/>
                              </a:lnTo>
                              <a:lnTo>
                                <a:pt x="15911" y="26883"/>
                              </a:lnTo>
                              <a:lnTo>
                                <a:pt x="19202" y="26335"/>
                              </a:lnTo>
                              <a:lnTo>
                                <a:pt x="20848" y="25238"/>
                              </a:lnTo>
                              <a:lnTo>
                                <a:pt x="21397" y="21946"/>
                              </a:lnTo>
                              <a:lnTo>
                                <a:pt x="24689" y="20300"/>
                              </a:lnTo>
                              <a:lnTo>
                                <a:pt x="31821" y="10424"/>
                              </a:lnTo>
                              <a:lnTo>
                                <a:pt x="31272" y="4938"/>
                              </a:lnTo>
                              <a:lnTo>
                                <a:pt x="33467" y="3841"/>
                              </a:lnTo>
                              <a:lnTo>
                                <a:pt x="38953" y="3292"/>
                              </a:lnTo>
                              <a:lnTo>
                                <a:pt x="41697" y="4938"/>
                              </a:lnTo>
                              <a:lnTo>
                                <a:pt x="52121" y="3292"/>
                              </a:lnTo>
                              <a:lnTo>
                                <a:pt x="52121" y="0"/>
                              </a:lnTo>
                              <a:lnTo>
                                <a:pt x="78456" y="1097"/>
                              </a:lnTo>
                              <a:lnTo>
                                <a:pt x="81199" y="5486"/>
                              </a:lnTo>
                              <a:lnTo>
                                <a:pt x="85588" y="7681"/>
                              </a:lnTo>
                              <a:lnTo>
                                <a:pt x="87782" y="12070"/>
                              </a:lnTo>
                              <a:lnTo>
                                <a:pt x="91074" y="13716"/>
                              </a:lnTo>
                              <a:lnTo>
                                <a:pt x="91074" y="15911"/>
                              </a:lnTo>
                              <a:lnTo>
                                <a:pt x="93269" y="18105"/>
                              </a:lnTo>
                              <a:lnTo>
                                <a:pt x="92172" y="20300"/>
                              </a:lnTo>
                              <a:lnTo>
                                <a:pt x="92720" y="21946"/>
                              </a:lnTo>
                              <a:lnTo>
                                <a:pt x="97658" y="23043"/>
                              </a:lnTo>
                              <a:lnTo>
                                <a:pt x="99304" y="24689"/>
                              </a:lnTo>
                              <a:lnTo>
                                <a:pt x="99304" y="25786"/>
                              </a:lnTo>
                              <a:lnTo>
                                <a:pt x="98207" y="27432"/>
                              </a:lnTo>
                              <a:lnTo>
                                <a:pt x="99304" y="30724"/>
                              </a:lnTo>
                              <a:lnTo>
                                <a:pt x="98207" y="31273"/>
                              </a:lnTo>
                              <a:lnTo>
                                <a:pt x="99304" y="34565"/>
                              </a:lnTo>
                              <a:lnTo>
                                <a:pt x="99852" y="36210"/>
                              </a:lnTo>
                              <a:lnTo>
                                <a:pt x="103144" y="38405"/>
                              </a:lnTo>
                              <a:lnTo>
                                <a:pt x="104242" y="40599"/>
                              </a:lnTo>
                              <a:lnTo>
                                <a:pt x="105339" y="48281"/>
                              </a:lnTo>
                              <a:lnTo>
                                <a:pt x="105339" y="48829"/>
                              </a:lnTo>
                              <a:lnTo>
                                <a:pt x="101498" y="49926"/>
                              </a:lnTo>
                              <a:lnTo>
                                <a:pt x="98207" y="61448"/>
                              </a:lnTo>
                              <a:lnTo>
                                <a:pt x="98207" y="63094"/>
                              </a:lnTo>
                              <a:lnTo>
                                <a:pt x="106436" y="59802"/>
                              </a:lnTo>
                              <a:lnTo>
                                <a:pt x="110825" y="56510"/>
                              </a:lnTo>
                              <a:lnTo>
                                <a:pt x="111374" y="56510"/>
                              </a:lnTo>
                              <a:lnTo>
                                <a:pt x="111923" y="58156"/>
                              </a:lnTo>
                              <a:lnTo>
                                <a:pt x="111923" y="64191"/>
                              </a:lnTo>
                              <a:lnTo>
                                <a:pt x="114117" y="66386"/>
                              </a:lnTo>
                              <a:lnTo>
                                <a:pt x="113568" y="67483"/>
                              </a:lnTo>
                              <a:lnTo>
                                <a:pt x="106985" y="68580"/>
                              </a:lnTo>
                              <a:lnTo>
                                <a:pt x="104242" y="72421"/>
                              </a:lnTo>
                              <a:lnTo>
                                <a:pt x="102047" y="73518"/>
                              </a:lnTo>
                              <a:lnTo>
                                <a:pt x="102047" y="83942"/>
                              </a:lnTo>
                              <a:lnTo>
                                <a:pt x="99852" y="85039"/>
                              </a:lnTo>
                              <a:lnTo>
                                <a:pt x="98207" y="87782"/>
                              </a:lnTo>
                              <a:lnTo>
                                <a:pt x="95463" y="88331"/>
                              </a:lnTo>
                              <a:lnTo>
                                <a:pt x="93269" y="92720"/>
                              </a:lnTo>
                              <a:lnTo>
                                <a:pt x="88331" y="94366"/>
                              </a:lnTo>
                              <a:lnTo>
                                <a:pt x="80101" y="102047"/>
                              </a:lnTo>
                              <a:lnTo>
                                <a:pt x="77358" y="102047"/>
                              </a:lnTo>
                              <a:lnTo>
                                <a:pt x="76261" y="103693"/>
                              </a:lnTo>
                              <a:lnTo>
                                <a:pt x="76261" y="106985"/>
                              </a:lnTo>
                              <a:lnTo>
                                <a:pt x="74615" y="107534"/>
                              </a:lnTo>
                              <a:lnTo>
                                <a:pt x="73518" y="111923"/>
                              </a:lnTo>
                              <a:lnTo>
                                <a:pt x="70226" y="113569"/>
                              </a:lnTo>
                              <a:lnTo>
                                <a:pt x="69129" y="113569"/>
                              </a:lnTo>
                              <a:lnTo>
                                <a:pt x="35662" y="99853"/>
                              </a:lnTo>
                              <a:lnTo>
                                <a:pt x="34564" y="96012"/>
                              </a:lnTo>
                              <a:lnTo>
                                <a:pt x="32370" y="92172"/>
                              </a:lnTo>
                              <a:lnTo>
                                <a:pt x="15362" y="80650"/>
                              </a:lnTo>
                              <a:lnTo>
                                <a:pt x="15911" y="76810"/>
                              </a:lnTo>
                              <a:lnTo>
                                <a:pt x="14813" y="75164"/>
                              </a:lnTo>
                              <a:lnTo>
                                <a:pt x="14265" y="72969"/>
                              </a:lnTo>
                              <a:lnTo>
                                <a:pt x="10973" y="69677"/>
                              </a:lnTo>
                              <a:lnTo>
                                <a:pt x="6584" y="69129"/>
                              </a:lnTo>
                              <a:lnTo>
                                <a:pt x="3292" y="63094"/>
                              </a:lnTo>
                              <a:lnTo>
                                <a:pt x="3292" y="58705"/>
                              </a:lnTo>
                              <a:lnTo>
                                <a:pt x="5486" y="58705"/>
                              </a:lnTo>
                              <a:lnTo>
                                <a:pt x="6035" y="59253"/>
                              </a:lnTo>
                              <a:lnTo>
                                <a:pt x="8778" y="59253"/>
                              </a:lnTo>
                              <a:lnTo>
                                <a:pt x="8778" y="58705"/>
                              </a:lnTo>
                              <a:lnTo>
                                <a:pt x="7681" y="55961"/>
                              </a:lnTo>
                              <a:lnTo>
                                <a:pt x="4938" y="55961"/>
                              </a:lnTo>
                              <a:lnTo>
                                <a:pt x="2743" y="53767"/>
                              </a:lnTo>
                              <a:lnTo>
                                <a:pt x="3840" y="48829"/>
                              </a:lnTo>
                              <a:lnTo>
                                <a:pt x="3292" y="44440"/>
                              </a:lnTo>
                              <a:lnTo>
                                <a:pt x="2743" y="42794"/>
                              </a:lnTo>
                              <a:lnTo>
                                <a:pt x="0" y="40599"/>
                              </a:lnTo>
                              <a:lnTo>
                                <a:pt x="0" y="37856"/>
                              </a:lnTo>
                              <a:lnTo>
                                <a:pt x="1646" y="33467"/>
                              </a:lnTo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213" name="Graphic 7">
                          <a:extLst>
                            <a:ext uri="{FF2B5EF4-FFF2-40B4-BE49-F238E27FC236}">
                              <a16:creationId xmlns:a16="http://schemas.microsoft.com/office/drawing/2014/main" id="{FFBD4A48-F034-636B-C56A-BFD56F608498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4988321" y="4154592"/>
                          <a:ext cx="180029" cy="189031"/>
                        </a:xfrm>
                        <a:custGeom>
                          <a:avLst/>
                          <a:gdLst>
                            <a:gd name="connsiteX0" fmla="*/ 38405 w 230428"/>
                            <a:gd name="connsiteY0" fmla="*/ 239207 h 241950"/>
                            <a:gd name="connsiteX1" fmla="*/ 38953 w 230428"/>
                            <a:gd name="connsiteY1" fmla="*/ 241402 h 241950"/>
                            <a:gd name="connsiteX2" fmla="*/ 49926 w 230428"/>
                            <a:gd name="connsiteY2" fmla="*/ 241950 h 241950"/>
                            <a:gd name="connsiteX3" fmla="*/ 164043 w 230428"/>
                            <a:gd name="connsiteY3" fmla="*/ 210129 h 241950"/>
                            <a:gd name="connsiteX4" fmla="*/ 203545 w 230428"/>
                            <a:gd name="connsiteY4" fmla="*/ 216164 h 241950"/>
                            <a:gd name="connsiteX5" fmla="*/ 208483 w 230428"/>
                            <a:gd name="connsiteY5" fmla="*/ 210678 h 241950"/>
                            <a:gd name="connsiteX6" fmla="*/ 209580 w 230428"/>
                            <a:gd name="connsiteY6" fmla="*/ 210129 h 241950"/>
                            <a:gd name="connsiteX7" fmla="*/ 213970 w 230428"/>
                            <a:gd name="connsiteY7" fmla="*/ 210678 h 241950"/>
                            <a:gd name="connsiteX8" fmla="*/ 216164 w 230428"/>
                            <a:gd name="connsiteY8" fmla="*/ 211226 h 241950"/>
                            <a:gd name="connsiteX9" fmla="*/ 221102 w 230428"/>
                            <a:gd name="connsiteY9" fmla="*/ 211226 h 241950"/>
                            <a:gd name="connsiteX10" fmla="*/ 219456 w 230428"/>
                            <a:gd name="connsiteY10" fmla="*/ 192573 h 241950"/>
                            <a:gd name="connsiteX11" fmla="*/ 217810 w 230428"/>
                            <a:gd name="connsiteY11" fmla="*/ 191475 h 241950"/>
                            <a:gd name="connsiteX12" fmla="*/ 212324 w 230428"/>
                            <a:gd name="connsiteY12" fmla="*/ 190927 h 241950"/>
                            <a:gd name="connsiteX13" fmla="*/ 209580 w 230428"/>
                            <a:gd name="connsiteY13" fmla="*/ 187635 h 241950"/>
                            <a:gd name="connsiteX14" fmla="*/ 201900 w 230428"/>
                            <a:gd name="connsiteY14" fmla="*/ 162397 h 241950"/>
                            <a:gd name="connsiteX15" fmla="*/ 202997 w 230428"/>
                            <a:gd name="connsiteY15" fmla="*/ 145390 h 241950"/>
                            <a:gd name="connsiteX16" fmla="*/ 205740 w 230428"/>
                            <a:gd name="connsiteY16" fmla="*/ 141000 h 241950"/>
                            <a:gd name="connsiteX17" fmla="*/ 209580 w 230428"/>
                            <a:gd name="connsiteY17" fmla="*/ 136063 h 241950"/>
                            <a:gd name="connsiteX18" fmla="*/ 211775 w 230428"/>
                            <a:gd name="connsiteY18" fmla="*/ 132222 h 241950"/>
                            <a:gd name="connsiteX19" fmla="*/ 213421 w 230428"/>
                            <a:gd name="connsiteY19" fmla="*/ 119055 h 241950"/>
                            <a:gd name="connsiteX20" fmla="*/ 219456 w 230428"/>
                            <a:gd name="connsiteY20" fmla="*/ 103693 h 241950"/>
                            <a:gd name="connsiteX21" fmla="*/ 222199 w 230428"/>
                            <a:gd name="connsiteY21" fmla="*/ 102595 h 241950"/>
                            <a:gd name="connsiteX22" fmla="*/ 223845 w 230428"/>
                            <a:gd name="connsiteY22" fmla="*/ 99304 h 241950"/>
                            <a:gd name="connsiteX23" fmla="*/ 226588 w 230428"/>
                            <a:gd name="connsiteY23" fmla="*/ 98206 h 241950"/>
                            <a:gd name="connsiteX24" fmla="*/ 226588 w 230428"/>
                            <a:gd name="connsiteY24" fmla="*/ 94366 h 241950"/>
                            <a:gd name="connsiteX25" fmla="*/ 230429 w 230428"/>
                            <a:gd name="connsiteY25" fmla="*/ 94366 h 241950"/>
                            <a:gd name="connsiteX26" fmla="*/ 223845 w 230428"/>
                            <a:gd name="connsiteY26" fmla="*/ 64191 h 241950"/>
                            <a:gd name="connsiteX27" fmla="*/ 221651 w 230428"/>
                            <a:gd name="connsiteY27" fmla="*/ 62545 h 241950"/>
                            <a:gd name="connsiteX28" fmla="*/ 218907 w 230428"/>
                            <a:gd name="connsiteY28" fmla="*/ 61447 h 241950"/>
                            <a:gd name="connsiteX29" fmla="*/ 219456 w 230428"/>
                            <a:gd name="connsiteY29" fmla="*/ 59802 h 241950"/>
                            <a:gd name="connsiteX30" fmla="*/ 222748 w 230428"/>
                            <a:gd name="connsiteY30" fmla="*/ 55961 h 241950"/>
                            <a:gd name="connsiteX31" fmla="*/ 220553 w 230428"/>
                            <a:gd name="connsiteY31" fmla="*/ 52669 h 241950"/>
                            <a:gd name="connsiteX32" fmla="*/ 222199 w 230428"/>
                            <a:gd name="connsiteY32" fmla="*/ 50475 h 241950"/>
                            <a:gd name="connsiteX33" fmla="*/ 221651 w 230428"/>
                            <a:gd name="connsiteY33" fmla="*/ 46086 h 241950"/>
                            <a:gd name="connsiteX34" fmla="*/ 219456 w 230428"/>
                            <a:gd name="connsiteY34" fmla="*/ 47731 h 241950"/>
                            <a:gd name="connsiteX35" fmla="*/ 216164 w 230428"/>
                            <a:gd name="connsiteY35" fmla="*/ 47731 h 241950"/>
                            <a:gd name="connsiteX36" fmla="*/ 213970 w 230428"/>
                            <a:gd name="connsiteY36" fmla="*/ 46634 h 241950"/>
                            <a:gd name="connsiteX37" fmla="*/ 209580 w 230428"/>
                            <a:gd name="connsiteY37" fmla="*/ 36759 h 241950"/>
                            <a:gd name="connsiteX38" fmla="*/ 206837 w 230428"/>
                            <a:gd name="connsiteY38" fmla="*/ 36210 h 241950"/>
                            <a:gd name="connsiteX39" fmla="*/ 202448 w 230428"/>
                            <a:gd name="connsiteY39" fmla="*/ 29626 h 241950"/>
                            <a:gd name="connsiteX40" fmla="*/ 201351 w 230428"/>
                            <a:gd name="connsiteY40" fmla="*/ 29626 h 241950"/>
                            <a:gd name="connsiteX41" fmla="*/ 198608 w 230428"/>
                            <a:gd name="connsiteY41" fmla="*/ 32370 h 241950"/>
                            <a:gd name="connsiteX42" fmla="*/ 185440 w 230428"/>
                            <a:gd name="connsiteY42" fmla="*/ 29078 h 241950"/>
                            <a:gd name="connsiteX43" fmla="*/ 161300 w 230428"/>
                            <a:gd name="connsiteY43" fmla="*/ 36210 h 241950"/>
                            <a:gd name="connsiteX44" fmla="*/ 159654 w 230428"/>
                            <a:gd name="connsiteY44" fmla="*/ 40051 h 241950"/>
                            <a:gd name="connsiteX45" fmla="*/ 156911 w 230428"/>
                            <a:gd name="connsiteY45" fmla="*/ 42245 h 241950"/>
                            <a:gd name="connsiteX46" fmla="*/ 151973 w 230428"/>
                            <a:gd name="connsiteY46" fmla="*/ 39502 h 241950"/>
                            <a:gd name="connsiteX47" fmla="*/ 150876 w 230428"/>
                            <a:gd name="connsiteY47" fmla="*/ 36759 h 241950"/>
                            <a:gd name="connsiteX48" fmla="*/ 149779 w 230428"/>
                            <a:gd name="connsiteY48" fmla="*/ 36759 h 241950"/>
                            <a:gd name="connsiteX49" fmla="*/ 148681 w 230428"/>
                            <a:gd name="connsiteY49" fmla="*/ 38953 h 241950"/>
                            <a:gd name="connsiteX50" fmla="*/ 145938 w 230428"/>
                            <a:gd name="connsiteY50" fmla="*/ 38953 h 241950"/>
                            <a:gd name="connsiteX51" fmla="*/ 145938 w 230428"/>
                            <a:gd name="connsiteY51" fmla="*/ 39502 h 241950"/>
                            <a:gd name="connsiteX52" fmla="*/ 141000 w 230428"/>
                            <a:gd name="connsiteY52" fmla="*/ 36759 h 241950"/>
                            <a:gd name="connsiteX53" fmla="*/ 140452 w 230428"/>
                            <a:gd name="connsiteY53" fmla="*/ 34015 h 241950"/>
                            <a:gd name="connsiteX54" fmla="*/ 137709 w 230428"/>
                            <a:gd name="connsiteY54" fmla="*/ 31821 h 241950"/>
                            <a:gd name="connsiteX55" fmla="*/ 135514 w 230428"/>
                            <a:gd name="connsiteY55" fmla="*/ 31821 h 241950"/>
                            <a:gd name="connsiteX56" fmla="*/ 135514 w 230428"/>
                            <a:gd name="connsiteY56" fmla="*/ 28529 h 241950"/>
                            <a:gd name="connsiteX57" fmla="*/ 134417 w 230428"/>
                            <a:gd name="connsiteY57" fmla="*/ 26883 h 241950"/>
                            <a:gd name="connsiteX58" fmla="*/ 132771 w 230428"/>
                            <a:gd name="connsiteY58" fmla="*/ 25786 h 241950"/>
                            <a:gd name="connsiteX59" fmla="*/ 130028 w 230428"/>
                            <a:gd name="connsiteY59" fmla="*/ 21397 h 241950"/>
                            <a:gd name="connsiteX60" fmla="*/ 128930 w 230428"/>
                            <a:gd name="connsiteY60" fmla="*/ 20848 h 241950"/>
                            <a:gd name="connsiteX61" fmla="*/ 128382 w 230428"/>
                            <a:gd name="connsiteY61" fmla="*/ 19751 h 241950"/>
                            <a:gd name="connsiteX62" fmla="*/ 127833 w 230428"/>
                            <a:gd name="connsiteY62" fmla="*/ 16459 h 241950"/>
                            <a:gd name="connsiteX63" fmla="*/ 127284 w 230428"/>
                            <a:gd name="connsiteY63" fmla="*/ 15362 h 241950"/>
                            <a:gd name="connsiteX64" fmla="*/ 126187 w 230428"/>
                            <a:gd name="connsiteY64" fmla="*/ 15362 h 241950"/>
                            <a:gd name="connsiteX65" fmla="*/ 117958 w 230428"/>
                            <a:gd name="connsiteY65" fmla="*/ 16459 h 241950"/>
                            <a:gd name="connsiteX66" fmla="*/ 116312 w 230428"/>
                            <a:gd name="connsiteY66" fmla="*/ 15910 h 241950"/>
                            <a:gd name="connsiteX67" fmla="*/ 114117 w 230428"/>
                            <a:gd name="connsiteY67" fmla="*/ 12070 h 241950"/>
                            <a:gd name="connsiteX68" fmla="*/ 111923 w 230428"/>
                            <a:gd name="connsiteY68" fmla="*/ 10424 h 241950"/>
                            <a:gd name="connsiteX69" fmla="*/ 102596 w 230428"/>
                            <a:gd name="connsiteY69" fmla="*/ 10973 h 241950"/>
                            <a:gd name="connsiteX70" fmla="*/ 100401 w 230428"/>
                            <a:gd name="connsiteY70" fmla="*/ 15362 h 241950"/>
                            <a:gd name="connsiteX71" fmla="*/ 97658 w 230428"/>
                            <a:gd name="connsiteY71" fmla="*/ 15910 h 241950"/>
                            <a:gd name="connsiteX72" fmla="*/ 94915 w 230428"/>
                            <a:gd name="connsiteY72" fmla="*/ 18654 h 241950"/>
                            <a:gd name="connsiteX73" fmla="*/ 89428 w 230428"/>
                            <a:gd name="connsiteY73" fmla="*/ 18105 h 241950"/>
                            <a:gd name="connsiteX74" fmla="*/ 89977 w 230428"/>
                            <a:gd name="connsiteY74" fmla="*/ 17008 h 241950"/>
                            <a:gd name="connsiteX75" fmla="*/ 89428 w 230428"/>
                            <a:gd name="connsiteY75" fmla="*/ 8778 h 241950"/>
                            <a:gd name="connsiteX76" fmla="*/ 87782 w 230428"/>
                            <a:gd name="connsiteY76" fmla="*/ 6583 h 241950"/>
                            <a:gd name="connsiteX77" fmla="*/ 88331 w 230428"/>
                            <a:gd name="connsiteY77" fmla="*/ 5486 h 241950"/>
                            <a:gd name="connsiteX78" fmla="*/ 87782 w 230428"/>
                            <a:gd name="connsiteY78" fmla="*/ 2194 h 241950"/>
                            <a:gd name="connsiteX79" fmla="*/ 86685 w 230428"/>
                            <a:gd name="connsiteY79" fmla="*/ 0 h 241950"/>
                            <a:gd name="connsiteX80" fmla="*/ 84491 w 230428"/>
                            <a:gd name="connsiteY80" fmla="*/ 1097 h 241950"/>
                            <a:gd name="connsiteX81" fmla="*/ 80650 w 230428"/>
                            <a:gd name="connsiteY81" fmla="*/ 1097 h 241950"/>
                            <a:gd name="connsiteX82" fmla="*/ 78456 w 230428"/>
                            <a:gd name="connsiteY82" fmla="*/ 5486 h 241950"/>
                            <a:gd name="connsiteX83" fmla="*/ 77358 w 230428"/>
                            <a:gd name="connsiteY83" fmla="*/ 5486 h 241950"/>
                            <a:gd name="connsiteX84" fmla="*/ 74066 w 230428"/>
                            <a:gd name="connsiteY84" fmla="*/ 3292 h 241950"/>
                            <a:gd name="connsiteX85" fmla="*/ 71872 w 230428"/>
                            <a:gd name="connsiteY85" fmla="*/ 3292 h 241950"/>
                            <a:gd name="connsiteX86" fmla="*/ 70226 w 230428"/>
                            <a:gd name="connsiteY86" fmla="*/ 5486 h 241950"/>
                            <a:gd name="connsiteX87" fmla="*/ 70226 w 230428"/>
                            <a:gd name="connsiteY87" fmla="*/ 8230 h 241950"/>
                            <a:gd name="connsiteX88" fmla="*/ 71872 w 230428"/>
                            <a:gd name="connsiteY88" fmla="*/ 12619 h 241950"/>
                            <a:gd name="connsiteX89" fmla="*/ 69677 w 230428"/>
                            <a:gd name="connsiteY89" fmla="*/ 14265 h 241950"/>
                            <a:gd name="connsiteX90" fmla="*/ 62545 w 230428"/>
                            <a:gd name="connsiteY90" fmla="*/ 14265 h 241950"/>
                            <a:gd name="connsiteX91" fmla="*/ 58704 w 230428"/>
                            <a:gd name="connsiteY91" fmla="*/ 15910 h 241950"/>
                            <a:gd name="connsiteX92" fmla="*/ 58156 w 230428"/>
                            <a:gd name="connsiteY92" fmla="*/ 18654 h 241950"/>
                            <a:gd name="connsiteX93" fmla="*/ 56510 w 230428"/>
                            <a:gd name="connsiteY93" fmla="*/ 21397 h 241950"/>
                            <a:gd name="connsiteX94" fmla="*/ 54315 w 230428"/>
                            <a:gd name="connsiteY94" fmla="*/ 21397 h 241950"/>
                            <a:gd name="connsiteX95" fmla="*/ 51572 w 230428"/>
                            <a:gd name="connsiteY95" fmla="*/ 19751 h 241950"/>
                            <a:gd name="connsiteX96" fmla="*/ 48829 w 230428"/>
                            <a:gd name="connsiteY96" fmla="*/ 17008 h 241950"/>
                            <a:gd name="connsiteX97" fmla="*/ 47732 w 230428"/>
                            <a:gd name="connsiteY97" fmla="*/ 16459 h 241950"/>
                            <a:gd name="connsiteX98" fmla="*/ 45537 w 230428"/>
                            <a:gd name="connsiteY98" fmla="*/ 17556 h 241950"/>
                            <a:gd name="connsiteX99" fmla="*/ 44988 w 230428"/>
                            <a:gd name="connsiteY99" fmla="*/ 18654 h 241950"/>
                            <a:gd name="connsiteX100" fmla="*/ 44440 w 230428"/>
                            <a:gd name="connsiteY100" fmla="*/ 18654 h 241950"/>
                            <a:gd name="connsiteX101" fmla="*/ 43343 w 230428"/>
                            <a:gd name="connsiteY101" fmla="*/ 14265 h 241950"/>
                            <a:gd name="connsiteX102" fmla="*/ 41148 w 230428"/>
                            <a:gd name="connsiteY102" fmla="*/ 10424 h 241950"/>
                            <a:gd name="connsiteX103" fmla="*/ 38405 w 230428"/>
                            <a:gd name="connsiteY103" fmla="*/ 9875 h 241950"/>
                            <a:gd name="connsiteX104" fmla="*/ 35662 w 230428"/>
                            <a:gd name="connsiteY104" fmla="*/ 12619 h 241950"/>
                            <a:gd name="connsiteX105" fmla="*/ 32370 w 230428"/>
                            <a:gd name="connsiteY105" fmla="*/ 11521 h 241950"/>
                            <a:gd name="connsiteX106" fmla="*/ 30724 w 230428"/>
                            <a:gd name="connsiteY106" fmla="*/ 12619 h 241950"/>
                            <a:gd name="connsiteX107" fmla="*/ 29078 w 230428"/>
                            <a:gd name="connsiteY107" fmla="*/ 14265 h 241950"/>
                            <a:gd name="connsiteX108" fmla="*/ 28529 w 230428"/>
                            <a:gd name="connsiteY108" fmla="*/ 17008 h 241950"/>
                            <a:gd name="connsiteX109" fmla="*/ 26335 w 230428"/>
                            <a:gd name="connsiteY109" fmla="*/ 19202 h 241950"/>
                            <a:gd name="connsiteX110" fmla="*/ 21946 w 230428"/>
                            <a:gd name="connsiteY110" fmla="*/ 20299 h 241950"/>
                            <a:gd name="connsiteX111" fmla="*/ 21946 w 230428"/>
                            <a:gd name="connsiteY111" fmla="*/ 21946 h 241950"/>
                            <a:gd name="connsiteX112" fmla="*/ 17008 w 230428"/>
                            <a:gd name="connsiteY112" fmla="*/ 26883 h 241950"/>
                            <a:gd name="connsiteX113" fmla="*/ 17008 w 230428"/>
                            <a:gd name="connsiteY113" fmla="*/ 28529 h 241950"/>
                            <a:gd name="connsiteX114" fmla="*/ 14813 w 230428"/>
                            <a:gd name="connsiteY114" fmla="*/ 30175 h 241950"/>
                            <a:gd name="connsiteX115" fmla="*/ 15362 w 230428"/>
                            <a:gd name="connsiteY115" fmla="*/ 47731 h 241950"/>
                            <a:gd name="connsiteX116" fmla="*/ 15911 w 230428"/>
                            <a:gd name="connsiteY116" fmla="*/ 48829 h 241950"/>
                            <a:gd name="connsiteX117" fmla="*/ 20848 w 230428"/>
                            <a:gd name="connsiteY117" fmla="*/ 52121 h 241950"/>
                            <a:gd name="connsiteX118" fmla="*/ 25786 w 230428"/>
                            <a:gd name="connsiteY118" fmla="*/ 51572 h 241950"/>
                            <a:gd name="connsiteX119" fmla="*/ 25237 w 230428"/>
                            <a:gd name="connsiteY119" fmla="*/ 60899 h 241950"/>
                            <a:gd name="connsiteX120" fmla="*/ 26883 w 230428"/>
                            <a:gd name="connsiteY120" fmla="*/ 60350 h 241950"/>
                            <a:gd name="connsiteX121" fmla="*/ 30175 w 230428"/>
                            <a:gd name="connsiteY121" fmla="*/ 64191 h 241950"/>
                            <a:gd name="connsiteX122" fmla="*/ 30175 w 230428"/>
                            <a:gd name="connsiteY122" fmla="*/ 65288 h 241950"/>
                            <a:gd name="connsiteX123" fmla="*/ 27981 w 230428"/>
                            <a:gd name="connsiteY123" fmla="*/ 65837 h 241950"/>
                            <a:gd name="connsiteX124" fmla="*/ 25786 w 230428"/>
                            <a:gd name="connsiteY124" fmla="*/ 68580 h 241950"/>
                            <a:gd name="connsiteX125" fmla="*/ 23592 w 230428"/>
                            <a:gd name="connsiteY125" fmla="*/ 75163 h 241950"/>
                            <a:gd name="connsiteX126" fmla="*/ 25237 w 230428"/>
                            <a:gd name="connsiteY126" fmla="*/ 74615 h 241950"/>
                            <a:gd name="connsiteX127" fmla="*/ 27432 w 230428"/>
                            <a:gd name="connsiteY127" fmla="*/ 75712 h 241950"/>
                            <a:gd name="connsiteX128" fmla="*/ 29627 w 230428"/>
                            <a:gd name="connsiteY128" fmla="*/ 75712 h 241950"/>
                            <a:gd name="connsiteX129" fmla="*/ 29627 w 230428"/>
                            <a:gd name="connsiteY129" fmla="*/ 79553 h 241950"/>
                            <a:gd name="connsiteX130" fmla="*/ 31821 w 230428"/>
                            <a:gd name="connsiteY130" fmla="*/ 82296 h 241950"/>
                            <a:gd name="connsiteX131" fmla="*/ 32370 w 230428"/>
                            <a:gd name="connsiteY131" fmla="*/ 91623 h 241950"/>
                            <a:gd name="connsiteX132" fmla="*/ 31272 w 230428"/>
                            <a:gd name="connsiteY132" fmla="*/ 91623 h 241950"/>
                            <a:gd name="connsiteX133" fmla="*/ 29627 w 230428"/>
                            <a:gd name="connsiteY133" fmla="*/ 87782 h 241950"/>
                            <a:gd name="connsiteX134" fmla="*/ 27432 w 230428"/>
                            <a:gd name="connsiteY134" fmla="*/ 88331 h 241950"/>
                            <a:gd name="connsiteX135" fmla="*/ 25786 w 230428"/>
                            <a:gd name="connsiteY135" fmla="*/ 87782 h 241950"/>
                            <a:gd name="connsiteX136" fmla="*/ 23043 w 230428"/>
                            <a:gd name="connsiteY136" fmla="*/ 85588 h 241950"/>
                            <a:gd name="connsiteX137" fmla="*/ 17008 w 230428"/>
                            <a:gd name="connsiteY137" fmla="*/ 85039 h 241950"/>
                            <a:gd name="connsiteX138" fmla="*/ 11521 w 230428"/>
                            <a:gd name="connsiteY138" fmla="*/ 87234 h 241950"/>
                            <a:gd name="connsiteX139" fmla="*/ 11521 w 230428"/>
                            <a:gd name="connsiteY139" fmla="*/ 87782 h 241950"/>
                            <a:gd name="connsiteX140" fmla="*/ 12619 w 230428"/>
                            <a:gd name="connsiteY140" fmla="*/ 88331 h 241950"/>
                            <a:gd name="connsiteX141" fmla="*/ 13167 w 230428"/>
                            <a:gd name="connsiteY141" fmla="*/ 91623 h 241950"/>
                            <a:gd name="connsiteX142" fmla="*/ 11521 w 230428"/>
                            <a:gd name="connsiteY142" fmla="*/ 95463 h 241950"/>
                            <a:gd name="connsiteX143" fmla="*/ 13167 w 230428"/>
                            <a:gd name="connsiteY143" fmla="*/ 96561 h 241950"/>
                            <a:gd name="connsiteX144" fmla="*/ 17556 w 230428"/>
                            <a:gd name="connsiteY144" fmla="*/ 96012 h 241950"/>
                            <a:gd name="connsiteX145" fmla="*/ 20300 w 230428"/>
                            <a:gd name="connsiteY145" fmla="*/ 97109 h 241950"/>
                            <a:gd name="connsiteX146" fmla="*/ 20848 w 230428"/>
                            <a:gd name="connsiteY146" fmla="*/ 99304 h 241950"/>
                            <a:gd name="connsiteX147" fmla="*/ 20300 w 230428"/>
                            <a:gd name="connsiteY147" fmla="*/ 100401 h 241950"/>
                            <a:gd name="connsiteX148" fmla="*/ 21397 w 230428"/>
                            <a:gd name="connsiteY148" fmla="*/ 100950 h 241950"/>
                            <a:gd name="connsiteX149" fmla="*/ 21946 w 230428"/>
                            <a:gd name="connsiteY149" fmla="*/ 102047 h 241950"/>
                            <a:gd name="connsiteX150" fmla="*/ 19202 w 230428"/>
                            <a:gd name="connsiteY150" fmla="*/ 104242 h 241950"/>
                            <a:gd name="connsiteX151" fmla="*/ 18105 w 230428"/>
                            <a:gd name="connsiteY151" fmla="*/ 113568 h 241950"/>
                            <a:gd name="connsiteX152" fmla="*/ 14813 w 230428"/>
                            <a:gd name="connsiteY152" fmla="*/ 117958 h 241950"/>
                            <a:gd name="connsiteX153" fmla="*/ 14813 w 230428"/>
                            <a:gd name="connsiteY153" fmla="*/ 120701 h 241950"/>
                            <a:gd name="connsiteX154" fmla="*/ 4938 w 230428"/>
                            <a:gd name="connsiteY154" fmla="*/ 120701 h 241950"/>
                            <a:gd name="connsiteX155" fmla="*/ 2743 w 230428"/>
                            <a:gd name="connsiteY155" fmla="*/ 121798 h 241950"/>
                            <a:gd name="connsiteX156" fmla="*/ 4938 w 230428"/>
                            <a:gd name="connsiteY156" fmla="*/ 131674 h 241950"/>
                            <a:gd name="connsiteX157" fmla="*/ 6584 w 230428"/>
                            <a:gd name="connsiteY157" fmla="*/ 131674 h 241950"/>
                            <a:gd name="connsiteX158" fmla="*/ 8230 w 230428"/>
                            <a:gd name="connsiteY158" fmla="*/ 133868 h 241950"/>
                            <a:gd name="connsiteX159" fmla="*/ 8230 w 230428"/>
                            <a:gd name="connsiteY159" fmla="*/ 135514 h 241950"/>
                            <a:gd name="connsiteX160" fmla="*/ 10973 w 230428"/>
                            <a:gd name="connsiteY160" fmla="*/ 137709 h 241950"/>
                            <a:gd name="connsiteX161" fmla="*/ 7681 w 230428"/>
                            <a:gd name="connsiteY161" fmla="*/ 150327 h 241950"/>
                            <a:gd name="connsiteX162" fmla="*/ 2195 w 230428"/>
                            <a:gd name="connsiteY162" fmla="*/ 155814 h 241950"/>
                            <a:gd name="connsiteX163" fmla="*/ 0 w 230428"/>
                            <a:gd name="connsiteY163" fmla="*/ 159654 h 241950"/>
                            <a:gd name="connsiteX164" fmla="*/ 0 w 230428"/>
                            <a:gd name="connsiteY164" fmla="*/ 160751 h 241950"/>
                            <a:gd name="connsiteX165" fmla="*/ 1646 w 230428"/>
                            <a:gd name="connsiteY165" fmla="*/ 160751 h 241950"/>
                            <a:gd name="connsiteX166" fmla="*/ 2195 w 230428"/>
                            <a:gd name="connsiteY166" fmla="*/ 161849 h 241950"/>
                            <a:gd name="connsiteX167" fmla="*/ 4938 w 230428"/>
                            <a:gd name="connsiteY167" fmla="*/ 161849 h 241950"/>
                            <a:gd name="connsiteX168" fmla="*/ 5486 w 230428"/>
                            <a:gd name="connsiteY168" fmla="*/ 163495 h 241950"/>
                            <a:gd name="connsiteX169" fmla="*/ 7132 w 230428"/>
                            <a:gd name="connsiteY169" fmla="*/ 164043 h 241950"/>
                            <a:gd name="connsiteX170" fmla="*/ 9876 w 230428"/>
                            <a:gd name="connsiteY170" fmla="*/ 164043 h 241950"/>
                            <a:gd name="connsiteX171" fmla="*/ 14813 w 230428"/>
                            <a:gd name="connsiteY171" fmla="*/ 167335 h 241950"/>
                            <a:gd name="connsiteX172" fmla="*/ 21397 w 230428"/>
                            <a:gd name="connsiteY172" fmla="*/ 167335 h 241950"/>
                            <a:gd name="connsiteX173" fmla="*/ 23043 w 230428"/>
                            <a:gd name="connsiteY173" fmla="*/ 167335 h 241950"/>
                            <a:gd name="connsiteX174" fmla="*/ 25786 w 230428"/>
                            <a:gd name="connsiteY174" fmla="*/ 171724 h 241950"/>
                            <a:gd name="connsiteX175" fmla="*/ 25786 w 230428"/>
                            <a:gd name="connsiteY175" fmla="*/ 174467 h 241950"/>
                            <a:gd name="connsiteX176" fmla="*/ 27981 w 230428"/>
                            <a:gd name="connsiteY176" fmla="*/ 175565 h 241950"/>
                            <a:gd name="connsiteX177" fmla="*/ 30724 w 230428"/>
                            <a:gd name="connsiteY177" fmla="*/ 182148 h 241950"/>
                            <a:gd name="connsiteX178" fmla="*/ 34564 w 230428"/>
                            <a:gd name="connsiteY178" fmla="*/ 182697 h 241950"/>
                            <a:gd name="connsiteX179" fmla="*/ 38405 w 230428"/>
                            <a:gd name="connsiteY179" fmla="*/ 185440 h 241950"/>
                            <a:gd name="connsiteX180" fmla="*/ 42245 w 230428"/>
                            <a:gd name="connsiteY180" fmla="*/ 184891 h 241950"/>
                            <a:gd name="connsiteX181" fmla="*/ 42245 w 230428"/>
                            <a:gd name="connsiteY181" fmla="*/ 188183 h 241950"/>
                            <a:gd name="connsiteX182" fmla="*/ 43891 w 230428"/>
                            <a:gd name="connsiteY182" fmla="*/ 191475 h 241950"/>
                            <a:gd name="connsiteX183" fmla="*/ 44988 w 230428"/>
                            <a:gd name="connsiteY183" fmla="*/ 195864 h 241950"/>
                            <a:gd name="connsiteX184" fmla="*/ 43343 w 230428"/>
                            <a:gd name="connsiteY184" fmla="*/ 200802 h 241950"/>
                            <a:gd name="connsiteX185" fmla="*/ 44988 w 230428"/>
                            <a:gd name="connsiteY185" fmla="*/ 204643 h 241950"/>
                            <a:gd name="connsiteX186" fmla="*/ 44440 w 230428"/>
                            <a:gd name="connsiteY186" fmla="*/ 205191 h 241950"/>
                            <a:gd name="connsiteX187" fmla="*/ 41697 w 230428"/>
                            <a:gd name="connsiteY187" fmla="*/ 205191 h 241950"/>
                            <a:gd name="connsiteX188" fmla="*/ 41148 w 230428"/>
                            <a:gd name="connsiteY188" fmla="*/ 207386 h 241950"/>
                            <a:gd name="connsiteX189" fmla="*/ 41148 w 230428"/>
                            <a:gd name="connsiteY189" fmla="*/ 212323 h 241950"/>
                            <a:gd name="connsiteX190" fmla="*/ 38405 w 230428"/>
                            <a:gd name="connsiteY190" fmla="*/ 212872 h 241950"/>
                            <a:gd name="connsiteX191" fmla="*/ 38405 w 230428"/>
                            <a:gd name="connsiteY191" fmla="*/ 213970 h 241950"/>
                            <a:gd name="connsiteX192" fmla="*/ 38405 w 230428"/>
                            <a:gd name="connsiteY192" fmla="*/ 218359 h 241950"/>
                            <a:gd name="connsiteX193" fmla="*/ 37856 w 230428"/>
                            <a:gd name="connsiteY193" fmla="*/ 221102 h 241950"/>
                            <a:gd name="connsiteX194" fmla="*/ 38405 w 230428"/>
                            <a:gd name="connsiteY194" fmla="*/ 239207 h 241950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  <a:cxn ang="0">
                              <a:pos x="connsiteX11" y="connsiteY11"/>
                            </a:cxn>
                            <a:cxn ang="0">
                              <a:pos x="connsiteX12" y="connsiteY12"/>
                            </a:cxn>
                            <a:cxn ang="0">
                              <a:pos x="connsiteX13" y="connsiteY13"/>
                            </a:cxn>
                            <a:cxn ang="0">
                              <a:pos x="connsiteX14" y="connsiteY14"/>
                            </a:cxn>
                            <a:cxn ang="0">
                              <a:pos x="connsiteX15" y="connsiteY15"/>
                            </a:cxn>
                            <a:cxn ang="0">
                              <a:pos x="connsiteX16" y="connsiteY16"/>
                            </a:cxn>
                            <a:cxn ang="0">
                              <a:pos x="connsiteX17" y="connsiteY17"/>
                            </a:cxn>
                            <a:cxn ang="0">
                              <a:pos x="connsiteX18" y="connsiteY18"/>
                            </a:cxn>
                            <a:cxn ang="0">
                              <a:pos x="connsiteX19" y="connsiteY19"/>
                            </a:cxn>
                            <a:cxn ang="0">
                              <a:pos x="connsiteX20" y="connsiteY20"/>
                            </a:cxn>
                            <a:cxn ang="0">
                              <a:pos x="connsiteX21" y="connsiteY21"/>
                            </a:cxn>
                            <a:cxn ang="0">
                              <a:pos x="connsiteX22" y="connsiteY22"/>
                            </a:cxn>
                            <a:cxn ang="0">
                              <a:pos x="connsiteX23" y="connsiteY23"/>
                            </a:cxn>
                            <a:cxn ang="0">
                              <a:pos x="connsiteX24" y="connsiteY24"/>
                            </a:cxn>
                            <a:cxn ang="0">
                              <a:pos x="connsiteX25" y="connsiteY25"/>
                            </a:cxn>
                            <a:cxn ang="0">
                              <a:pos x="connsiteX26" y="connsiteY26"/>
                            </a:cxn>
                            <a:cxn ang="0">
                              <a:pos x="connsiteX27" y="connsiteY27"/>
                            </a:cxn>
                            <a:cxn ang="0">
                              <a:pos x="connsiteX28" y="connsiteY28"/>
                            </a:cxn>
                            <a:cxn ang="0">
                              <a:pos x="connsiteX29" y="connsiteY29"/>
                            </a:cxn>
                            <a:cxn ang="0">
                              <a:pos x="connsiteX30" y="connsiteY30"/>
                            </a:cxn>
                            <a:cxn ang="0">
                              <a:pos x="connsiteX31" y="connsiteY31"/>
                            </a:cxn>
                            <a:cxn ang="0">
                              <a:pos x="connsiteX32" y="connsiteY32"/>
                            </a:cxn>
                            <a:cxn ang="0">
                              <a:pos x="connsiteX33" y="connsiteY33"/>
                            </a:cxn>
                            <a:cxn ang="0">
                              <a:pos x="connsiteX34" y="connsiteY34"/>
                            </a:cxn>
                            <a:cxn ang="0">
                              <a:pos x="connsiteX35" y="connsiteY35"/>
                            </a:cxn>
                            <a:cxn ang="0">
                              <a:pos x="connsiteX36" y="connsiteY36"/>
                            </a:cxn>
                            <a:cxn ang="0">
                              <a:pos x="connsiteX37" y="connsiteY37"/>
                            </a:cxn>
                            <a:cxn ang="0">
                              <a:pos x="connsiteX38" y="connsiteY38"/>
                            </a:cxn>
                            <a:cxn ang="0">
                              <a:pos x="connsiteX39" y="connsiteY39"/>
                            </a:cxn>
                            <a:cxn ang="0">
                              <a:pos x="connsiteX40" y="connsiteY40"/>
                            </a:cxn>
                            <a:cxn ang="0">
                              <a:pos x="connsiteX41" y="connsiteY41"/>
                            </a:cxn>
                            <a:cxn ang="0">
                              <a:pos x="connsiteX42" y="connsiteY42"/>
                            </a:cxn>
                            <a:cxn ang="0">
                              <a:pos x="connsiteX43" y="connsiteY43"/>
                            </a:cxn>
                            <a:cxn ang="0">
                              <a:pos x="connsiteX44" y="connsiteY44"/>
                            </a:cxn>
                            <a:cxn ang="0">
                              <a:pos x="connsiteX45" y="connsiteY45"/>
                            </a:cxn>
                            <a:cxn ang="0">
                              <a:pos x="connsiteX46" y="connsiteY46"/>
                            </a:cxn>
                            <a:cxn ang="0">
                              <a:pos x="connsiteX47" y="connsiteY47"/>
                            </a:cxn>
                            <a:cxn ang="0">
                              <a:pos x="connsiteX48" y="connsiteY48"/>
                            </a:cxn>
                            <a:cxn ang="0">
                              <a:pos x="connsiteX49" y="connsiteY49"/>
                            </a:cxn>
                            <a:cxn ang="0">
                              <a:pos x="connsiteX50" y="connsiteY50"/>
                            </a:cxn>
                            <a:cxn ang="0">
                              <a:pos x="connsiteX51" y="connsiteY51"/>
                            </a:cxn>
                            <a:cxn ang="0">
                              <a:pos x="connsiteX52" y="connsiteY52"/>
                            </a:cxn>
                            <a:cxn ang="0">
                              <a:pos x="connsiteX53" y="connsiteY53"/>
                            </a:cxn>
                            <a:cxn ang="0">
                              <a:pos x="connsiteX54" y="connsiteY54"/>
                            </a:cxn>
                            <a:cxn ang="0">
                              <a:pos x="connsiteX55" y="connsiteY55"/>
                            </a:cxn>
                            <a:cxn ang="0">
                              <a:pos x="connsiteX56" y="connsiteY56"/>
                            </a:cxn>
                            <a:cxn ang="0">
                              <a:pos x="connsiteX57" y="connsiteY57"/>
                            </a:cxn>
                            <a:cxn ang="0">
                              <a:pos x="connsiteX58" y="connsiteY58"/>
                            </a:cxn>
                            <a:cxn ang="0">
                              <a:pos x="connsiteX59" y="connsiteY59"/>
                            </a:cxn>
                            <a:cxn ang="0">
                              <a:pos x="connsiteX60" y="connsiteY60"/>
                            </a:cxn>
                            <a:cxn ang="0">
                              <a:pos x="connsiteX61" y="connsiteY61"/>
                            </a:cxn>
                            <a:cxn ang="0">
                              <a:pos x="connsiteX62" y="connsiteY62"/>
                            </a:cxn>
                            <a:cxn ang="0">
                              <a:pos x="connsiteX63" y="connsiteY63"/>
                            </a:cxn>
                            <a:cxn ang="0">
                              <a:pos x="connsiteX64" y="connsiteY64"/>
                            </a:cxn>
                            <a:cxn ang="0">
                              <a:pos x="connsiteX65" y="connsiteY65"/>
                            </a:cxn>
                            <a:cxn ang="0">
                              <a:pos x="connsiteX66" y="connsiteY66"/>
                            </a:cxn>
                            <a:cxn ang="0">
                              <a:pos x="connsiteX67" y="connsiteY67"/>
                            </a:cxn>
                            <a:cxn ang="0">
                              <a:pos x="connsiteX68" y="connsiteY68"/>
                            </a:cxn>
                            <a:cxn ang="0">
                              <a:pos x="connsiteX69" y="connsiteY69"/>
                            </a:cxn>
                            <a:cxn ang="0">
                              <a:pos x="connsiteX70" y="connsiteY70"/>
                            </a:cxn>
                            <a:cxn ang="0">
                              <a:pos x="connsiteX71" y="connsiteY71"/>
                            </a:cxn>
                            <a:cxn ang="0">
                              <a:pos x="connsiteX72" y="connsiteY72"/>
                            </a:cxn>
                            <a:cxn ang="0">
                              <a:pos x="connsiteX73" y="connsiteY73"/>
                            </a:cxn>
                            <a:cxn ang="0">
                              <a:pos x="connsiteX74" y="connsiteY74"/>
                            </a:cxn>
                            <a:cxn ang="0">
                              <a:pos x="connsiteX75" y="connsiteY75"/>
                            </a:cxn>
                            <a:cxn ang="0">
                              <a:pos x="connsiteX76" y="connsiteY76"/>
                            </a:cxn>
                            <a:cxn ang="0">
                              <a:pos x="connsiteX77" y="connsiteY77"/>
                            </a:cxn>
                            <a:cxn ang="0">
                              <a:pos x="connsiteX78" y="connsiteY78"/>
                            </a:cxn>
                            <a:cxn ang="0">
                              <a:pos x="connsiteX79" y="connsiteY79"/>
                            </a:cxn>
                            <a:cxn ang="0">
                              <a:pos x="connsiteX80" y="connsiteY80"/>
                            </a:cxn>
                            <a:cxn ang="0">
                              <a:pos x="connsiteX81" y="connsiteY81"/>
                            </a:cxn>
                            <a:cxn ang="0">
                              <a:pos x="connsiteX82" y="connsiteY82"/>
                            </a:cxn>
                            <a:cxn ang="0">
                              <a:pos x="connsiteX83" y="connsiteY83"/>
                            </a:cxn>
                            <a:cxn ang="0">
                              <a:pos x="connsiteX84" y="connsiteY84"/>
                            </a:cxn>
                            <a:cxn ang="0">
                              <a:pos x="connsiteX85" y="connsiteY85"/>
                            </a:cxn>
                            <a:cxn ang="0">
                              <a:pos x="connsiteX86" y="connsiteY86"/>
                            </a:cxn>
                            <a:cxn ang="0">
                              <a:pos x="connsiteX87" y="connsiteY87"/>
                            </a:cxn>
                            <a:cxn ang="0">
                              <a:pos x="connsiteX88" y="connsiteY88"/>
                            </a:cxn>
                            <a:cxn ang="0">
                              <a:pos x="connsiteX89" y="connsiteY89"/>
                            </a:cxn>
                            <a:cxn ang="0">
                              <a:pos x="connsiteX90" y="connsiteY90"/>
                            </a:cxn>
                            <a:cxn ang="0">
                              <a:pos x="connsiteX91" y="connsiteY91"/>
                            </a:cxn>
                            <a:cxn ang="0">
                              <a:pos x="connsiteX92" y="connsiteY92"/>
                            </a:cxn>
                            <a:cxn ang="0">
                              <a:pos x="connsiteX93" y="connsiteY93"/>
                            </a:cxn>
                            <a:cxn ang="0">
                              <a:pos x="connsiteX94" y="connsiteY94"/>
                            </a:cxn>
                            <a:cxn ang="0">
                              <a:pos x="connsiteX95" y="connsiteY95"/>
                            </a:cxn>
                            <a:cxn ang="0">
                              <a:pos x="connsiteX96" y="connsiteY96"/>
                            </a:cxn>
                            <a:cxn ang="0">
                              <a:pos x="connsiteX97" y="connsiteY97"/>
                            </a:cxn>
                            <a:cxn ang="0">
                              <a:pos x="connsiteX98" y="connsiteY98"/>
                            </a:cxn>
                            <a:cxn ang="0">
                              <a:pos x="connsiteX99" y="connsiteY99"/>
                            </a:cxn>
                            <a:cxn ang="0">
                              <a:pos x="connsiteX100" y="connsiteY100"/>
                            </a:cxn>
                            <a:cxn ang="0">
                              <a:pos x="connsiteX101" y="connsiteY101"/>
                            </a:cxn>
                            <a:cxn ang="0">
                              <a:pos x="connsiteX102" y="connsiteY102"/>
                            </a:cxn>
                            <a:cxn ang="0">
                              <a:pos x="connsiteX103" y="connsiteY103"/>
                            </a:cxn>
                            <a:cxn ang="0">
                              <a:pos x="connsiteX104" y="connsiteY104"/>
                            </a:cxn>
                            <a:cxn ang="0">
                              <a:pos x="connsiteX105" y="connsiteY105"/>
                            </a:cxn>
                            <a:cxn ang="0">
                              <a:pos x="connsiteX106" y="connsiteY106"/>
                            </a:cxn>
                            <a:cxn ang="0">
                              <a:pos x="connsiteX107" y="connsiteY107"/>
                            </a:cxn>
                            <a:cxn ang="0">
                              <a:pos x="connsiteX108" y="connsiteY108"/>
                            </a:cxn>
                            <a:cxn ang="0">
                              <a:pos x="connsiteX109" y="connsiteY109"/>
                            </a:cxn>
                            <a:cxn ang="0">
                              <a:pos x="connsiteX110" y="connsiteY110"/>
                            </a:cxn>
                            <a:cxn ang="0">
                              <a:pos x="connsiteX111" y="connsiteY111"/>
                            </a:cxn>
                            <a:cxn ang="0">
                              <a:pos x="connsiteX112" y="connsiteY112"/>
                            </a:cxn>
                            <a:cxn ang="0">
                              <a:pos x="connsiteX113" y="connsiteY113"/>
                            </a:cxn>
                            <a:cxn ang="0">
                              <a:pos x="connsiteX114" y="connsiteY114"/>
                            </a:cxn>
                            <a:cxn ang="0">
                              <a:pos x="connsiteX115" y="connsiteY115"/>
                            </a:cxn>
                            <a:cxn ang="0">
                              <a:pos x="connsiteX116" y="connsiteY116"/>
                            </a:cxn>
                            <a:cxn ang="0">
                              <a:pos x="connsiteX117" y="connsiteY117"/>
                            </a:cxn>
                            <a:cxn ang="0">
                              <a:pos x="connsiteX118" y="connsiteY118"/>
                            </a:cxn>
                            <a:cxn ang="0">
                              <a:pos x="connsiteX119" y="connsiteY119"/>
                            </a:cxn>
                            <a:cxn ang="0">
                              <a:pos x="connsiteX120" y="connsiteY120"/>
                            </a:cxn>
                            <a:cxn ang="0">
                              <a:pos x="connsiteX121" y="connsiteY121"/>
                            </a:cxn>
                            <a:cxn ang="0">
                              <a:pos x="connsiteX122" y="connsiteY122"/>
                            </a:cxn>
                            <a:cxn ang="0">
                              <a:pos x="connsiteX123" y="connsiteY123"/>
                            </a:cxn>
                            <a:cxn ang="0">
                              <a:pos x="connsiteX124" y="connsiteY124"/>
                            </a:cxn>
                            <a:cxn ang="0">
                              <a:pos x="connsiteX125" y="connsiteY125"/>
                            </a:cxn>
                            <a:cxn ang="0">
                              <a:pos x="connsiteX126" y="connsiteY126"/>
                            </a:cxn>
                            <a:cxn ang="0">
                              <a:pos x="connsiteX127" y="connsiteY127"/>
                            </a:cxn>
                            <a:cxn ang="0">
                              <a:pos x="connsiteX128" y="connsiteY128"/>
                            </a:cxn>
                            <a:cxn ang="0">
                              <a:pos x="connsiteX129" y="connsiteY129"/>
                            </a:cxn>
                            <a:cxn ang="0">
                              <a:pos x="connsiteX130" y="connsiteY130"/>
                            </a:cxn>
                            <a:cxn ang="0">
                              <a:pos x="connsiteX131" y="connsiteY131"/>
                            </a:cxn>
                            <a:cxn ang="0">
                              <a:pos x="connsiteX132" y="connsiteY132"/>
                            </a:cxn>
                            <a:cxn ang="0">
                              <a:pos x="connsiteX133" y="connsiteY133"/>
                            </a:cxn>
                            <a:cxn ang="0">
                              <a:pos x="connsiteX134" y="connsiteY134"/>
                            </a:cxn>
                            <a:cxn ang="0">
                              <a:pos x="connsiteX135" y="connsiteY135"/>
                            </a:cxn>
                            <a:cxn ang="0">
                              <a:pos x="connsiteX136" y="connsiteY136"/>
                            </a:cxn>
                            <a:cxn ang="0">
                              <a:pos x="connsiteX137" y="connsiteY137"/>
                            </a:cxn>
                            <a:cxn ang="0">
                              <a:pos x="connsiteX138" y="connsiteY138"/>
                            </a:cxn>
                            <a:cxn ang="0">
                              <a:pos x="connsiteX139" y="connsiteY139"/>
                            </a:cxn>
                            <a:cxn ang="0">
                              <a:pos x="connsiteX140" y="connsiteY140"/>
                            </a:cxn>
                            <a:cxn ang="0">
                              <a:pos x="connsiteX141" y="connsiteY141"/>
                            </a:cxn>
                            <a:cxn ang="0">
                              <a:pos x="connsiteX142" y="connsiteY142"/>
                            </a:cxn>
                            <a:cxn ang="0">
                              <a:pos x="connsiteX143" y="connsiteY143"/>
                            </a:cxn>
                            <a:cxn ang="0">
                              <a:pos x="connsiteX144" y="connsiteY144"/>
                            </a:cxn>
                            <a:cxn ang="0">
                              <a:pos x="connsiteX145" y="connsiteY145"/>
                            </a:cxn>
                            <a:cxn ang="0">
                              <a:pos x="connsiteX146" y="connsiteY146"/>
                            </a:cxn>
                            <a:cxn ang="0">
                              <a:pos x="connsiteX147" y="connsiteY147"/>
                            </a:cxn>
                            <a:cxn ang="0">
                              <a:pos x="connsiteX148" y="connsiteY148"/>
                            </a:cxn>
                            <a:cxn ang="0">
                              <a:pos x="connsiteX149" y="connsiteY149"/>
                            </a:cxn>
                            <a:cxn ang="0">
                              <a:pos x="connsiteX150" y="connsiteY150"/>
                            </a:cxn>
                            <a:cxn ang="0">
                              <a:pos x="connsiteX151" y="connsiteY151"/>
                            </a:cxn>
                            <a:cxn ang="0">
                              <a:pos x="connsiteX152" y="connsiteY152"/>
                            </a:cxn>
                            <a:cxn ang="0">
                              <a:pos x="connsiteX153" y="connsiteY153"/>
                            </a:cxn>
                            <a:cxn ang="0">
                              <a:pos x="connsiteX154" y="connsiteY154"/>
                            </a:cxn>
                            <a:cxn ang="0">
                              <a:pos x="connsiteX155" y="connsiteY155"/>
                            </a:cxn>
                            <a:cxn ang="0">
                              <a:pos x="connsiteX156" y="connsiteY156"/>
                            </a:cxn>
                            <a:cxn ang="0">
                              <a:pos x="connsiteX157" y="connsiteY157"/>
                            </a:cxn>
                            <a:cxn ang="0">
                              <a:pos x="connsiteX158" y="connsiteY158"/>
                            </a:cxn>
                            <a:cxn ang="0">
                              <a:pos x="connsiteX159" y="connsiteY159"/>
                            </a:cxn>
                            <a:cxn ang="0">
                              <a:pos x="connsiteX160" y="connsiteY160"/>
                            </a:cxn>
                            <a:cxn ang="0">
                              <a:pos x="connsiteX161" y="connsiteY161"/>
                            </a:cxn>
                            <a:cxn ang="0">
                              <a:pos x="connsiteX162" y="connsiteY162"/>
                            </a:cxn>
                            <a:cxn ang="0">
                              <a:pos x="connsiteX163" y="connsiteY163"/>
                            </a:cxn>
                            <a:cxn ang="0">
                              <a:pos x="connsiteX164" y="connsiteY164"/>
                            </a:cxn>
                            <a:cxn ang="0">
                              <a:pos x="connsiteX165" y="connsiteY165"/>
                            </a:cxn>
                            <a:cxn ang="0">
                              <a:pos x="connsiteX166" y="connsiteY166"/>
                            </a:cxn>
                            <a:cxn ang="0">
                              <a:pos x="connsiteX167" y="connsiteY167"/>
                            </a:cxn>
                            <a:cxn ang="0">
                              <a:pos x="connsiteX168" y="connsiteY168"/>
                            </a:cxn>
                            <a:cxn ang="0">
                              <a:pos x="connsiteX169" y="connsiteY169"/>
                            </a:cxn>
                            <a:cxn ang="0">
                              <a:pos x="connsiteX170" y="connsiteY170"/>
                            </a:cxn>
                            <a:cxn ang="0">
                              <a:pos x="connsiteX171" y="connsiteY171"/>
                            </a:cxn>
                            <a:cxn ang="0">
                              <a:pos x="connsiteX172" y="connsiteY172"/>
                            </a:cxn>
                            <a:cxn ang="0">
                              <a:pos x="connsiteX173" y="connsiteY173"/>
                            </a:cxn>
                            <a:cxn ang="0">
                              <a:pos x="connsiteX174" y="connsiteY174"/>
                            </a:cxn>
                            <a:cxn ang="0">
                              <a:pos x="connsiteX175" y="connsiteY175"/>
                            </a:cxn>
                            <a:cxn ang="0">
                              <a:pos x="connsiteX176" y="connsiteY176"/>
                            </a:cxn>
                            <a:cxn ang="0">
                              <a:pos x="connsiteX177" y="connsiteY177"/>
                            </a:cxn>
                            <a:cxn ang="0">
                              <a:pos x="connsiteX178" y="connsiteY178"/>
                            </a:cxn>
                            <a:cxn ang="0">
                              <a:pos x="connsiteX179" y="connsiteY179"/>
                            </a:cxn>
                            <a:cxn ang="0">
                              <a:pos x="connsiteX180" y="connsiteY180"/>
                            </a:cxn>
                            <a:cxn ang="0">
                              <a:pos x="connsiteX181" y="connsiteY181"/>
                            </a:cxn>
                            <a:cxn ang="0">
                              <a:pos x="connsiteX182" y="connsiteY182"/>
                            </a:cxn>
                            <a:cxn ang="0">
                              <a:pos x="connsiteX183" y="connsiteY183"/>
                            </a:cxn>
                            <a:cxn ang="0">
                              <a:pos x="connsiteX184" y="connsiteY184"/>
                            </a:cxn>
                            <a:cxn ang="0">
                              <a:pos x="connsiteX185" y="connsiteY185"/>
                            </a:cxn>
                            <a:cxn ang="0">
                              <a:pos x="connsiteX186" y="connsiteY186"/>
                            </a:cxn>
                            <a:cxn ang="0">
                              <a:pos x="connsiteX187" y="connsiteY187"/>
                            </a:cxn>
                            <a:cxn ang="0">
                              <a:pos x="connsiteX188" y="connsiteY188"/>
                            </a:cxn>
                            <a:cxn ang="0">
                              <a:pos x="connsiteX189" y="connsiteY189"/>
                            </a:cxn>
                            <a:cxn ang="0">
                              <a:pos x="connsiteX190" y="connsiteY190"/>
                            </a:cxn>
                            <a:cxn ang="0">
                              <a:pos x="connsiteX191" y="connsiteY191"/>
                            </a:cxn>
                            <a:cxn ang="0">
                              <a:pos x="connsiteX192" y="connsiteY192"/>
                            </a:cxn>
                            <a:cxn ang="0">
                              <a:pos x="connsiteX193" y="connsiteY193"/>
                            </a:cxn>
                            <a:cxn ang="0">
                              <a:pos x="connsiteX194" y="connsiteY194"/>
                            </a:cxn>
                          </a:cxnLst>
                          <a:rect l="l" t="t" r="r" b="b"/>
                          <a:pathLst>
                            <a:path w="230428" h="241950">
                              <a:moveTo>
                                <a:pt x="38405" y="239207"/>
                              </a:moveTo>
                              <a:lnTo>
                                <a:pt x="38953" y="241402"/>
                              </a:lnTo>
                              <a:lnTo>
                                <a:pt x="49926" y="241950"/>
                              </a:lnTo>
                              <a:lnTo>
                                <a:pt x="164043" y="210129"/>
                              </a:lnTo>
                              <a:lnTo>
                                <a:pt x="203545" y="216164"/>
                              </a:lnTo>
                              <a:lnTo>
                                <a:pt x="208483" y="210678"/>
                              </a:lnTo>
                              <a:lnTo>
                                <a:pt x="209580" y="210129"/>
                              </a:lnTo>
                              <a:lnTo>
                                <a:pt x="213970" y="210678"/>
                              </a:lnTo>
                              <a:lnTo>
                                <a:pt x="216164" y="211226"/>
                              </a:lnTo>
                              <a:lnTo>
                                <a:pt x="221102" y="211226"/>
                              </a:lnTo>
                              <a:lnTo>
                                <a:pt x="219456" y="192573"/>
                              </a:lnTo>
                              <a:lnTo>
                                <a:pt x="217810" y="191475"/>
                              </a:lnTo>
                              <a:lnTo>
                                <a:pt x="212324" y="190927"/>
                              </a:lnTo>
                              <a:lnTo>
                                <a:pt x="209580" y="187635"/>
                              </a:lnTo>
                              <a:lnTo>
                                <a:pt x="201900" y="162397"/>
                              </a:lnTo>
                              <a:lnTo>
                                <a:pt x="202997" y="145390"/>
                              </a:lnTo>
                              <a:lnTo>
                                <a:pt x="205740" y="141000"/>
                              </a:lnTo>
                              <a:lnTo>
                                <a:pt x="209580" y="136063"/>
                              </a:lnTo>
                              <a:lnTo>
                                <a:pt x="211775" y="132222"/>
                              </a:lnTo>
                              <a:lnTo>
                                <a:pt x="213421" y="119055"/>
                              </a:lnTo>
                              <a:lnTo>
                                <a:pt x="219456" y="103693"/>
                              </a:lnTo>
                              <a:lnTo>
                                <a:pt x="222199" y="102595"/>
                              </a:lnTo>
                              <a:lnTo>
                                <a:pt x="223845" y="99304"/>
                              </a:lnTo>
                              <a:lnTo>
                                <a:pt x="226588" y="98206"/>
                              </a:lnTo>
                              <a:lnTo>
                                <a:pt x="226588" y="94366"/>
                              </a:lnTo>
                              <a:lnTo>
                                <a:pt x="230429" y="94366"/>
                              </a:lnTo>
                              <a:lnTo>
                                <a:pt x="223845" y="64191"/>
                              </a:lnTo>
                              <a:lnTo>
                                <a:pt x="221651" y="62545"/>
                              </a:lnTo>
                              <a:lnTo>
                                <a:pt x="218907" y="61447"/>
                              </a:lnTo>
                              <a:lnTo>
                                <a:pt x="219456" y="59802"/>
                              </a:lnTo>
                              <a:lnTo>
                                <a:pt x="222748" y="55961"/>
                              </a:lnTo>
                              <a:lnTo>
                                <a:pt x="220553" y="52669"/>
                              </a:lnTo>
                              <a:lnTo>
                                <a:pt x="222199" y="50475"/>
                              </a:lnTo>
                              <a:lnTo>
                                <a:pt x="221651" y="46086"/>
                              </a:lnTo>
                              <a:lnTo>
                                <a:pt x="219456" y="47731"/>
                              </a:lnTo>
                              <a:lnTo>
                                <a:pt x="216164" y="47731"/>
                              </a:lnTo>
                              <a:lnTo>
                                <a:pt x="213970" y="46634"/>
                              </a:lnTo>
                              <a:lnTo>
                                <a:pt x="209580" y="36759"/>
                              </a:lnTo>
                              <a:lnTo>
                                <a:pt x="206837" y="36210"/>
                              </a:lnTo>
                              <a:lnTo>
                                <a:pt x="202448" y="29626"/>
                              </a:lnTo>
                              <a:lnTo>
                                <a:pt x="201351" y="29626"/>
                              </a:lnTo>
                              <a:lnTo>
                                <a:pt x="198608" y="32370"/>
                              </a:lnTo>
                              <a:lnTo>
                                <a:pt x="185440" y="29078"/>
                              </a:lnTo>
                              <a:lnTo>
                                <a:pt x="161300" y="36210"/>
                              </a:lnTo>
                              <a:lnTo>
                                <a:pt x="159654" y="40051"/>
                              </a:lnTo>
                              <a:lnTo>
                                <a:pt x="156911" y="42245"/>
                              </a:lnTo>
                              <a:lnTo>
                                <a:pt x="151973" y="39502"/>
                              </a:lnTo>
                              <a:lnTo>
                                <a:pt x="150876" y="36759"/>
                              </a:lnTo>
                              <a:lnTo>
                                <a:pt x="149779" y="36759"/>
                              </a:lnTo>
                              <a:lnTo>
                                <a:pt x="148681" y="38953"/>
                              </a:lnTo>
                              <a:lnTo>
                                <a:pt x="145938" y="38953"/>
                              </a:lnTo>
                              <a:lnTo>
                                <a:pt x="145938" y="39502"/>
                              </a:lnTo>
                              <a:lnTo>
                                <a:pt x="141000" y="36759"/>
                              </a:lnTo>
                              <a:lnTo>
                                <a:pt x="140452" y="34015"/>
                              </a:lnTo>
                              <a:lnTo>
                                <a:pt x="137709" y="31821"/>
                              </a:lnTo>
                              <a:lnTo>
                                <a:pt x="135514" y="31821"/>
                              </a:lnTo>
                              <a:lnTo>
                                <a:pt x="135514" y="28529"/>
                              </a:lnTo>
                              <a:lnTo>
                                <a:pt x="134417" y="26883"/>
                              </a:lnTo>
                              <a:lnTo>
                                <a:pt x="132771" y="25786"/>
                              </a:lnTo>
                              <a:lnTo>
                                <a:pt x="130028" y="21397"/>
                              </a:lnTo>
                              <a:lnTo>
                                <a:pt x="128930" y="20848"/>
                              </a:lnTo>
                              <a:lnTo>
                                <a:pt x="128382" y="19751"/>
                              </a:lnTo>
                              <a:lnTo>
                                <a:pt x="127833" y="16459"/>
                              </a:lnTo>
                              <a:lnTo>
                                <a:pt x="127284" y="15362"/>
                              </a:lnTo>
                              <a:lnTo>
                                <a:pt x="126187" y="15362"/>
                              </a:lnTo>
                              <a:lnTo>
                                <a:pt x="117958" y="16459"/>
                              </a:lnTo>
                              <a:lnTo>
                                <a:pt x="116312" y="15910"/>
                              </a:lnTo>
                              <a:lnTo>
                                <a:pt x="114117" y="12070"/>
                              </a:lnTo>
                              <a:lnTo>
                                <a:pt x="111923" y="10424"/>
                              </a:lnTo>
                              <a:lnTo>
                                <a:pt x="102596" y="10973"/>
                              </a:lnTo>
                              <a:lnTo>
                                <a:pt x="100401" y="15362"/>
                              </a:lnTo>
                              <a:lnTo>
                                <a:pt x="97658" y="15910"/>
                              </a:lnTo>
                              <a:lnTo>
                                <a:pt x="94915" y="18654"/>
                              </a:lnTo>
                              <a:lnTo>
                                <a:pt x="89428" y="18105"/>
                              </a:lnTo>
                              <a:lnTo>
                                <a:pt x="89977" y="17008"/>
                              </a:lnTo>
                              <a:lnTo>
                                <a:pt x="89428" y="8778"/>
                              </a:lnTo>
                              <a:lnTo>
                                <a:pt x="87782" y="6583"/>
                              </a:lnTo>
                              <a:lnTo>
                                <a:pt x="88331" y="5486"/>
                              </a:lnTo>
                              <a:lnTo>
                                <a:pt x="87782" y="2194"/>
                              </a:lnTo>
                              <a:lnTo>
                                <a:pt x="86685" y="0"/>
                              </a:lnTo>
                              <a:lnTo>
                                <a:pt x="84491" y="1097"/>
                              </a:lnTo>
                              <a:lnTo>
                                <a:pt x="80650" y="1097"/>
                              </a:lnTo>
                              <a:lnTo>
                                <a:pt x="78456" y="5486"/>
                              </a:lnTo>
                              <a:lnTo>
                                <a:pt x="77358" y="5486"/>
                              </a:lnTo>
                              <a:lnTo>
                                <a:pt x="74066" y="3292"/>
                              </a:lnTo>
                              <a:lnTo>
                                <a:pt x="71872" y="3292"/>
                              </a:lnTo>
                              <a:lnTo>
                                <a:pt x="70226" y="5486"/>
                              </a:lnTo>
                              <a:lnTo>
                                <a:pt x="70226" y="8230"/>
                              </a:lnTo>
                              <a:lnTo>
                                <a:pt x="71872" y="12619"/>
                              </a:lnTo>
                              <a:lnTo>
                                <a:pt x="69677" y="14265"/>
                              </a:lnTo>
                              <a:lnTo>
                                <a:pt x="62545" y="14265"/>
                              </a:lnTo>
                              <a:lnTo>
                                <a:pt x="58704" y="15910"/>
                              </a:lnTo>
                              <a:lnTo>
                                <a:pt x="58156" y="18654"/>
                              </a:lnTo>
                              <a:lnTo>
                                <a:pt x="56510" y="21397"/>
                              </a:lnTo>
                              <a:lnTo>
                                <a:pt x="54315" y="21397"/>
                              </a:lnTo>
                              <a:lnTo>
                                <a:pt x="51572" y="19751"/>
                              </a:lnTo>
                              <a:lnTo>
                                <a:pt x="48829" y="17008"/>
                              </a:lnTo>
                              <a:lnTo>
                                <a:pt x="47732" y="16459"/>
                              </a:lnTo>
                              <a:lnTo>
                                <a:pt x="45537" y="17556"/>
                              </a:lnTo>
                              <a:lnTo>
                                <a:pt x="44988" y="18654"/>
                              </a:lnTo>
                              <a:lnTo>
                                <a:pt x="44440" y="18654"/>
                              </a:lnTo>
                              <a:lnTo>
                                <a:pt x="43343" y="14265"/>
                              </a:lnTo>
                              <a:lnTo>
                                <a:pt x="41148" y="10424"/>
                              </a:lnTo>
                              <a:lnTo>
                                <a:pt x="38405" y="9875"/>
                              </a:lnTo>
                              <a:lnTo>
                                <a:pt x="35662" y="12619"/>
                              </a:lnTo>
                              <a:lnTo>
                                <a:pt x="32370" y="11521"/>
                              </a:lnTo>
                              <a:lnTo>
                                <a:pt x="30724" y="12619"/>
                              </a:lnTo>
                              <a:lnTo>
                                <a:pt x="29078" y="14265"/>
                              </a:lnTo>
                              <a:lnTo>
                                <a:pt x="28529" y="17008"/>
                              </a:lnTo>
                              <a:lnTo>
                                <a:pt x="26335" y="19202"/>
                              </a:lnTo>
                              <a:lnTo>
                                <a:pt x="21946" y="20299"/>
                              </a:lnTo>
                              <a:lnTo>
                                <a:pt x="21946" y="21946"/>
                              </a:lnTo>
                              <a:lnTo>
                                <a:pt x="17008" y="26883"/>
                              </a:lnTo>
                              <a:lnTo>
                                <a:pt x="17008" y="28529"/>
                              </a:lnTo>
                              <a:lnTo>
                                <a:pt x="14813" y="30175"/>
                              </a:lnTo>
                              <a:lnTo>
                                <a:pt x="15362" y="47731"/>
                              </a:lnTo>
                              <a:lnTo>
                                <a:pt x="15911" y="48829"/>
                              </a:lnTo>
                              <a:lnTo>
                                <a:pt x="20848" y="52121"/>
                              </a:lnTo>
                              <a:lnTo>
                                <a:pt x="25786" y="51572"/>
                              </a:lnTo>
                              <a:lnTo>
                                <a:pt x="25237" y="60899"/>
                              </a:lnTo>
                              <a:lnTo>
                                <a:pt x="26883" y="60350"/>
                              </a:lnTo>
                              <a:lnTo>
                                <a:pt x="30175" y="64191"/>
                              </a:lnTo>
                              <a:lnTo>
                                <a:pt x="30175" y="65288"/>
                              </a:lnTo>
                              <a:lnTo>
                                <a:pt x="27981" y="65837"/>
                              </a:lnTo>
                              <a:lnTo>
                                <a:pt x="25786" y="68580"/>
                              </a:lnTo>
                              <a:lnTo>
                                <a:pt x="23592" y="75163"/>
                              </a:lnTo>
                              <a:lnTo>
                                <a:pt x="25237" y="74615"/>
                              </a:lnTo>
                              <a:lnTo>
                                <a:pt x="27432" y="75712"/>
                              </a:lnTo>
                              <a:lnTo>
                                <a:pt x="29627" y="75712"/>
                              </a:lnTo>
                              <a:lnTo>
                                <a:pt x="29627" y="79553"/>
                              </a:lnTo>
                              <a:lnTo>
                                <a:pt x="31821" y="82296"/>
                              </a:lnTo>
                              <a:lnTo>
                                <a:pt x="32370" y="91623"/>
                              </a:lnTo>
                              <a:lnTo>
                                <a:pt x="31272" y="91623"/>
                              </a:lnTo>
                              <a:lnTo>
                                <a:pt x="29627" y="87782"/>
                              </a:lnTo>
                              <a:lnTo>
                                <a:pt x="27432" y="88331"/>
                              </a:lnTo>
                              <a:lnTo>
                                <a:pt x="25786" y="87782"/>
                              </a:lnTo>
                              <a:lnTo>
                                <a:pt x="23043" y="85588"/>
                              </a:lnTo>
                              <a:lnTo>
                                <a:pt x="17008" y="85039"/>
                              </a:lnTo>
                              <a:lnTo>
                                <a:pt x="11521" y="87234"/>
                              </a:lnTo>
                              <a:lnTo>
                                <a:pt x="11521" y="87782"/>
                              </a:lnTo>
                              <a:lnTo>
                                <a:pt x="12619" y="88331"/>
                              </a:lnTo>
                              <a:lnTo>
                                <a:pt x="13167" y="91623"/>
                              </a:lnTo>
                              <a:lnTo>
                                <a:pt x="11521" y="95463"/>
                              </a:lnTo>
                              <a:lnTo>
                                <a:pt x="13167" y="96561"/>
                              </a:lnTo>
                              <a:lnTo>
                                <a:pt x="17556" y="96012"/>
                              </a:lnTo>
                              <a:lnTo>
                                <a:pt x="20300" y="97109"/>
                              </a:lnTo>
                              <a:lnTo>
                                <a:pt x="20848" y="99304"/>
                              </a:lnTo>
                              <a:lnTo>
                                <a:pt x="20300" y="100401"/>
                              </a:lnTo>
                              <a:lnTo>
                                <a:pt x="21397" y="100950"/>
                              </a:lnTo>
                              <a:lnTo>
                                <a:pt x="21946" y="102047"/>
                              </a:lnTo>
                              <a:lnTo>
                                <a:pt x="19202" y="104242"/>
                              </a:lnTo>
                              <a:lnTo>
                                <a:pt x="18105" y="113568"/>
                              </a:lnTo>
                              <a:lnTo>
                                <a:pt x="14813" y="117958"/>
                              </a:lnTo>
                              <a:lnTo>
                                <a:pt x="14813" y="120701"/>
                              </a:lnTo>
                              <a:lnTo>
                                <a:pt x="4938" y="120701"/>
                              </a:lnTo>
                              <a:lnTo>
                                <a:pt x="2743" y="121798"/>
                              </a:lnTo>
                              <a:lnTo>
                                <a:pt x="4938" y="131674"/>
                              </a:lnTo>
                              <a:lnTo>
                                <a:pt x="6584" y="131674"/>
                              </a:lnTo>
                              <a:lnTo>
                                <a:pt x="8230" y="133868"/>
                              </a:lnTo>
                              <a:lnTo>
                                <a:pt x="8230" y="135514"/>
                              </a:lnTo>
                              <a:lnTo>
                                <a:pt x="10973" y="137709"/>
                              </a:lnTo>
                              <a:lnTo>
                                <a:pt x="7681" y="150327"/>
                              </a:lnTo>
                              <a:lnTo>
                                <a:pt x="2195" y="155814"/>
                              </a:lnTo>
                              <a:lnTo>
                                <a:pt x="0" y="159654"/>
                              </a:lnTo>
                              <a:lnTo>
                                <a:pt x="0" y="160751"/>
                              </a:lnTo>
                              <a:lnTo>
                                <a:pt x="1646" y="160751"/>
                              </a:lnTo>
                              <a:lnTo>
                                <a:pt x="2195" y="161849"/>
                              </a:lnTo>
                              <a:lnTo>
                                <a:pt x="4938" y="161849"/>
                              </a:lnTo>
                              <a:lnTo>
                                <a:pt x="5486" y="163495"/>
                              </a:lnTo>
                              <a:lnTo>
                                <a:pt x="7132" y="164043"/>
                              </a:lnTo>
                              <a:lnTo>
                                <a:pt x="9876" y="164043"/>
                              </a:lnTo>
                              <a:lnTo>
                                <a:pt x="14813" y="167335"/>
                              </a:lnTo>
                              <a:lnTo>
                                <a:pt x="21397" y="167335"/>
                              </a:lnTo>
                              <a:lnTo>
                                <a:pt x="23043" y="167335"/>
                              </a:lnTo>
                              <a:lnTo>
                                <a:pt x="25786" y="171724"/>
                              </a:lnTo>
                              <a:lnTo>
                                <a:pt x="25786" y="174467"/>
                              </a:lnTo>
                              <a:lnTo>
                                <a:pt x="27981" y="175565"/>
                              </a:lnTo>
                              <a:lnTo>
                                <a:pt x="30724" y="182148"/>
                              </a:lnTo>
                              <a:lnTo>
                                <a:pt x="34564" y="182697"/>
                              </a:lnTo>
                              <a:lnTo>
                                <a:pt x="38405" y="185440"/>
                              </a:lnTo>
                              <a:lnTo>
                                <a:pt x="42245" y="184891"/>
                              </a:lnTo>
                              <a:lnTo>
                                <a:pt x="42245" y="188183"/>
                              </a:lnTo>
                              <a:lnTo>
                                <a:pt x="43891" y="191475"/>
                              </a:lnTo>
                              <a:lnTo>
                                <a:pt x="44988" y="195864"/>
                              </a:lnTo>
                              <a:lnTo>
                                <a:pt x="43343" y="200802"/>
                              </a:lnTo>
                              <a:lnTo>
                                <a:pt x="44988" y="204643"/>
                              </a:lnTo>
                              <a:lnTo>
                                <a:pt x="44440" y="205191"/>
                              </a:lnTo>
                              <a:lnTo>
                                <a:pt x="41697" y="205191"/>
                              </a:lnTo>
                              <a:lnTo>
                                <a:pt x="41148" y="207386"/>
                              </a:lnTo>
                              <a:lnTo>
                                <a:pt x="41148" y="212323"/>
                              </a:lnTo>
                              <a:lnTo>
                                <a:pt x="38405" y="212872"/>
                              </a:lnTo>
                              <a:lnTo>
                                <a:pt x="38405" y="213970"/>
                              </a:lnTo>
                              <a:lnTo>
                                <a:pt x="38405" y="218359"/>
                              </a:lnTo>
                              <a:lnTo>
                                <a:pt x="37856" y="221102"/>
                              </a:lnTo>
                              <a:lnTo>
                                <a:pt x="38405" y="239207"/>
                              </a:lnTo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214" name="Graphic 7">
                          <a:extLst>
                            <a:ext uri="{FF2B5EF4-FFF2-40B4-BE49-F238E27FC236}">
                              <a16:creationId xmlns:a16="http://schemas.microsoft.com/office/drawing/2014/main" id="{240E03EB-CFA8-93E5-31E7-11E660A339F8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5233075" y="4143447"/>
                          <a:ext cx="63867" cy="150025"/>
                        </a:xfrm>
                        <a:custGeom>
                          <a:avLst/>
                          <a:gdLst>
                            <a:gd name="connsiteX0" fmla="*/ 55413 w 81747"/>
                            <a:gd name="connsiteY0" fmla="*/ 192024 h 192024"/>
                            <a:gd name="connsiteX1" fmla="*/ 52121 w 81747"/>
                            <a:gd name="connsiteY1" fmla="*/ 190927 h 192024"/>
                            <a:gd name="connsiteX2" fmla="*/ 36210 w 81747"/>
                            <a:gd name="connsiteY2" fmla="*/ 172273 h 192024"/>
                            <a:gd name="connsiteX3" fmla="*/ 25786 w 81747"/>
                            <a:gd name="connsiteY3" fmla="*/ 64191 h 192024"/>
                            <a:gd name="connsiteX4" fmla="*/ 23043 w 81747"/>
                            <a:gd name="connsiteY4" fmla="*/ 60350 h 192024"/>
                            <a:gd name="connsiteX5" fmla="*/ 19751 w 81747"/>
                            <a:gd name="connsiteY5" fmla="*/ 36210 h 192024"/>
                            <a:gd name="connsiteX6" fmla="*/ 9327 w 81747"/>
                            <a:gd name="connsiteY6" fmla="*/ 21946 h 192024"/>
                            <a:gd name="connsiteX7" fmla="*/ 3292 w 81747"/>
                            <a:gd name="connsiteY7" fmla="*/ 18654 h 192024"/>
                            <a:gd name="connsiteX8" fmla="*/ 3292 w 81747"/>
                            <a:gd name="connsiteY8" fmla="*/ 14265 h 192024"/>
                            <a:gd name="connsiteX9" fmla="*/ 5486 w 81747"/>
                            <a:gd name="connsiteY9" fmla="*/ 10424 h 192024"/>
                            <a:gd name="connsiteX10" fmla="*/ 5486 w 81747"/>
                            <a:gd name="connsiteY10" fmla="*/ 7132 h 192024"/>
                            <a:gd name="connsiteX11" fmla="*/ 7681 w 81747"/>
                            <a:gd name="connsiteY11" fmla="*/ 3841 h 192024"/>
                            <a:gd name="connsiteX12" fmla="*/ 7132 w 81747"/>
                            <a:gd name="connsiteY12" fmla="*/ 2743 h 192024"/>
                            <a:gd name="connsiteX13" fmla="*/ 1097 w 81747"/>
                            <a:gd name="connsiteY13" fmla="*/ 2195 h 192024"/>
                            <a:gd name="connsiteX14" fmla="*/ 0 w 81747"/>
                            <a:gd name="connsiteY14" fmla="*/ 1097 h 192024"/>
                            <a:gd name="connsiteX15" fmla="*/ 0 w 81747"/>
                            <a:gd name="connsiteY15" fmla="*/ 0 h 192024"/>
                            <a:gd name="connsiteX16" fmla="*/ 549 w 81747"/>
                            <a:gd name="connsiteY16" fmla="*/ 549 h 192024"/>
                            <a:gd name="connsiteX17" fmla="*/ 23591 w 81747"/>
                            <a:gd name="connsiteY17" fmla="*/ 3841 h 192024"/>
                            <a:gd name="connsiteX18" fmla="*/ 26335 w 81747"/>
                            <a:gd name="connsiteY18" fmla="*/ 7681 h 192024"/>
                            <a:gd name="connsiteX19" fmla="*/ 29078 w 81747"/>
                            <a:gd name="connsiteY19" fmla="*/ 7681 h 192024"/>
                            <a:gd name="connsiteX20" fmla="*/ 30175 w 81747"/>
                            <a:gd name="connsiteY20" fmla="*/ 4938 h 192024"/>
                            <a:gd name="connsiteX21" fmla="*/ 40051 w 81747"/>
                            <a:gd name="connsiteY21" fmla="*/ 5486 h 192024"/>
                            <a:gd name="connsiteX22" fmla="*/ 41148 w 81747"/>
                            <a:gd name="connsiteY22" fmla="*/ 4938 h 192024"/>
                            <a:gd name="connsiteX23" fmla="*/ 40051 w 81747"/>
                            <a:gd name="connsiteY23" fmla="*/ 6584 h 192024"/>
                            <a:gd name="connsiteX24" fmla="*/ 38953 w 81747"/>
                            <a:gd name="connsiteY24" fmla="*/ 12070 h 192024"/>
                            <a:gd name="connsiteX25" fmla="*/ 36759 w 81747"/>
                            <a:gd name="connsiteY25" fmla="*/ 16459 h 192024"/>
                            <a:gd name="connsiteX26" fmla="*/ 35113 w 81747"/>
                            <a:gd name="connsiteY26" fmla="*/ 23591 h 192024"/>
                            <a:gd name="connsiteX27" fmla="*/ 35662 w 81747"/>
                            <a:gd name="connsiteY27" fmla="*/ 29627 h 192024"/>
                            <a:gd name="connsiteX28" fmla="*/ 38405 w 81747"/>
                            <a:gd name="connsiteY28" fmla="*/ 32370 h 192024"/>
                            <a:gd name="connsiteX29" fmla="*/ 43343 w 81747"/>
                            <a:gd name="connsiteY29" fmla="*/ 34564 h 192024"/>
                            <a:gd name="connsiteX30" fmla="*/ 45537 w 81747"/>
                            <a:gd name="connsiteY30" fmla="*/ 34564 h 192024"/>
                            <a:gd name="connsiteX31" fmla="*/ 49378 w 81747"/>
                            <a:gd name="connsiteY31" fmla="*/ 36210 h 192024"/>
                            <a:gd name="connsiteX32" fmla="*/ 57607 w 81747"/>
                            <a:gd name="connsiteY32" fmla="*/ 46634 h 192024"/>
                            <a:gd name="connsiteX33" fmla="*/ 75164 w 81747"/>
                            <a:gd name="connsiteY33" fmla="*/ 178308 h 192024"/>
                            <a:gd name="connsiteX34" fmla="*/ 77907 w 81747"/>
                            <a:gd name="connsiteY34" fmla="*/ 184343 h 192024"/>
                            <a:gd name="connsiteX35" fmla="*/ 81747 w 81747"/>
                            <a:gd name="connsiteY35" fmla="*/ 184892 h 192024"/>
                            <a:gd name="connsiteX36" fmla="*/ 55413 w 81747"/>
                            <a:gd name="connsiteY36" fmla="*/ 192024 h 192024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  <a:cxn ang="0">
                              <a:pos x="connsiteX11" y="connsiteY11"/>
                            </a:cxn>
                            <a:cxn ang="0">
                              <a:pos x="connsiteX12" y="connsiteY12"/>
                            </a:cxn>
                            <a:cxn ang="0">
                              <a:pos x="connsiteX13" y="connsiteY13"/>
                            </a:cxn>
                            <a:cxn ang="0">
                              <a:pos x="connsiteX14" y="connsiteY14"/>
                            </a:cxn>
                            <a:cxn ang="0">
                              <a:pos x="connsiteX15" y="connsiteY15"/>
                            </a:cxn>
                            <a:cxn ang="0">
                              <a:pos x="connsiteX16" y="connsiteY16"/>
                            </a:cxn>
                            <a:cxn ang="0">
                              <a:pos x="connsiteX17" y="connsiteY17"/>
                            </a:cxn>
                            <a:cxn ang="0">
                              <a:pos x="connsiteX18" y="connsiteY18"/>
                            </a:cxn>
                            <a:cxn ang="0">
                              <a:pos x="connsiteX19" y="connsiteY19"/>
                            </a:cxn>
                            <a:cxn ang="0">
                              <a:pos x="connsiteX20" y="connsiteY20"/>
                            </a:cxn>
                            <a:cxn ang="0">
                              <a:pos x="connsiteX21" y="connsiteY21"/>
                            </a:cxn>
                            <a:cxn ang="0">
                              <a:pos x="connsiteX22" y="connsiteY22"/>
                            </a:cxn>
                            <a:cxn ang="0">
                              <a:pos x="connsiteX23" y="connsiteY23"/>
                            </a:cxn>
                            <a:cxn ang="0">
                              <a:pos x="connsiteX24" y="connsiteY24"/>
                            </a:cxn>
                            <a:cxn ang="0">
                              <a:pos x="connsiteX25" y="connsiteY25"/>
                            </a:cxn>
                            <a:cxn ang="0">
                              <a:pos x="connsiteX26" y="connsiteY26"/>
                            </a:cxn>
                            <a:cxn ang="0">
                              <a:pos x="connsiteX27" y="connsiteY27"/>
                            </a:cxn>
                            <a:cxn ang="0">
                              <a:pos x="connsiteX28" y="connsiteY28"/>
                            </a:cxn>
                            <a:cxn ang="0">
                              <a:pos x="connsiteX29" y="connsiteY29"/>
                            </a:cxn>
                            <a:cxn ang="0">
                              <a:pos x="connsiteX30" y="connsiteY30"/>
                            </a:cxn>
                            <a:cxn ang="0">
                              <a:pos x="connsiteX31" y="connsiteY31"/>
                            </a:cxn>
                            <a:cxn ang="0">
                              <a:pos x="connsiteX32" y="connsiteY32"/>
                            </a:cxn>
                            <a:cxn ang="0">
                              <a:pos x="connsiteX33" y="connsiteY33"/>
                            </a:cxn>
                            <a:cxn ang="0">
                              <a:pos x="connsiteX34" y="connsiteY34"/>
                            </a:cxn>
                            <a:cxn ang="0">
                              <a:pos x="connsiteX35" y="connsiteY35"/>
                            </a:cxn>
                            <a:cxn ang="0">
                              <a:pos x="connsiteX36" y="connsiteY36"/>
                            </a:cxn>
                          </a:cxnLst>
                          <a:rect l="l" t="t" r="r" b="b"/>
                          <a:pathLst>
                            <a:path w="81747" h="192024">
                              <a:moveTo>
                                <a:pt x="55413" y="192024"/>
                              </a:moveTo>
                              <a:lnTo>
                                <a:pt x="52121" y="190927"/>
                              </a:lnTo>
                              <a:lnTo>
                                <a:pt x="36210" y="172273"/>
                              </a:lnTo>
                              <a:lnTo>
                                <a:pt x="25786" y="64191"/>
                              </a:lnTo>
                              <a:lnTo>
                                <a:pt x="23043" y="60350"/>
                              </a:lnTo>
                              <a:lnTo>
                                <a:pt x="19751" y="36210"/>
                              </a:lnTo>
                              <a:lnTo>
                                <a:pt x="9327" y="21946"/>
                              </a:lnTo>
                              <a:lnTo>
                                <a:pt x="3292" y="18654"/>
                              </a:lnTo>
                              <a:lnTo>
                                <a:pt x="3292" y="14265"/>
                              </a:lnTo>
                              <a:lnTo>
                                <a:pt x="5486" y="10424"/>
                              </a:lnTo>
                              <a:lnTo>
                                <a:pt x="5486" y="7132"/>
                              </a:lnTo>
                              <a:lnTo>
                                <a:pt x="7681" y="3841"/>
                              </a:lnTo>
                              <a:lnTo>
                                <a:pt x="7132" y="2743"/>
                              </a:lnTo>
                              <a:lnTo>
                                <a:pt x="1097" y="2195"/>
                              </a:lnTo>
                              <a:lnTo>
                                <a:pt x="0" y="1097"/>
                              </a:lnTo>
                              <a:lnTo>
                                <a:pt x="0" y="0"/>
                              </a:lnTo>
                              <a:lnTo>
                                <a:pt x="549" y="549"/>
                              </a:lnTo>
                              <a:lnTo>
                                <a:pt x="23591" y="3841"/>
                              </a:lnTo>
                              <a:lnTo>
                                <a:pt x="26335" y="7681"/>
                              </a:lnTo>
                              <a:lnTo>
                                <a:pt x="29078" y="7681"/>
                              </a:lnTo>
                              <a:lnTo>
                                <a:pt x="30175" y="4938"/>
                              </a:lnTo>
                              <a:lnTo>
                                <a:pt x="40051" y="5486"/>
                              </a:lnTo>
                              <a:lnTo>
                                <a:pt x="41148" y="4938"/>
                              </a:lnTo>
                              <a:lnTo>
                                <a:pt x="40051" y="6584"/>
                              </a:lnTo>
                              <a:lnTo>
                                <a:pt x="38953" y="12070"/>
                              </a:lnTo>
                              <a:lnTo>
                                <a:pt x="36759" y="16459"/>
                              </a:lnTo>
                              <a:lnTo>
                                <a:pt x="35113" y="23591"/>
                              </a:lnTo>
                              <a:lnTo>
                                <a:pt x="35662" y="29627"/>
                              </a:lnTo>
                              <a:lnTo>
                                <a:pt x="38405" y="32370"/>
                              </a:lnTo>
                              <a:lnTo>
                                <a:pt x="43343" y="34564"/>
                              </a:lnTo>
                              <a:lnTo>
                                <a:pt x="45537" y="34564"/>
                              </a:lnTo>
                              <a:lnTo>
                                <a:pt x="49378" y="36210"/>
                              </a:lnTo>
                              <a:lnTo>
                                <a:pt x="57607" y="46634"/>
                              </a:lnTo>
                              <a:lnTo>
                                <a:pt x="75164" y="178308"/>
                              </a:lnTo>
                              <a:lnTo>
                                <a:pt x="77907" y="184343"/>
                              </a:lnTo>
                              <a:lnTo>
                                <a:pt x="81747" y="184892"/>
                              </a:lnTo>
                              <a:lnTo>
                                <a:pt x="55413" y="192024"/>
                              </a:lnTo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215" name="Graphic 7">
                          <a:extLst>
                            <a:ext uri="{FF2B5EF4-FFF2-40B4-BE49-F238E27FC236}">
                              <a16:creationId xmlns:a16="http://schemas.microsoft.com/office/drawing/2014/main" id="{2BD00355-F58C-2BC7-B617-389FFF7DBD0B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42703" y="4121158"/>
                          <a:ext cx="300478" cy="396922"/>
                        </a:xfrm>
                        <a:custGeom>
                          <a:avLst/>
                          <a:gdLst>
                            <a:gd name="connsiteX0" fmla="*/ 20300 w 384596"/>
                            <a:gd name="connsiteY0" fmla="*/ 508041 h 508040"/>
                            <a:gd name="connsiteX1" fmla="*/ 20300 w 384596"/>
                            <a:gd name="connsiteY1" fmla="*/ 504749 h 508040"/>
                            <a:gd name="connsiteX2" fmla="*/ 0 w 384596"/>
                            <a:gd name="connsiteY2" fmla="*/ 480060 h 508040"/>
                            <a:gd name="connsiteX3" fmla="*/ 0 w 384596"/>
                            <a:gd name="connsiteY3" fmla="*/ 341803 h 508040"/>
                            <a:gd name="connsiteX4" fmla="*/ 2195 w 384596"/>
                            <a:gd name="connsiteY4" fmla="*/ 340706 h 508040"/>
                            <a:gd name="connsiteX5" fmla="*/ 31821 w 384596"/>
                            <a:gd name="connsiteY5" fmla="*/ 303398 h 508040"/>
                            <a:gd name="connsiteX6" fmla="*/ 32918 w 384596"/>
                            <a:gd name="connsiteY6" fmla="*/ 300106 h 508040"/>
                            <a:gd name="connsiteX7" fmla="*/ 35113 w 384596"/>
                            <a:gd name="connsiteY7" fmla="*/ 297363 h 508040"/>
                            <a:gd name="connsiteX8" fmla="*/ 69129 w 384596"/>
                            <a:gd name="connsiteY8" fmla="*/ 284744 h 508040"/>
                            <a:gd name="connsiteX9" fmla="*/ 86685 w 384596"/>
                            <a:gd name="connsiteY9" fmla="*/ 269931 h 508040"/>
                            <a:gd name="connsiteX10" fmla="*/ 106985 w 384596"/>
                            <a:gd name="connsiteY10" fmla="*/ 261153 h 508040"/>
                            <a:gd name="connsiteX11" fmla="*/ 151425 w 384596"/>
                            <a:gd name="connsiteY11" fmla="*/ 260056 h 508040"/>
                            <a:gd name="connsiteX12" fmla="*/ 262250 w 384596"/>
                            <a:gd name="connsiteY12" fmla="*/ 147584 h 508040"/>
                            <a:gd name="connsiteX13" fmla="*/ 263347 w 384596"/>
                            <a:gd name="connsiteY13" fmla="*/ 145390 h 508040"/>
                            <a:gd name="connsiteX14" fmla="*/ 227137 w 384596"/>
                            <a:gd name="connsiteY14" fmla="*/ 147036 h 508040"/>
                            <a:gd name="connsiteX15" fmla="*/ 113569 w 384596"/>
                            <a:gd name="connsiteY15" fmla="*/ 106985 h 508040"/>
                            <a:gd name="connsiteX16" fmla="*/ 109728 w 384596"/>
                            <a:gd name="connsiteY16" fmla="*/ 101498 h 508040"/>
                            <a:gd name="connsiteX17" fmla="*/ 95464 w 384596"/>
                            <a:gd name="connsiteY17" fmla="*/ 91074 h 508040"/>
                            <a:gd name="connsiteX18" fmla="*/ 91074 w 384596"/>
                            <a:gd name="connsiteY18" fmla="*/ 84491 h 508040"/>
                            <a:gd name="connsiteX19" fmla="*/ 86137 w 384596"/>
                            <a:gd name="connsiteY19" fmla="*/ 80650 h 508040"/>
                            <a:gd name="connsiteX20" fmla="*/ 84491 w 384596"/>
                            <a:gd name="connsiteY20" fmla="*/ 76261 h 508040"/>
                            <a:gd name="connsiteX21" fmla="*/ 77358 w 384596"/>
                            <a:gd name="connsiteY21" fmla="*/ 69129 h 508040"/>
                            <a:gd name="connsiteX22" fmla="*/ 75712 w 384596"/>
                            <a:gd name="connsiteY22" fmla="*/ 65837 h 508040"/>
                            <a:gd name="connsiteX23" fmla="*/ 70775 w 384596"/>
                            <a:gd name="connsiteY23" fmla="*/ 60899 h 508040"/>
                            <a:gd name="connsiteX24" fmla="*/ 66934 w 384596"/>
                            <a:gd name="connsiteY24" fmla="*/ 45537 h 508040"/>
                            <a:gd name="connsiteX25" fmla="*/ 82296 w 384596"/>
                            <a:gd name="connsiteY25" fmla="*/ 18105 h 508040"/>
                            <a:gd name="connsiteX26" fmla="*/ 83942 w 384596"/>
                            <a:gd name="connsiteY26" fmla="*/ 17008 h 508040"/>
                            <a:gd name="connsiteX27" fmla="*/ 85039 w 384596"/>
                            <a:gd name="connsiteY27" fmla="*/ 19202 h 508040"/>
                            <a:gd name="connsiteX28" fmla="*/ 88880 w 384596"/>
                            <a:gd name="connsiteY28" fmla="*/ 21397 h 508040"/>
                            <a:gd name="connsiteX29" fmla="*/ 114117 w 384596"/>
                            <a:gd name="connsiteY29" fmla="*/ 51024 h 508040"/>
                            <a:gd name="connsiteX30" fmla="*/ 127285 w 384596"/>
                            <a:gd name="connsiteY30" fmla="*/ 58705 h 508040"/>
                            <a:gd name="connsiteX31" fmla="*/ 132222 w 384596"/>
                            <a:gd name="connsiteY31" fmla="*/ 57059 h 508040"/>
                            <a:gd name="connsiteX32" fmla="*/ 147036 w 384596"/>
                            <a:gd name="connsiteY32" fmla="*/ 57607 h 508040"/>
                            <a:gd name="connsiteX33" fmla="*/ 173370 w 384596"/>
                            <a:gd name="connsiteY33" fmla="*/ 43891 h 508040"/>
                            <a:gd name="connsiteX34" fmla="*/ 175016 w 384596"/>
                            <a:gd name="connsiteY34" fmla="*/ 41697 h 508040"/>
                            <a:gd name="connsiteX35" fmla="*/ 176662 w 384596"/>
                            <a:gd name="connsiteY35" fmla="*/ 40599 h 508040"/>
                            <a:gd name="connsiteX36" fmla="*/ 178308 w 384596"/>
                            <a:gd name="connsiteY36" fmla="*/ 40599 h 508040"/>
                            <a:gd name="connsiteX37" fmla="*/ 181600 w 384596"/>
                            <a:gd name="connsiteY37" fmla="*/ 42794 h 508040"/>
                            <a:gd name="connsiteX38" fmla="*/ 184343 w 384596"/>
                            <a:gd name="connsiteY38" fmla="*/ 42794 h 508040"/>
                            <a:gd name="connsiteX39" fmla="*/ 185989 w 384596"/>
                            <a:gd name="connsiteY39" fmla="*/ 43343 h 508040"/>
                            <a:gd name="connsiteX40" fmla="*/ 193670 w 384596"/>
                            <a:gd name="connsiteY40" fmla="*/ 42794 h 508040"/>
                            <a:gd name="connsiteX41" fmla="*/ 199705 w 384596"/>
                            <a:gd name="connsiteY41" fmla="*/ 46634 h 508040"/>
                            <a:gd name="connsiteX42" fmla="*/ 213421 w 384596"/>
                            <a:gd name="connsiteY42" fmla="*/ 45537 h 508040"/>
                            <a:gd name="connsiteX43" fmla="*/ 220005 w 384596"/>
                            <a:gd name="connsiteY43" fmla="*/ 39502 h 508040"/>
                            <a:gd name="connsiteX44" fmla="*/ 226588 w 384596"/>
                            <a:gd name="connsiteY44" fmla="*/ 37308 h 508040"/>
                            <a:gd name="connsiteX45" fmla="*/ 230429 w 384596"/>
                            <a:gd name="connsiteY45" fmla="*/ 33467 h 508040"/>
                            <a:gd name="connsiteX46" fmla="*/ 241950 w 384596"/>
                            <a:gd name="connsiteY46" fmla="*/ 29627 h 508040"/>
                            <a:gd name="connsiteX47" fmla="*/ 249083 w 384596"/>
                            <a:gd name="connsiteY47" fmla="*/ 32370 h 508040"/>
                            <a:gd name="connsiteX48" fmla="*/ 272674 w 384596"/>
                            <a:gd name="connsiteY48" fmla="*/ 29627 h 508040"/>
                            <a:gd name="connsiteX49" fmla="*/ 281452 w 384596"/>
                            <a:gd name="connsiteY49" fmla="*/ 23592 h 508040"/>
                            <a:gd name="connsiteX50" fmla="*/ 294071 w 384596"/>
                            <a:gd name="connsiteY50" fmla="*/ 25238 h 508040"/>
                            <a:gd name="connsiteX51" fmla="*/ 308884 w 384596"/>
                            <a:gd name="connsiteY51" fmla="*/ 20300 h 508040"/>
                            <a:gd name="connsiteX52" fmla="*/ 313273 w 384596"/>
                            <a:gd name="connsiteY52" fmla="*/ 20300 h 508040"/>
                            <a:gd name="connsiteX53" fmla="*/ 316017 w 384596"/>
                            <a:gd name="connsiteY53" fmla="*/ 17557 h 508040"/>
                            <a:gd name="connsiteX54" fmla="*/ 339060 w 384596"/>
                            <a:gd name="connsiteY54" fmla="*/ 14265 h 508040"/>
                            <a:gd name="connsiteX55" fmla="*/ 351678 w 384596"/>
                            <a:gd name="connsiteY55" fmla="*/ 8778 h 508040"/>
                            <a:gd name="connsiteX56" fmla="*/ 354970 w 384596"/>
                            <a:gd name="connsiteY56" fmla="*/ 2195 h 508040"/>
                            <a:gd name="connsiteX57" fmla="*/ 360457 w 384596"/>
                            <a:gd name="connsiteY57" fmla="*/ 0 h 508040"/>
                            <a:gd name="connsiteX58" fmla="*/ 367040 w 384596"/>
                            <a:gd name="connsiteY58" fmla="*/ 549 h 508040"/>
                            <a:gd name="connsiteX59" fmla="*/ 373624 w 384596"/>
                            <a:gd name="connsiteY59" fmla="*/ 5486 h 508040"/>
                            <a:gd name="connsiteX60" fmla="*/ 379659 w 384596"/>
                            <a:gd name="connsiteY60" fmla="*/ 5486 h 508040"/>
                            <a:gd name="connsiteX61" fmla="*/ 381305 w 384596"/>
                            <a:gd name="connsiteY61" fmla="*/ 6035 h 508040"/>
                            <a:gd name="connsiteX62" fmla="*/ 379659 w 384596"/>
                            <a:gd name="connsiteY62" fmla="*/ 10424 h 508040"/>
                            <a:gd name="connsiteX63" fmla="*/ 380207 w 384596"/>
                            <a:gd name="connsiteY63" fmla="*/ 14265 h 508040"/>
                            <a:gd name="connsiteX64" fmla="*/ 375818 w 384596"/>
                            <a:gd name="connsiteY64" fmla="*/ 19202 h 508040"/>
                            <a:gd name="connsiteX65" fmla="*/ 374721 w 384596"/>
                            <a:gd name="connsiteY65" fmla="*/ 23043 h 508040"/>
                            <a:gd name="connsiteX66" fmla="*/ 375270 w 384596"/>
                            <a:gd name="connsiteY66" fmla="*/ 29627 h 508040"/>
                            <a:gd name="connsiteX67" fmla="*/ 379110 w 384596"/>
                            <a:gd name="connsiteY67" fmla="*/ 32918 h 508040"/>
                            <a:gd name="connsiteX68" fmla="*/ 377464 w 384596"/>
                            <a:gd name="connsiteY68" fmla="*/ 36210 h 508040"/>
                            <a:gd name="connsiteX69" fmla="*/ 378013 w 384596"/>
                            <a:gd name="connsiteY69" fmla="*/ 40599 h 508040"/>
                            <a:gd name="connsiteX70" fmla="*/ 377464 w 384596"/>
                            <a:gd name="connsiteY70" fmla="*/ 45537 h 508040"/>
                            <a:gd name="connsiteX71" fmla="*/ 378013 w 384596"/>
                            <a:gd name="connsiteY71" fmla="*/ 52121 h 508040"/>
                            <a:gd name="connsiteX72" fmla="*/ 376916 w 384596"/>
                            <a:gd name="connsiteY72" fmla="*/ 54315 h 508040"/>
                            <a:gd name="connsiteX73" fmla="*/ 372527 w 384596"/>
                            <a:gd name="connsiteY73" fmla="*/ 58156 h 508040"/>
                            <a:gd name="connsiteX74" fmla="*/ 373075 w 384596"/>
                            <a:gd name="connsiteY74" fmla="*/ 59253 h 508040"/>
                            <a:gd name="connsiteX75" fmla="*/ 377464 w 384596"/>
                            <a:gd name="connsiteY75" fmla="*/ 58705 h 508040"/>
                            <a:gd name="connsiteX76" fmla="*/ 378013 w 384596"/>
                            <a:gd name="connsiteY76" fmla="*/ 57059 h 508040"/>
                            <a:gd name="connsiteX77" fmla="*/ 379110 w 384596"/>
                            <a:gd name="connsiteY77" fmla="*/ 57059 h 508040"/>
                            <a:gd name="connsiteX78" fmla="*/ 380756 w 384596"/>
                            <a:gd name="connsiteY78" fmla="*/ 58705 h 508040"/>
                            <a:gd name="connsiteX79" fmla="*/ 384597 w 384596"/>
                            <a:gd name="connsiteY79" fmla="*/ 59253 h 508040"/>
                            <a:gd name="connsiteX80" fmla="*/ 384597 w 384596"/>
                            <a:gd name="connsiteY80" fmla="*/ 61997 h 508040"/>
                            <a:gd name="connsiteX81" fmla="*/ 383500 w 384596"/>
                            <a:gd name="connsiteY81" fmla="*/ 63094 h 508040"/>
                            <a:gd name="connsiteX82" fmla="*/ 381854 w 384596"/>
                            <a:gd name="connsiteY82" fmla="*/ 63094 h 508040"/>
                            <a:gd name="connsiteX83" fmla="*/ 378013 w 384596"/>
                            <a:gd name="connsiteY83" fmla="*/ 60899 h 508040"/>
                            <a:gd name="connsiteX84" fmla="*/ 373075 w 384596"/>
                            <a:gd name="connsiteY84" fmla="*/ 60899 h 508040"/>
                            <a:gd name="connsiteX85" fmla="*/ 369784 w 384596"/>
                            <a:gd name="connsiteY85" fmla="*/ 62545 h 508040"/>
                            <a:gd name="connsiteX86" fmla="*/ 369235 w 384596"/>
                            <a:gd name="connsiteY86" fmla="*/ 63642 h 508040"/>
                            <a:gd name="connsiteX87" fmla="*/ 364297 w 384596"/>
                            <a:gd name="connsiteY87" fmla="*/ 97109 h 508040"/>
                            <a:gd name="connsiteX88" fmla="*/ 363200 w 384596"/>
                            <a:gd name="connsiteY88" fmla="*/ 99853 h 508040"/>
                            <a:gd name="connsiteX89" fmla="*/ 361554 w 384596"/>
                            <a:gd name="connsiteY89" fmla="*/ 107534 h 508040"/>
                            <a:gd name="connsiteX90" fmla="*/ 354970 w 384596"/>
                            <a:gd name="connsiteY90" fmla="*/ 113569 h 508040"/>
                            <a:gd name="connsiteX91" fmla="*/ 340157 w 384596"/>
                            <a:gd name="connsiteY91" fmla="*/ 140452 h 508040"/>
                            <a:gd name="connsiteX92" fmla="*/ 332476 w 384596"/>
                            <a:gd name="connsiteY92" fmla="*/ 147584 h 508040"/>
                            <a:gd name="connsiteX93" fmla="*/ 329184 w 384596"/>
                            <a:gd name="connsiteY93" fmla="*/ 155265 h 508040"/>
                            <a:gd name="connsiteX94" fmla="*/ 328087 w 384596"/>
                            <a:gd name="connsiteY94" fmla="*/ 163495 h 508040"/>
                            <a:gd name="connsiteX95" fmla="*/ 294620 w 384596"/>
                            <a:gd name="connsiteY95" fmla="*/ 235915 h 508040"/>
                            <a:gd name="connsiteX96" fmla="*/ 289133 w 384596"/>
                            <a:gd name="connsiteY96" fmla="*/ 241402 h 508040"/>
                            <a:gd name="connsiteX97" fmla="*/ 286939 w 384596"/>
                            <a:gd name="connsiteY97" fmla="*/ 242499 h 508040"/>
                            <a:gd name="connsiteX98" fmla="*/ 284744 w 384596"/>
                            <a:gd name="connsiteY98" fmla="*/ 245791 h 508040"/>
                            <a:gd name="connsiteX99" fmla="*/ 283098 w 384596"/>
                            <a:gd name="connsiteY99" fmla="*/ 246340 h 508040"/>
                            <a:gd name="connsiteX100" fmla="*/ 269931 w 384596"/>
                            <a:gd name="connsiteY100" fmla="*/ 259507 h 508040"/>
                            <a:gd name="connsiteX101" fmla="*/ 266090 w 384596"/>
                            <a:gd name="connsiteY101" fmla="*/ 266639 h 508040"/>
                            <a:gd name="connsiteX102" fmla="*/ 266090 w 384596"/>
                            <a:gd name="connsiteY102" fmla="*/ 268285 h 508040"/>
                            <a:gd name="connsiteX103" fmla="*/ 248534 w 384596"/>
                            <a:gd name="connsiteY103" fmla="*/ 296266 h 508040"/>
                            <a:gd name="connsiteX104" fmla="*/ 248534 w 384596"/>
                            <a:gd name="connsiteY104" fmla="*/ 296814 h 508040"/>
                            <a:gd name="connsiteX105" fmla="*/ 202997 w 384596"/>
                            <a:gd name="connsiteY105" fmla="*/ 337962 h 508040"/>
                            <a:gd name="connsiteX106" fmla="*/ 202997 w 384596"/>
                            <a:gd name="connsiteY106" fmla="*/ 339608 h 508040"/>
                            <a:gd name="connsiteX107" fmla="*/ 189829 w 384596"/>
                            <a:gd name="connsiteY107" fmla="*/ 357165 h 508040"/>
                            <a:gd name="connsiteX108" fmla="*/ 170627 w 384596"/>
                            <a:gd name="connsiteY108" fmla="*/ 371978 h 508040"/>
                            <a:gd name="connsiteX109" fmla="*/ 158008 w 384596"/>
                            <a:gd name="connsiteY109" fmla="*/ 376916 h 508040"/>
                            <a:gd name="connsiteX110" fmla="*/ 153071 w 384596"/>
                            <a:gd name="connsiteY110" fmla="*/ 377465 h 508040"/>
                            <a:gd name="connsiteX111" fmla="*/ 70226 w 384596"/>
                            <a:gd name="connsiteY111" fmla="*/ 452628 h 508040"/>
                            <a:gd name="connsiteX112" fmla="*/ 61996 w 384596"/>
                            <a:gd name="connsiteY112" fmla="*/ 454823 h 508040"/>
                            <a:gd name="connsiteX113" fmla="*/ 59802 w 384596"/>
                            <a:gd name="connsiteY113" fmla="*/ 453177 h 508040"/>
                            <a:gd name="connsiteX114" fmla="*/ 57607 w 384596"/>
                            <a:gd name="connsiteY114" fmla="*/ 456469 h 508040"/>
                            <a:gd name="connsiteX115" fmla="*/ 59253 w 384596"/>
                            <a:gd name="connsiteY115" fmla="*/ 456469 h 508040"/>
                            <a:gd name="connsiteX116" fmla="*/ 60350 w 384596"/>
                            <a:gd name="connsiteY116" fmla="*/ 459212 h 508040"/>
                            <a:gd name="connsiteX117" fmla="*/ 59253 w 384596"/>
                            <a:gd name="connsiteY117" fmla="*/ 460858 h 508040"/>
                            <a:gd name="connsiteX118" fmla="*/ 57607 w 384596"/>
                            <a:gd name="connsiteY118" fmla="*/ 462504 h 508040"/>
                            <a:gd name="connsiteX119" fmla="*/ 55413 w 384596"/>
                            <a:gd name="connsiteY119" fmla="*/ 467990 h 508040"/>
                            <a:gd name="connsiteX120" fmla="*/ 21946 w 384596"/>
                            <a:gd name="connsiteY120" fmla="*/ 506944 h 508040"/>
                            <a:gd name="connsiteX121" fmla="*/ 20300 w 384596"/>
                            <a:gd name="connsiteY121" fmla="*/ 508041 h 508040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  <a:cxn ang="0">
                              <a:pos x="connsiteX11" y="connsiteY11"/>
                            </a:cxn>
                            <a:cxn ang="0">
                              <a:pos x="connsiteX12" y="connsiteY12"/>
                            </a:cxn>
                            <a:cxn ang="0">
                              <a:pos x="connsiteX13" y="connsiteY13"/>
                            </a:cxn>
                            <a:cxn ang="0">
                              <a:pos x="connsiteX14" y="connsiteY14"/>
                            </a:cxn>
                            <a:cxn ang="0">
                              <a:pos x="connsiteX15" y="connsiteY15"/>
                            </a:cxn>
                            <a:cxn ang="0">
                              <a:pos x="connsiteX16" y="connsiteY16"/>
                            </a:cxn>
                            <a:cxn ang="0">
                              <a:pos x="connsiteX17" y="connsiteY17"/>
                            </a:cxn>
                            <a:cxn ang="0">
                              <a:pos x="connsiteX18" y="connsiteY18"/>
                            </a:cxn>
                            <a:cxn ang="0">
                              <a:pos x="connsiteX19" y="connsiteY19"/>
                            </a:cxn>
                            <a:cxn ang="0">
                              <a:pos x="connsiteX20" y="connsiteY20"/>
                            </a:cxn>
                            <a:cxn ang="0">
                              <a:pos x="connsiteX21" y="connsiteY21"/>
                            </a:cxn>
                            <a:cxn ang="0">
                              <a:pos x="connsiteX22" y="connsiteY22"/>
                            </a:cxn>
                            <a:cxn ang="0">
                              <a:pos x="connsiteX23" y="connsiteY23"/>
                            </a:cxn>
                            <a:cxn ang="0">
                              <a:pos x="connsiteX24" y="connsiteY24"/>
                            </a:cxn>
                            <a:cxn ang="0">
                              <a:pos x="connsiteX25" y="connsiteY25"/>
                            </a:cxn>
                            <a:cxn ang="0">
                              <a:pos x="connsiteX26" y="connsiteY26"/>
                            </a:cxn>
                            <a:cxn ang="0">
                              <a:pos x="connsiteX27" y="connsiteY27"/>
                            </a:cxn>
                            <a:cxn ang="0">
                              <a:pos x="connsiteX28" y="connsiteY28"/>
                            </a:cxn>
                            <a:cxn ang="0">
                              <a:pos x="connsiteX29" y="connsiteY29"/>
                            </a:cxn>
                            <a:cxn ang="0">
                              <a:pos x="connsiteX30" y="connsiteY30"/>
                            </a:cxn>
                            <a:cxn ang="0">
                              <a:pos x="connsiteX31" y="connsiteY31"/>
                            </a:cxn>
                            <a:cxn ang="0">
                              <a:pos x="connsiteX32" y="connsiteY32"/>
                            </a:cxn>
                            <a:cxn ang="0">
                              <a:pos x="connsiteX33" y="connsiteY33"/>
                            </a:cxn>
                            <a:cxn ang="0">
                              <a:pos x="connsiteX34" y="connsiteY34"/>
                            </a:cxn>
                            <a:cxn ang="0">
                              <a:pos x="connsiteX35" y="connsiteY35"/>
                            </a:cxn>
                            <a:cxn ang="0">
                              <a:pos x="connsiteX36" y="connsiteY36"/>
                            </a:cxn>
                            <a:cxn ang="0">
                              <a:pos x="connsiteX37" y="connsiteY37"/>
                            </a:cxn>
                            <a:cxn ang="0">
                              <a:pos x="connsiteX38" y="connsiteY38"/>
                            </a:cxn>
                            <a:cxn ang="0">
                              <a:pos x="connsiteX39" y="connsiteY39"/>
                            </a:cxn>
                            <a:cxn ang="0">
                              <a:pos x="connsiteX40" y="connsiteY40"/>
                            </a:cxn>
                            <a:cxn ang="0">
                              <a:pos x="connsiteX41" y="connsiteY41"/>
                            </a:cxn>
                            <a:cxn ang="0">
                              <a:pos x="connsiteX42" y="connsiteY42"/>
                            </a:cxn>
                            <a:cxn ang="0">
                              <a:pos x="connsiteX43" y="connsiteY43"/>
                            </a:cxn>
                            <a:cxn ang="0">
                              <a:pos x="connsiteX44" y="connsiteY44"/>
                            </a:cxn>
                            <a:cxn ang="0">
                              <a:pos x="connsiteX45" y="connsiteY45"/>
                            </a:cxn>
                            <a:cxn ang="0">
                              <a:pos x="connsiteX46" y="connsiteY46"/>
                            </a:cxn>
                            <a:cxn ang="0">
                              <a:pos x="connsiteX47" y="connsiteY47"/>
                            </a:cxn>
                            <a:cxn ang="0">
                              <a:pos x="connsiteX48" y="connsiteY48"/>
                            </a:cxn>
                            <a:cxn ang="0">
                              <a:pos x="connsiteX49" y="connsiteY49"/>
                            </a:cxn>
                            <a:cxn ang="0">
                              <a:pos x="connsiteX50" y="connsiteY50"/>
                            </a:cxn>
                            <a:cxn ang="0">
                              <a:pos x="connsiteX51" y="connsiteY51"/>
                            </a:cxn>
                            <a:cxn ang="0">
                              <a:pos x="connsiteX52" y="connsiteY52"/>
                            </a:cxn>
                            <a:cxn ang="0">
                              <a:pos x="connsiteX53" y="connsiteY53"/>
                            </a:cxn>
                            <a:cxn ang="0">
                              <a:pos x="connsiteX54" y="connsiteY54"/>
                            </a:cxn>
                            <a:cxn ang="0">
                              <a:pos x="connsiteX55" y="connsiteY55"/>
                            </a:cxn>
                            <a:cxn ang="0">
                              <a:pos x="connsiteX56" y="connsiteY56"/>
                            </a:cxn>
                            <a:cxn ang="0">
                              <a:pos x="connsiteX57" y="connsiteY57"/>
                            </a:cxn>
                            <a:cxn ang="0">
                              <a:pos x="connsiteX58" y="connsiteY58"/>
                            </a:cxn>
                            <a:cxn ang="0">
                              <a:pos x="connsiteX59" y="connsiteY59"/>
                            </a:cxn>
                            <a:cxn ang="0">
                              <a:pos x="connsiteX60" y="connsiteY60"/>
                            </a:cxn>
                            <a:cxn ang="0">
                              <a:pos x="connsiteX61" y="connsiteY61"/>
                            </a:cxn>
                            <a:cxn ang="0">
                              <a:pos x="connsiteX62" y="connsiteY62"/>
                            </a:cxn>
                            <a:cxn ang="0">
                              <a:pos x="connsiteX63" y="connsiteY63"/>
                            </a:cxn>
                            <a:cxn ang="0">
                              <a:pos x="connsiteX64" y="connsiteY64"/>
                            </a:cxn>
                            <a:cxn ang="0">
                              <a:pos x="connsiteX65" y="connsiteY65"/>
                            </a:cxn>
                            <a:cxn ang="0">
                              <a:pos x="connsiteX66" y="connsiteY66"/>
                            </a:cxn>
                            <a:cxn ang="0">
                              <a:pos x="connsiteX67" y="connsiteY67"/>
                            </a:cxn>
                            <a:cxn ang="0">
                              <a:pos x="connsiteX68" y="connsiteY68"/>
                            </a:cxn>
                            <a:cxn ang="0">
                              <a:pos x="connsiteX69" y="connsiteY69"/>
                            </a:cxn>
                            <a:cxn ang="0">
                              <a:pos x="connsiteX70" y="connsiteY70"/>
                            </a:cxn>
                            <a:cxn ang="0">
                              <a:pos x="connsiteX71" y="connsiteY71"/>
                            </a:cxn>
                            <a:cxn ang="0">
                              <a:pos x="connsiteX72" y="connsiteY72"/>
                            </a:cxn>
                            <a:cxn ang="0">
                              <a:pos x="connsiteX73" y="connsiteY73"/>
                            </a:cxn>
                            <a:cxn ang="0">
                              <a:pos x="connsiteX74" y="connsiteY74"/>
                            </a:cxn>
                            <a:cxn ang="0">
                              <a:pos x="connsiteX75" y="connsiteY75"/>
                            </a:cxn>
                            <a:cxn ang="0">
                              <a:pos x="connsiteX76" y="connsiteY76"/>
                            </a:cxn>
                            <a:cxn ang="0">
                              <a:pos x="connsiteX77" y="connsiteY77"/>
                            </a:cxn>
                            <a:cxn ang="0">
                              <a:pos x="connsiteX78" y="connsiteY78"/>
                            </a:cxn>
                            <a:cxn ang="0">
                              <a:pos x="connsiteX79" y="connsiteY79"/>
                            </a:cxn>
                            <a:cxn ang="0">
                              <a:pos x="connsiteX80" y="connsiteY80"/>
                            </a:cxn>
                            <a:cxn ang="0">
                              <a:pos x="connsiteX81" y="connsiteY81"/>
                            </a:cxn>
                            <a:cxn ang="0">
                              <a:pos x="connsiteX82" y="connsiteY82"/>
                            </a:cxn>
                            <a:cxn ang="0">
                              <a:pos x="connsiteX83" y="connsiteY83"/>
                            </a:cxn>
                            <a:cxn ang="0">
                              <a:pos x="connsiteX84" y="connsiteY84"/>
                            </a:cxn>
                            <a:cxn ang="0">
                              <a:pos x="connsiteX85" y="connsiteY85"/>
                            </a:cxn>
                            <a:cxn ang="0">
                              <a:pos x="connsiteX86" y="connsiteY86"/>
                            </a:cxn>
                            <a:cxn ang="0">
                              <a:pos x="connsiteX87" y="connsiteY87"/>
                            </a:cxn>
                            <a:cxn ang="0">
                              <a:pos x="connsiteX88" y="connsiteY88"/>
                            </a:cxn>
                            <a:cxn ang="0">
                              <a:pos x="connsiteX89" y="connsiteY89"/>
                            </a:cxn>
                            <a:cxn ang="0">
                              <a:pos x="connsiteX90" y="connsiteY90"/>
                            </a:cxn>
                            <a:cxn ang="0">
                              <a:pos x="connsiteX91" y="connsiteY91"/>
                            </a:cxn>
                            <a:cxn ang="0">
                              <a:pos x="connsiteX92" y="connsiteY92"/>
                            </a:cxn>
                            <a:cxn ang="0">
                              <a:pos x="connsiteX93" y="connsiteY93"/>
                            </a:cxn>
                            <a:cxn ang="0">
                              <a:pos x="connsiteX94" y="connsiteY94"/>
                            </a:cxn>
                            <a:cxn ang="0">
                              <a:pos x="connsiteX95" y="connsiteY95"/>
                            </a:cxn>
                            <a:cxn ang="0">
                              <a:pos x="connsiteX96" y="connsiteY96"/>
                            </a:cxn>
                            <a:cxn ang="0">
                              <a:pos x="connsiteX97" y="connsiteY97"/>
                            </a:cxn>
                            <a:cxn ang="0">
                              <a:pos x="connsiteX98" y="connsiteY98"/>
                            </a:cxn>
                            <a:cxn ang="0">
                              <a:pos x="connsiteX99" y="connsiteY99"/>
                            </a:cxn>
                            <a:cxn ang="0">
                              <a:pos x="connsiteX100" y="connsiteY100"/>
                            </a:cxn>
                            <a:cxn ang="0">
                              <a:pos x="connsiteX101" y="connsiteY101"/>
                            </a:cxn>
                            <a:cxn ang="0">
                              <a:pos x="connsiteX102" y="connsiteY102"/>
                            </a:cxn>
                            <a:cxn ang="0">
                              <a:pos x="connsiteX103" y="connsiteY103"/>
                            </a:cxn>
                            <a:cxn ang="0">
                              <a:pos x="connsiteX104" y="connsiteY104"/>
                            </a:cxn>
                            <a:cxn ang="0">
                              <a:pos x="connsiteX105" y="connsiteY105"/>
                            </a:cxn>
                            <a:cxn ang="0">
                              <a:pos x="connsiteX106" y="connsiteY106"/>
                            </a:cxn>
                            <a:cxn ang="0">
                              <a:pos x="connsiteX107" y="connsiteY107"/>
                            </a:cxn>
                            <a:cxn ang="0">
                              <a:pos x="connsiteX108" y="connsiteY108"/>
                            </a:cxn>
                            <a:cxn ang="0">
                              <a:pos x="connsiteX109" y="connsiteY109"/>
                            </a:cxn>
                            <a:cxn ang="0">
                              <a:pos x="connsiteX110" y="connsiteY110"/>
                            </a:cxn>
                            <a:cxn ang="0">
                              <a:pos x="connsiteX111" y="connsiteY111"/>
                            </a:cxn>
                            <a:cxn ang="0">
                              <a:pos x="connsiteX112" y="connsiteY112"/>
                            </a:cxn>
                            <a:cxn ang="0">
                              <a:pos x="connsiteX113" y="connsiteY113"/>
                            </a:cxn>
                            <a:cxn ang="0">
                              <a:pos x="connsiteX114" y="connsiteY114"/>
                            </a:cxn>
                            <a:cxn ang="0">
                              <a:pos x="connsiteX115" y="connsiteY115"/>
                            </a:cxn>
                            <a:cxn ang="0">
                              <a:pos x="connsiteX116" y="connsiteY116"/>
                            </a:cxn>
                            <a:cxn ang="0">
                              <a:pos x="connsiteX117" y="connsiteY117"/>
                            </a:cxn>
                            <a:cxn ang="0">
                              <a:pos x="connsiteX118" y="connsiteY118"/>
                            </a:cxn>
                            <a:cxn ang="0">
                              <a:pos x="connsiteX119" y="connsiteY119"/>
                            </a:cxn>
                            <a:cxn ang="0">
                              <a:pos x="connsiteX120" y="connsiteY120"/>
                            </a:cxn>
                            <a:cxn ang="0">
                              <a:pos x="connsiteX121" y="connsiteY121"/>
                            </a:cxn>
                          </a:cxnLst>
                          <a:rect l="l" t="t" r="r" b="b"/>
                          <a:pathLst>
                            <a:path w="384596" h="508040">
                              <a:moveTo>
                                <a:pt x="20300" y="508041"/>
                              </a:moveTo>
                              <a:lnTo>
                                <a:pt x="20300" y="504749"/>
                              </a:lnTo>
                              <a:lnTo>
                                <a:pt x="0" y="480060"/>
                              </a:lnTo>
                              <a:lnTo>
                                <a:pt x="0" y="341803"/>
                              </a:lnTo>
                              <a:lnTo>
                                <a:pt x="2195" y="340706"/>
                              </a:lnTo>
                              <a:lnTo>
                                <a:pt x="31821" y="303398"/>
                              </a:lnTo>
                              <a:lnTo>
                                <a:pt x="32918" y="300106"/>
                              </a:lnTo>
                              <a:lnTo>
                                <a:pt x="35113" y="297363"/>
                              </a:lnTo>
                              <a:lnTo>
                                <a:pt x="69129" y="284744"/>
                              </a:lnTo>
                              <a:lnTo>
                                <a:pt x="86685" y="269931"/>
                              </a:lnTo>
                              <a:lnTo>
                                <a:pt x="106985" y="261153"/>
                              </a:lnTo>
                              <a:lnTo>
                                <a:pt x="151425" y="260056"/>
                              </a:lnTo>
                              <a:lnTo>
                                <a:pt x="262250" y="147584"/>
                              </a:lnTo>
                              <a:lnTo>
                                <a:pt x="263347" y="145390"/>
                              </a:lnTo>
                              <a:lnTo>
                                <a:pt x="227137" y="147036"/>
                              </a:lnTo>
                              <a:lnTo>
                                <a:pt x="113569" y="106985"/>
                              </a:lnTo>
                              <a:lnTo>
                                <a:pt x="109728" y="101498"/>
                              </a:lnTo>
                              <a:lnTo>
                                <a:pt x="95464" y="91074"/>
                              </a:lnTo>
                              <a:lnTo>
                                <a:pt x="91074" y="84491"/>
                              </a:lnTo>
                              <a:lnTo>
                                <a:pt x="86137" y="80650"/>
                              </a:lnTo>
                              <a:lnTo>
                                <a:pt x="84491" y="76261"/>
                              </a:lnTo>
                              <a:lnTo>
                                <a:pt x="77358" y="69129"/>
                              </a:lnTo>
                              <a:lnTo>
                                <a:pt x="75712" y="65837"/>
                              </a:lnTo>
                              <a:lnTo>
                                <a:pt x="70775" y="60899"/>
                              </a:lnTo>
                              <a:lnTo>
                                <a:pt x="66934" y="45537"/>
                              </a:lnTo>
                              <a:lnTo>
                                <a:pt x="82296" y="18105"/>
                              </a:lnTo>
                              <a:lnTo>
                                <a:pt x="83942" y="17008"/>
                              </a:lnTo>
                              <a:lnTo>
                                <a:pt x="85039" y="19202"/>
                              </a:lnTo>
                              <a:lnTo>
                                <a:pt x="88880" y="21397"/>
                              </a:lnTo>
                              <a:lnTo>
                                <a:pt x="114117" y="51024"/>
                              </a:lnTo>
                              <a:lnTo>
                                <a:pt x="127285" y="58705"/>
                              </a:lnTo>
                              <a:lnTo>
                                <a:pt x="132222" y="57059"/>
                              </a:lnTo>
                              <a:lnTo>
                                <a:pt x="147036" y="57607"/>
                              </a:lnTo>
                              <a:lnTo>
                                <a:pt x="173370" y="43891"/>
                              </a:lnTo>
                              <a:lnTo>
                                <a:pt x="175016" y="41697"/>
                              </a:lnTo>
                              <a:lnTo>
                                <a:pt x="176662" y="40599"/>
                              </a:lnTo>
                              <a:lnTo>
                                <a:pt x="178308" y="40599"/>
                              </a:lnTo>
                              <a:lnTo>
                                <a:pt x="181600" y="42794"/>
                              </a:lnTo>
                              <a:lnTo>
                                <a:pt x="184343" y="42794"/>
                              </a:lnTo>
                              <a:lnTo>
                                <a:pt x="185989" y="43343"/>
                              </a:lnTo>
                              <a:lnTo>
                                <a:pt x="193670" y="42794"/>
                              </a:lnTo>
                              <a:lnTo>
                                <a:pt x="199705" y="46634"/>
                              </a:lnTo>
                              <a:lnTo>
                                <a:pt x="213421" y="45537"/>
                              </a:lnTo>
                              <a:lnTo>
                                <a:pt x="220005" y="39502"/>
                              </a:lnTo>
                              <a:lnTo>
                                <a:pt x="226588" y="37308"/>
                              </a:lnTo>
                              <a:lnTo>
                                <a:pt x="230429" y="33467"/>
                              </a:lnTo>
                              <a:lnTo>
                                <a:pt x="241950" y="29627"/>
                              </a:lnTo>
                              <a:lnTo>
                                <a:pt x="249083" y="32370"/>
                              </a:lnTo>
                              <a:lnTo>
                                <a:pt x="272674" y="29627"/>
                              </a:lnTo>
                              <a:lnTo>
                                <a:pt x="281452" y="23592"/>
                              </a:lnTo>
                              <a:lnTo>
                                <a:pt x="294071" y="25238"/>
                              </a:lnTo>
                              <a:lnTo>
                                <a:pt x="308884" y="20300"/>
                              </a:lnTo>
                              <a:lnTo>
                                <a:pt x="313273" y="20300"/>
                              </a:lnTo>
                              <a:lnTo>
                                <a:pt x="316017" y="17557"/>
                              </a:lnTo>
                              <a:lnTo>
                                <a:pt x="339060" y="14265"/>
                              </a:lnTo>
                              <a:lnTo>
                                <a:pt x="351678" y="8778"/>
                              </a:lnTo>
                              <a:lnTo>
                                <a:pt x="354970" y="2195"/>
                              </a:lnTo>
                              <a:lnTo>
                                <a:pt x="360457" y="0"/>
                              </a:lnTo>
                              <a:lnTo>
                                <a:pt x="367040" y="549"/>
                              </a:lnTo>
                              <a:lnTo>
                                <a:pt x="373624" y="5486"/>
                              </a:lnTo>
                              <a:lnTo>
                                <a:pt x="379659" y="5486"/>
                              </a:lnTo>
                              <a:lnTo>
                                <a:pt x="381305" y="6035"/>
                              </a:lnTo>
                              <a:lnTo>
                                <a:pt x="379659" y="10424"/>
                              </a:lnTo>
                              <a:lnTo>
                                <a:pt x="380207" y="14265"/>
                              </a:lnTo>
                              <a:lnTo>
                                <a:pt x="375818" y="19202"/>
                              </a:lnTo>
                              <a:lnTo>
                                <a:pt x="374721" y="23043"/>
                              </a:lnTo>
                              <a:lnTo>
                                <a:pt x="375270" y="29627"/>
                              </a:lnTo>
                              <a:lnTo>
                                <a:pt x="379110" y="32918"/>
                              </a:lnTo>
                              <a:lnTo>
                                <a:pt x="377464" y="36210"/>
                              </a:lnTo>
                              <a:lnTo>
                                <a:pt x="378013" y="40599"/>
                              </a:lnTo>
                              <a:lnTo>
                                <a:pt x="377464" y="45537"/>
                              </a:lnTo>
                              <a:lnTo>
                                <a:pt x="378013" y="52121"/>
                              </a:lnTo>
                              <a:lnTo>
                                <a:pt x="376916" y="54315"/>
                              </a:lnTo>
                              <a:lnTo>
                                <a:pt x="372527" y="58156"/>
                              </a:lnTo>
                              <a:lnTo>
                                <a:pt x="373075" y="59253"/>
                              </a:lnTo>
                              <a:lnTo>
                                <a:pt x="377464" y="58705"/>
                              </a:lnTo>
                              <a:lnTo>
                                <a:pt x="378013" y="57059"/>
                              </a:lnTo>
                              <a:lnTo>
                                <a:pt x="379110" y="57059"/>
                              </a:lnTo>
                              <a:lnTo>
                                <a:pt x="380756" y="58705"/>
                              </a:lnTo>
                              <a:lnTo>
                                <a:pt x="384597" y="59253"/>
                              </a:lnTo>
                              <a:lnTo>
                                <a:pt x="384597" y="61997"/>
                              </a:lnTo>
                              <a:lnTo>
                                <a:pt x="383500" y="63094"/>
                              </a:lnTo>
                              <a:lnTo>
                                <a:pt x="381854" y="63094"/>
                              </a:lnTo>
                              <a:lnTo>
                                <a:pt x="378013" y="60899"/>
                              </a:lnTo>
                              <a:lnTo>
                                <a:pt x="373075" y="60899"/>
                              </a:lnTo>
                              <a:lnTo>
                                <a:pt x="369784" y="62545"/>
                              </a:lnTo>
                              <a:lnTo>
                                <a:pt x="369235" y="63642"/>
                              </a:lnTo>
                              <a:lnTo>
                                <a:pt x="364297" y="97109"/>
                              </a:lnTo>
                              <a:lnTo>
                                <a:pt x="363200" y="99853"/>
                              </a:lnTo>
                              <a:lnTo>
                                <a:pt x="361554" y="107534"/>
                              </a:lnTo>
                              <a:lnTo>
                                <a:pt x="354970" y="113569"/>
                              </a:lnTo>
                              <a:lnTo>
                                <a:pt x="340157" y="140452"/>
                              </a:lnTo>
                              <a:lnTo>
                                <a:pt x="332476" y="147584"/>
                              </a:lnTo>
                              <a:lnTo>
                                <a:pt x="329184" y="155265"/>
                              </a:lnTo>
                              <a:lnTo>
                                <a:pt x="328087" y="163495"/>
                              </a:lnTo>
                              <a:lnTo>
                                <a:pt x="294620" y="235915"/>
                              </a:lnTo>
                              <a:lnTo>
                                <a:pt x="289133" y="241402"/>
                              </a:lnTo>
                              <a:lnTo>
                                <a:pt x="286939" y="242499"/>
                              </a:lnTo>
                              <a:lnTo>
                                <a:pt x="284744" y="245791"/>
                              </a:lnTo>
                              <a:lnTo>
                                <a:pt x="283098" y="246340"/>
                              </a:lnTo>
                              <a:lnTo>
                                <a:pt x="269931" y="259507"/>
                              </a:lnTo>
                              <a:lnTo>
                                <a:pt x="266090" y="266639"/>
                              </a:lnTo>
                              <a:lnTo>
                                <a:pt x="266090" y="268285"/>
                              </a:lnTo>
                              <a:lnTo>
                                <a:pt x="248534" y="296266"/>
                              </a:lnTo>
                              <a:lnTo>
                                <a:pt x="248534" y="296814"/>
                              </a:lnTo>
                              <a:lnTo>
                                <a:pt x="202997" y="337962"/>
                              </a:lnTo>
                              <a:lnTo>
                                <a:pt x="202997" y="339608"/>
                              </a:lnTo>
                              <a:lnTo>
                                <a:pt x="189829" y="357165"/>
                              </a:lnTo>
                              <a:lnTo>
                                <a:pt x="170627" y="371978"/>
                              </a:lnTo>
                              <a:lnTo>
                                <a:pt x="158008" y="376916"/>
                              </a:lnTo>
                              <a:lnTo>
                                <a:pt x="153071" y="377465"/>
                              </a:lnTo>
                              <a:lnTo>
                                <a:pt x="70226" y="452628"/>
                              </a:lnTo>
                              <a:lnTo>
                                <a:pt x="61996" y="454823"/>
                              </a:lnTo>
                              <a:lnTo>
                                <a:pt x="59802" y="453177"/>
                              </a:lnTo>
                              <a:lnTo>
                                <a:pt x="57607" y="456469"/>
                              </a:lnTo>
                              <a:lnTo>
                                <a:pt x="59253" y="456469"/>
                              </a:lnTo>
                              <a:lnTo>
                                <a:pt x="60350" y="459212"/>
                              </a:lnTo>
                              <a:lnTo>
                                <a:pt x="59253" y="460858"/>
                              </a:lnTo>
                              <a:lnTo>
                                <a:pt x="57607" y="462504"/>
                              </a:lnTo>
                              <a:lnTo>
                                <a:pt x="55413" y="467990"/>
                              </a:lnTo>
                              <a:lnTo>
                                <a:pt x="21946" y="506944"/>
                              </a:lnTo>
                              <a:lnTo>
                                <a:pt x="20300" y="508041"/>
                              </a:lnTo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216" name="Graphic 7">
                          <a:extLst>
                            <a:ext uri="{FF2B5EF4-FFF2-40B4-BE49-F238E27FC236}">
                              <a16:creationId xmlns:a16="http://schemas.microsoft.com/office/drawing/2014/main" id="{FB6E9AFA-C2DB-8A7F-5847-3281C635D69C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5976340" y="4930434"/>
                          <a:ext cx="229752" cy="217321"/>
                        </a:xfrm>
                        <a:custGeom>
                          <a:avLst/>
                          <a:gdLst>
                            <a:gd name="connsiteX0" fmla="*/ 131125 w 294071"/>
                            <a:gd name="connsiteY0" fmla="*/ 37307 h 278160"/>
                            <a:gd name="connsiteX1" fmla="*/ 138806 w 294071"/>
                            <a:gd name="connsiteY1" fmla="*/ 41697 h 278160"/>
                            <a:gd name="connsiteX2" fmla="*/ 139355 w 294071"/>
                            <a:gd name="connsiteY2" fmla="*/ 44440 h 278160"/>
                            <a:gd name="connsiteX3" fmla="*/ 135514 w 294071"/>
                            <a:gd name="connsiteY3" fmla="*/ 46086 h 278160"/>
                            <a:gd name="connsiteX4" fmla="*/ 133868 w 294071"/>
                            <a:gd name="connsiteY4" fmla="*/ 48280 h 278160"/>
                            <a:gd name="connsiteX5" fmla="*/ 132222 w 294071"/>
                            <a:gd name="connsiteY5" fmla="*/ 48280 h 278160"/>
                            <a:gd name="connsiteX6" fmla="*/ 126187 w 294071"/>
                            <a:gd name="connsiteY6" fmla="*/ 45537 h 278160"/>
                            <a:gd name="connsiteX7" fmla="*/ 122895 w 294071"/>
                            <a:gd name="connsiteY7" fmla="*/ 45537 h 278160"/>
                            <a:gd name="connsiteX8" fmla="*/ 121249 w 294071"/>
                            <a:gd name="connsiteY8" fmla="*/ 47183 h 278160"/>
                            <a:gd name="connsiteX9" fmla="*/ 120152 w 294071"/>
                            <a:gd name="connsiteY9" fmla="*/ 49378 h 278160"/>
                            <a:gd name="connsiteX10" fmla="*/ 117958 w 294071"/>
                            <a:gd name="connsiteY10" fmla="*/ 49926 h 278160"/>
                            <a:gd name="connsiteX11" fmla="*/ 116312 w 294071"/>
                            <a:gd name="connsiteY11" fmla="*/ 48280 h 278160"/>
                            <a:gd name="connsiteX12" fmla="*/ 114666 w 294071"/>
                            <a:gd name="connsiteY12" fmla="*/ 48280 h 278160"/>
                            <a:gd name="connsiteX13" fmla="*/ 113020 w 294071"/>
                            <a:gd name="connsiteY13" fmla="*/ 49926 h 278160"/>
                            <a:gd name="connsiteX14" fmla="*/ 109179 w 294071"/>
                            <a:gd name="connsiteY14" fmla="*/ 51572 h 278160"/>
                            <a:gd name="connsiteX15" fmla="*/ 106985 w 294071"/>
                            <a:gd name="connsiteY15" fmla="*/ 53767 h 278160"/>
                            <a:gd name="connsiteX16" fmla="*/ 106436 w 294071"/>
                            <a:gd name="connsiteY16" fmla="*/ 55413 h 278160"/>
                            <a:gd name="connsiteX17" fmla="*/ 106985 w 294071"/>
                            <a:gd name="connsiteY17" fmla="*/ 57607 h 278160"/>
                            <a:gd name="connsiteX18" fmla="*/ 106436 w 294071"/>
                            <a:gd name="connsiteY18" fmla="*/ 58156 h 278160"/>
                            <a:gd name="connsiteX19" fmla="*/ 105887 w 294071"/>
                            <a:gd name="connsiteY19" fmla="*/ 58704 h 278160"/>
                            <a:gd name="connsiteX20" fmla="*/ 104242 w 294071"/>
                            <a:gd name="connsiteY20" fmla="*/ 57607 h 278160"/>
                            <a:gd name="connsiteX21" fmla="*/ 98207 w 294071"/>
                            <a:gd name="connsiteY21" fmla="*/ 60350 h 278160"/>
                            <a:gd name="connsiteX22" fmla="*/ 96561 w 294071"/>
                            <a:gd name="connsiteY22" fmla="*/ 62545 h 278160"/>
                            <a:gd name="connsiteX23" fmla="*/ 96012 w 294071"/>
                            <a:gd name="connsiteY23" fmla="*/ 64739 h 278160"/>
                            <a:gd name="connsiteX24" fmla="*/ 92720 w 294071"/>
                            <a:gd name="connsiteY24" fmla="*/ 65837 h 278160"/>
                            <a:gd name="connsiteX25" fmla="*/ 89428 w 294071"/>
                            <a:gd name="connsiteY25" fmla="*/ 69129 h 278160"/>
                            <a:gd name="connsiteX26" fmla="*/ 87234 w 294071"/>
                            <a:gd name="connsiteY26" fmla="*/ 73518 h 278160"/>
                            <a:gd name="connsiteX27" fmla="*/ 83942 w 294071"/>
                            <a:gd name="connsiteY27" fmla="*/ 75712 h 278160"/>
                            <a:gd name="connsiteX28" fmla="*/ 82845 w 294071"/>
                            <a:gd name="connsiteY28" fmla="*/ 77358 h 278160"/>
                            <a:gd name="connsiteX29" fmla="*/ 79553 w 294071"/>
                            <a:gd name="connsiteY29" fmla="*/ 79004 h 278160"/>
                            <a:gd name="connsiteX30" fmla="*/ 76261 w 294071"/>
                            <a:gd name="connsiteY30" fmla="*/ 84490 h 278160"/>
                            <a:gd name="connsiteX31" fmla="*/ 71323 w 294071"/>
                            <a:gd name="connsiteY31" fmla="*/ 88331 h 278160"/>
                            <a:gd name="connsiteX32" fmla="*/ 67483 w 294071"/>
                            <a:gd name="connsiteY32" fmla="*/ 87782 h 278160"/>
                            <a:gd name="connsiteX33" fmla="*/ 63642 w 294071"/>
                            <a:gd name="connsiteY33" fmla="*/ 93269 h 278160"/>
                            <a:gd name="connsiteX34" fmla="*/ 59802 w 294071"/>
                            <a:gd name="connsiteY34" fmla="*/ 92171 h 278160"/>
                            <a:gd name="connsiteX35" fmla="*/ 54864 w 294071"/>
                            <a:gd name="connsiteY35" fmla="*/ 94915 h 278160"/>
                            <a:gd name="connsiteX36" fmla="*/ 52121 w 294071"/>
                            <a:gd name="connsiteY36" fmla="*/ 93817 h 278160"/>
                            <a:gd name="connsiteX37" fmla="*/ 50475 w 294071"/>
                            <a:gd name="connsiteY37" fmla="*/ 90526 h 278160"/>
                            <a:gd name="connsiteX38" fmla="*/ 47183 w 294071"/>
                            <a:gd name="connsiteY38" fmla="*/ 88879 h 278160"/>
                            <a:gd name="connsiteX39" fmla="*/ 42245 w 294071"/>
                            <a:gd name="connsiteY39" fmla="*/ 89977 h 278160"/>
                            <a:gd name="connsiteX40" fmla="*/ 38953 w 294071"/>
                            <a:gd name="connsiteY40" fmla="*/ 89428 h 278160"/>
                            <a:gd name="connsiteX41" fmla="*/ 27432 w 294071"/>
                            <a:gd name="connsiteY41" fmla="*/ 91074 h 278160"/>
                            <a:gd name="connsiteX42" fmla="*/ 17557 w 294071"/>
                            <a:gd name="connsiteY42" fmla="*/ 87234 h 278160"/>
                            <a:gd name="connsiteX43" fmla="*/ 4938 w 294071"/>
                            <a:gd name="connsiteY43" fmla="*/ 88879 h 278160"/>
                            <a:gd name="connsiteX44" fmla="*/ 2195 w 294071"/>
                            <a:gd name="connsiteY44" fmla="*/ 88331 h 278160"/>
                            <a:gd name="connsiteX45" fmla="*/ 0 w 294071"/>
                            <a:gd name="connsiteY45" fmla="*/ 86136 h 278160"/>
                            <a:gd name="connsiteX46" fmla="*/ 549 w 294071"/>
                            <a:gd name="connsiteY46" fmla="*/ 91623 h 278160"/>
                            <a:gd name="connsiteX47" fmla="*/ 11521 w 294071"/>
                            <a:gd name="connsiteY47" fmla="*/ 110825 h 278160"/>
                            <a:gd name="connsiteX48" fmla="*/ 18105 w 294071"/>
                            <a:gd name="connsiteY48" fmla="*/ 117409 h 278160"/>
                            <a:gd name="connsiteX49" fmla="*/ 19751 w 294071"/>
                            <a:gd name="connsiteY49" fmla="*/ 125090 h 278160"/>
                            <a:gd name="connsiteX50" fmla="*/ 53767 w 294071"/>
                            <a:gd name="connsiteY50" fmla="*/ 168981 h 278160"/>
                            <a:gd name="connsiteX51" fmla="*/ 64739 w 294071"/>
                            <a:gd name="connsiteY51" fmla="*/ 172273 h 278160"/>
                            <a:gd name="connsiteX52" fmla="*/ 73518 w 294071"/>
                            <a:gd name="connsiteY52" fmla="*/ 178308 h 278160"/>
                            <a:gd name="connsiteX53" fmla="*/ 80101 w 294071"/>
                            <a:gd name="connsiteY53" fmla="*/ 187086 h 278160"/>
                            <a:gd name="connsiteX54" fmla="*/ 88880 w 294071"/>
                            <a:gd name="connsiteY54" fmla="*/ 190927 h 278160"/>
                            <a:gd name="connsiteX55" fmla="*/ 95463 w 294071"/>
                            <a:gd name="connsiteY55" fmla="*/ 197510 h 278160"/>
                            <a:gd name="connsiteX56" fmla="*/ 99304 w 294071"/>
                            <a:gd name="connsiteY56" fmla="*/ 224942 h 278160"/>
                            <a:gd name="connsiteX57" fmla="*/ 103144 w 294071"/>
                            <a:gd name="connsiteY57" fmla="*/ 233721 h 278160"/>
                            <a:gd name="connsiteX58" fmla="*/ 114666 w 294071"/>
                            <a:gd name="connsiteY58" fmla="*/ 243596 h 278160"/>
                            <a:gd name="connsiteX59" fmla="*/ 132771 w 294071"/>
                            <a:gd name="connsiteY59" fmla="*/ 244693 h 278160"/>
                            <a:gd name="connsiteX60" fmla="*/ 156362 w 294071"/>
                            <a:gd name="connsiteY60" fmla="*/ 257312 h 278160"/>
                            <a:gd name="connsiteX61" fmla="*/ 164043 w 294071"/>
                            <a:gd name="connsiteY61" fmla="*/ 254569 h 278160"/>
                            <a:gd name="connsiteX62" fmla="*/ 185989 w 294071"/>
                            <a:gd name="connsiteY62" fmla="*/ 261153 h 278160"/>
                            <a:gd name="connsiteX63" fmla="*/ 211226 w 294071"/>
                            <a:gd name="connsiteY63" fmla="*/ 261153 h 278160"/>
                            <a:gd name="connsiteX64" fmla="*/ 225491 w 294071"/>
                            <a:gd name="connsiteY64" fmla="*/ 266090 h 278160"/>
                            <a:gd name="connsiteX65" fmla="*/ 235915 w 294071"/>
                            <a:gd name="connsiteY65" fmla="*/ 276515 h 278160"/>
                            <a:gd name="connsiteX66" fmla="*/ 239207 w 294071"/>
                            <a:gd name="connsiteY66" fmla="*/ 277063 h 278160"/>
                            <a:gd name="connsiteX67" fmla="*/ 240304 w 294071"/>
                            <a:gd name="connsiteY67" fmla="*/ 278160 h 278160"/>
                            <a:gd name="connsiteX68" fmla="*/ 240853 w 294071"/>
                            <a:gd name="connsiteY68" fmla="*/ 276515 h 278160"/>
                            <a:gd name="connsiteX69" fmla="*/ 240304 w 294071"/>
                            <a:gd name="connsiteY69" fmla="*/ 266639 h 278160"/>
                            <a:gd name="connsiteX70" fmla="*/ 243047 w 294071"/>
                            <a:gd name="connsiteY70" fmla="*/ 258409 h 278160"/>
                            <a:gd name="connsiteX71" fmla="*/ 247437 w 294071"/>
                            <a:gd name="connsiteY71" fmla="*/ 251826 h 278160"/>
                            <a:gd name="connsiteX72" fmla="*/ 260055 w 294071"/>
                            <a:gd name="connsiteY72" fmla="*/ 241950 h 278160"/>
                            <a:gd name="connsiteX73" fmla="*/ 289682 w 294071"/>
                            <a:gd name="connsiteY73" fmla="*/ 172273 h 278160"/>
                            <a:gd name="connsiteX74" fmla="*/ 283098 w 294071"/>
                            <a:gd name="connsiteY74" fmla="*/ 133319 h 278160"/>
                            <a:gd name="connsiteX75" fmla="*/ 289682 w 294071"/>
                            <a:gd name="connsiteY75" fmla="*/ 120701 h 278160"/>
                            <a:gd name="connsiteX76" fmla="*/ 294071 w 294071"/>
                            <a:gd name="connsiteY76" fmla="*/ 72420 h 278160"/>
                            <a:gd name="connsiteX77" fmla="*/ 287487 w 294071"/>
                            <a:gd name="connsiteY77" fmla="*/ 41148 h 278160"/>
                            <a:gd name="connsiteX78" fmla="*/ 281452 w 294071"/>
                            <a:gd name="connsiteY78" fmla="*/ 34564 h 278160"/>
                            <a:gd name="connsiteX79" fmla="*/ 220553 w 294071"/>
                            <a:gd name="connsiteY79" fmla="*/ 13716 h 278160"/>
                            <a:gd name="connsiteX80" fmla="*/ 192573 w 294071"/>
                            <a:gd name="connsiteY80" fmla="*/ 13716 h 278160"/>
                            <a:gd name="connsiteX81" fmla="*/ 192573 w 294071"/>
                            <a:gd name="connsiteY81" fmla="*/ 549 h 278160"/>
                            <a:gd name="connsiteX82" fmla="*/ 191475 w 294071"/>
                            <a:gd name="connsiteY82" fmla="*/ 1646 h 278160"/>
                            <a:gd name="connsiteX83" fmla="*/ 187086 w 294071"/>
                            <a:gd name="connsiteY83" fmla="*/ 1097 h 278160"/>
                            <a:gd name="connsiteX84" fmla="*/ 181051 w 294071"/>
                            <a:gd name="connsiteY84" fmla="*/ 2743 h 278160"/>
                            <a:gd name="connsiteX85" fmla="*/ 176662 w 294071"/>
                            <a:gd name="connsiteY85" fmla="*/ 2194 h 278160"/>
                            <a:gd name="connsiteX86" fmla="*/ 172822 w 294071"/>
                            <a:gd name="connsiteY86" fmla="*/ 0 h 278160"/>
                            <a:gd name="connsiteX87" fmla="*/ 170078 w 294071"/>
                            <a:gd name="connsiteY87" fmla="*/ 0 h 278160"/>
                            <a:gd name="connsiteX88" fmla="*/ 161849 w 294071"/>
                            <a:gd name="connsiteY88" fmla="*/ 3840 h 278160"/>
                            <a:gd name="connsiteX89" fmla="*/ 150876 w 294071"/>
                            <a:gd name="connsiteY89" fmla="*/ 4938 h 278160"/>
                            <a:gd name="connsiteX90" fmla="*/ 142098 w 294071"/>
                            <a:gd name="connsiteY90" fmla="*/ 12619 h 278160"/>
                            <a:gd name="connsiteX91" fmla="*/ 137160 w 294071"/>
                            <a:gd name="connsiteY91" fmla="*/ 12619 h 278160"/>
                            <a:gd name="connsiteX92" fmla="*/ 133319 w 294071"/>
                            <a:gd name="connsiteY92" fmla="*/ 14813 h 278160"/>
                            <a:gd name="connsiteX93" fmla="*/ 131125 w 294071"/>
                            <a:gd name="connsiteY93" fmla="*/ 37307 h 278160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  <a:cxn ang="0">
                              <a:pos x="connsiteX11" y="connsiteY11"/>
                            </a:cxn>
                            <a:cxn ang="0">
                              <a:pos x="connsiteX12" y="connsiteY12"/>
                            </a:cxn>
                            <a:cxn ang="0">
                              <a:pos x="connsiteX13" y="connsiteY13"/>
                            </a:cxn>
                            <a:cxn ang="0">
                              <a:pos x="connsiteX14" y="connsiteY14"/>
                            </a:cxn>
                            <a:cxn ang="0">
                              <a:pos x="connsiteX15" y="connsiteY15"/>
                            </a:cxn>
                            <a:cxn ang="0">
                              <a:pos x="connsiteX16" y="connsiteY16"/>
                            </a:cxn>
                            <a:cxn ang="0">
                              <a:pos x="connsiteX17" y="connsiteY17"/>
                            </a:cxn>
                            <a:cxn ang="0">
                              <a:pos x="connsiteX18" y="connsiteY18"/>
                            </a:cxn>
                            <a:cxn ang="0">
                              <a:pos x="connsiteX19" y="connsiteY19"/>
                            </a:cxn>
                            <a:cxn ang="0">
                              <a:pos x="connsiteX20" y="connsiteY20"/>
                            </a:cxn>
                            <a:cxn ang="0">
                              <a:pos x="connsiteX21" y="connsiteY21"/>
                            </a:cxn>
                            <a:cxn ang="0">
                              <a:pos x="connsiteX22" y="connsiteY22"/>
                            </a:cxn>
                            <a:cxn ang="0">
                              <a:pos x="connsiteX23" y="connsiteY23"/>
                            </a:cxn>
                            <a:cxn ang="0">
                              <a:pos x="connsiteX24" y="connsiteY24"/>
                            </a:cxn>
                            <a:cxn ang="0">
                              <a:pos x="connsiteX25" y="connsiteY25"/>
                            </a:cxn>
                            <a:cxn ang="0">
                              <a:pos x="connsiteX26" y="connsiteY26"/>
                            </a:cxn>
                            <a:cxn ang="0">
                              <a:pos x="connsiteX27" y="connsiteY27"/>
                            </a:cxn>
                            <a:cxn ang="0">
                              <a:pos x="connsiteX28" y="connsiteY28"/>
                            </a:cxn>
                            <a:cxn ang="0">
                              <a:pos x="connsiteX29" y="connsiteY29"/>
                            </a:cxn>
                            <a:cxn ang="0">
                              <a:pos x="connsiteX30" y="connsiteY30"/>
                            </a:cxn>
                            <a:cxn ang="0">
                              <a:pos x="connsiteX31" y="connsiteY31"/>
                            </a:cxn>
                            <a:cxn ang="0">
                              <a:pos x="connsiteX32" y="connsiteY32"/>
                            </a:cxn>
                            <a:cxn ang="0">
                              <a:pos x="connsiteX33" y="connsiteY33"/>
                            </a:cxn>
                            <a:cxn ang="0">
                              <a:pos x="connsiteX34" y="connsiteY34"/>
                            </a:cxn>
                            <a:cxn ang="0">
                              <a:pos x="connsiteX35" y="connsiteY35"/>
                            </a:cxn>
                            <a:cxn ang="0">
                              <a:pos x="connsiteX36" y="connsiteY36"/>
                            </a:cxn>
                            <a:cxn ang="0">
                              <a:pos x="connsiteX37" y="connsiteY37"/>
                            </a:cxn>
                            <a:cxn ang="0">
                              <a:pos x="connsiteX38" y="connsiteY38"/>
                            </a:cxn>
                            <a:cxn ang="0">
                              <a:pos x="connsiteX39" y="connsiteY39"/>
                            </a:cxn>
                            <a:cxn ang="0">
                              <a:pos x="connsiteX40" y="connsiteY40"/>
                            </a:cxn>
                            <a:cxn ang="0">
                              <a:pos x="connsiteX41" y="connsiteY41"/>
                            </a:cxn>
                            <a:cxn ang="0">
                              <a:pos x="connsiteX42" y="connsiteY42"/>
                            </a:cxn>
                            <a:cxn ang="0">
                              <a:pos x="connsiteX43" y="connsiteY43"/>
                            </a:cxn>
                            <a:cxn ang="0">
                              <a:pos x="connsiteX44" y="connsiteY44"/>
                            </a:cxn>
                            <a:cxn ang="0">
                              <a:pos x="connsiteX45" y="connsiteY45"/>
                            </a:cxn>
                            <a:cxn ang="0">
                              <a:pos x="connsiteX46" y="connsiteY46"/>
                            </a:cxn>
                            <a:cxn ang="0">
                              <a:pos x="connsiteX47" y="connsiteY47"/>
                            </a:cxn>
                            <a:cxn ang="0">
                              <a:pos x="connsiteX48" y="connsiteY48"/>
                            </a:cxn>
                            <a:cxn ang="0">
                              <a:pos x="connsiteX49" y="connsiteY49"/>
                            </a:cxn>
                            <a:cxn ang="0">
                              <a:pos x="connsiteX50" y="connsiteY50"/>
                            </a:cxn>
                            <a:cxn ang="0">
                              <a:pos x="connsiteX51" y="connsiteY51"/>
                            </a:cxn>
                            <a:cxn ang="0">
                              <a:pos x="connsiteX52" y="connsiteY52"/>
                            </a:cxn>
                            <a:cxn ang="0">
                              <a:pos x="connsiteX53" y="connsiteY53"/>
                            </a:cxn>
                            <a:cxn ang="0">
                              <a:pos x="connsiteX54" y="connsiteY54"/>
                            </a:cxn>
                            <a:cxn ang="0">
                              <a:pos x="connsiteX55" y="connsiteY55"/>
                            </a:cxn>
                            <a:cxn ang="0">
                              <a:pos x="connsiteX56" y="connsiteY56"/>
                            </a:cxn>
                            <a:cxn ang="0">
                              <a:pos x="connsiteX57" y="connsiteY57"/>
                            </a:cxn>
                            <a:cxn ang="0">
                              <a:pos x="connsiteX58" y="connsiteY58"/>
                            </a:cxn>
                            <a:cxn ang="0">
                              <a:pos x="connsiteX59" y="connsiteY59"/>
                            </a:cxn>
                            <a:cxn ang="0">
                              <a:pos x="connsiteX60" y="connsiteY60"/>
                            </a:cxn>
                            <a:cxn ang="0">
                              <a:pos x="connsiteX61" y="connsiteY61"/>
                            </a:cxn>
                            <a:cxn ang="0">
                              <a:pos x="connsiteX62" y="connsiteY62"/>
                            </a:cxn>
                            <a:cxn ang="0">
                              <a:pos x="connsiteX63" y="connsiteY63"/>
                            </a:cxn>
                            <a:cxn ang="0">
                              <a:pos x="connsiteX64" y="connsiteY64"/>
                            </a:cxn>
                            <a:cxn ang="0">
                              <a:pos x="connsiteX65" y="connsiteY65"/>
                            </a:cxn>
                            <a:cxn ang="0">
                              <a:pos x="connsiteX66" y="connsiteY66"/>
                            </a:cxn>
                            <a:cxn ang="0">
                              <a:pos x="connsiteX67" y="connsiteY67"/>
                            </a:cxn>
                            <a:cxn ang="0">
                              <a:pos x="connsiteX68" y="connsiteY68"/>
                            </a:cxn>
                            <a:cxn ang="0">
                              <a:pos x="connsiteX69" y="connsiteY69"/>
                            </a:cxn>
                            <a:cxn ang="0">
                              <a:pos x="connsiteX70" y="connsiteY70"/>
                            </a:cxn>
                            <a:cxn ang="0">
                              <a:pos x="connsiteX71" y="connsiteY71"/>
                            </a:cxn>
                            <a:cxn ang="0">
                              <a:pos x="connsiteX72" y="connsiteY72"/>
                            </a:cxn>
                            <a:cxn ang="0">
                              <a:pos x="connsiteX73" y="connsiteY73"/>
                            </a:cxn>
                            <a:cxn ang="0">
                              <a:pos x="connsiteX74" y="connsiteY74"/>
                            </a:cxn>
                            <a:cxn ang="0">
                              <a:pos x="connsiteX75" y="connsiteY75"/>
                            </a:cxn>
                            <a:cxn ang="0">
                              <a:pos x="connsiteX76" y="connsiteY76"/>
                            </a:cxn>
                            <a:cxn ang="0">
                              <a:pos x="connsiteX77" y="connsiteY77"/>
                            </a:cxn>
                            <a:cxn ang="0">
                              <a:pos x="connsiteX78" y="connsiteY78"/>
                            </a:cxn>
                            <a:cxn ang="0">
                              <a:pos x="connsiteX79" y="connsiteY79"/>
                            </a:cxn>
                            <a:cxn ang="0">
                              <a:pos x="connsiteX80" y="connsiteY80"/>
                            </a:cxn>
                            <a:cxn ang="0">
                              <a:pos x="connsiteX81" y="connsiteY81"/>
                            </a:cxn>
                            <a:cxn ang="0">
                              <a:pos x="connsiteX82" y="connsiteY82"/>
                            </a:cxn>
                            <a:cxn ang="0">
                              <a:pos x="connsiteX83" y="connsiteY83"/>
                            </a:cxn>
                            <a:cxn ang="0">
                              <a:pos x="connsiteX84" y="connsiteY84"/>
                            </a:cxn>
                            <a:cxn ang="0">
                              <a:pos x="connsiteX85" y="connsiteY85"/>
                            </a:cxn>
                            <a:cxn ang="0">
                              <a:pos x="connsiteX86" y="connsiteY86"/>
                            </a:cxn>
                            <a:cxn ang="0">
                              <a:pos x="connsiteX87" y="connsiteY87"/>
                            </a:cxn>
                            <a:cxn ang="0">
                              <a:pos x="connsiteX88" y="connsiteY88"/>
                            </a:cxn>
                            <a:cxn ang="0">
                              <a:pos x="connsiteX89" y="connsiteY89"/>
                            </a:cxn>
                            <a:cxn ang="0">
                              <a:pos x="connsiteX90" y="connsiteY90"/>
                            </a:cxn>
                            <a:cxn ang="0">
                              <a:pos x="connsiteX91" y="connsiteY91"/>
                            </a:cxn>
                            <a:cxn ang="0">
                              <a:pos x="connsiteX92" y="connsiteY92"/>
                            </a:cxn>
                            <a:cxn ang="0">
                              <a:pos x="connsiteX93" y="connsiteY93"/>
                            </a:cxn>
                          </a:cxnLst>
                          <a:rect l="l" t="t" r="r" b="b"/>
                          <a:pathLst>
                            <a:path w="294071" h="278160">
                              <a:moveTo>
                                <a:pt x="131125" y="37307"/>
                              </a:moveTo>
                              <a:lnTo>
                                <a:pt x="138806" y="41697"/>
                              </a:lnTo>
                              <a:lnTo>
                                <a:pt x="139355" y="44440"/>
                              </a:lnTo>
                              <a:lnTo>
                                <a:pt x="135514" y="46086"/>
                              </a:lnTo>
                              <a:lnTo>
                                <a:pt x="133868" y="48280"/>
                              </a:lnTo>
                              <a:lnTo>
                                <a:pt x="132222" y="48280"/>
                              </a:lnTo>
                              <a:lnTo>
                                <a:pt x="126187" y="45537"/>
                              </a:lnTo>
                              <a:lnTo>
                                <a:pt x="122895" y="45537"/>
                              </a:lnTo>
                              <a:lnTo>
                                <a:pt x="121249" y="47183"/>
                              </a:lnTo>
                              <a:lnTo>
                                <a:pt x="120152" y="49378"/>
                              </a:lnTo>
                              <a:lnTo>
                                <a:pt x="117958" y="49926"/>
                              </a:lnTo>
                              <a:lnTo>
                                <a:pt x="116312" y="48280"/>
                              </a:lnTo>
                              <a:lnTo>
                                <a:pt x="114666" y="48280"/>
                              </a:lnTo>
                              <a:lnTo>
                                <a:pt x="113020" y="49926"/>
                              </a:lnTo>
                              <a:lnTo>
                                <a:pt x="109179" y="51572"/>
                              </a:lnTo>
                              <a:lnTo>
                                <a:pt x="106985" y="53767"/>
                              </a:lnTo>
                              <a:lnTo>
                                <a:pt x="106436" y="55413"/>
                              </a:lnTo>
                              <a:lnTo>
                                <a:pt x="106985" y="57607"/>
                              </a:lnTo>
                              <a:lnTo>
                                <a:pt x="106436" y="58156"/>
                              </a:lnTo>
                              <a:lnTo>
                                <a:pt x="105887" y="58704"/>
                              </a:lnTo>
                              <a:lnTo>
                                <a:pt x="104242" y="57607"/>
                              </a:lnTo>
                              <a:lnTo>
                                <a:pt x="98207" y="60350"/>
                              </a:lnTo>
                              <a:lnTo>
                                <a:pt x="96561" y="62545"/>
                              </a:lnTo>
                              <a:lnTo>
                                <a:pt x="96012" y="64739"/>
                              </a:lnTo>
                              <a:lnTo>
                                <a:pt x="92720" y="65837"/>
                              </a:lnTo>
                              <a:lnTo>
                                <a:pt x="89428" y="69129"/>
                              </a:lnTo>
                              <a:lnTo>
                                <a:pt x="87234" y="73518"/>
                              </a:lnTo>
                              <a:lnTo>
                                <a:pt x="83942" y="75712"/>
                              </a:lnTo>
                              <a:lnTo>
                                <a:pt x="82845" y="77358"/>
                              </a:lnTo>
                              <a:lnTo>
                                <a:pt x="79553" y="79004"/>
                              </a:lnTo>
                              <a:lnTo>
                                <a:pt x="76261" y="84490"/>
                              </a:lnTo>
                              <a:lnTo>
                                <a:pt x="71323" y="88331"/>
                              </a:lnTo>
                              <a:lnTo>
                                <a:pt x="67483" y="87782"/>
                              </a:lnTo>
                              <a:lnTo>
                                <a:pt x="63642" y="93269"/>
                              </a:lnTo>
                              <a:lnTo>
                                <a:pt x="59802" y="92171"/>
                              </a:lnTo>
                              <a:lnTo>
                                <a:pt x="54864" y="94915"/>
                              </a:lnTo>
                              <a:lnTo>
                                <a:pt x="52121" y="93817"/>
                              </a:lnTo>
                              <a:lnTo>
                                <a:pt x="50475" y="90526"/>
                              </a:lnTo>
                              <a:lnTo>
                                <a:pt x="47183" y="88879"/>
                              </a:lnTo>
                              <a:lnTo>
                                <a:pt x="42245" y="89977"/>
                              </a:lnTo>
                              <a:lnTo>
                                <a:pt x="38953" y="89428"/>
                              </a:lnTo>
                              <a:lnTo>
                                <a:pt x="27432" y="91074"/>
                              </a:lnTo>
                              <a:lnTo>
                                <a:pt x="17557" y="87234"/>
                              </a:lnTo>
                              <a:lnTo>
                                <a:pt x="4938" y="88879"/>
                              </a:lnTo>
                              <a:lnTo>
                                <a:pt x="2195" y="88331"/>
                              </a:lnTo>
                              <a:lnTo>
                                <a:pt x="0" y="86136"/>
                              </a:lnTo>
                              <a:lnTo>
                                <a:pt x="549" y="91623"/>
                              </a:lnTo>
                              <a:lnTo>
                                <a:pt x="11521" y="110825"/>
                              </a:lnTo>
                              <a:lnTo>
                                <a:pt x="18105" y="117409"/>
                              </a:lnTo>
                              <a:lnTo>
                                <a:pt x="19751" y="125090"/>
                              </a:lnTo>
                              <a:lnTo>
                                <a:pt x="53767" y="168981"/>
                              </a:lnTo>
                              <a:lnTo>
                                <a:pt x="64739" y="172273"/>
                              </a:lnTo>
                              <a:lnTo>
                                <a:pt x="73518" y="178308"/>
                              </a:lnTo>
                              <a:lnTo>
                                <a:pt x="80101" y="187086"/>
                              </a:lnTo>
                              <a:lnTo>
                                <a:pt x="88880" y="190927"/>
                              </a:lnTo>
                              <a:lnTo>
                                <a:pt x="95463" y="197510"/>
                              </a:lnTo>
                              <a:lnTo>
                                <a:pt x="99304" y="224942"/>
                              </a:lnTo>
                              <a:lnTo>
                                <a:pt x="103144" y="233721"/>
                              </a:lnTo>
                              <a:lnTo>
                                <a:pt x="114666" y="243596"/>
                              </a:lnTo>
                              <a:lnTo>
                                <a:pt x="132771" y="244693"/>
                              </a:lnTo>
                              <a:lnTo>
                                <a:pt x="156362" y="257312"/>
                              </a:lnTo>
                              <a:lnTo>
                                <a:pt x="164043" y="254569"/>
                              </a:lnTo>
                              <a:lnTo>
                                <a:pt x="185989" y="261153"/>
                              </a:lnTo>
                              <a:lnTo>
                                <a:pt x="211226" y="261153"/>
                              </a:lnTo>
                              <a:lnTo>
                                <a:pt x="225491" y="266090"/>
                              </a:lnTo>
                              <a:lnTo>
                                <a:pt x="235915" y="276515"/>
                              </a:lnTo>
                              <a:lnTo>
                                <a:pt x="239207" y="277063"/>
                              </a:lnTo>
                              <a:lnTo>
                                <a:pt x="240304" y="278160"/>
                              </a:lnTo>
                              <a:lnTo>
                                <a:pt x="240853" y="276515"/>
                              </a:lnTo>
                              <a:lnTo>
                                <a:pt x="240304" y="266639"/>
                              </a:lnTo>
                              <a:lnTo>
                                <a:pt x="243047" y="258409"/>
                              </a:lnTo>
                              <a:lnTo>
                                <a:pt x="247437" y="251826"/>
                              </a:lnTo>
                              <a:lnTo>
                                <a:pt x="260055" y="241950"/>
                              </a:lnTo>
                              <a:lnTo>
                                <a:pt x="289682" y="172273"/>
                              </a:lnTo>
                              <a:lnTo>
                                <a:pt x="283098" y="133319"/>
                              </a:lnTo>
                              <a:lnTo>
                                <a:pt x="289682" y="120701"/>
                              </a:lnTo>
                              <a:lnTo>
                                <a:pt x="294071" y="72420"/>
                              </a:lnTo>
                              <a:lnTo>
                                <a:pt x="287487" y="41148"/>
                              </a:lnTo>
                              <a:lnTo>
                                <a:pt x="281452" y="34564"/>
                              </a:lnTo>
                              <a:lnTo>
                                <a:pt x="220553" y="13716"/>
                              </a:lnTo>
                              <a:lnTo>
                                <a:pt x="192573" y="13716"/>
                              </a:lnTo>
                              <a:lnTo>
                                <a:pt x="192573" y="549"/>
                              </a:lnTo>
                              <a:lnTo>
                                <a:pt x="191475" y="1646"/>
                              </a:lnTo>
                              <a:lnTo>
                                <a:pt x="187086" y="1097"/>
                              </a:lnTo>
                              <a:lnTo>
                                <a:pt x="181051" y="2743"/>
                              </a:lnTo>
                              <a:lnTo>
                                <a:pt x="176662" y="2194"/>
                              </a:lnTo>
                              <a:lnTo>
                                <a:pt x="172822" y="0"/>
                              </a:lnTo>
                              <a:lnTo>
                                <a:pt x="170078" y="0"/>
                              </a:lnTo>
                              <a:lnTo>
                                <a:pt x="161849" y="3840"/>
                              </a:lnTo>
                              <a:lnTo>
                                <a:pt x="150876" y="4938"/>
                              </a:lnTo>
                              <a:lnTo>
                                <a:pt x="142098" y="12619"/>
                              </a:lnTo>
                              <a:lnTo>
                                <a:pt x="137160" y="12619"/>
                              </a:lnTo>
                              <a:lnTo>
                                <a:pt x="133319" y="14813"/>
                              </a:lnTo>
                              <a:lnTo>
                                <a:pt x="131125" y="37307"/>
                              </a:lnTo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217" name="Graphic 7">
                          <a:extLst>
                            <a:ext uri="{FF2B5EF4-FFF2-40B4-BE49-F238E27FC236}">
                              <a16:creationId xmlns:a16="http://schemas.microsoft.com/office/drawing/2014/main" id="{2831A580-BC01-1FF7-C201-9938DCBE3F7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5881182" y="3778244"/>
                          <a:ext cx="485651" cy="586811"/>
                        </a:xfrm>
                        <a:custGeom>
                          <a:avLst/>
                          <a:gdLst>
                            <a:gd name="connsiteX0" fmla="*/ 80650 w 621609"/>
                            <a:gd name="connsiteY0" fmla="*/ 143744 h 751088"/>
                            <a:gd name="connsiteX1" fmla="*/ 80101 w 621609"/>
                            <a:gd name="connsiteY1" fmla="*/ 289682 h 751088"/>
                            <a:gd name="connsiteX2" fmla="*/ 41697 w 621609"/>
                            <a:gd name="connsiteY2" fmla="*/ 291877 h 751088"/>
                            <a:gd name="connsiteX3" fmla="*/ 40599 w 621609"/>
                            <a:gd name="connsiteY3" fmla="*/ 293522 h 751088"/>
                            <a:gd name="connsiteX4" fmla="*/ 38405 w 621609"/>
                            <a:gd name="connsiteY4" fmla="*/ 306690 h 751088"/>
                            <a:gd name="connsiteX5" fmla="*/ 15911 w 621609"/>
                            <a:gd name="connsiteY5" fmla="*/ 338511 h 751088"/>
                            <a:gd name="connsiteX6" fmla="*/ 16459 w 621609"/>
                            <a:gd name="connsiteY6" fmla="*/ 352776 h 751088"/>
                            <a:gd name="connsiteX7" fmla="*/ 15911 w 621609"/>
                            <a:gd name="connsiteY7" fmla="*/ 356068 h 751088"/>
                            <a:gd name="connsiteX8" fmla="*/ 15362 w 621609"/>
                            <a:gd name="connsiteY8" fmla="*/ 357165 h 751088"/>
                            <a:gd name="connsiteX9" fmla="*/ 9876 w 621609"/>
                            <a:gd name="connsiteY9" fmla="*/ 359908 h 751088"/>
                            <a:gd name="connsiteX10" fmla="*/ 8230 w 621609"/>
                            <a:gd name="connsiteY10" fmla="*/ 362651 h 751088"/>
                            <a:gd name="connsiteX11" fmla="*/ 7132 w 621609"/>
                            <a:gd name="connsiteY11" fmla="*/ 379659 h 751088"/>
                            <a:gd name="connsiteX12" fmla="*/ 1097 w 621609"/>
                            <a:gd name="connsiteY12" fmla="*/ 393375 h 751088"/>
                            <a:gd name="connsiteX13" fmla="*/ 0 w 621609"/>
                            <a:gd name="connsiteY13" fmla="*/ 407640 h 751088"/>
                            <a:gd name="connsiteX14" fmla="*/ 2743 w 621609"/>
                            <a:gd name="connsiteY14" fmla="*/ 407640 h 751088"/>
                            <a:gd name="connsiteX15" fmla="*/ 16459 w 621609"/>
                            <a:gd name="connsiteY15" fmla="*/ 403799 h 751088"/>
                            <a:gd name="connsiteX16" fmla="*/ 16459 w 621609"/>
                            <a:gd name="connsiteY16" fmla="*/ 414772 h 751088"/>
                            <a:gd name="connsiteX17" fmla="*/ 27981 w 621609"/>
                            <a:gd name="connsiteY17" fmla="*/ 449336 h 751088"/>
                            <a:gd name="connsiteX18" fmla="*/ 28529 w 621609"/>
                            <a:gd name="connsiteY18" fmla="*/ 450434 h 751088"/>
                            <a:gd name="connsiteX19" fmla="*/ 32370 w 621609"/>
                            <a:gd name="connsiteY19" fmla="*/ 453177 h 751088"/>
                            <a:gd name="connsiteX20" fmla="*/ 35113 w 621609"/>
                            <a:gd name="connsiteY20" fmla="*/ 455920 h 751088"/>
                            <a:gd name="connsiteX21" fmla="*/ 37308 w 621609"/>
                            <a:gd name="connsiteY21" fmla="*/ 467990 h 751088"/>
                            <a:gd name="connsiteX22" fmla="*/ 31273 w 621609"/>
                            <a:gd name="connsiteY22" fmla="*/ 470733 h 751088"/>
                            <a:gd name="connsiteX23" fmla="*/ 60899 w 621609"/>
                            <a:gd name="connsiteY23" fmla="*/ 508589 h 751088"/>
                            <a:gd name="connsiteX24" fmla="*/ 64191 w 621609"/>
                            <a:gd name="connsiteY24" fmla="*/ 519014 h 751088"/>
                            <a:gd name="connsiteX25" fmla="*/ 59253 w 621609"/>
                            <a:gd name="connsiteY25" fmla="*/ 542057 h 751088"/>
                            <a:gd name="connsiteX26" fmla="*/ 60350 w 621609"/>
                            <a:gd name="connsiteY26" fmla="*/ 551932 h 751088"/>
                            <a:gd name="connsiteX27" fmla="*/ 67483 w 621609"/>
                            <a:gd name="connsiteY27" fmla="*/ 558516 h 751088"/>
                            <a:gd name="connsiteX28" fmla="*/ 83942 w 621609"/>
                            <a:gd name="connsiteY28" fmla="*/ 561259 h 751088"/>
                            <a:gd name="connsiteX29" fmla="*/ 87782 w 621609"/>
                            <a:gd name="connsiteY29" fmla="*/ 571134 h 751088"/>
                            <a:gd name="connsiteX30" fmla="*/ 95464 w 621609"/>
                            <a:gd name="connsiteY30" fmla="*/ 574975 h 751088"/>
                            <a:gd name="connsiteX31" fmla="*/ 110277 w 621609"/>
                            <a:gd name="connsiteY31" fmla="*/ 575524 h 751088"/>
                            <a:gd name="connsiteX32" fmla="*/ 122896 w 621609"/>
                            <a:gd name="connsiteY32" fmla="*/ 584302 h 751088"/>
                            <a:gd name="connsiteX33" fmla="*/ 123993 w 621609"/>
                            <a:gd name="connsiteY33" fmla="*/ 587045 h 751088"/>
                            <a:gd name="connsiteX34" fmla="*/ 122896 w 621609"/>
                            <a:gd name="connsiteY34" fmla="*/ 594177 h 751088"/>
                            <a:gd name="connsiteX35" fmla="*/ 127285 w 621609"/>
                            <a:gd name="connsiteY35" fmla="*/ 601858 h 751088"/>
                            <a:gd name="connsiteX36" fmla="*/ 152522 w 621609"/>
                            <a:gd name="connsiteY36" fmla="*/ 618317 h 751088"/>
                            <a:gd name="connsiteX37" fmla="*/ 157460 w 621609"/>
                            <a:gd name="connsiteY37" fmla="*/ 625450 h 751088"/>
                            <a:gd name="connsiteX38" fmla="*/ 165141 w 621609"/>
                            <a:gd name="connsiteY38" fmla="*/ 629290 h 751088"/>
                            <a:gd name="connsiteX39" fmla="*/ 170627 w 621609"/>
                            <a:gd name="connsiteY39" fmla="*/ 644104 h 751088"/>
                            <a:gd name="connsiteX40" fmla="*/ 175565 w 621609"/>
                            <a:gd name="connsiteY40" fmla="*/ 650138 h 751088"/>
                            <a:gd name="connsiteX41" fmla="*/ 176662 w 621609"/>
                            <a:gd name="connsiteY41" fmla="*/ 657820 h 751088"/>
                            <a:gd name="connsiteX42" fmla="*/ 183794 w 621609"/>
                            <a:gd name="connsiteY42" fmla="*/ 659465 h 751088"/>
                            <a:gd name="connsiteX43" fmla="*/ 204094 w 621609"/>
                            <a:gd name="connsiteY43" fmla="*/ 672633 h 751088"/>
                            <a:gd name="connsiteX44" fmla="*/ 207386 w 621609"/>
                            <a:gd name="connsiteY44" fmla="*/ 679765 h 751088"/>
                            <a:gd name="connsiteX45" fmla="*/ 209032 w 621609"/>
                            <a:gd name="connsiteY45" fmla="*/ 686897 h 751088"/>
                            <a:gd name="connsiteX46" fmla="*/ 217261 w 621609"/>
                            <a:gd name="connsiteY46" fmla="*/ 699516 h 751088"/>
                            <a:gd name="connsiteX47" fmla="*/ 225491 w 621609"/>
                            <a:gd name="connsiteY47" fmla="*/ 705551 h 751088"/>
                            <a:gd name="connsiteX48" fmla="*/ 233172 w 621609"/>
                            <a:gd name="connsiteY48" fmla="*/ 718170 h 751088"/>
                            <a:gd name="connsiteX49" fmla="*/ 248534 w 621609"/>
                            <a:gd name="connsiteY49" fmla="*/ 724205 h 751088"/>
                            <a:gd name="connsiteX50" fmla="*/ 253472 w 621609"/>
                            <a:gd name="connsiteY50" fmla="*/ 722010 h 751088"/>
                            <a:gd name="connsiteX51" fmla="*/ 257861 w 621609"/>
                            <a:gd name="connsiteY51" fmla="*/ 716524 h 751088"/>
                            <a:gd name="connsiteX52" fmla="*/ 275417 w 621609"/>
                            <a:gd name="connsiteY52" fmla="*/ 720365 h 751088"/>
                            <a:gd name="connsiteX53" fmla="*/ 283647 w 621609"/>
                            <a:gd name="connsiteY53" fmla="*/ 719816 h 751088"/>
                            <a:gd name="connsiteX54" fmla="*/ 292425 w 621609"/>
                            <a:gd name="connsiteY54" fmla="*/ 712684 h 751088"/>
                            <a:gd name="connsiteX55" fmla="*/ 335768 w 621609"/>
                            <a:gd name="connsiteY55" fmla="*/ 749991 h 751088"/>
                            <a:gd name="connsiteX56" fmla="*/ 340157 w 621609"/>
                            <a:gd name="connsiteY56" fmla="*/ 749991 h 751088"/>
                            <a:gd name="connsiteX57" fmla="*/ 345095 w 621609"/>
                            <a:gd name="connsiteY57" fmla="*/ 746150 h 751088"/>
                            <a:gd name="connsiteX58" fmla="*/ 354421 w 621609"/>
                            <a:gd name="connsiteY58" fmla="*/ 745602 h 751088"/>
                            <a:gd name="connsiteX59" fmla="*/ 362102 w 621609"/>
                            <a:gd name="connsiteY59" fmla="*/ 748345 h 751088"/>
                            <a:gd name="connsiteX60" fmla="*/ 368686 w 621609"/>
                            <a:gd name="connsiteY60" fmla="*/ 746150 h 751088"/>
                            <a:gd name="connsiteX61" fmla="*/ 376916 w 621609"/>
                            <a:gd name="connsiteY61" fmla="*/ 745602 h 751088"/>
                            <a:gd name="connsiteX62" fmla="*/ 381305 w 621609"/>
                            <a:gd name="connsiteY62" fmla="*/ 751088 h 751088"/>
                            <a:gd name="connsiteX63" fmla="*/ 435072 w 621609"/>
                            <a:gd name="connsiteY63" fmla="*/ 744505 h 751088"/>
                            <a:gd name="connsiteX64" fmla="*/ 453725 w 621609"/>
                            <a:gd name="connsiteY64" fmla="*/ 732983 h 751088"/>
                            <a:gd name="connsiteX65" fmla="*/ 453725 w 621609"/>
                            <a:gd name="connsiteY65" fmla="*/ 730789 h 751088"/>
                            <a:gd name="connsiteX66" fmla="*/ 453725 w 621609"/>
                            <a:gd name="connsiteY66" fmla="*/ 733532 h 751088"/>
                            <a:gd name="connsiteX67" fmla="*/ 464150 w 621609"/>
                            <a:gd name="connsiteY67" fmla="*/ 719267 h 751088"/>
                            <a:gd name="connsiteX68" fmla="*/ 472379 w 621609"/>
                            <a:gd name="connsiteY68" fmla="*/ 714878 h 751088"/>
                            <a:gd name="connsiteX69" fmla="*/ 524500 w 621609"/>
                            <a:gd name="connsiteY69" fmla="*/ 713781 h 751088"/>
                            <a:gd name="connsiteX70" fmla="*/ 525049 w 621609"/>
                            <a:gd name="connsiteY70" fmla="*/ 686897 h 751088"/>
                            <a:gd name="connsiteX71" fmla="*/ 520111 w 621609"/>
                            <a:gd name="connsiteY71" fmla="*/ 683606 h 751088"/>
                            <a:gd name="connsiteX72" fmla="*/ 504200 w 621609"/>
                            <a:gd name="connsiteY72" fmla="*/ 680314 h 751088"/>
                            <a:gd name="connsiteX73" fmla="*/ 498165 w 621609"/>
                            <a:gd name="connsiteY73" fmla="*/ 676473 h 751088"/>
                            <a:gd name="connsiteX74" fmla="*/ 481706 w 621609"/>
                            <a:gd name="connsiteY74" fmla="*/ 636422 h 751088"/>
                            <a:gd name="connsiteX75" fmla="*/ 461406 w 621609"/>
                            <a:gd name="connsiteY75" fmla="*/ 622158 h 751088"/>
                            <a:gd name="connsiteX76" fmla="*/ 457017 w 621609"/>
                            <a:gd name="connsiteY76" fmla="*/ 615574 h 751088"/>
                            <a:gd name="connsiteX77" fmla="*/ 455920 w 621609"/>
                            <a:gd name="connsiteY77" fmla="*/ 608990 h 751088"/>
                            <a:gd name="connsiteX78" fmla="*/ 450434 w 621609"/>
                            <a:gd name="connsiteY78" fmla="*/ 602407 h 751088"/>
                            <a:gd name="connsiteX79" fmla="*/ 444398 w 621609"/>
                            <a:gd name="connsiteY79" fmla="*/ 599115 h 751088"/>
                            <a:gd name="connsiteX80" fmla="*/ 436717 w 621609"/>
                            <a:gd name="connsiteY80" fmla="*/ 596921 h 751088"/>
                            <a:gd name="connsiteX81" fmla="*/ 431231 w 621609"/>
                            <a:gd name="connsiteY81" fmla="*/ 597469 h 751088"/>
                            <a:gd name="connsiteX82" fmla="*/ 425745 w 621609"/>
                            <a:gd name="connsiteY82" fmla="*/ 593629 h 751088"/>
                            <a:gd name="connsiteX83" fmla="*/ 421356 w 621609"/>
                            <a:gd name="connsiteY83" fmla="*/ 593080 h 751088"/>
                            <a:gd name="connsiteX84" fmla="*/ 417515 w 621609"/>
                            <a:gd name="connsiteY84" fmla="*/ 590337 h 751088"/>
                            <a:gd name="connsiteX85" fmla="*/ 420807 w 621609"/>
                            <a:gd name="connsiteY85" fmla="*/ 584850 h 751088"/>
                            <a:gd name="connsiteX86" fmla="*/ 424648 w 621609"/>
                            <a:gd name="connsiteY86" fmla="*/ 582107 h 751088"/>
                            <a:gd name="connsiteX87" fmla="*/ 424648 w 621609"/>
                            <a:gd name="connsiteY87" fmla="*/ 571134 h 751088"/>
                            <a:gd name="connsiteX88" fmla="*/ 431231 w 621609"/>
                            <a:gd name="connsiteY88" fmla="*/ 568940 h 751088"/>
                            <a:gd name="connsiteX89" fmla="*/ 447142 w 621609"/>
                            <a:gd name="connsiteY89" fmla="*/ 570586 h 751088"/>
                            <a:gd name="connsiteX90" fmla="*/ 454274 w 621609"/>
                            <a:gd name="connsiteY90" fmla="*/ 567294 h 751088"/>
                            <a:gd name="connsiteX91" fmla="*/ 459760 w 621609"/>
                            <a:gd name="connsiteY91" fmla="*/ 562905 h 751088"/>
                            <a:gd name="connsiteX92" fmla="*/ 463601 w 621609"/>
                            <a:gd name="connsiteY92" fmla="*/ 491582 h 751088"/>
                            <a:gd name="connsiteX93" fmla="*/ 465796 w 621609"/>
                            <a:gd name="connsiteY93" fmla="*/ 493776 h 751088"/>
                            <a:gd name="connsiteX94" fmla="*/ 472379 w 621609"/>
                            <a:gd name="connsiteY94" fmla="*/ 480060 h 751088"/>
                            <a:gd name="connsiteX95" fmla="*/ 477866 w 621609"/>
                            <a:gd name="connsiteY95" fmla="*/ 476220 h 751088"/>
                            <a:gd name="connsiteX96" fmla="*/ 486095 w 621609"/>
                            <a:gd name="connsiteY96" fmla="*/ 476768 h 751088"/>
                            <a:gd name="connsiteX97" fmla="*/ 488838 w 621609"/>
                            <a:gd name="connsiteY97" fmla="*/ 473477 h 751088"/>
                            <a:gd name="connsiteX98" fmla="*/ 495422 w 621609"/>
                            <a:gd name="connsiteY98" fmla="*/ 445496 h 751088"/>
                            <a:gd name="connsiteX99" fmla="*/ 526146 w 621609"/>
                            <a:gd name="connsiteY99" fmla="*/ 405445 h 751088"/>
                            <a:gd name="connsiteX100" fmla="*/ 531632 w 621609"/>
                            <a:gd name="connsiteY100" fmla="*/ 403250 h 751088"/>
                            <a:gd name="connsiteX101" fmla="*/ 536570 w 621609"/>
                            <a:gd name="connsiteY101" fmla="*/ 398313 h 751088"/>
                            <a:gd name="connsiteX102" fmla="*/ 548640 w 621609"/>
                            <a:gd name="connsiteY102" fmla="*/ 347838 h 751088"/>
                            <a:gd name="connsiteX103" fmla="*/ 546994 w 621609"/>
                            <a:gd name="connsiteY103" fmla="*/ 323698 h 751088"/>
                            <a:gd name="connsiteX104" fmla="*/ 568391 w 621609"/>
                            <a:gd name="connsiteY104" fmla="*/ 238658 h 751088"/>
                            <a:gd name="connsiteX105" fmla="*/ 577169 w 621609"/>
                            <a:gd name="connsiteY105" fmla="*/ 237561 h 751088"/>
                            <a:gd name="connsiteX106" fmla="*/ 583204 w 621609"/>
                            <a:gd name="connsiteY106" fmla="*/ 233721 h 751088"/>
                            <a:gd name="connsiteX107" fmla="*/ 587045 w 621609"/>
                            <a:gd name="connsiteY107" fmla="*/ 228783 h 751088"/>
                            <a:gd name="connsiteX108" fmla="*/ 615574 w 621609"/>
                            <a:gd name="connsiteY108" fmla="*/ 216713 h 751088"/>
                            <a:gd name="connsiteX109" fmla="*/ 621609 w 621609"/>
                            <a:gd name="connsiteY109" fmla="*/ 199705 h 751088"/>
                            <a:gd name="connsiteX110" fmla="*/ 619415 w 621609"/>
                            <a:gd name="connsiteY110" fmla="*/ 193121 h 751088"/>
                            <a:gd name="connsiteX111" fmla="*/ 616123 w 621609"/>
                            <a:gd name="connsiteY111" fmla="*/ 193121 h 751088"/>
                            <a:gd name="connsiteX112" fmla="*/ 613928 w 621609"/>
                            <a:gd name="connsiteY112" fmla="*/ 191476 h 751088"/>
                            <a:gd name="connsiteX113" fmla="*/ 610636 w 621609"/>
                            <a:gd name="connsiteY113" fmla="*/ 192573 h 751088"/>
                            <a:gd name="connsiteX114" fmla="*/ 606796 w 621609"/>
                            <a:gd name="connsiteY114" fmla="*/ 184343 h 751088"/>
                            <a:gd name="connsiteX115" fmla="*/ 602956 w 621609"/>
                            <a:gd name="connsiteY115" fmla="*/ 180503 h 751088"/>
                            <a:gd name="connsiteX116" fmla="*/ 583753 w 621609"/>
                            <a:gd name="connsiteY116" fmla="*/ 172273 h 751088"/>
                            <a:gd name="connsiteX117" fmla="*/ 580461 w 621609"/>
                            <a:gd name="connsiteY117" fmla="*/ 166787 h 751088"/>
                            <a:gd name="connsiteX118" fmla="*/ 572780 w 621609"/>
                            <a:gd name="connsiteY118" fmla="*/ 79553 h 751088"/>
                            <a:gd name="connsiteX119" fmla="*/ 574975 w 621609"/>
                            <a:gd name="connsiteY119" fmla="*/ 80102 h 751088"/>
                            <a:gd name="connsiteX120" fmla="*/ 573329 w 621609"/>
                            <a:gd name="connsiteY120" fmla="*/ 75713 h 751088"/>
                            <a:gd name="connsiteX121" fmla="*/ 563453 w 621609"/>
                            <a:gd name="connsiteY121" fmla="*/ 63642 h 751088"/>
                            <a:gd name="connsiteX122" fmla="*/ 560710 w 621609"/>
                            <a:gd name="connsiteY122" fmla="*/ 44440 h 751088"/>
                            <a:gd name="connsiteX123" fmla="*/ 553029 w 621609"/>
                            <a:gd name="connsiteY123" fmla="*/ 32918 h 751088"/>
                            <a:gd name="connsiteX124" fmla="*/ 546994 w 621609"/>
                            <a:gd name="connsiteY124" fmla="*/ 29627 h 751088"/>
                            <a:gd name="connsiteX125" fmla="*/ 539313 w 621609"/>
                            <a:gd name="connsiteY125" fmla="*/ 20849 h 751088"/>
                            <a:gd name="connsiteX126" fmla="*/ 521757 w 621609"/>
                            <a:gd name="connsiteY126" fmla="*/ 12619 h 751088"/>
                            <a:gd name="connsiteX127" fmla="*/ 512978 w 621609"/>
                            <a:gd name="connsiteY127" fmla="*/ 0 h 751088"/>
                            <a:gd name="connsiteX128" fmla="*/ 498165 w 621609"/>
                            <a:gd name="connsiteY128" fmla="*/ 13167 h 751088"/>
                            <a:gd name="connsiteX129" fmla="*/ 488838 w 621609"/>
                            <a:gd name="connsiteY129" fmla="*/ 9876 h 751088"/>
                            <a:gd name="connsiteX130" fmla="*/ 480060 w 621609"/>
                            <a:gd name="connsiteY130" fmla="*/ 30724 h 751088"/>
                            <a:gd name="connsiteX131" fmla="*/ 459760 w 621609"/>
                            <a:gd name="connsiteY131" fmla="*/ 35662 h 751088"/>
                            <a:gd name="connsiteX132" fmla="*/ 454823 w 621609"/>
                            <a:gd name="connsiteY132" fmla="*/ 52670 h 751088"/>
                            <a:gd name="connsiteX133" fmla="*/ 436717 w 621609"/>
                            <a:gd name="connsiteY133" fmla="*/ 53767 h 751088"/>
                            <a:gd name="connsiteX134" fmla="*/ 424099 w 621609"/>
                            <a:gd name="connsiteY134" fmla="*/ 44440 h 751088"/>
                            <a:gd name="connsiteX135" fmla="*/ 357713 w 621609"/>
                            <a:gd name="connsiteY135" fmla="*/ 44440 h 751088"/>
                            <a:gd name="connsiteX136" fmla="*/ 361005 w 621609"/>
                            <a:gd name="connsiteY136" fmla="*/ 36759 h 751088"/>
                            <a:gd name="connsiteX137" fmla="*/ 359359 w 621609"/>
                            <a:gd name="connsiteY137" fmla="*/ 36759 h 751088"/>
                            <a:gd name="connsiteX138" fmla="*/ 358262 w 621609"/>
                            <a:gd name="connsiteY138" fmla="*/ 36210 h 751088"/>
                            <a:gd name="connsiteX139" fmla="*/ 356068 w 621609"/>
                            <a:gd name="connsiteY139" fmla="*/ 35662 h 751088"/>
                            <a:gd name="connsiteX140" fmla="*/ 350581 w 621609"/>
                            <a:gd name="connsiteY140" fmla="*/ 44440 h 751088"/>
                            <a:gd name="connsiteX141" fmla="*/ 116860 w 621609"/>
                            <a:gd name="connsiteY141" fmla="*/ 43891 h 751088"/>
                            <a:gd name="connsiteX142" fmla="*/ 116860 w 621609"/>
                            <a:gd name="connsiteY142" fmla="*/ 43891 h 751088"/>
                            <a:gd name="connsiteX143" fmla="*/ 116860 w 621609"/>
                            <a:gd name="connsiteY143" fmla="*/ 120701 h 751088"/>
                            <a:gd name="connsiteX144" fmla="*/ 80650 w 621609"/>
                            <a:gd name="connsiteY144" fmla="*/ 120701 h 751088"/>
                            <a:gd name="connsiteX145" fmla="*/ 80650 w 621609"/>
                            <a:gd name="connsiteY145" fmla="*/ 143744 h 751088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  <a:cxn ang="0">
                              <a:pos x="connsiteX11" y="connsiteY11"/>
                            </a:cxn>
                            <a:cxn ang="0">
                              <a:pos x="connsiteX12" y="connsiteY12"/>
                            </a:cxn>
                            <a:cxn ang="0">
                              <a:pos x="connsiteX13" y="connsiteY13"/>
                            </a:cxn>
                            <a:cxn ang="0">
                              <a:pos x="connsiteX14" y="connsiteY14"/>
                            </a:cxn>
                            <a:cxn ang="0">
                              <a:pos x="connsiteX15" y="connsiteY15"/>
                            </a:cxn>
                            <a:cxn ang="0">
                              <a:pos x="connsiteX16" y="connsiteY16"/>
                            </a:cxn>
                            <a:cxn ang="0">
                              <a:pos x="connsiteX17" y="connsiteY17"/>
                            </a:cxn>
                            <a:cxn ang="0">
                              <a:pos x="connsiteX18" y="connsiteY18"/>
                            </a:cxn>
                            <a:cxn ang="0">
                              <a:pos x="connsiteX19" y="connsiteY19"/>
                            </a:cxn>
                            <a:cxn ang="0">
                              <a:pos x="connsiteX20" y="connsiteY20"/>
                            </a:cxn>
                            <a:cxn ang="0">
                              <a:pos x="connsiteX21" y="connsiteY21"/>
                            </a:cxn>
                            <a:cxn ang="0">
                              <a:pos x="connsiteX22" y="connsiteY22"/>
                            </a:cxn>
                            <a:cxn ang="0">
                              <a:pos x="connsiteX23" y="connsiteY23"/>
                            </a:cxn>
                            <a:cxn ang="0">
                              <a:pos x="connsiteX24" y="connsiteY24"/>
                            </a:cxn>
                            <a:cxn ang="0">
                              <a:pos x="connsiteX25" y="connsiteY25"/>
                            </a:cxn>
                            <a:cxn ang="0">
                              <a:pos x="connsiteX26" y="connsiteY26"/>
                            </a:cxn>
                            <a:cxn ang="0">
                              <a:pos x="connsiteX27" y="connsiteY27"/>
                            </a:cxn>
                            <a:cxn ang="0">
                              <a:pos x="connsiteX28" y="connsiteY28"/>
                            </a:cxn>
                            <a:cxn ang="0">
                              <a:pos x="connsiteX29" y="connsiteY29"/>
                            </a:cxn>
                            <a:cxn ang="0">
                              <a:pos x="connsiteX30" y="connsiteY30"/>
                            </a:cxn>
                            <a:cxn ang="0">
                              <a:pos x="connsiteX31" y="connsiteY31"/>
                            </a:cxn>
                            <a:cxn ang="0">
                              <a:pos x="connsiteX32" y="connsiteY32"/>
                            </a:cxn>
                            <a:cxn ang="0">
                              <a:pos x="connsiteX33" y="connsiteY33"/>
                            </a:cxn>
                            <a:cxn ang="0">
                              <a:pos x="connsiteX34" y="connsiteY34"/>
                            </a:cxn>
                            <a:cxn ang="0">
                              <a:pos x="connsiteX35" y="connsiteY35"/>
                            </a:cxn>
                            <a:cxn ang="0">
                              <a:pos x="connsiteX36" y="connsiteY36"/>
                            </a:cxn>
                            <a:cxn ang="0">
                              <a:pos x="connsiteX37" y="connsiteY37"/>
                            </a:cxn>
                            <a:cxn ang="0">
                              <a:pos x="connsiteX38" y="connsiteY38"/>
                            </a:cxn>
                            <a:cxn ang="0">
                              <a:pos x="connsiteX39" y="connsiteY39"/>
                            </a:cxn>
                            <a:cxn ang="0">
                              <a:pos x="connsiteX40" y="connsiteY40"/>
                            </a:cxn>
                            <a:cxn ang="0">
                              <a:pos x="connsiteX41" y="connsiteY41"/>
                            </a:cxn>
                            <a:cxn ang="0">
                              <a:pos x="connsiteX42" y="connsiteY42"/>
                            </a:cxn>
                            <a:cxn ang="0">
                              <a:pos x="connsiteX43" y="connsiteY43"/>
                            </a:cxn>
                            <a:cxn ang="0">
                              <a:pos x="connsiteX44" y="connsiteY44"/>
                            </a:cxn>
                            <a:cxn ang="0">
                              <a:pos x="connsiteX45" y="connsiteY45"/>
                            </a:cxn>
                            <a:cxn ang="0">
                              <a:pos x="connsiteX46" y="connsiteY46"/>
                            </a:cxn>
                            <a:cxn ang="0">
                              <a:pos x="connsiteX47" y="connsiteY47"/>
                            </a:cxn>
                            <a:cxn ang="0">
                              <a:pos x="connsiteX48" y="connsiteY48"/>
                            </a:cxn>
                            <a:cxn ang="0">
                              <a:pos x="connsiteX49" y="connsiteY49"/>
                            </a:cxn>
                            <a:cxn ang="0">
                              <a:pos x="connsiteX50" y="connsiteY50"/>
                            </a:cxn>
                            <a:cxn ang="0">
                              <a:pos x="connsiteX51" y="connsiteY51"/>
                            </a:cxn>
                            <a:cxn ang="0">
                              <a:pos x="connsiteX52" y="connsiteY52"/>
                            </a:cxn>
                            <a:cxn ang="0">
                              <a:pos x="connsiteX53" y="connsiteY53"/>
                            </a:cxn>
                            <a:cxn ang="0">
                              <a:pos x="connsiteX54" y="connsiteY54"/>
                            </a:cxn>
                            <a:cxn ang="0">
                              <a:pos x="connsiteX55" y="connsiteY55"/>
                            </a:cxn>
                            <a:cxn ang="0">
                              <a:pos x="connsiteX56" y="connsiteY56"/>
                            </a:cxn>
                            <a:cxn ang="0">
                              <a:pos x="connsiteX57" y="connsiteY57"/>
                            </a:cxn>
                            <a:cxn ang="0">
                              <a:pos x="connsiteX58" y="connsiteY58"/>
                            </a:cxn>
                            <a:cxn ang="0">
                              <a:pos x="connsiteX59" y="connsiteY59"/>
                            </a:cxn>
                            <a:cxn ang="0">
                              <a:pos x="connsiteX60" y="connsiteY60"/>
                            </a:cxn>
                            <a:cxn ang="0">
                              <a:pos x="connsiteX61" y="connsiteY61"/>
                            </a:cxn>
                            <a:cxn ang="0">
                              <a:pos x="connsiteX62" y="connsiteY62"/>
                            </a:cxn>
                            <a:cxn ang="0">
                              <a:pos x="connsiteX63" y="connsiteY63"/>
                            </a:cxn>
                            <a:cxn ang="0">
                              <a:pos x="connsiteX64" y="connsiteY64"/>
                            </a:cxn>
                            <a:cxn ang="0">
                              <a:pos x="connsiteX65" y="connsiteY65"/>
                            </a:cxn>
                            <a:cxn ang="0">
                              <a:pos x="connsiteX66" y="connsiteY66"/>
                            </a:cxn>
                            <a:cxn ang="0">
                              <a:pos x="connsiteX67" y="connsiteY67"/>
                            </a:cxn>
                            <a:cxn ang="0">
                              <a:pos x="connsiteX68" y="connsiteY68"/>
                            </a:cxn>
                            <a:cxn ang="0">
                              <a:pos x="connsiteX69" y="connsiteY69"/>
                            </a:cxn>
                            <a:cxn ang="0">
                              <a:pos x="connsiteX70" y="connsiteY70"/>
                            </a:cxn>
                            <a:cxn ang="0">
                              <a:pos x="connsiteX71" y="connsiteY71"/>
                            </a:cxn>
                            <a:cxn ang="0">
                              <a:pos x="connsiteX72" y="connsiteY72"/>
                            </a:cxn>
                            <a:cxn ang="0">
                              <a:pos x="connsiteX73" y="connsiteY73"/>
                            </a:cxn>
                            <a:cxn ang="0">
                              <a:pos x="connsiteX74" y="connsiteY74"/>
                            </a:cxn>
                            <a:cxn ang="0">
                              <a:pos x="connsiteX75" y="connsiteY75"/>
                            </a:cxn>
                            <a:cxn ang="0">
                              <a:pos x="connsiteX76" y="connsiteY76"/>
                            </a:cxn>
                            <a:cxn ang="0">
                              <a:pos x="connsiteX77" y="connsiteY77"/>
                            </a:cxn>
                            <a:cxn ang="0">
                              <a:pos x="connsiteX78" y="connsiteY78"/>
                            </a:cxn>
                            <a:cxn ang="0">
                              <a:pos x="connsiteX79" y="connsiteY79"/>
                            </a:cxn>
                            <a:cxn ang="0">
                              <a:pos x="connsiteX80" y="connsiteY80"/>
                            </a:cxn>
                            <a:cxn ang="0">
                              <a:pos x="connsiteX81" y="connsiteY81"/>
                            </a:cxn>
                            <a:cxn ang="0">
                              <a:pos x="connsiteX82" y="connsiteY82"/>
                            </a:cxn>
                            <a:cxn ang="0">
                              <a:pos x="connsiteX83" y="connsiteY83"/>
                            </a:cxn>
                            <a:cxn ang="0">
                              <a:pos x="connsiteX84" y="connsiteY84"/>
                            </a:cxn>
                            <a:cxn ang="0">
                              <a:pos x="connsiteX85" y="connsiteY85"/>
                            </a:cxn>
                            <a:cxn ang="0">
                              <a:pos x="connsiteX86" y="connsiteY86"/>
                            </a:cxn>
                            <a:cxn ang="0">
                              <a:pos x="connsiteX87" y="connsiteY87"/>
                            </a:cxn>
                            <a:cxn ang="0">
                              <a:pos x="connsiteX88" y="connsiteY88"/>
                            </a:cxn>
                            <a:cxn ang="0">
                              <a:pos x="connsiteX89" y="connsiteY89"/>
                            </a:cxn>
                            <a:cxn ang="0">
                              <a:pos x="connsiteX90" y="connsiteY90"/>
                            </a:cxn>
                            <a:cxn ang="0">
                              <a:pos x="connsiteX91" y="connsiteY91"/>
                            </a:cxn>
                            <a:cxn ang="0">
                              <a:pos x="connsiteX92" y="connsiteY92"/>
                            </a:cxn>
                            <a:cxn ang="0">
                              <a:pos x="connsiteX93" y="connsiteY93"/>
                            </a:cxn>
                            <a:cxn ang="0">
                              <a:pos x="connsiteX94" y="connsiteY94"/>
                            </a:cxn>
                            <a:cxn ang="0">
                              <a:pos x="connsiteX95" y="connsiteY95"/>
                            </a:cxn>
                            <a:cxn ang="0">
                              <a:pos x="connsiteX96" y="connsiteY96"/>
                            </a:cxn>
                            <a:cxn ang="0">
                              <a:pos x="connsiteX97" y="connsiteY97"/>
                            </a:cxn>
                            <a:cxn ang="0">
                              <a:pos x="connsiteX98" y="connsiteY98"/>
                            </a:cxn>
                            <a:cxn ang="0">
                              <a:pos x="connsiteX99" y="connsiteY99"/>
                            </a:cxn>
                            <a:cxn ang="0">
                              <a:pos x="connsiteX100" y="connsiteY100"/>
                            </a:cxn>
                            <a:cxn ang="0">
                              <a:pos x="connsiteX101" y="connsiteY101"/>
                            </a:cxn>
                            <a:cxn ang="0">
                              <a:pos x="connsiteX102" y="connsiteY102"/>
                            </a:cxn>
                            <a:cxn ang="0">
                              <a:pos x="connsiteX103" y="connsiteY103"/>
                            </a:cxn>
                            <a:cxn ang="0">
                              <a:pos x="connsiteX104" y="connsiteY104"/>
                            </a:cxn>
                            <a:cxn ang="0">
                              <a:pos x="connsiteX105" y="connsiteY105"/>
                            </a:cxn>
                            <a:cxn ang="0">
                              <a:pos x="connsiteX106" y="connsiteY106"/>
                            </a:cxn>
                            <a:cxn ang="0">
                              <a:pos x="connsiteX107" y="connsiteY107"/>
                            </a:cxn>
                            <a:cxn ang="0">
                              <a:pos x="connsiteX108" y="connsiteY108"/>
                            </a:cxn>
                            <a:cxn ang="0">
                              <a:pos x="connsiteX109" y="connsiteY109"/>
                            </a:cxn>
                            <a:cxn ang="0">
                              <a:pos x="connsiteX110" y="connsiteY110"/>
                            </a:cxn>
                            <a:cxn ang="0">
                              <a:pos x="connsiteX111" y="connsiteY111"/>
                            </a:cxn>
                            <a:cxn ang="0">
                              <a:pos x="connsiteX112" y="connsiteY112"/>
                            </a:cxn>
                            <a:cxn ang="0">
                              <a:pos x="connsiteX113" y="connsiteY113"/>
                            </a:cxn>
                            <a:cxn ang="0">
                              <a:pos x="connsiteX114" y="connsiteY114"/>
                            </a:cxn>
                            <a:cxn ang="0">
                              <a:pos x="connsiteX115" y="connsiteY115"/>
                            </a:cxn>
                            <a:cxn ang="0">
                              <a:pos x="connsiteX116" y="connsiteY116"/>
                            </a:cxn>
                            <a:cxn ang="0">
                              <a:pos x="connsiteX117" y="connsiteY117"/>
                            </a:cxn>
                            <a:cxn ang="0">
                              <a:pos x="connsiteX118" y="connsiteY118"/>
                            </a:cxn>
                            <a:cxn ang="0">
                              <a:pos x="connsiteX119" y="connsiteY119"/>
                            </a:cxn>
                            <a:cxn ang="0">
                              <a:pos x="connsiteX120" y="connsiteY120"/>
                            </a:cxn>
                            <a:cxn ang="0">
                              <a:pos x="connsiteX121" y="connsiteY121"/>
                            </a:cxn>
                            <a:cxn ang="0">
                              <a:pos x="connsiteX122" y="connsiteY122"/>
                            </a:cxn>
                            <a:cxn ang="0">
                              <a:pos x="connsiteX123" y="connsiteY123"/>
                            </a:cxn>
                            <a:cxn ang="0">
                              <a:pos x="connsiteX124" y="connsiteY124"/>
                            </a:cxn>
                            <a:cxn ang="0">
                              <a:pos x="connsiteX125" y="connsiteY125"/>
                            </a:cxn>
                            <a:cxn ang="0">
                              <a:pos x="connsiteX126" y="connsiteY126"/>
                            </a:cxn>
                            <a:cxn ang="0">
                              <a:pos x="connsiteX127" y="connsiteY127"/>
                            </a:cxn>
                            <a:cxn ang="0">
                              <a:pos x="connsiteX128" y="connsiteY128"/>
                            </a:cxn>
                            <a:cxn ang="0">
                              <a:pos x="connsiteX129" y="connsiteY129"/>
                            </a:cxn>
                            <a:cxn ang="0">
                              <a:pos x="connsiteX130" y="connsiteY130"/>
                            </a:cxn>
                            <a:cxn ang="0">
                              <a:pos x="connsiteX131" y="connsiteY131"/>
                            </a:cxn>
                            <a:cxn ang="0">
                              <a:pos x="connsiteX132" y="connsiteY132"/>
                            </a:cxn>
                            <a:cxn ang="0">
                              <a:pos x="connsiteX133" y="connsiteY133"/>
                            </a:cxn>
                            <a:cxn ang="0">
                              <a:pos x="connsiteX134" y="connsiteY134"/>
                            </a:cxn>
                            <a:cxn ang="0">
                              <a:pos x="connsiteX135" y="connsiteY135"/>
                            </a:cxn>
                            <a:cxn ang="0">
                              <a:pos x="connsiteX136" y="connsiteY136"/>
                            </a:cxn>
                            <a:cxn ang="0">
                              <a:pos x="connsiteX137" y="connsiteY137"/>
                            </a:cxn>
                            <a:cxn ang="0">
                              <a:pos x="connsiteX138" y="connsiteY138"/>
                            </a:cxn>
                            <a:cxn ang="0">
                              <a:pos x="connsiteX139" y="connsiteY139"/>
                            </a:cxn>
                            <a:cxn ang="0">
                              <a:pos x="connsiteX140" y="connsiteY140"/>
                            </a:cxn>
                            <a:cxn ang="0">
                              <a:pos x="connsiteX141" y="connsiteY141"/>
                            </a:cxn>
                            <a:cxn ang="0">
                              <a:pos x="connsiteX142" y="connsiteY142"/>
                            </a:cxn>
                            <a:cxn ang="0">
                              <a:pos x="connsiteX143" y="connsiteY143"/>
                            </a:cxn>
                            <a:cxn ang="0">
                              <a:pos x="connsiteX144" y="connsiteY144"/>
                            </a:cxn>
                            <a:cxn ang="0">
                              <a:pos x="connsiteX145" y="connsiteY145"/>
                            </a:cxn>
                          </a:cxnLst>
                          <a:rect l="l" t="t" r="r" b="b"/>
                          <a:pathLst>
                            <a:path w="621609" h="751088">
                              <a:moveTo>
                                <a:pt x="80650" y="143744"/>
                              </a:moveTo>
                              <a:lnTo>
                                <a:pt x="80101" y="289682"/>
                              </a:lnTo>
                              <a:lnTo>
                                <a:pt x="41697" y="291877"/>
                              </a:lnTo>
                              <a:lnTo>
                                <a:pt x="40599" y="293522"/>
                              </a:lnTo>
                              <a:lnTo>
                                <a:pt x="38405" y="306690"/>
                              </a:lnTo>
                              <a:lnTo>
                                <a:pt x="15911" y="338511"/>
                              </a:lnTo>
                              <a:lnTo>
                                <a:pt x="16459" y="352776"/>
                              </a:lnTo>
                              <a:lnTo>
                                <a:pt x="15911" y="356068"/>
                              </a:lnTo>
                              <a:lnTo>
                                <a:pt x="15362" y="357165"/>
                              </a:lnTo>
                              <a:lnTo>
                                <a:pt x="9876" y="359908"/>
                              </a:lnTo>
                              <a:lnTo>
                                <a:pt x="8230" y="362651"/>
                              </a:lnTo>
                              <a:lnTo>
                                <a:pt x="7132" y="379659"/>
                              </a:lnTo>
                              <a:lnTo>
                                <a:pt x="1097" y="393375"/>
                              </a:lnTo>
                              <a:lnTo>
                                <a:pt x="0" y="407640"/>
                              </a:lnTo>
                              <a:lnTo>
                                <a:pt x="2743" y="407640"/>
                              </a:lnTo>
                              <a:lnTo>
                                <a:pt x="16459" y="403799"/>
                              </a:lnTo>
                              <a:lnTo>
                                <a:pt x="16459" y="414772"/>
                              </a:lnTo>
                              <a:lnTo>
                                <a:pt x="27981" y="449336"/>
                              </a:lnTo>
                              <a:lnTo>
                                <a:pt x="28529" y="450434"/>
                              </a:lnTo>
                              <a:lnTo>
                                <a:pt x="32370" y="453177"/>
                              </a:lnTo>
                              <a:lnTo>
                                <a:pt x="35113" y="455920"/>
                              </a:lnTo>
                              <a:lnTo>
                                <a:pt x="37308" y="467990"/>
                              </a:lnTo>
                              <a:lnTo>
                                <a:pt x="31273" y="470733"/>
                              </a:lnTo>
                              <a:lnTo>
                                <a:pt x="60899" y="508589"/>
                              </a:lnTo>
                              <a:lnTo>
                                <a:pt x="64191" y="519014"/>
                              </a:lnTo>
                              <a:lnTo>
                                <a:pt x="59253" y="542057"/>
                              </a:lnTo>
                              <a:lnTo>
                                <a:pt x="60350" y="551932"/>
                              </a:lnTo>
                              <a:lnTo>
                                <a:pt x="67483" y="558516"/>
                              </a:lnTo>
                              <a:lnTo>
                                <a:pt x="83942" y="561259"/>
                              </a:lnTo>
                              <a:lnTo>
                                <a:pt x="87782" y="571134"/>
                              </a:lnTo>
                              <a:lnTo>
                                <a:pt x="95464" y="574975"/>
                              </a:lnTo>
                              <a:lnTo>
                                <a:pt x="110277" y="575524"/>
                              </a:lnTo>
                              <a:lnTo>
                                <a:pt x="122896" y="584302"/>
                              </a:lnTo>
                              <a:lnTo>
                                <a:pt x="123993" y="587045"/>
                              </a:lnTo>
                              <a:lnTo>
                                <a:pt x="122896" y="594177"/>
                              </a:lnTo>
                              <a:lnTo>
                                <a:pt x="127285" y="601858"/>
                              </a:lnTo>
                              <a:lnTo>
                                <a:pt x="152522" y="618317"/>
                              </a:lnTo>
                              <a:lnTo>
                                <a:pt x="157460" y="625450"/>
                              </a:lnTo>
                              <a:lnTo>
                                <a:pt x="165141" y="629290"/>
                              </a:lnTo>
                              <a:lnTo>
                                <a:pt x="170627" y="644104"/>
                              </a:lnTo>
                              <a:lnTo>
                                <a:pt x="175565" y="650138"/>
                              </a:lnTo>
                              <a:lnTo>
                                <a:pt x="176662" y="657820"/>
                              </a:lnTo>
                              <a:lnTo>
                                <a:pt x="183794" y="659465"/>
                              </a:lnTo>
                              <a:lnTo>
                                <a:pt x="204094" y="672633"/>
                              </a:lnTo>
                              <a:lnTo>
                                <a:pt x="207386" y="679765"/>
                              </a:lnTo>
                              <a:lnTo>
                                <a:pt x="209032" y="686897"/>
                              </a:lnTo>
                              <a:lnTo>
                                <a:pt x="217261" y="699516"/>
                              </a:lnTo>
                              <a:lnTo>
                                <a:pt x="225491" y="705551"/>
                              </a:lnTo>
                              <a:lnTo>
                                <a:pt x="233172" y="718170"/>
                              </a:lnTo>
                              <a:lnTo>
                                <a:pt x="248534" y="724205"/>
                              </a:lnTo>
                              <a:lnTo>
                                <a:pt x="253472" y="722010"/>
                              </a:lnTo>
                              <a:lnTo>
                                <a:pt x="257861" y="716524"/>
                              </a:lnTo>
                              <a:lnTo>
                                <a:pt x="275417" y="720365"/>
                              </a:lnTo>
                              <a:lnTo>
                                <a:pt x="283647" y="719816"/>
                              </a:lnTo>
                              <a:lnTo>
                                <a:pt x="292425" y="712684"/>
                              </a:lnTo>
                              <a:lnTo>
                                <a:pt x="335768" y="749991"/>
                              </a:lnTo>
                              <a:lnTo>
                                <a:pt x="340157" y="749991"/>
                              </a:lnTo>
                              <a:lnTo>
                                <a:pt x="345095" y="746150"/>
                              </a:lnTo>
                              <a:lnTo>
                                <a:pt x="354421" y="745602"/>
                              </a:lnTo>
                              <a:lnTo>
                                <a:pt x="362102" y="748345"/>
                              </a:lnTo>
                              <a:lnTo>
                                <a:pt x="368686" y="746150"/>
                              </a:lnTo>
                              <a:lnTo>
                                <a:pt x="376916" y="745602"/>
                              </a:lnTo>
                              <a:lnTo>
                                <a:pt x="381305" y="751088"/>
                              </a:lnTo>
                              <a:lnTo>
                                <a:pt x="435072" y="744505"/>
                              </a:lnTo>
                              <a:lnTo>
                                <a:pt x="453725" y="732983"/>
                              </a:lnTo>
                              <a:lnTo>
                                <a:pt x="453725" y="730789"/>
                              </a:lnTo>
                              <a:lnTo>
                                <a:pt x="453725" y="733532"/>
                              </a:lnTo>
                              <a:lnTo>
                                <a:pt x="464150" y="719267"/>
                              </a:lnTo>
                              <a:lnTo>
                                <a:pt x="472379" y="714878"/>
                              </a:lnTo>
                              <a:lnTo>
                                <a:pt x="524500" y="713781"/>
                              </a:lnTo>
                              <a:lnTo>
                                <a:pt x="525049" y="686897"/>
                              </a:lnTo>
                              <a:lnTo>
                                <a:pt x="520111" y="683606"/>
                              </a:lnTo>
                              <a:lnTo>
                                <a:pt x="504200" y="680314"/>
                              </a:lnTo>
                              <a:lnTo>
                                <a:pt x="498165" y="676473"/>
                              </a:lnTo>
                              <a:lnTo>
                                <a:pt x="481706" y="636422"/>
                              </a:lnTo>
                              <a:lnTo>
                                <a:pt x="461406" y="622158"/>
                              </a:lnTo>
                              <a:lnTo>
                                <a:pt x="457017" y="615574"/>
                              </a:lnTo>
                              <a:lnTo>
                                <a:pt x="455920" y="608990"/>
                              </a:lnTo>
                              <a:lnTo>
                                <a:pt x="450434" y="602407"/>
                              </a:lnTo>
                              <a:lnTo>
                                <a:pt x="444398" y="599115"/>
                              </a:lnTo>
                              <a:lnTo>
                                <a:pt x="436717" y="596921"/>
                              </a:lnTo>
                              <a:lnTo>
                                <a:pt x="431231" y="597469"/>
                              </a:lnTo>
                              <a:lnTo>
                                <a:pt x="425745" y="593629"/>
                              </a:lnTo>
                              <a:lnTo>
                                <a:pt x="421356" y="593080"/>
                              </a:lnTo>
                              <a:lnTo>
                                <a:pt x="417515" y="590337"/>
                              </a:lnTo>
                              <a:lnTo>
                                <a:pt x="420807" y="584850"/>
                              </a:lnTo>
                              <a:lnTo>
                                <a:pt x="424648" y="582107"/>
                              </a:lnTo>
                              <a:lnTo>
                                <a:pt x="424648" y="571134"/>
                              </a:lnTo>
                              <a:lnTo>
                                <a:pt x="431231" y="568940"/>
                              </a:lnTo>
                              <a:lnTo>
                                <a:pt x="447142" y="570586"/>
                              </a:lnTo>
                              <a:lnTo>
                                <a:pt x="454274" y="567294"/>
                              </a:lnTo>
                              <a:lnTo>
                                <a:pt x="459760" y="562905"/>
                              </a:lnTo>
                              <a:lnTo>
                                <a:pt x="463601" y="491582"/>
                              </a:lnTo>
                              <a:lnTo>
                                <a:pt x="465796" y="493776"/>
                              </a:lnTo>
                              <a:lnTo>
                                <a:pt x="472379" y="480060"/>
                              </a:lnTo>
                              <a:lnTo>
                                <a:pt x="477866" y="476220"/>
                              </a:lnTo>
                              <a:lnTo>
                                <a:pt x="486095" y="476768"/>
                              </a:lnTo>
                              <a:lnTo>
                                <a:pt x="488838" y="473477"/>
                              </a:lnTo>
                              <a:lnTo>
                                <a:pt x="495422" y="445496"/>
                              </a:lnTo>
                              <a:lnTo>
                                <a:pt x="526146" y="405445"/>
                              </a:lnTo>
                              <a:lnTo>
                                <a:pt x="531632" y="403250"/>
                              </a:lnTo>
                              <a:lnTo>
                                <a:pt x="536570" y="398313"/>
                              </a:lnTo>
                              <a:lnTo>
                                <a:pt x="548640" y="347838"/>
                              </a:lnTo>
                              <a:lnTo>
                                <a:pt x="546994" y="323698"/>
                              </a:lnTo>
                              <a:lnTo>
                                <a:pt x="568391" y="238658"/>
                              </a:lnTo>
                              <a:lnTo>
                                <a:pt x="577169" y="237561"/>
                              </a:lnTo>
                              <a:lnTo>
                                <a:pt x="583204" y="233721"/>
                              </a:lnTo>
                              <a:lnTo>
                                <a:pt x="587045" y="228783"/>
                              </a:lnTo>
                              <a:lnTo>
                                <a:pt x="615574" y="216713"/>
                              </a:lnTo>
                              <a:lnTo>
                                <a:pt x="621609" y="199705"/>
                              </a:lnTo>
                              <a:lnTo>
                                <a:pt x="619415" y="193121"/>
                              </a:lnTo>
                              <a:lnTo>
                                <a:pt x="616123" y="193121"/>
                              </a:lnTo>
                              <a:lnTo>
                                <a:pt x="613928" y="191476"/>
                              </a:lnTo>
                              <a:lnTo>
                                <a:pt x="610636" y="192573"/>
                              </a:lnTo>
                              <a:lnTo>
                                <a:pt x="606796" y="184343"/>
                              </a:lnTo>
                              <a:lnTo>
                                <a:pt x="602956" y="180503"/>
                              </a:lnTo>
                              <a:lnTo>
                                <a:pt x="583753" y="172273"/>
                              </a:lnTo>
                              <a:lnTo>
                                <a:pt x="580461" y="166787"/>
                              </a:lnTo>
                              <a:lnTo>
                                <a:pt x="572780" y="79553"/>
                              </a:lnTo>
                              <a:lnTo>
                                <a:pt x="574975" y="80102"/>
                              </a:lnTo>
                              <a:lnTo>
                                <a:pt x="573329" y="75713"/>
                              </a:lnTo>
                              <a:lnTo>
                                <a:pt x="563453" y="63642"/>
                              </a:lnTo>
                              <a:lnTo>
                                <a:pt x="560710" y="44440"/>
                              </a:lnTo>
                              <a:lnTo>
                                <a:pt x="553029" y="32918"/>
                              </a:lnTo>
                              <a:lnTo>
                                <a:pt x="546994" y="29627"/>
                              </a:lnTo>
                              <a:lnTo>
                                <a:pt x="539313" y="20849"/>
                              </a:lnTo>
                              <a:lnTo>
                                <a:pt x="521757" y="12619"/>
                              </a:lnTo>
                              <a:lnTo>
                                <a:pt x="512978" y="0"/>
                              </a:lnTo>
                              <a:lnTo>
                                <a:pt x="498165" y="13167"/>
                              </a:lnTo>
                              <a:lnTo>
                                <a:pt x="488838" y="9876"/>
                              </a:lnTo>
                              <a:lnTo>
                                <a:pt x="480060" y="30724"/>
                              </a:lnTo>
                              <a:lnTo>
                                <a:pt x="459760" y="35662"/>
                              </a:lnTo>
                              <a:lnTo>
                                <a:pt x="454823" y="52670"/>
                              </a:lnTo>
                              <a:lnTo>
                                <a:pt x="436717" y="53767"/>
                              </a:lnTo>
                              <a:lnTo>
                                <a:pt x="424099" y="44440"/>
                              </a:lnTo>
                              <a:lnTo>
                                <a:pt x="357713" y="44440"/>
                              </a:lnTo>
                              <a:lnTo>
                                <a:pt x="361005" y="36759"/>
                              </a:lnTo>
                              <a:lnTo>
                                <a:pt x="359359" y="36759"/>
                              </a:lnTo>
                              <a:lnTo>
                                <a:pt x="358262" y="36210"/>
                              </a:lnTo>
                              <a:lnTo>
                                <a:pt x="356068" y="35662"/>
                              </a:lnTo>
                              <a:lnTo>
                                <a:pt x="350581" y="44440"/>
                              </a:lnTo>
                              <a:lnTo>
                                <a:pt x="116860" y="43891"/>
                              </a:lnTo>
                              <a:lnTo>
                                <a:pt x="116860" y="43891"/>
                              </a:lnTo>
                              <a:lnTo>
                                <a:pt x="116860" y="120701"/>
                              </a:lnTo>
                              <a:lnTo>
                                <a:pt x="80650" y="120701"/>
                              </a:lnTo>
                              <a:lnTo>
                                <a:pt x="80650" y="143744"/>
                              </a:lnTo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218" name="Graphic 7">
                          <a:extLst>
                            <a:ext uri="{FF2B5EF4-FFF2-40B4-BE49-F238E27FC236}">
                              <a16:creationId xmlns:a16="http://schemas.microsoft.com/office/drawing/2014/main" id="{76F36973-3CCE-0902-1AFB-2C05478C481D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5240791" y="3763241"/>
                          <a:ext cx="467219" cy="362631"/>
                        </a:xfrm>
                        <a:custGeom>
                          <a:avLst/>
                          <a:gdLst>
                            <a:gd name="connsiteX0" fmla="*/ 153071 w 598017"/>
                            <a:gd name="connsiteY0" fmla="*/ 185441 h 464149"/>
                            <a:gd name="connsiteX1" fmla="*/ 153071 w 598017"/>
                            <a:gd name="connsiteY1" fmla="*/ 297363 h 464149"/>
                            <a:gd name="connsiteX2" fmla="*/ 149779 w 598017"/>
                            <a:gd name="connsiteY2" fmla="*/ 298460 h 464149"/>
                            <a:gd name="connsiteX3" fmla="*/ 143195 w 598017"/>
                            <a:gd name="connsiteY3" fmla="*/ 302301 h 464149"/>
                            <a:gd name="connsiteX4" fmla="*/ 141001 w 598017"/>
                            <a:gd name="connsiteY4" fmla="*/ 306141 h 464149"/>
                            <a:gd name="connsiteX5" fmla="*/ 139903 w 598017"/>
                            <a:gd name="connsiteY5" fmla="*/ 311628 h 464149"/>
                            <a:gd name="connsiteX6" fmla="*/ 131125 w 598017"/>
                            <a:gd name="connsiteY6" fmla="*/ 316017 h 464149"/>
                            <a:gd name="connsiteX7" fmla="*/ 127285 w 598017"/>
                            <a:gd name="connsiteY7" fmla="*/ 320406 h 464149"/>
                            <a:gd name="connsiteX8" fmla="*/ 127285 w 598017"/>
                            <a:gd name="connsiteY8" fmla="*/ 324246 h 464149"/>
                            <a:gd name="connsiteX9" fmla="*/ 109728 w 598017"/>
                            <a:gd name="connsiteY9" fmla="*/ 322601 h 464149"/>
                            <a:gd name="connsiteX10" fmla="*/ 109728 w 598017"/>
                            <a:gd name="connsiteY10" fmla="*/ 324795 h 464149"/>
                            <a:gd name="connsiteX11" fmla="*/ 106436 w 598017"/>
                            <a:gd name="connsiteY11" fmla="*/ 323698 h 464149"/>
                            <a:gd name="connsiteX12" fmla="*/ 46086 w 598017"/>
                            <a:gd name="connsiteY12" fmla="*/ 324795 h 464149"/>
                            <a:gd name="connsiteX13" fmla="*/ 29078 w 598017"/>
                            <a:gd name="connsiteY13" fmla="*/ 338511 h 464149"/>
                            <a:gd name="connsiteX14" fmla="*/ 3841 w 598017"/>
                            <a:gd name="connsiteY14" fmla="*/ 338511 h 464149"/>
                            <a:gd name="connsiteX15" fmla="*/ 2743 w 598017"/>
                            <a:gd name="connsiteY15" fmla="*/ 341254 h 464149"/>
                            <a:gd name="connsiteX16" fmla="*/ 2195 w 598017"/>
                            <a:gd name="connsiteY16" fmla="*/ 349484 h 464149"/>
                            <a:gd name="connsiteX17" fmla="*/ 0 w 598017"/>
                            <a:gd name="connsiteY17" fmla="*/ 356068 h 464149"/>
                            <a:gd name="connsiteX18" fmla="*/ 1097 w 598017"/>
                            <a:gd name="connsiteY18" fmla="*/ 358262 h 464149"/>
                            <a:gd name="connsiteX19" fmla="*/ 8230 w 598017"/>
                            <a:gd name="connsiteY19" fmla="*/ 363749 h 464149"/>
                            <a:gd name="connsiteX20" fmla="*/ 8230 w 598017"/>
                            <a:gd name="connsiteY20" fmla="*/ 365394 h 464149"/>
                            <a:gd name="connsiteX21" fmla="*/ 8230 w 598017"/>
                            <a:gd name="connsiteY21" fmla="*/ 371429 h 464149"/>
                            <a:gd name="connsiteX22" fmla="*/ 9876 w 598017"/>
                            <a:gd name="connsiteY22" fmla="*/ 376367 h 464149"/>
                            <a:gd name="connsiteX23" fmla="*/ 48829 w 598017"/>
                            <a:gd name="connsiteY23" fmla="*/ 425196 h 464149"/>
                            <a:gd name="connsiteX24" fmla="*/ 60350 w 598017"/>
                            <a:gd name="connsiteY24" fmla="*/ 430134 h 464149"/>
                            <a:gd name="connsiteX25" fmla="*/ 63642 w 598017"/>
                            <a:gd name="connsiteY25" fmla="*/ 430134 h 464149"/>
                            <a:gd name="connsiteX26" fmla="*/ 66385 w 598017"/>
                            <a:gd name="connsiteY26" fmla="*/ 429037 h 464149"/>
                            <a:gd name="connsiteX27" fmla="*/ 70226 w 598017"/>
                            <a:gd name="connsiteY27" fmla="*/ 425745 h 464149"/>
                            <a:gd name="connsiteX28" fmla="*/ 72969 w 598017"/>
                            <a:gd name="connsiteY28" fmla="*/ 425196 h 464149"/>
                            <a:gd name="connsiteX29" fmla="*/ 76810 w 598017"/>
                            <a:gd name="connsiteY29" fmla="*/ 427391 h 464149"/>
                            <a:gd name="connsiteX30" fmla="*/ 81747 w 598017"/>
                            <a:gd name="connsiteY30" fmla="*/ 436718 h 464149"/>
                            <a:gd name="connsiteX31" fmla="*/ 81199 w 598017"/>
                            <a:gd name="connsiteY31" fmla="*/ 437815 h 464149"/>
                            <a:gd name="connsiteX32" fmla="*/ 77907 w 598017"/>
                            <a:gd name="connsiteY32" fmla="*/ 437266 h 464149"/>
                            <a:gd name="connsiteX33" fmla="*/ 75712 w 598017"/>
                            <a:gd name="connsiteY33" fmla="*/ 438364 h 464149"/>
                            <a:gd name="connsiteX34" fmla="*/ 74615 w 598017"/>
                            <a:gd name="connsiteY34" fmla="*/ 440558 h 464149"/>
                            <a:gd name="connsiteX35" fmla="*/ 75712 w 598017"/>
                            <a:gd name="connsiteY35" fmla="*/ 443301 h 464149"/>
                            <a:gd name="connsiteX36" fmla="*/ 86685 w 598017"/>
                            <a:gd name="connsiteY36" fmla="*/ 455371 h 464149"/>
                            <a:gd name="connsiteX37" fmla="*/ 91623 w 598017"/>
                            <a:gd name="connsiteY37" fmla="*/ 452628 h 464149"/>
                            <a:gd name="connsiteX38" fmla="*/ 87234 w 598017"/>
                            <a:gd name="connsiteY38" fmla="*/ 446593 h 464149"/>
                            <a:gd name="connsiteX39" fmla="*/ 86685 w 598017"/>
                            <a:gd name="connsiteY39" fmla="*/ 443301 h 464149"/>
                            <a:gd name="connsiteX40" fmla="*/ 98207 w 598017"/>
                            <a:gd name="connsiteY40" fmla="*/ 441107 h 464149"/>
                            <a:gd name="connsiteX41" fmla="*/ 103693 w 598017"/>
                            <a:gd name="connsiteY41" fmla="*/ 438364 h 464149"/>
                            <a:gd name="connsiteX42" fmla="*/ 132222 w 598017"/>
                            <a:gd name="connsiteY42" fmla="*/ 464150 h 464149"/>
                            <a:gd name="connsiteX43" fmla="*/ 132222 w 598017"/>
                            <a:gd name="connsiteY43" fmla="*/ 435620 h 464149"/>
                            <a:gd name="connsiteX44" fmla="*/ 133868 w 598017"/>
                            <a:gd name="connsiteY44" fmla="*/ 432329 h 464149"/>
                            <a:gd name="connsiteX45" fmla="*/ 136611 w 598017"/>
                            <a:gd name="connsiteY45" fmla="*/ 429037 h 464149"/>
                            <a:gd name="connsiteX46" fmla="*/ 141549 w 598017"/>
                            <a:gd name="connsiteY46" fmla="*/ 426842 h 464149"/>
                            <a:gd name="connsiteX47" fmla="*/ 145390 w 598017"/>
                            <a:gd name="connsiteY47" fmla="*/ 423002 h 464149"/>
                            <a:gd name="connsiteX48" fmla="*/ 153071 w 598017"/>
                            <a:gd name="connsiteY48" fmla="*/ 398313 h 464149"/>
                            <a:gd name="connsiteX49" fmla="*/ 164043 w 598017"/>
                            <a:gd name="connsiteY49" fmla="*/ 389534 h 464149"/>
                            <a:gd name="connsiteX50" fmla="*/ 209581 w 598017"/>
                            <a:gd name="connsiteY50" fmla="*/ 384048 h 464149"/>
                            <a:gd name="connsiteX51" fmla="*/ 235367 w 598017"/>
                            <a:gd name="connsiteY51" fmla="*/ 397216 h 464149"/>
                            <a:gd name="connsiteX52" fmla="*/ 255118 w 598017"/>
                            <a:gd name="connsiteY52" fmla="*/ 415321 h 464149"/>
                            <a:gd name="connsiteX53" fmla="*/ 258409 w 598017"/>
                            <a:gd name="connsiteY53" fmla="*/ 416418 h 464149"/>
                            <a:gd name="connsiteX54" fmla="*/ 264445 w 598017"/>
                            <a:gd name="connsiteY54" fmla="*/ 416418 h 464149"/>
                            <a:gd name="connsiteX55" fmla="*/ 268834 w 598017"/>
                            <a:gd name="connsiteY55" fmla="*/ 410383 h 464149"/>
                            <a:gd name="connsiteX56" fmla="*/ 286390 w 598017"/>
                            <a:gd name="connsiteY56" fmla="*/ 402153 h 464149"/>
                            <a:gd name="connsiteX57" fmla="*/ 295168 w 598017"/>
                            <a:gd name="connsiteY57" fmla="*/ 402153 h 464149"/>
                            <a:gd name="connsiteX58" fmla="*/ 322600 w 598017"/>
                            <a:gd name="connsiteY58" fmla="*/ 418613 h 464149"/>
                            <a:gd name="connsiteX59" fmla="*/ 346741 w 598017"/>
                            <a:gd name="connsiteY59" fmla="*/ 423550 h 464149"/>
                            <a:gd name="connsiteX60" fmla="*/ 355519 w 598017"/>
                            <a:gd name="connsiteY60" fmla="*/ 421904 h 464149"/>
                            <a:gd name="connsiteX61" fmla="*/ 383499 w 598017"/>
                            <a:gd name="connsiteY61" fmla="*/ 402702 h 464149"/>
                            <a:gd name="connsiteX62" fmla="*/ 433974 w 598017"/>
                            <a:gd name="connsiteY62" fmla="*/ 399959 h 464149"/>
                            <a:gd name="connsiteX63" fmla="*/ 453177 w 598017"/>
                            <a:gd name="connsiteY63" fmla="*/ 408188 h 464149"/>
                            <a:gd name="connsiteX64" fmla="*/ 460309 w 598017"/>
                            <a:gd name="connsiteY64" fmla="*/ 407640 h 464149"/>
                            <a:gd name="connsiteX65" fmla="*/ 465247 w 598017"/>
                            <a:gd name="connsiteY65" fmla="*/ 405445 h 464149"/>
                            <a:gd name="connsiteX66" fmla="*/ 471282 w 598017"/>
                            <a:gd name="connsiteY66" fmla="*/ 398861 h 464149"/>
                            <a:gd name="connsiteX67" fmla="*/ 471830 w 598017"/>
                            <a:gd name="connsiteY67" fmla="*/ 397764 h 464149"/>
                            <a:gd name="connsiteX68" fmla="*/ 475671 w 598017"/>
                            <a:gd name="connsiteY68" fmla="*/ 395021 h 464149"/>
                            <a:gd name="connsiteX69" fmla="*/ 480609 w 598017"/>
                            <a:gd name="connsiteY69" fmla="*/ 393924 h 464149"/>
                            <a:gd name="connsiteX70" fmla="*/ 485546 w 598017"/>
                            <a:gd name="connsiteY70" fmla="*/ 393924 h 464149"/>
                            <a:gd name="connsiteX71" fmla="*/ 489387 w 598017"/>
                            <a:gd name="connsiteY71" fmla="*/ 385694 h 464149"/>
                            <a:gd name="connsiteX72" fmla="*/ 490484 w 598017"/>
                            <a:gd name="connsiteY72" fmla="*/ 385694 h 464149"/>
                            <a:gd name="connsiteX73" fmla="*/ 491582 w 598017"/>
                            <a:gd name="connsiteY73" fmla="*/ 383500 h 464149"/>
                            <a:gd name="connsiteX74" fmla="*/ 488290 w 598017"/>
                            <a:gd name="connsiteY74" fmla="*/ 380756 h 464149"/>
                            <a:gd name="connsiteX75" fmla="*/ 486095 w 598017"/>
                            <a:gd name="connsiteY75" fmla="*/ 376916 h 464149"/>
                            <a:gd name="connsiteX76" fmla="*/ 486095 w 598017"/>
                            <a:gd name="connsiteY76" fmla="*/ 373075 h 464149"/>
                            <a:gd name="connsiteX77" fmla="*/ 488838 w 598017"/>
                            <a:gd name="connsiteY77" fmla="*/ 368138 h 464149"/>
                            <a:gd name="connsiteX78" fmla="*/ 493776 w 598017"/>
                            <a:gd name="connsiteY78" fmla="*/ 364846 h 464149"/>
                            <a:gd name="connsiteX79" fmla="*/ 496519 w 598017"/>
                            <a:gd name="connsiteY79" fmla="*/ 364297 h 464149"/>
                            <a:gd name="connsiteX80" fmla="*/ 499811 w 598017"/>
                            <a:gd name="connsiteY80" fmla="*/ 362651 h 464149"/>
                            <a:gd name="connsiteX81" fmla="*/ 498714 w 598017"/>
                            <a:gd name="connsiteY81" fmla="*/ 354970 h 464149"/>
                            <a:gd name="connsiteX82" fmla="*/ 501457 w 598017"/>
                            <a:gd name="connsiteY82" fmla="*/ 351678 h 464149"/>
                            <a:gd name="connsiteX83" fmla="*/ 506943 w 598017"/>
                            <a:gd name="connsiteY83" fmla="*/ 351130 h 464149"/>
                            <a:gd name="connsiteX84" fmla="*/ 506395 w 598017"/>
                            <a:gd name="connsiteY84" fmla="*/ 343997 h 464149"/>
                            <a:gd name="connsiteX85" fmla="*/ 510784 w 598017"/>
                            <a:gd name="connsiteY85" fmla="*/ 342352 h 464149"/>
                            <a:gd name="connsiteX86" fmla="*/ 510784 w 598017"/>
                            <a:gd name="connsiteY86" fmla="*/ 335219 h 464149"/>
                            <a:gd name="connsiteX87" fmla="*/ 573878 w 598017"/>
                            <a:gd name="connsiteY87" fmla="*/ 263896 h 464149"/>
                            <a:gd name="connsiteX88" fmla="*/ 588142 w 598017"/>
                            <a:gd name="connsiteY88" fmla="*/ 141549 h 464149"/>
                            <a:gd name="connsiteX89" fmla="*/ 598018 w 598017"/>
                            <a:gd name="connsiteY89" fmla="*/ 125090 h 464149"/>
                            <a:gd name="connsiteX90" fmla="*/ 577169 w 598017"/>
                            <a:gd name="connsiteY90" fmla="*/ 113569 h 464149"/>
                            <a:gd name="connsiteX91" fmla="*/ 570586 w 598017"/>
                            <a:gd name="connsiteY91" fmla="*/ 104242 h 464149"/>
                            <a:gd name="connsiteX92" fmla="*/ 565648 w 598017"/>
                            <a:gd name="connsiteY92" fmla="*/ 92172 h 464149"/>
                            <a:gd name="connsiteX93" fmla="*/ 565648 w 598017"/>
                            <a:gd name="connsiteY93" fmla="*/ 89977 h 464149"/>
                            <a:gd name="connsiteX94" fmla="*/ 560710 w 598017"/>
                            <a:gd name="connsiteY94" fmla="*/ 79553 h 464149"/>
                            <a:gd name="connsiteX95" fmla="*/ 560710 w 598017"/>
                            <a:gd name="connsiteY95" fmla="*/ 20849 h 464149"/>
                            <a:gd name="connsiteX96" fmla="*/ 549189 w 598017"/>
                            <a:gd name="connsiteY96" fmla="*/ 24140 h 464149"/>
                            <a:gd name="connsiteX97" fmla="*/ 542056 w 598017"/>
                            <a:gd name="connsiteY97" fmla="*/ 14813 h 464149"/>
                            <a:gd name="connsiteX98" fmla="*/ 532181 w 598017"/>
                            <a:gd name="connsiteY98" fmla="*/ 9876 h 464149"/>
                            <a:gd name="connsiteX99" fmla="*/ 529986 w 598017"/>
                            <a:gd name="connsiteY99" fmla="*/ 6584 h 464149"/>
                            <a:gd name="connsiteX100" fmla="*/ 526146 w 598017"/>
                            <a:gd name="connsiteY100" fmla="*/ 4389 h 464149"/>
                            <a:gd name="connsiteX101" fmla="*/ 440009 w 598017"/>
                            <a:gd name="connsiteY101" fmla="*/ 0 h 464149"/>
                            <a:gd name="connsiteX102" fmla="*/ 210129 w 598017"/>
                            <a:gd name="connsiteY102" fmla="*/ 161300 h 464149"/>
                            <a:gd name="connsiteX103" fmla="*/ 151973 w 598017"/>
                            <a:gd name="connsiteY103" fmla="*/ 175565 h 464149"/>
                            <a:gd name="connsiteX104" fmla="*/ 151973 w 598017"/>
                            <a:gd name="connsiteY104" fmla="*/ 177211 h 464149"/>
                            <a:gd name="connsiteX105" fmla="*/ 153071 w 598017"/>
                            <a:gd name="connsiteY105" fmla="*/ 177211 h 464149"/>
                            <a:gd name="connsiteX106" fmla="*/ 153071 w 598017"/>
                            <a:gd name="connsiteY106" fmla="*/ 185441 h 464149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  <a:cxn ang="0">
                              <a:pos x="connsiteX11" y="connsiteY11"/>
                            </a:cxn>
                            <a:cxn ang="0">
                              <a:pos x="connsiteX12" y="connsiteY12"/>
                            </a:cxn>
                            <a:cxn ang="0">
                              <a:pos x="connsiteX13" y="connsiteY13"/>
                            </a:cxn>
                            <a:cxn ang="0">
                              <a:pos x="connsiteX14" y="connsiteY14"/>
                            </a:cxn>
                            <a:cxn ang="0">
                              <a:pos x="connsiteX15" y="connsiteY15"/>
                            </a:cxn>
                            <a:cxn ang="0">
                              <a:pos x="connsiteX16" y="connsiteY16"/>
                            </a:cxn>
                            <a:cxn ang="0">
                              <a:pos x="connsiteX17" y="connsiteY17"/>
                            </a:cxn>
                            <a:cxn ang="0">
                              <a:pos x="connsiteX18" y="connsiteY18"/>
                            </a:cxn>
                            <a:cxn ang="0">
                              <a:pos x="connsiteX19" y="connsiteY19"/>
                            </a:cxn>
                            <a:cxn ang="0">
                              <a:pos x="connsiteX20" y="connsiteY20"/>
                            </a:cxn>
                            <a:cxn ang="0">
                              <a:pos x="connsiteX21" y="connsiteY21"/>
                            </a:cxn>
                            <a:cxn ang="0">
                              <a:pos x="connsiteX22" y="connsiteY22"/>
                            </a:cxn>
                            <a:cxn ang="0">
                              <a:pos x="connsiteX23" y="connsiteY23"/>
                            </a:cxn>
                            <a:cxn ang="0">
                              <a:pos x="connsiteX24" y="connsiteY24"/>
                            </a:cxn>
                            <a:cxn ang="0">
                              <a:pos x="connsiteX25" y="connsiteY25"/>
                            </a:cxn>
                            <a:cxn ang="0">
                              <a:pos x="connsiteX26" y="connsiteY26"/>
                            </a:cxn>
                            <a:cxn ang="0">
                              <a:pos x="connsiteX27" y="connsiteY27"/>
                            </a:cxn>
                            <a:cxn ang="0">
                              <a:pos x="connsiteX28" y="connsiteY28"/>
                            </a:cxn>
                            <a:cxn ang="0">
                              <a:pos x="connsiteX29" y="connsiteY29"/>
                            </a:cxn>
                            <a:cxn ang="0">
                              <a:pos x="connsiteX30" y="connsiteY30"/>
                            </a:cxn>
                            <a:cxn ang="0">
                              <a:pos x="connsiteX31" y="connsiteY31"/>
                            </a:cxn>
                            <a:cxn ang="0">
                              <a:pos x="connsiteX32" y="connsiteY32"/>
                            </a:cxn>
                            <a:cxn ang="0">
                              <a:pos x="connsiteX33" y="connsiteY33"/>
                            </a:cxn>
                            <a:cxn ang="0">
                              <a:pos x="connsiteX34" y="connsiteY34"/>
                            </a:cxn>
                            <a:cxn ang="0">
                              <a:pos x="connsiteX35" y="connsiteY35"/>
                            </a:cxn>
                            <a:cxn ang="0">
                              <a:pos x="connsiteX36" y="connsiteY36"/>
                            </a:cxn>
                            <a:cxn ang="0">
                              <a:pos x="connsiteX37" y="connsiteY37"/>
                            </a:cxn>
                            <a:cxn ang="0">
                              <a:pos x="connsiteX38" y="connsiteY38"/>
                            </a:cxn>
                            <a:cxn ang="0">
                              <a:pos x="connsiteX39" y="connsiteY39"/>
                            </a:cxn>
                            <a:cxn ang="0">
                              <a:pos x="connsiteX40" y="connsiteY40"/>
                            </a:cxn>
                            <a:cxn ang="0">
                              <a:pos x="connsiteX41" y="connsiteY41"/>
                            </a:cxn>
                            <a:cxn ang="0">
                              <a:pos x="connsiteX42" y="connsiteY42"/>
                            </a:cxn>
                            <a:cxn ang="0">
                              <a:pos x="connsiteX43" y="connsiteY43"/>
                            </a:cxn>
                            <a:cxn ang="0">
                              <a:pos x="connsiteX44" y="connsiteY44"/>
                            </a:cxn>
                            <a:cxn ang="0">
                              <a:pos x="connsiteX45" y="connsiteY45"/>
                            </a:cxn>
                            <a:cxn ang="0">
                              <a:pos x="connsiteX46" y="connsiteY46"/>
                            </a:cxn>
                            <a:cxn ang="0">
                              <a:pos x="connsiteX47" y="connsiteY47"/>
                            </a:cxn>
                            <a:cxn ang="0">
                              <a:pos x="connsiteX48" y="connsiteY48"/>
                            </a:cxn>
                            <a:cxn ang="0">
                              <a:pos x="connsiteX49" y="connsiteY49"/>
                            </a:cxn>
                            <a:cxn ang="0">
                              <a:pos x="connsiteX50" y="connsiteY50"/>
                            </a:cxn>
                            <a:cxn ang="0">
                              <a:pos x="connsiteX51" y="connsiteY51"/>
                            </a:cxn>
                            <a:cxn ang="0">
                              <a:pos x="connsiteX52" y="connsiteY52"/>
                            </a:cxn>
                            <a:cxn ang="0">
                              <a:pos x="connsiteX53" y="connsiteY53"/>
                            </a:cxn>
                            <a:cxn ang="0">
                              <a:pos x="connsiteX54" y="connsiteY54"/>
                            </a:cxn>
                            <a:cxn ang="0">
                              <a:pos x="connsiteX55" y="connsiteY55"/>
                            </a:cxn>
                            <a:cxn ang="0">
                              <a:pos x="connsiteX56" y="connsiteY56"/>
                            </a:cxn>
                            <a:cxn ang="0">
                              <a:pos x="connsiteX57" y="connsiteY57"/>
                            </a:cxn>
                            <a:cxn ang="0">
                              <a:pos x="connsiteX58" y="connsiteY58"/>
                            </a:cxn>
                            <a:cxn ang="0">
                              <a:pos x="connsiteX59" y="connsiteY59"/>
                            </a:cxn>
                            <a:cxn ang="0">
                              <a:pos x="connsiteX60" y="connsiteY60"/>
                            </a:cxn>
                            <a:cxn ang="0">
                              <a:pos x="connsiteX61" y="connsiteY61"/>
                            </a:cxn>
                            <a:cxn ang="0">
                              <a:pos x="connsiteX62" y="connsiteY62"/>
                            </a:cxn>
                            <a:cxn ang="0">
                              <a:pos x="connsiteX63" y="connsiteY63"/>
                            </a:cxn>
                            <a:cxn ang="0">
                              <a:pos x="connsiteX64" y="connsiteY64"/>
                            </a:cxn>
                            <a:cxn ang="0">
                              <a:pos x="connsiteX65" y="connsiteY65"/>
                            </a:cxn>
                            <a:cxn ang="0">
                              <a:pos x="connsiteX66" y="connsiteY66"/>
                            </a:cxn>
                            <a:cxn ang="0">
                              <a:pos x="connsiteX67" y="connsiteY67"/>
                            </a:cxn>
                            <a:cxn ang="0">
                              <a:pos x="connsiteX68" y="connsiteY68"/>
                            </a:cxn>
                            <a:cxn ang="0">
                              <a:pos x="connsiteX69" y="connsiteY69"/>
                            </a:cxn>
                            <a:cxn ang="0">
                              <a:pos x="connsiteX70" y="connsiteY70"/>
                            </a:cxn>
                            <a:cxn ang="0">
                              <a:pos x="connsiteX71" y="connsiteY71"/>
                            </a:cxn>
                            <a:cxn ang="0">
                              <a:pos x="connsiteX72" y="connsiteY72"/>
                            </a:cxn>
                            <a:cxn ang="0">
                              <a:pos x="connsiteX73" y="connsiteY73"/>
                            </a:cxn>
                            <a:cxn ang="0">
                              <a:pos x="connsiteX74" y="connsiteY74"/>
                            </a:cxn>
                            <a:cxn ang="0">
                              <a:pos x="connsiteX75" y="connsiteY75"/>
                            </a:cxn>
                            <a:cxn ang="0">
                              <a:pos x="connsiteX76" y="connsiteY76"/>
                            </a:cxn>
                            <a:cxn ang="0">
                              <a:pos x="connsiteX77" y="connsiteY77"/>
                            </a:cxn>
                            <a:cxn ang="0">
                              <a:pos x="connsiteX78" y="connsiteY78"/>
                            </a:cxn>
                            <a:cxn ang="0">
                              <a:pos x="connsiteX79" y="connsiteY79"/>
                            </a:cxn>
                            <a:cxn ang="0">
                              <a:pos x="connsiteX80" y="connsiteY80"/>
                            </a:cxn>
                            <a:cxn ang="0">
                              <a:pos x="connsiteX81" y="connsiteY81"/>
                            </a:cxn>
                            <a:cxn ang="0">
                              <a:pos x="connsiteX82" y="connsiteY82"/>
                            </a:cxn>
                            <a:cxn ang="0">
                              <a:pos x="connsiteX83" y="connsiteY83"/>
                            </a:cxn>
                            <a:cxn ang="0">
                              <a:pos x="connsiteX84" y="connsiteY84"/>
                            </a:cxn>
                            <a:cxn ang="0">
                              <a:pos x="connsiteX85" y="connsiteY85"/>
                            </a:cxn>
                            <a:cxn ang="0">
                              <a:pos x="connsiteX86" y="connsiteY86"/>
                            </a:cxn>
                            <a:cxn ang="0">
                              <a:pos x="connsiteX87" y="connsiteY87"/>
                            </a:cxn>
                            <a:cxn ang="0">
                              <a:pos x="connsiteX88" y="connsiteY88"/>
                            </a:cxn>
                            <a:cxn ang="0">
                              <a:pos x="connsiteX89" y="connsiteY89"/>
                            </a:cxn>
                            <a:cxn ang="0">
                              <a:pos x="connsiteX90" y="connsiteY90"/>
                            </a:cxn>
                            <a:cxn ang="0">
                              <a:pos x="connsiteX91" y="connsiteY91"/>
                            </a:cxn>
                            <a:cxn ang="0">
                              <a:pos x="connsiteX92" y="connsiteY92"/>
                            </a:cxn>
                            <a:cxn ang="0">
                              <a:pos x="connsiteX93" y="connsiteY93"/>
                            </a:cxn>
                            <a:cxn ang="0">
                              <a:pos x="connsiteX94" y="connsiteY94"/>
                            </a:cxn>
                            <a:cxn ang="0">
                              <a:pos x="connsiteX95" y="connsiteY95"/>
                            </a:cxn>
                            <a:cxn ang="0">
                              <a:pos x="connsiteX96" y="connsiteY96"/>
                            </a:cxn>
                            <a:cxn ang="0">
                              <a:pos x="connsiteX97" y="connsiteY97"/>
                            </a:cxn>
                            <a:cxn ang="0">
                              <a:pos x="connsiteX98" y="connsiteY98"/>
                            </a:cxn>
                            <a:cxn ang="0">
                              <a:pos x="connsiteX99" y="connsiteY99"/>
                            </a:cxn>
                            <a:cxn ang="0">
                              <a:pos x="connsiteX100" y="connsiteY100"/>
                            </a:cxn>
                            <a:cxn ang="0">
                              <a:pos x="connsiteX101" y="connsiteY101"/>
                            </a:cxn>
                            <a:cxn ang="0">
                              <a:pos x="connsiteX102" y="connsiteY102"/>
                            </a:cxn>
                            <a:cxn ang="0">
                              <a:pos x="connsiteX103" y="connsiteY103"/>
                            </a:cxn>
                            <a:cxn ang="0">
                              <a:pos x="connsiteX104" y="connsiteY104"/>
                            </a:cxn>
                            <a:cxn ang="0">
                              <a:pos x="connsiteX105" y="connsiteY105"/>
                            </a:cxn>
                            <a:cxn ang="0">
                              <a:pos x="connsiteX106" y="connsiteY106"/>
                            </a:cxn>
                          </a:cxnLst>
                          <a:rect l="l" t="t" r="r" b="b"/>
                          <a:pathLst>
                            <a:path w="598017" h="464149">
                              <a:moveTo>
                                <a:pt x="153071" y="185441"/>
                              </a:moveTo>
                              <a:lnTo>
                                <a:pt x="153071" y="297363"/>
                              </a:lnTo>
                              <a:lnTo>
                                <a:pt x="149779" y="298460"/>
                              </a:lnTo>
                              <a:lnTo>
                                <a:pt x="143195" y="302301"/>
                              </a:lnTo>
                              <a:lnTo>
                                <a:pt x="141001" y="306141"/>
                              </a:lnTo>
                              <a:lnTo>
                                <a:pt x="139903" y="311628"/>
                              </a:lnTo>
                              <a:lnTo>
                                <a:pt x="131125" y="316017"/>
                              </a:lnTo>
                              <a:lnTo>
                                <a:pt x="127285" y="320406"/>
                              </a:lnTo>
                              <a:lnTo>
                                <a:pt x="127285" y="324246"/>
                              </a:lnTo>
                              <a:lnTo>
                                <a:pt x="109728" y="322601"/>
                              </a:lnTo>
                              <a:lnTo>
                                <a:pt x="109728" y="324795"/>
                              </a:lnTo>
                              <a:lnTo>
                                <a:pt x="106436" y="323698"/>
                              </a:lnTo>
                              <a:lnTo>
                                <a:pt x="46086" y="324795"/>
                              </a:lnTo>
                              <a:lnTo>
                                <a:pt x="29078" y="338511"/>
                              </a:lnTo>
                              <a:lnTo>
                                <a:pt x="3841" y="338511"/>
                              </a:lnTo>
                              <a:lnTo>
                                <a:pt x="2743" y="341254"/>
                              </a:lnTo>
                              <a:lnTo>
                                <a:pt x="2195" y="349484"/>
                              </a:lnTo>
                              <a:lnTo>
                                <a:pt x="0" y="356068"/>
                              </a:lnTo>
                              <a:lnTo>
                                <a:pt x="1097" y="358262"/>
                              </a:lnTo>
                              <a:lnTo>
                                <a:pt x="8230" y="363749"/>
                              </a:lnTo>
                              <a:lnTo>
                                <a:pt x="8230" y="365394"/>
                              </a:lnTo>
                              <a:lnTo>
                                <a:pt x="8230" y="371429"/>
                              </a:lnTo>
                              <a:lnTo>
                                <a:pt x="9876" y="376367"/>
                              </a:lnTo>
                              <a:lnTo>
                                <a:pt x="48829" y="425196"/>
                              </a:lnTo>
                              <a:lnTo>
                                <a:pt x="60350" y="430134"/>
                              </a:lnTo>
                              <a:lnTo>
                                <a:pt x="63642" y="430134"/>
                              </a:lnTo>
                              <a:lnTo>
                                <a:pt x="66385" y="429037"/>
                              </a:lnTo>
                              <a:lnTo>
                                <a:pt x="70226" y="425745"/>
                              </a:lnTo>
                              <a:lnTo>
                                <a:pt x="72969" y="425196"/>
                              </a:lnTo>
                              <a:lnTo>
                                <a:pt x="76810" y="427391"/>
                              </a:lnTo>
                              <a:lnTo>
                                <a:pt x="81747" y="436718"/>
                              </a:lnTo>
                              <a:lnTo>
                                <a:pt x="81199" y="437815"/>
                              </a:lnTo>
                              <a:lnTo>
                                <a:pt x="77907" y="437266"/>
                              </a:lnTo>
                              <a:lnTo>
                                <a:pt x="75712" y="438364"/>
                              </a:lnTo>
                              <a:lnTo>
                                <a:pt x="74615" y="440558"/>
                              </a:lnTo>
                              <a:lnTo>
                                <a:pt x="75712" y="443301"/>
                              </a:lnTo>
                              <a:lnTo>
                                <a:pt x="86685" y="455371"/>
                              </a:lnTo>
                              <a:lnTo>
                                <a:pt x="91623" y="452628"/>
                              </a:lnTo>
                              <a:lnTo>
                                <a:pt x="87234" y="446593"/>
                              </a:lnTo>
                              <a:lnTo>
                                <a:pt x="86685" y="443301"/>
                              </a:lnTo>
                              <a:lnTo>
                                <a:pt x="98207" y="441107"/>
                              </a:lnTo>
                              <a:lnTo>
                                <a:pt x="103693" y="438364"/>
                              </a:lnTo>
                              <a:lnTo>
                                <a:pt x="132222" y="464150"/>
                              </a:lnTo>
                              <a:lnTo>
                                <a:pt x="132222" y="435620"/>
                              </a:lnTo>
                              <a:lnTo>
                                <a:pt x="133868" y="432329"/>
                              </a:lnTo>
                              <a:lnTo>
                                <a:pt x="136611" y="429037"/>
                              </a:lnTo>
                              <a:lnTo>
                                <a:pt x="141549" y="426842"/>
                              </a:lnTo>
                              <a:lnTo>
                                <a:pt x="145390" y="423002"/>
                              </a:lnTo>
                              <a:lnTo>
                                <a:pt x="153071" y="398313"/>
                              </a:lnTo>
                              <a:lnTo>
                                <a:pt x="164043" y="389534"/>
                              </a:lnTo>
                              <a:lnTo>
                                <a:pt x="209581" y="384048"/>
                              </a:lnTo>
                              <a:lnTo>
                                <a:pt x="235367" y="397216"/>
                              </a:lnTo>
                              <a:lnTo>
                                <a:pt x="255118" y="415321"/>
                              </a:lnTo>
                              <a:lnTo>
                                <a:pt x="258409" y="416418"/>
                              </a:lnTo>
                              <a:lnTo>
                                <a:pt x="264445" y="416418"/>
                              </a:lnTo>
                              <a:lnTo>
                                <a:pt x="268834" y="410383"/>
                              </a:lnTo>
                              <a:lnTo>
                                <a:pt x="286390" y="402153"/>
                              </a:lnTo>
                              <a:lnTo>
                                <a:pt x="295168" y="402153"/>
                              </a:lnTo>
                              <a:lnTo>
                                <a:pt x="322600" y="418613"/>
                              </a:lnTo>
                              <a:lnTo>
                                <a:pt x="346741" y="423550"/>
                              </a:lnTo>
                              <a:lnTo>
                                <a:pt x="355519" y="421904"/>
                              </a:lnTo>
                              <a:lnTo>
                                <a:pt x="383499" y="402702"/>
                              </a:lnTo>
                              <a:lnTo>
                                <a:pt x="433974" y="399959"/>
                              </a:lnTo>
                              <a:lnTo>
                                <a:pt x="453177" y="408188"/>
                              </a:lnTo>
                              <a:lnTo>
                                <a:pt x="460309" y="407640"/>
                              </a:lnTo>
                              <a:lnTo>
                                <a:pt x="465247" y="405445"/>
                              </a:lnTo>
                              <a:lnTo>
                                <a:pt x="471282" y="398861"/>
                              </a:lnTo>
                              <a:lnTo>
                                <a:pt x="471830" y="397764"/>
                              </a:lnTo>
                              <a:lnTo>
                                <a:pt x="475671" y="395021"/>
                              </a:lnTo>
                              <a:lnTo>
                                <a:pt x="480609" y="393924"/>
                              </a:lnTo>
                              <a:lnTo>
                                <a:pt x="485546" y="393924"/>
                              </a:lnTo>
                              <a:lnTo>
                                <a:pt x="489387" y="385694"/>
                              </a:lnTo>
                              <a:lnTo>
                                <a:pt x="490484" y="385694"/>
                              </a:lnTo>
                              <a:lnTo>
                                <a:pt x="491582" y="383500"/>
                              </a:lnTo>
                              <a:lnTo>
                                <a:pt x="488290" y="380756"/>
                              </a:lnTo>
                              <a:lnTo>
                                <a:pt x="486095" y="376916"/>
                              </a:lnTo>
                              <a:lnTo>
                                <a:pt x="486095" y="373075"/>
                              </a:lnTo>
                              <a:lnTo>
                                <a:pt x="488838" y="368138"/>
                              </a:lnTo>
                              <a:lnTo>
                                <a:pt x="493776" y="364846"/>
                              </a:lnTo>
                              <a:lnTo>
                                <a:pt x="496519" y="364297"/>
                              </a:lnTo>
                              <a:lnTo>
                                <a:pt x="499811" y="362651"/>
                              </a:lnTo>
                              <a:lnTo>
                                <a:pt x="498714" y="354970"/>
                              </a:lnTo>
                              <a:lnTo>
                                <a:pt x="501457" y="351678"/>
                              </a:lnTo>
                              <a:lnTo>
                                <a:pt x="506943" y="351130"/>
                              </a:lnTo>
                              <a:lnTo>
                                <a:pt x="506395" y="343997"/>
                              </a:lnTo>
                              <a:lnTo>
                                <a:pt x="510784" y="342352"/>
                              </a:lnTo>
                              <a:lnTo>
                                <a:pt x="510784" y="335219"/>
                              </a:lnTo>
                              <a:lnTo>
                                <a:pt x="573878" y="263896"/>
                              </a:lnTo>
                              <a:lnTo>
                                <a:pt x="588142" y="141549"/>
                              </a:lnTo>
                              <a:lnTo>
                                <a:pt x="598018" y="125090"/>
                              </a:lnTo>
                              <a:lnTo>
                                <a:pt x="577169" y="113569"/>
                              </a:lnTo>
                              <a:lnTo>
                                <a:pt x="570586" y="104242"/>
                              </a:lnTo>
                              <a:lnTo>
                                <a:pt x="565648" y="92172"/>
                              </a:lnTo>
                              <a:lnTo>
                                <a:pt x="565648" y="89977"/>
                              </a:lnTo>
                              <a:lnTo>
                                <a:pt x="560710" y="79553"/>
                              </a:lnTo>
                              <a:lnTo>
                                <a:pt x="560710" y="20849"/>
                              </a:lnTo>
                              <a:lnTo>
                                <a:pt x="549189" y="24140"/>
                              </a:lnTo>
                              <a:lnTo>
                                <a:pt x="542056" y="14813"/>
                              </a:lnTo>
                              <a:lnTo>
                                <a:pt x="532181" y="9876"/>
                              </a:lnTo>
                              <a:lnTo>
                                <a:pt x="529986" y="6584"/>
                              </a:lnTo>
                              <a:lnTo>
                                <a:pt x="526146" y="4389"/>
                              </a:lnTo>
                              <a:lnTo>
                                <a:pt x="440009" y="0"/>
                              </a:lnTo>
                              <a:lnTo>
                                <a:pt x="210129" y="161300"/>
                              </a:lnTo>
                              <a:lnTo>
                                <a:pt x="151973" y="175565"/>
                              </a:lnTo>
                              <a:lnTo>
                                <a:pt x="151973" y="177211"/>
                              </a:lnTo>
                              <a:lnTo>
                                <a:pt x="153071" y="177211"/>
                              </a:lnTo>
                              <a:lnTo>
                                <a:pt x="153071" y="185441"/>
                              </a:lnTo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219" name="Graphic 7">
                          <a:extLst>
                            <a:ext uri="{FF2B5EF4-FFF2-40B4-BE49-F238E27FC236}">
                              <a16:creationId xmlns:a16="http://schemas.microsoft.com/office/drawing/2014/main" id="{CD33A161-49E3-F736-AF28-9AEDB513C1C2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751753" y="3682656"/>
                          <a:ext cx="138451" cy="109733"/>
                        </a:xfrm>
                        <a:custGeom>
                          <a:avLst/>
                          <a:gdLst>
                            <a:gd name="connsiteX0" fmla="*/ 135514 w 177210"/>
                            <a:gd name="connsiteY0" fmla="*/ 137709 h 140452"/>
                            <a:gd name="connsiteX1" fmla="*/ 132771 w 177210"/>
                            <a:gd name="connsiteY1" fmla="*/ 140452 h 140452"/>
                            <a:gd name="connsiteX2" fmla="*/ 37307 w 177210"/>
                            <a:gd name="connsiteY2" fmla="*/ 128382 h 140452"/>
                            <a:gd name="connsiteX3" fmla="*/ 0 w 177210"/>
                            <a:gd name="connsiteY3" fmla="*/ 80102 h 140452"/>
                            <a:gd name="connsiteX4" fmla="*/ 0 w 177210"/>
                            <a:gd name="connsiteY4" fmla="*/ 74615 h 140452"/>
                            <a:gd name="connsiteX5" fmla="*/ 0 w 177210"/>
                            <a:gd name="connsiteY5" fmla="*/ 74615 h 140452"/>
                            <a:gd name="connsiteX6" fmla="*/ 2743 w 177210"/>
                            <a:gd name="connsiteY6" fmla="*/ 72969 h 140452"/>
                            <a:gd name="connsiteX7" fmla="*/ 3840 w 177210"/>
                            <a:gd name="connsiteY7" fmla="*/ 73518 h 140452"/>
                            <a:gd name="connsiteX8" fmla="*/ 4938 w 177210"/>
                            <a:gd name="connsiteY8" fmla="*/ 80650 h 140452"/>
                            <a:gd name="connsiteX9" fmla="*/ 8230 w 177210"/>
                            <a:gd name="connsiteY9" fmla="*/ 83393 h 140452"/>
                            <a:gd name="connsiteX10" fmla="*/ 27432 w 177210"/>
                            <a:gd name="connsiteY10" fmla="*/ 84491 h 140452"/>
                            <a:gd name="connsiteX11" fmla="*/ 30175 w 177210"/>
                            <a:gd name="connsiteY11" fmla="*/ 83942 h 140452"/>
                            <a:gd name="connsiteX12" fmla="*/ 33467 w 177210"/>
                            <a:gd name="connsiteY12" fmla="*/ 80102 h 140452"/>
                            <a:gd name="connsiteX13" fmla="*/ 39502 w 177210"/>
                            <a:gd name="connsiteY13" fmla="*/ 76810 h 140452"/>
                            <a:gd name="connsiteX14" fmla="*/ 54864 w 177210"/>
                            <a:gd name="connsiteY14" fmla="*/ 77907 h 140452"/>
                            <a:gd name="connsiteX15" fmla="*/ 60899 w 177210"/>
                            <a:gd name="connsiteY15" fmla="*/ 80102 h 140452"/>
                            <a:gd name="connsiteX16" fmla="*/ 65288 w 177210"/>
                            <a:gd name="connsiteY16" fmla="*/ 80102 h 140452"/>
                            <a:gd name="connsiteX17" fmla="*/ 72420 w 177210"/>
                            <a:gd name="connsiteY17" fmla="*/ 82296 h 140452"/>
                            <a:gd name="connsiteX18" fmla="*/ 88879 w 177210"/>
                            <a:gd name="connsiteY18" fmla="*/ 81199 h 140452"/>
                            <a:gd name="connsiteX19" fmla="*/ 92171 w 177210"/>
                            <a:gd name="connsiteY19" fmla="*/ 79004 h 140452"/>
                            <a:gd name="connsiteX20" fmla="*/ 96012 w 177210"/>
                            <a:gd name="connsiteY20" fmla="*/ 75164 h 140452"/>
                            <a:gd name="connsiteX21" fmla="*/ 101498 w 177210"/>
                            <a:gd name="connsiteY21" fmla="*/ 73518 h 140452"/>
                            <a:gd name="connsiteX22" fmla="*/ 103144 w 177210"/>
                            <a:gd name="connsiteY22" fmla="*/ 71872 h 140452"/>
                            <a:gd name="connsiteX23" fmla="*/ 106436 w 177210"/>
                            <a:gd name="connsiteY23" fmla="*/ 70775 h 140452"/>
                            <a:gd name="connsiteX24" fmla="*/ 107533 w 177210"/>
                            <a:gd name="connsiteY24" fmla="*/ 69129 h 140452"/>
                            <a:gd name="connsiteX25" fmla="*/ 105887 w 177210"/>
                            <a:gd name="connsiteY25" fmla="*/ 66934 h 140452"/>
                            <a:gd name="connsiteX26" fmla="*/ 105887 w 177210"/>
                            <a:gd name="connsiteY26" fmla="*/ 66386 h 140452"/>
                            <a:gd name="connsiteX27" fmla="*/ 105339 w 177210"/>
                            <a:gd name="connsiteY27" fmla="*/ 65288 h 140452"/>
                            <a:gd name="connsiteX28" fmla="*/ 111374 w 177210"/>
                            <a:gd name="connsiteY28" fmla="*/ 64739 h 140452"/>
                            <a:gd name="connsiteX29" fmla="*/ 110825 w 177210"/>
                            <a:gd name="connsiteY29" fmla="*/ 63094 h 140452"/>
                            <a:gd name="connsiteX30" fmla="*/ 113020 w 177210"/>
                            <a:gd name="connsiteY30" fmla="*/ 61996 h 140452"/>
                            <a:gd name="connsiteX31" fmla="*/ 112471 w 177210"/>
                            <a:gd name="connsiteY31" fmla="*/ 59253 h 140452"/>
                            <a:gd name="connsiteX32" fmla="*/ 114666 w 177210"/>
                            <a:gd name="connsiteY32" fmla="*/ 57059 h 140452"/>
                            <a:gd name="connsiteX33" fmla="*/ 114666 w 177210"/>
                            <a:gd name="connsiteY33" fmla="*/ 54315 h 140452"/>
                            <a:gd name="connsiteX34" fmla="*/ 117409 w 177210"/>
                            <a:gd name="connsiteY34" fmla="*/ 51572 h 140452"/>
                            <a:gd name="connsiteX35" fmla="*/ 123993 w 177210"/>
                            <a:gd name="connsiteY35" fmla="*/ 48829 h 140452"/>
                            <a:gd name="connsiteX36" fmla="*/ 126187 w 177210"/>
                            <a:gd name="connsiteY36" fmla="*/ 44440 h 140452"/>
                            <a:gd name="connsiteX37" fmla="*/ 128382 w 177210"/>
                            <a:gd name="connsiteY37" fmla="*/ 42794 h 140452"/>
                            <a:gd name="connsiteX38" fmla="*/ 130027 w 177210"/>
                            <a:gd name="connsiteY38" fmla="*/ 40051 h 140452"/>
                            <a:gd name="connsiteX39" fmla="*/ 136063 w 177210"/>
                            <a:gd name="connsiteY39" fmla="*/ 36210 h 140452"/>
                            <a:gd name="connsiteX40" fmla="*/ 138806 w 177210"/>
                            <a:gd name="connsiteY40" fmla="*/ 32370 h 140452"/>
                            <a:gd name="connsiteX41" fmla="*/ 141549 w 177210"/>
                            <a:gd name="connsiteY41" fmla="*/ 30724 h 140452"/>
                            <a:gd name="connsiteX42" fmla="*/ 142646 w 177210"/>
                            <a:gd name="connsiteY42" fmla="*/ 29078 h 140452"/>
                            <a:gd name="connsiteX43" fmla="*/ 143743 w 177210"/>
                            <a:gd name="connsiteY43" fmla="*/ 28529 h 140452"/>
                            <a:gd name="connsiteX44" fmla="*/ 143743 w 177210"/>
                            <a:gd name="connsiteY44" fmla="*/ 26883 h 140452"/>
                            <a:gd name="connsiteX45" fmla="*/ 147584 w 177210"/>
                            <a:gd name="connsiteY45" fmla="*/ 23043 h 140452"/>
                            <a:gd name="connsiteX46" fmla="*/ 147584 w 177210"/>
                            <a:gd name="connsiteY46" fmla="*/ 21397 h 140452"/>
                            <a:gd name="connsiteX47" fmla="*/ 149230 w 177210"/>
                            <a:gd name="connsiteY47" fmla="*/ 20300 h 140452"/>
                            <a:gd name="connsiteX48" fmla="*/ 150327 w 177210"/>
                            <a:gd name="connsiteY48" fmla="*/ 18654 h 140452"/>
                            <a:gd name="connsiteX49" fmla="*/ 156911 w 177210"/>
                            <a:gd name="connsiteY49" fmla="*/ 14265 h 140452"/>
                            <a:gd name="connsiteX50" fmla="*/ 164043 w 177210"/>
                            <a:gd name="connsiteY50" fmla="*/ 6584 h 140452"/>
                            <a:gd name="connsiteX51" fmla="*/ 166786 w 177210"/>
                            <a:gd name="connsiteY51" fmla="*/ 0 h 140452"/>
                            <a:gd name="connsiteX52" fmla="*/ 168432 w 177210"/>
                            <a:gd name="connsiteY52" fmla="*/ 2195 h 140452"/>
                            <a:gd name="connsiteX53" fmla="*/ 168981 w 177210"/>
                            <a:gd name="connsiteY53" fmla="*/ 6584 h 140452"/>
                            <a:gd name="connsiteX54" fmla="*/ 168432 w 177210"/>
                            <a:gd name="connsiteY54" fmla="*/ 8230 h 140452"/>
                            <a:gd name="connsiteX55" fmla="*/ 169530 w 177210"/>
                            <a:gd name="connsiteY55" fmla="*/ 10424 h 140452"/>
                            <a:gd name="connsiteX56" fmla="*/ 168432 w 177210"/>
                            <a:gd name="connsiteY56" fmla="*/ 14265 h 140452"/>
                            <a:gd name="connsiteX57" fmla="*/ 169530 w 177210"/>
                            <a:gd name="connsiteY57" fmla="*/ 15362 h 140452"/>
                            <a:gd name="connsiteX58" fmla="*/ 175016 w 177210"/>
                            <a:gd name="connsiteY58" fmla="*/ 16459 h 140452"/>
                            <a:gd name="connsiteX59" fmla="*/ 176662 w 177210"/>
                            <a:gd name="connsiteY59" fmla="*/ 20848 h 140452"/>
                            <a:gd name="connsiteX60" fmla="*/ 177211 w 177210"/>
                            <a:gd name="connsiteY60" fmla="*/ 48829 h 140452"/>
                            <a:gd name="connsiteX61" fmla="*/ 154716 w 177210"/>
                            <a:gd name="connsiteY61" fmla="*/ 49926 h 140452"/>
                            <a:gd name="connsiteX62" fmla="*/ 159106 w 177210"/>
                            <a:gd name="connsiteY62" fmla="*/ 71872 h 140452"/>
                            <a:gd name="connsiteX63" fmla="*/ 156362 w 177210"/>
                            <a:gd name="connsiteY63" fmla="*/ 75712 h 140452"/>
                            <a:gd name="connsiteX64" fmla="*/ 159106 w 177210"/>
                            <a:gd name="connsiteY64" fmla="*/ 76810 h 140452"/>
                            <a:gd name="connsiteX65" fmla="*/ 161849 w 177210"/>
                            <a:gd name="connsiteY65" fmla="*/ 76261 h 140452"/>
                            <a:gd name="connsiteX66" fmla="*/ 160203 w 177210"/>
                            <a:gd name="connsiteY66" fmla="*/ 84491 h 140452"/>
                            <a:gd name="connsiteX67" fmla="*/ 149779 w 177210"/>
                            <a:gd name="connsiteY67" fmla="*/ 85039 h 140452"/>
                            <a:gd name="connsiteX68" fmla="*/ 135514 w 177210"/>
                            <a:gd name="connsiteY68" fmla="*/ 137709 h 140452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  <a:cxn ang="0">
                              <a:pos x="connsiteX11" y="connsiteY11"/>
                            </a:cxn>
                            <a:cxn ang="0">
                              <a:pos x="connsiteX12" y="connsiteY12"/>
                            </a:cxn>
                            <a:cxn ang="0">
                              <a:pos x="connsiteX13" y="connsiteY13"/>
                            </a:cxn>
                            <a:cxn ang="0">
                              <a:pos x="connsiteX14" y="connsiteY14"/>
                            </a:cxn>
                            <a:cxn ang="0">
                              <a:pos x="connsiteX15" y="connsiteY15"/>
                            </a:cxn>
                            <a:cxn ang="0">
                              <a:pos x="connsiteX16" y="connsiteY16"/>
                            </a:cxn>
                            <a:cxn ang="0">
                              <a:pos x="connsiteX17" y="connsiteY17"/>
                            </a:cxn>
                            <a:cxn ang="0">
                              <a:pos x="connsiteX18" y="connsiteY18"/>
                            </a:cxn>
                            <a:cxn ang="0">
                              <a:pos x="connsiteX19" y="connsiteY19"/>
                            </a:cxn>
                            <a:cxn ang="0">
                              <a:pos x="connsiteX20" y="connsiteY20"/>
                            </a:cxn>
                            <a:cxn ang="0">
                              <a:pos x="connsiteX21" y="connsiteY21"/>
                            </a:cxn>
                            <a:cxn ang="0">
                              <a:pos x="connsiteX22" y="connsiteY22"/>
                            </a:cxn>
                            <a:cxn ang="0">
                              <a:pos x="connsiteX23" y="connsiteY23"/>
                            </a:cxn>
                            <a:cxn ang="0">
                              <a:pos x="connsiteX24" y="connsiteY24"/>
                            </a:cxn>
                            <a:cxn ang="0">
                              <a:pos x="connsiteX25" y="connsiteY25"/>
                            </a:cxn>
                            <a:cxn ang="0">
                              <a:pos x="connsiteX26" y="connsiteY26"/>
                            </a:cxn>
                            <a:cxn ang="0">
                              <a:pos x="connsiteX27" y="connsiteY27"/>
                            </a:cxn>
                            <a:cxn ang="0">
                              <a:pos x="connsiteX28" y="connsiteY28"/>
                            </a:cxn>
                            <a:cxn ang="0">
                              <a:pos x="connsiteX29" y="connsiteY29"/>
                            </a:cxn>
                            <a:cxn ang="0">
                              <a:pos x="connsiteX30" y="connsiteY30"/>
                            </a:cxn>
                            <a:cxn ang="0">
                              <a:pos x="connsiteX31" y="connsiteY31"/>
                            </a:cxn>
                            <a:cxn ang="0">
                              <a:pos x="connsiteX32" y="connsiteY32"/>
                            </a:cxn>
                            <a:cxn ang="0">
                              <a:pos x="connsiteX33" y="connsiteY33"/>
                            </a:cxn>
                            <a:cxn ang="0">
                              <a:pos x="connsiteX34" y="connsiteY34"/>
                            </a:cxn>
                            <a:cxn ang="0">
                              <a:pos x="connsiteX35" y="connsiteY35"/>
                            </a:cxn>
                            <a:cxn ang="0">
                              <a:pos x="connsiteX36" y="connsiteY36"/>
                            </a:cxn>
                            <a:cxn ang="0">
                              <a:pos x="connsiteX37" y="connsiteY37"/>
                            </a:cxn>
                            <a:cxn ang="0">
                              <a:pos x="connsiteX38" y="connsiteY38"/>
                            </a:cxn>
                            <a:cxn ang="0">
                              <a:pos x="connsiteX39" y="connsiteY39"/>
                            </a:cxn>
                            <a:cxn ang="0">
                              <a:pos x="connsiteX40" y="connsiteY40"/>
                            </a:cxn>
                            <a:cxn ang="0">
                              <a:pos x="connsiteX41" y="connsiteY41"/>
                            </a:cxn>
                            <a:cxn ang="0">
                              <a:pos x="connsiteX42" y="connsiteY42"/>
                            </a:cxn>
                            <a:cxn ang="0">
                              <a:pos x="connsiteX43" y="connsiteY43"/>
                            </a:cxn>
                            <a:cxn ang="0">
                              <a:pos x="connsiteX44" y="connsiteY44"/>
                            </a:cxn>
                            <a:cxn ang="0">
                              <a:pos x="connsiteX45" y="connsiteY45"/>
                            </a:cxn>
                            <a:cxn ang="0">
                              <a:pos x="connsiteX46" y="connsiteY46"/>
                            </a:cxn>
                            <a:cxn ang="0">
                              <a:pos x="connsiteX47" y="connsiteY47"/>
                            </a:cxn>
                            <a:cxn ang="0">
                              <a:pos x="connsiteX48" y="connsiteY48"/>
                            </a:cxn>
                            <a:cxn ang="0">
                              <a:pos x="connsiteX49" y="connsiteY49"/>
                            </a:cxn>
                            <a:cxn ang="0">
                              <a:pos x="connsiteX50" y="connsiteY50"/>
                            </a:cxn>
                            <a:cxn ang="0">
                              <a:pos x="connsiteX51" y="connsiteY51"/>
                            </a:cxn>
                            <a:cxn ang="0">
                              <a:pos x="connsiteX52" y="connsiteY52"/>
                            </a:cxn>
                            <a:cxn ang="0">
                              <a:pos x="connsiteX53" y="connsiteY53"/>
                            </a:cxn>
                            <a:cxn ang="0">
                              <a:pos x="connsiteX54" y="connsiteY54"/>
                            </a:cxn>
                            <a:cxn ang="0">
                              <a:pos x="connsiteX55" y="connsiteY55"/>
                            </a:cxn>
                            <a:cxn ang="0">
                              <a:pos x="connsiteX56" y="connsiteY56"/>
                            </a:cxn>
                            <a:cxn ang="0">
                              <a:pos x="connsiteX57" y="connsiteY57"/>
                            </a:cxn>
                            <a:cxn ang="0">
                              <a:pos x="connsiteX58" y="connsiteY58"/>
                            </a:cxn>
                            <a:cxn ang="0">
                              <a:pos x="connsiteX59" y="connsiteY59"/>
                            </a:cxn>
                            <a:cxn ang="0">
                              <a:pos x="connsiteX60" y="connsiteY60"/>
                            </a:cxn>
                            <a:cxn ang="0">
                              <a:pos x="connsiteX61" y="connsiteY61"/>
                            </a:cxn>
                            <a:cxn ang="0">
                              <a:pos x="connsiteX62" y="connsiteY62"/>
                            </a:cxn>
                            <a:cxn ang="0">
                              <a:pos x="connsiteX63" y="connsiteY63"/>
                            </a:cxn>
                            <a:cxn ang="0">
                              <a:pos x="connsiteX64" y="connsiteY64"/>
                            </a:cxn>
                            <a:cxn ang="0">
                              <a:pos x="connsiteX65" y="connsiteY65"/>
                            </a:cxn>
                            <a:cxn ang="0">
                              <a:pos x="connsiteX66" y="connsiteY66"/>
                            </a:cxn>
                            <a:cxn ang="0">
                              <a:pos x="connsiteX67" y="connsiteY67"/>
                            </a:cxn>
                            <a:cxn ang="0">
                              <a:pos x="connsiteX68" y="connsiteY68"/>
                            </a:cxn>
                          </a:cxnLst>
                          <a:rect l="l" t="t" r="r" b="b"/>
                          <a:pathLst>
                            <a:path w="177210" h="140452">
                              <a:moveTo>
                                <a:pt x="135514" y="137709"/>
                              </a:moveTo>
                              <a:lnTo>
                                <a:pt x="132771" y="140452"/>
                              </a:lnTo>
                              <a:lnTo>
                                <a:pt x="37307" y="128382"/>
                              </a:lnTo>
                              <a:lnTo>
                                <a:pt x="0" y="80102"/>
                              </a:lnTo>
                              <a:lnTo>
                                <a:pt x="0" y="74615"/>
                              </a:lnTo>
                              <a:lnTo>
                                <a:pt x="0" y="74615"/>
                              </a:lnTo>
                              <a:lnTo>
                                <a:pt x="2743" y="72969"/>
                              </a:lnTo>
                              <a:lnTo>
                                <a:pt x="3840" y="73518"/>
                              </a:lnTo>
                              <a:lnTo>
                                <a:pt x="4938" y="80650"/>
                              </a:lnTo>
                              <a:lnTo>
                                <a:pt x="8230" y="83393"/>
                              </a:lnTo>
                              <a:lnTo>
                                <a:pt x="27432" y="84491"/>
                              </a:lnTo>
                              <a:lnTo>
                                <a:pt x="30175" y="83942"/>
                              </a:lnTo>
                              <a:lnTo>
                                <a:pt x="33467" y="80102"/>
                              </a:lnTo>
                              <a:lnTo>
                                <a:pt x="39502" y="76810"/>
                              </a:lnTo>
                              <a:lnTo>
                                <a:pt x="54864" y="77907"/>
                              </a:lnTo>
                              <a:lnTo>
                                <a:pt x="60899" y="80102"/>
                              </a:lnTo>
                              <a:lnTo>
                                <a:pt x="65288" y="80102"/>
                              </a:lnTo>
                              <a:lnTo>
                                <a:pt x="72420" y="82296"/>
                              </a:lnTo>
                              <a:lnTo>
                                <a:pt x="88879" y="81199"/>
                              </a:lnTo>
                              <a:lnTo>
                                <a:pt x="92171" y="79004"/>
                              </a:lnTo>
                              <a:lnTo>
                                <a:pt x="96012" y="75164"/>
                              </a:lnTo>
                              <a:lnTo>
                                <a:pt x="101498" y="73518"/>
                              </a:lnTo>
                              <a:lnTo>
                                <a:pt x="103144" y="71872"/>
                              </a:lnTo>
                              <a:lnTo>
                                <a:pt x="106436" y="70775"/>
                              </a:lnTo>
                              <a:lnTo>
                                <a:pt x="107533" y="69129"/>
                              </a:lnTo>
                              <a:lnTo>
                                <a:pt x="105887" y="66934"/>
                              </a:lnTo>
                              <a:lnTo>
                                <a:pt x="105887" y="66386"/>
                              </a:lnTo>
                              <a:lnTo>
                                <a:pt x="105339" y="65288"/>
                              </a:lnTo>
                              <a:lnTo>
                                <a:pt x="111374" y="64739"/>
                              </a:lnTo>
                              <a:lnTo>
                                <a:pt x="110825" y="63094"/>
                              </a:lnTo>
                              <a:lnTo>
                                <a:pt x="113020" y="61996"/>
                              </a:lnTo>
                              <a:lnTo>
                                <a:pt x="112471" y="59253"/>
                              </a:lnTo>
                              <a:lnTo>
                                <a:pt x="114666" y="57059"/>
                              </a:lnTo>
                              <a:lnTo>
                                <a:pt x="114666" y="54315"/>
                              </a:lnTo>
                              <a:lnTo>
                                <a:pt x="117409" y="51572"/>
                              </a:lnTo>
                              <a:lnTo>
                                <a:pt x="123993" y="48829"/>
                              </a:lnTo>
                              <a:lnTo>
                                <a:pt x="126187" y="44440"/>
                              </a:lnTo>
                              <a:lnTo>
                                <a:pt x="128382" y="42794"/>
                              </a:lnTo>
                              <a:lnTo>
                                <a:pt x="130027" y="40051"/>
                              </a:lnTo>
                              <a:lnTo>
                                <a:pt x="136063" y="36210"/>
                              </a:lnTo>
                              <a:lnTo>
                                <a:pt x="138806" y="32370"/>
                              </a:lnTo>
                              <a:lnTo>
                                <a:pt x="141549" y="30724"/>
                              </a:lnTo>
                              <a:lnTo>
                                <a:pt x="142646" y="29078"/>
                              </a:lnTo>
                              <a:lnTo>
                                <a:pt x="143743" y="28529"/>
                              </a:lnTo>
                              <a:lnTo>
                                <a:pt x="143743" y="26883"/>
                              </a:lnTo>
                              <a:lnTo>
                                <a:pt x="147584" y="23043"/>
                              </a:lnTo>
                              <a:lnTo>
                                <a:pt x="147584" y="21397"/>
                              </a:lnTo>
                              <a:lnTo>
                                <a:pt x="149230" y="20300"/>
                              </a:lnTo>
                              <a:lnTo>
                                <a:pt x="150327" y="18654"/>
                              </a:lnTo>
                              <a:lnTo>
                                <a:pt x="156911" y="14265"/>
                              </a:lnTo>
                              <a:lnTo>
                                <a:pt x="164043" y="6584"/>
                              </a:lnTo>
                              <a:lnTo>
                                <a:pt x="166786" y="0"/>
                              </a:lnTo>
                              <a:lnTo>
                                <a:pt x="168432" y="2195"/>
                              </a:lnTo>
                              <a:lnTo>
                                <a:pt x="168981" y="6584"/>
                              </a:lnTo>
                              <a:lnTo>
                                <a:pt x="168432" y="8230"/>
                              </a:lnTo>
                              <a:lnTo>
                                <a:pt x="169530" y="10424"/>
                              </a:lnTo>
                              <a:lnTo>
                                <a:pt x="168432" y="14265"/>
                              </a:lnTo>
                              <a:lnTo>
                                <a:pt x="169530" y="15362"/>
                              </a:lnTo>
                              <a:lnTo>
                                <a:pt x="175016" y="16459"/>
                              </a:lnTo>
                              <a:lnTo>
                                <a:pt x="176662" y="20848"/>
                              </a:lnTo>
                              <a:lnTo>
                                <a:pt x="177211" y="48829"/>
                              </a:lnTo>
                              <a:lnTo>
                                <a:pt x="154716" y="49926"/>
                              </a:lnTo>
                              <a:lnTo>
                                <a:pt x="159106" y="71872"/>
                              </a:lnTo>
                              <a:lnTo>
                                <a:pt x="156362" y="75712"/>
                              </a:lnTo>
                              <a:lnTo>
                                <a:pt x="159106" y="76810"/>
                              </a:lnTo>
                              <a:lnTo>
                                <a:pt x="161849" y="76261"/>
                              </a:lnTo>
                              <a:lnTo>
                                <a:pt x="160203" y="84491"/>
                              </a:lnTo>
                              <a:lnTo>
                                <a:pt x="149779" y="85039"/>
                              </a:lnTo>
                              <a:lnTo>
                                <a:pt x="135514" y="137709"/>
                              </a:lnTo>
                              <a:close/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220" name="Graphic 7">
                          <a:extLst>
                            <a:ext uri="{FF2B5EF4-FFF2-40B4-BE49-F238E27FC236}">
                              <a16:creationId xmlns:a16="http://schemas.microsoft.com/office/drawing/2014/main" id="{E7B96179-8FCE-F80F-45D7-5C159DAFF184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88996" y="3905980"/>
                          <a:ext cx="305193" cy="193746"/>
                        </a:xfrm>
                        <a:custGeom>
                          <a:avLst/>
                          <a:gdLst>
                            <a:gd name="connsiteX0" fmla="*/ 390632 w 390631"/>
                            <a:gd name="connsiteY0" fmla="*/ 94366 h 247985"/>
                            <a:gd name="connsiteX1" fmla="*/ 370881 w 390631"/>
                            <a:gd name="connsiteY1" fmla="*/ 104790 h 247985"/>
                            <a:gd name="connsiteX2" fmla="*/ 364845 w 390631"/>
                            <a:gd name="connsiteY2" fmla="*/ 110825 h 247985"/>
                            <a:gd name="connsiteX3" fmla="*/ 359908 w 390631"/>
                            <a:gd name="connsiteY3" fmla="*/ 121249 h 247985"/>
                            <a:gd name="connsiteX4" fmla="*/ 362651 w 390631"/>
                            <a:gd name="connsiteY4" fmla="*/ 131125 h 247985"/>
                            <a:gd name="connsiteX5" fmla="*/ 362651 w 390631"/>
                            <a:gd name="connsiteY5" fmla="*/ 132222 h 247985"/>
                            <a:gd name="connsiteX6" fmla="*/ 360456 w 390631"/>
                            <a:gd name="connsiteY6" fmla="*/ 134417 h 247985"/>
                            <a:gd name="connsiteX7" fmla="*/ 358811 w 390631"/>
                            <a:gd name="connsiteY7" fmla="*/ 134965 h 247985"/>
                            <a:gd name="connsiteX8" fmla="*/ 353873 w 390631"/>
                            <a:gd name="connsiteY8" fmla="*/ 134417 h 247985"/>
                            <a:gd name="connsiteX9" fmla="*/ 339608 w 390631"/>
                            <a:gd name="connsiteY9" fmla="*/ 139354 h 247985"/>
                            <a:gd name="connsiteX10" fmla="*/ 333024 w 390631"/>
                            <a:gd name="connsiteY10" fmla="*/ 145938 h 247985"/>
                            <a:gd name="connsiteX11" fmla="*/ 243047 w 390631"/>
                            <a:gd name="connsiteY11" fmla="*/ 176113 h 247985"/>
                            <a:gd name="connsiteX12" fmla="*/ 237561 w 390631"/>
                            <a:gd name="connsiteY12" fmla="*/ 185989 h 247985"/>
                            <a:gd name="connsiteX13" fmla="*/ 224942 w 390631"/>
                            <a:gd name="connsiteY13" fmla="*/ 196962 h 247985"/>
                            <a:gd name="connsiteX14" fmla="*/ 222199 w 390631"/>
                            <a:gd name="connsiteY14" fmla="*/ 198059 h 247985"/>
                            <a:gd name="connsiteX15" fmla="*/ 195864 w 390631"/>
                            <a:gd name="connsiteY15" fmla="*/ 198607 h 247985"/>
                            <a:gd name="connsiteX16" fmla="*/ 188183 w 390631"/>
                            <a:gd name="connsiteY16" fmla="*/ 202997 h 247985"/>
                            <a:gd name="connsiteX17" fmla="*/ 184343 w 390631"/>
                            <a:gd name="connsiteY17" fmla="*/ 208483 h 247985"/>
                            <a:gd name="connsiteX18" fmla="*/ 155814 w 390631"/>
                            <a:gd name="connsiteY18" fmla="*/ 218907 h 247985"/>
                            <a:gd name="connsiteX19" fmla="*/ 149230 w 390631"/>
                            <a:gd name="connsiteY19" fmla="*/ 219456 h 247985"/>
                            <a:gd name="connsiteX20" fmla="*/ 141549 w 390631"/>
                            <a:gd name="connsiteY20" fmla="*/ 217810 h 247985"/>
                            <a:gd name="connsiteX21" fmla="*/ 119055 w 390631"/>
                            <a:gd name="connsiteY21" fmla="*/ 219456 h 247985"/>
                            <a:gd name="connsiteX22" fmla="*/ 112471 w 390631"/>
                            <a:gd name="connsiteY22" fmla="*/ 223845 h 247985"/>
                            <a:gd name="connsiteX23" fmla="*/ 106985 w 390631"/>
                            <a:gd name="connsiteY23" fmla="*/ 232623 h 247985"/>
                            <a:gd name="connsiteX24" fmla="*/ 85039 w 390631"/>
                            <a:gd name="connsiteY24" fmla="*/ 243596 h 247985"/>
                            <a:gd name="connsiteX25" fmla="*/ 69129 w 390631"/>
                            <a:gd name="connsiteY25" fmla="*/ 244145 h 247985"/>
                            <a:gd name="connsiteX26" fmla="*/ 59253 w 390631"/>
                            <a:gd name="connsiteY26" fmla="*/ 246888 h 247985"/>
                            <a:gd name="connsiteX27" fmla="*/ 53767 w 390631"/>
                            <a:gd name="connsiteY27" fmla="*/ 246888 h 247985"/>
                            <a:gd name="connsiteX28" fmla="*/ 48280 w 390631"/>
                            <a:gd name="connsiteY28" fmla="*/ 247985 h 247985"/>
                            <a:gd name="connsiteX29" fmla="*/ 41148 w 390631"/>
                            <a:gd name="connsiteY29" fmla="*/ 244693 h 247985"/>
                            <a:gd name="connsiteX30" fmla="*/ 32918 w 390631"/>
                            <a:gd name="connsiteY30" fmla="*/ 245242 h 247985"/>
                            <a:gd name="connsiteX31" fmla="*/ 29627 w 390631"/>
                            <a:gd name="connsiteY31" fmla="*/ 235366 h 247985"/>
                            <a:gd name="connsiteX32" fmla="*/ 22494 w 390631"/>
                            <a:gd name="connsiteY32" fmla="*/ 226588 h 247985"/>
                            <a:gd name="connsiteX33" fmla="*/ 21946 w 390631"/>
                            <a:gd name="connsiteY33" fmla="*/ 202448 h 247985"/>
                            <a:gd name="connsiteX34" fmla="*/ 18105 w 390631"/>
                            <a:gd name="connsiteY34" fmla="*/ 198607 h 247985"/>
                            <a:gd name="connsiteX35" fmla="*/ 8230 w 390631"/>
                            <a:gd name="connsiteY35" fmla="*/ 155265 h 247985"/>
                            <a:gd name="connsiteX36" fmla="*/ 2195 w 390631"/>
                            <a:gd name="connsiteY36" fmla="*/ 147035 h 247985"/>
                            <a:gd name="connsiteX37" fmla="*/ 0 w 390631"/>
                            <a:gd name="connsiteY37" fmla="*/ 145390 h 247985"/>
                            <a:gd name="connsiteX38" fmla="*/ 1646 w 390631"/>
                            <a:gd name="connsiteY38" fmla="*/ 143743 h 247985"/>
                            <a:gd name="connsiteX39" fmla="*/ 3292 w 390631"/>
                            <a:gd name="connsiteY39" fmla="*/ 143743 h 247985"/>
                            <a:gd name="connsiteX40" fmla="*/ 3292 w 390631"/>
                            <a:gd name="connsiteY40" fmla="*/ 141549 h 247985"/>
                            <a:gd name="connsiteX41" fmla="*/ 2195 w 390631"/>
                            <a:gd name="connsiteY41" fmla="*/ 138806 h 247985"/>
                            <a:gd name="connsiteX42" fmla="*/ 2195 w 390631"/>
                            <a:gd name="connsiteY42" fmla="*/ 132222 h 247985"/>
                            <a:gd name="connsiteX43" fmla="*/ 1097 w 390631"/>
                            <a:gd name="connsiteY43" fmla="*/ 128930 h 247985"/>
                            <a:gd name="connsiteX44" fmla="*/ 4938 w 390631"/>
                            <a:gd name="connsiteY44" fmla="*/ 125090 h 247985"/>
                            <a:gd name="connsiteX45" fmla="*/ 6035 w 390631"/>
                            <a:gd name="connsiteY45" fmla="*/ 121798 h 247985"/>
                            <a:gd name="connsiteX46" fmla="*/ 3840 w 390631"/>
                            <a:gd name="connsiteY46" fmla="*/ 103144 h 247985"/>
                            <a:gd name="connsiteX47" fmla="*/ 2743 w 390631"/>
                            <a:gd name="connsiteY47" fmla="*/ 102047 h 247985"/>
                            <a:gd name="connsiteX48" fmla="*/ 9875 w 390631"/>
                            <a:gd name="connsiteY48" fmla="*/ 98755 h 247985"/>
                            <a:gd name="connsiteX49" fmla="*/ 13716 w 390631"/>
                            <a:gd name="connsiteY49" fmla="*/ 95463 h 247985"/>
                            <a:gd name="connsiteX50" fmla="*/ 14813 w 390631"/>
                            <a:gd name="connsiteY50" fmla="*/ 89977 h 247985"/>
                            <a:gd name="connsiteX51" fmla="*/ 24689 w 390631"/>
                            <a:gd name="connsiteY51" fmla="*/ 84490 h 247985"/>
                            <a:gd name="connsiteX52" fmla="*/ 26883 w 390631"/>
                            <a:gd name="connsiteY52" fmla="*/ 79553 h 247985"/>
                            <a:gd name="connsiteX53" fmla="*/ 30724 w 390631"/>
                            <a:gd name="connsiteY53" fmla="*/ 76810 h 247985"/>
                            <a:gd name="connsiteX54" fmla="*/ 45537 w 390631"/>
                            <a:gd name="connsiteY54" fmla="*/ 75163 h 247985"/>
                            <a:gd name="connsiteX55" fmla="*/ 63642 w 390631"/>
                            <a:gd name="connsiteY55" fmla="*/ 61996 h 247985"/>
                            <a:gd name="connsiteX56" fmla="*/ 154716 w 390631"/>
                            <a:gd name="connsiteY56" fmla="*/ 65288 h 247985"/>
                            <a:gd name="connsiteX57" fmla="*/ 164043 w 390631"/>
                            <a:gd name="connsiteY57" fmla="*/ 81747 h 247985"/>
                            <a:gd name="connsiteX58" fmla="*/ 170078 w 390631"/>
                            <a:gd name="connsiteY58" fmla="*/ 81747 h 247985"/>
                            <a:gd name="connsiteX59" fmla="*/ 182697 w 390631"/>
                            <a:gd name="connsiteY59" fmla="*/ 75163 h 247985"/>
                            <a:gd name="connsiteX60" fmla="*/ 185989 w 390631"/>
                            <a:gd name="connsiteY60" fmla="*/ 61996 h 247985"/>
                            <a:gd name="connsiteX61" fmla="*/ 207935 w 390631"/>
                            <a:gd name="connsiteY61" fmla="*/ 32918 h 247985"/>
                            <a:gd name="connsiteX62" fmla="*/ 241950 w 390631"/>
                            <a:gd name="connsiteY62" fmla="*/ 16459 h 247985"/>
                            <a:gd name="connsiteX63" fmla="*/ 351678 w 390631"/>
                            <a:gd name="connsiteY63" fmla="*/ 0 h 247985"/>
                            <a:gd name="connsiteX64" fmla="*/ 390632 w 390631"/>
                            <a:gd name="connsiteY64" fmla="*/ 94366 h 247985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  <a:cxn ang="0">
                              <a:pos x="connsiteX11" y="connsiteY11"/>
                            </a:cxn>
                            <a:cxn ang="0">
                              <a:pos x="connsiteX12" y="connsiteY12"/>
                            </a:cxn>
                            <a:cxn ang="0">
                              <a:pos x="connsiteX13" y="connsiteY13"/>
                            </a:cxn>
                            <a:cxn ang="0">
                              <a:pos x="connsiteX14" y="connsiteY14"/>
                            </a:cxn>
                            <a:cxn ang="0">
                              <a:pos x="connsiteX15" y="connsiteY15"/>
                            </a:cxn>
                            <a:cxn ang="0">
                              <a:pos x="connsiteX16" y="connsiteY16"/>
                            </a:cxn>
                            <a:cxn ang="0">
                              <a:pos x="connsiteX17" y="connsiteY17"/>
                            </a:cxn>
                            <a:cxn ang="0">
                              <a:pos x="connsiteX18" y="connsiteY18"/>
                            </a:cxn>
                            <a:cxn ang="0">
                              <a:pos x="connsiteX19" y="connsiteY19"/>
                            </a:cxn>
                            <a:cxn ang="0">
                              <a:pos x="connsiteX20" y="connsiteY20"/>
                            </a:cxn>
                            <a:cxn ang="0">
                              <a:pos x="connsiteX21" y="connsiteY21"/>
                            </a:cxn>
                            <a:cxn ang="0">
                              <a:pos x="connsiteX22" y="connsiteY22"/>
                            </a:cxn>
                            <a:cxn ang="0">
                              <a:pos x="connsiteX23" y="connsiteY23"/>
                            </a:cxn>
                            <a:cxn ang="0">
                              <a:pos x="connsiteX24" y="connsiteY24"/>
                            </a:cxn>
                            <a:cxn ang="0">
                              <a:pos x="connsiteX25" y="connsiteY25"/>
                            </a:cxn>
                            <a:cxn ang="0">
                              <a:pos x="connsiteX26" y="connsiteY26"/>
                            </a:cxn>
                            <a:cxn ang="0">
                              <a:pos x="connsiteX27" y="connsiteY27"/>
                            </a:cxn>
                            <a:cxn ang="0">
                              <a:pos x="connsiteX28" y="connsiteY28"/>
                            </a:cxn>
                            <a:cxn ang="0">
                              <a:pos x="connsiteX29" y="connsiteY29"/>
                            </a:cxn>
                            <a:cxn ang="0">
                              <a:pos x="connsiteX30" y="connsiteY30"/>
                            </a:cxn>
                            <a:cxn ang="0">
                              <a:pos x="connsiteX31" y="connsiteY31"/>
                            </a:cxn>
                            <a:cxn ang="0">
                              <a:pos x="connsiteX32" y="connsiteY32"/>
                            </a:cxn>
                            <a:cxn ang="0">
                              <a:pos x="connsiteX33" y="connsiteY33"/>
                            </a:cxn>
                            <a:cxn ang="0">
                              <a:pos x="connsiteX34" y="connsiteY34"/>
                            </a:cxn>
                            <a:cxn ang="0">
                              <a:pos x="connsiteX35" y="connsiteY35"/>
                            </a:cxn>
                            <a:cxn ang="0">
                              <a:pos x="connsiteX36" y="connsiteY36"/>
                            </a:cxn>
                            <a:cxn ang="0">
                              <a:pos x="connsiteX37" y="connsiteY37"/>
                            </a:cxn>
                            <a:cxn ang="0">
                              <a:pos x="connsiteX38" y="connsiteY38"/>
                            </a:cxn>
                            <a:cxn ang="0">
                              <a:pos x="connsiteX39" y="connsiteY39"/>
                            </a:cxn>
                            <a:cxn ang="0">
                              <a:pos x="connsiteX40" y="connsiteY40"/>
                            </a:cxn>
                            <a:cxn ang="0">
                              <a:pos x="connsiteX41" y="connsiteY41"/>
                            </a:cxn>
                            <a:cxn ang="0">
                              <a:pos x="connsiteX42" y="connsiteY42"/>
                            </a:cxn>
                            <a:cxn ang="0">
                              <a:pos x="connsiteX43" y="connsiteY43"/>
                            </a:cxn>
                            <a:cxn ang="0">
                              <a:pos x="connsiteX44" y="connsiteY44"/>
                            </a:cxn>
                            <a:cxn ang="0">
                              <a:pos x="connsiteX45" y="connsiteY45"/>
                            </a:cxn>
                            <a:cxn ang="0">
                              <a:pos x="connsiteX46" y="connsiteY46"/>
                            </a:cxn>
                            <a:cxn ang="0">
                              <a:pos x="connsiteX47" y="connsiteY47"/>
                            </a:cxn>
                            <a:cxn ang="0">
                              <a:pos x="connsiteX48" y="connsiteY48"/>
                            </a:cxn>
                            <a:cxn ang="0">
                              <a:pos x="connsiteX49" y="connsiteY49"/>
                            </a:cxn>
                            <a:cxn ang="0">
                              <a:pos x="connsiteX50" y="connsiteY50"/>
                            </a:cxn>
                            <a:cxn ang="0">
                              <a:pos x="connsiteX51" y="connsiteY51"/>
                            </a:cxn>
                            <a:cxn ang="0">
                              <a:pos x="connsiteX52" y="connsiteY52"/>
                            </a:cxn>
                            <a:cxn ang="0">
                              <a:pos x="connsiteX53" y="connsiteY53"/>
                            </a:cxn>
                            <a:cxn ang="0">
                              <a:pos x="connsiteX54" y="connsiteY54"/>
                            </a:cxn>
                            <a:cxn ang="0">
                              <a:pos x="connsiteX55" y="connsiteY55"/>
                            </a:cxn>
                            <a:cxn ang="0">
                              <a:pos x="connsiteX56" y="connsiteY56"/>
                            </a:cxn>
                            <a:cxn ang="0">
                              <a:pos x="connsiteX57" y="connsiteY57"/>
                            </a:cxn>
                            <a:cxn ang="0">
                              <a:pos x="connsiteX58" y="connsiteY58"/>
                            </a:cxn>
                            <a:cxn ang="0">
                              <a:pos x="connsiteX59" y="connsiteY59"/>
                            </a:cxn>
                            <a:cxn ang="0">
                              <a:pos x="connsiteX60" y="connsiteY60"/>
                            </a:cxn>
                            <a:cxn ang="0">
                              <a:pos x="connsiteX61" y="connsiteY61"/>
                            </a:cxn>
                            <a:cxn ang="0">
                              <a:pos x="connsiteX62" y="connsiteY62"/>
                            </a:cxn>
                            <a:cxn ang="0">
                              <a:pos x="connsiteX63" y="connsiteY63"/>
                            </a:cxn>
                            <a:cxn ang="0">
                              <a:pos x="connsiteX64" y="connsiteY64"/>
                            </a:cxn>
                          </a:cxnLst>
                          <a:rect l="l" t="t" r="r" b="b"/>
                          <a:pathLst>
                            <a:path w="390631" h="247985">
                              <a:moveTo>
                                <a:pt x="390632" y="94366"/>
                              </a:moveTo>
                              <a:lnTo>
                                <a:pt x="370881" y="104790"/>
                              </a:lnTo>
                              <a:lnTo>
                                <a:pt x="364845" y="110825"/>
                              </a:lnTo>
                              <a:lnTo>
                                <a:pt x="359908" y="121249"/>
                              </a:lnTo>
                              <a:lnTo>
                                <a:pt x="362651" y="131125"/>
                              </a:lnTo>
                              <a:lnTo>
                                <a:pt x="362651" y="132222"/>
                              </a:lnTo>
                              <a:lnTo>
                                <a:pt x="360456" y="134417"/>
                              </a:lnTo>
                              <a:lnTo>
                                <a:pt x="358811" y="134965"/>
                              </a:lnTo>
                              <a:lnTo>
                                <a:pt x="353873" y="134417"/>
                              </a:lnTo>
                              <a:lnTo>
                                <a:pt x="339608" y="139354"/>
                              </a:lnTo>
                              <a:lnTo>
                                <a:pt x="333024" y="145938"/>
                              </a:lnTo>
                              <a:lnTo>
                                <a:pt x="243047" y="176113"/>
                              </a:lnTo>
                              <a:lnTo>
                                <a:pt x="237561" y="185989"/>
                              </a:lnTo>
                              <a:lnTo>
                                <a:pt x="224942" y="196962"/>
                              </a:lnTo>
                              <a:lnTo>
                                <a:pt x="222199" y="198059"/>
                              </a:lnTo>
                              <a:lnTo>
                                <a:pt x="195864" y="198607"/>
                              </a:lnTo>
                              <a:lnTo>
                                <a:pt x="188183" y="202997"/>
                              </a:lnTo>
                              <a:lnTo>
                                <a:pt x="184343" y="208483"/>
                              </a:lnTo>
                              <a:lnTo>
                                <a:pt x="155814" y="218907"/>
                              </a:lnTo>
                              <a:lnTo>
                                <a:pt x="149230" y="219456"/>
                              </a:lnTo>
                              <a:lnTo>
                                <a:pt x="141549" y="217810"/>
                              </a:lnTo>
                              <a:lnTo>
                                <a:pt x="119055" y="219456"/>
                              </a:lnTo>
                              <a:lnTo>
                                <a:pt x="112471" y="223845"/>
                              </a:lnTo>
                              <a:lnTo>
                                <a:pt x="106985" y="232623"/>
                              </a:lnTo>
                              <a:lnTo>
                                <a:pt x="85039" y="243596"/>
                              </a:lnTo>
                              <a:lnTo>
                                <a:pt x="69129" y="244145"/>
                              </a:lnTo>
                              <a:lnTo>
                                <a:pt x="59253" y="246888"/>
                              </a:lnTo>
                              <a:lnTo>
                                <a:pt x="53767" y="246888"/>
                              </a:lnTo>
                              <a:lnTo>
                                <a:pt x="48280" y="247985"/>
                              </a:lnTo>
                              <a:lnTo>
                                <a:pt x="41148" y="244693"/>
                              </a:lnTo>
                              <a:lnTo>
                                <a:pt x="32918" y="245242"/>
                              </a:lnTo>
                              <a:lnTo>
                                <a:pt x="29627" y="235366"/>
                              </a:lnTo>
                              <a:lnTo>
                                <a:pt x="22494" y="226588"/>
                              </a:lnTo>
                              <a:lnTo>
                                <a:pt x="21946" y="202448"/>
                              </a:lnTo>
                              <a:lnTo>
                                <a:pt x="18105" y="198607"/>
                              </a:lnTo>
                              <a:lnTo>
                                <a:pt x="8230" y="155265"/>
                              </a:lnTo>
                              <a:lnTo>
                                <a:pt x="2195" y="147035"/>
                              </a:lnTo>
                              <a:lnTo>
                                <a:pt x="0" y="145390"/>
                              </a:lnTo>
                              <a:lnTo>
                                <a:pt x="1646" y="143743"/>
                              </a:lnTo>
                              <a:lnTo>
                                <a:pt x="3292" y="143743"/>
                              </a:lnTo>
                              <a:lnTo>
                                <a:pt x="3292" y="141549"/>
                              </a:lnTo>
                              <a:lnTo>
                                <a:pt x="2195" y="138806"/>
                              </a:lnTo>
                              <a:lnTo>
                                <a:pt x="2195" y="132222"/>
                              </a:lnTo>
                              <a:lnTo>
                                <a:pt x="1097" y="128930"/>
                              </a:lnTo>
                              <a:lnTo>
                                <a:pt x="4938" y="125090"/>
                              </a:lnTo>
                              <a:lnTo>
                                <a:pt x="6035" y="121798"/>
                              </a:lnTo>
                              <a:lnTo>
                                <a:pt x="3840" y="103144"/>
                              </a:lnTo>
                              <a:lnTo>
                                <a:pt x="2743" y="102047"/>
                              </a:lnTo>
                              <a:lnTo>
                                <a:pt x="9875" y="98755"/>
                              </a:lnTo>
                              <a:lnTo>
                                <a:pt x="13716" y="95463"/>
                              </a:lnTo>
                              <a:lnTo>
                                <a:pt x="14813" y="89977"/>
                              </a:lnTo>
                              <a:lnTo>
                                <a:pt x="24689" y="84490"/>
                              </a:lnTo>
                              <a:lnTo>
                                <a:pt x="26883" y="79553"/>
                              </a:lnTo>
                              <a:lnTo>
                                <a:pt x="30724" y="76810"/>
                              </a:lnTo>
                              <a:lnTo>
                                <a:pt x="45537" y="75163"/>
                              </a:lnTo>
                              <a:lnTo>
                                <a:pt x="63642" y="61996"/>
                              </a:lnTo>
                              <a:lnTo>
                                <a:pt x="154716" y="65288"/>
                              </a:lnTo>
                              <a:lnTo>
                                <a:pt x="164043" y="81747"/>
                              </a:lnTo>
                              <a:lnTo>
                                <a:pt x="170078" y="81747"/>
                              </a:lnTo>
                              <a:lnTo>
                                <a:pt x="182697" y="75163"/>
                              </a:lnTo>
                              <a:lnTo>
                                <a:pt x="185989" y="61996"/>
                              </a:lnTo>
                              <a:lnTo>
                                <a:pt x="207935" y="32918"/>
                              </a:lnTo>
                              <a:lnTo>
                                <a:pt x="241950" y="16459"/>
                              </a:lnTo>
                              <a:lnTo>
                                <a:pt x="351678" y="0"/>
                              </a:lnTo>
                              <a:lnTo>
                                <a:pt x="390632" y="94366"/>
                              </a:lnTo>
                              <a:close/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221" name="Graphic 7">
                          <a:extLst>
                            <a:ext uri="{FF2B5EF4-FFF2-40B4-BE49-F238E27FC236}">
                              <a16:creationId xmlns:a16="http://schemas.microsoft.com/office/drawing/2014/main" id="{00BC5717-BB77-C1E3-BA0F-B5BD3D94E1BA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504428" y="4827989"/>
                          <a:ext cx="207891" cy="415354"/>
                        </a:xfrm>
                        <a:custGeom>
                          <a:avLst/>
                          <a:gdLst>
                            <a:gd name="connsiteX0" fmla="*/ 43343 w 266090"/>
                            <a:gd name="connsiteY0" fmla="*/ 157460 h 531632"/>
                            <a:gd name="connsiteX1" fmla="*/ 47183 w 266090"/>
                            <a:gd name="connsiteY1" fmla="*/ 153619 h 531632"/>
                            <a:gd name="connsiteX2" fmla="*/ 51572 w 266090"/>
                            <a:gd name="connsiteY2" fmla="*/ 155265 h 531632"/>
                            <a:gd name="connsiteX3" fmla="*/ 63094 w 266090"/>
                            <a:gd name="connsiteY3" fmla="*/ 154168 h 531632"/>
                            <a:gd name="connsiteX4" fmla="*/ 65288 w 266090"/>
                            <a:gd name="connsiteY4" fmla="*/ 151425 h 531632"/>
                            <a:gd name="connsiteX5" fmla="*/ 72969 w 266090"/>
                            <a:gd name="connsiteY5" fmla="*/ 147035 h 531632"/>
                            <a:gd name="connsiteX6" fmla="*/ 74066 w 266090"/>
                            <a:gd name="connsiteY6" fmla="*/ 150328 h 531632"/>
                            <a:gd name="connsiteX7" fmla="*/ 76810 w 266090"/>
                            <a:gd name="connsiteY7" fmla="*/ 151973 h 531632"/>
                            <a:gd name="connsiteX8" fmla="*/ 80650 w 266090"/>
                            <a:gd name="connsiteY8" fmla="*/ 147584 h 531632"/>
                            <a:gd name="connsiteX9" fmla="*/ 84491 w 266090"/>
                            <a:gd name="connsiteY9" fmla="*/ 149230 h 531632"/>
                            <a:gd name="connsiteX10" fmla="*/ 88331 w 266090"/>
                            <a:gd name="connsiteY10" fmla="*/ 144841 h 531632"/>
                            <a:gd name="connsiteX11" fmla="*/ 89428 w 266090"/>
                            <a:gd name="connsiteY11" fmla="*/ 139903 h 531632"/>
                            <a:gd name="connsiteX12" fmla="*/ 96012 w 266090"/>
                            <a:gd name="connsiteY12" fmla="*/ 138257 h 531632"/>
                            <a:gd name="connsiteX13" fmla="*/ 99852 w 266090"/>
                            <a:gd name="connsiteY13" fmla="*/ 141001 h 531632"/>
                            <a:gd name="connsiteX14" fmla="*/ 104242 w 266090"/>
                            <a:gd name="connsiteY14" fmla="*/ 136612 h 531632"/>
                            <a:gd name="connsiteX15" fmla="*/ 108082 w 266090"/>
                            <a:gd name="connsiteY15" fmla="*/ 137709 h 531632"/>
                            <a:gd name="connsiteX16" fmla="*/ 111374 w 266090"/>
                            <a:gd name="connsiteY16" fmla="*/ 144841 h 531632"/>
                            <a:gd name="connsiteX17" fmla="*/ 116312 w 266090"/>
                            <a:gd name="connsiteY17" fmla="*/ 149779 h 531632"/>
                            <a:gd name="connsiteX18" fmla="*/ 121798 w 266090"/>
                            <a:gd name="connsiteY18" fmla="*/ 150876 h 531632"/>
                            <a:gd name="connsiteX19" fmla="*/ 126187 w 266090"/>
                            <a:gd name="connsiteY19" fmla="*/ 150328 h 531632"/>
                            <a:gd name="connsiteX20" fmla="*/ 124541 w 266090"/>
                            <a:gd name="connsiteY20" fmla="*/ 144292 h 531632"/>
                            <a:gd name="connsiteX21" fmla="*/ 117409 w 266090"/>
                            <a:gd name="connsiteY21" fmla="*/ 137709 h 531632"/>
                            <a:gd name="connsiteX22" fmla="*/ 117958 w 266090"/>
                            <a:gd name="connsiteY22" fmla="*/ 131125 h 531632"/>
                            <a:gd name="connsiteX23" fmla="*/ 125090 w 266090"/>
                            <a:gd name="connsiteY23" fmla="*/ 123444 h 531632"/>
                            <a:gd name="connsiteX24" fmla="*/ 133319 w 266090"/>
                            <a:gd name="connsiteY24" fmla="*/ 118506 h 531632"/>
                            <a:gd name="connsiteX25" fmla="*/ 138257 w 266090"/>
                            <a:gd name="connsiteY25" fmla="*/ 120701 h 531632"/>
                            <a:gd name="connsiteX26" fmla="*/ 139355 w 266090"/>
                            <a:gd name="connsiteY26" fmla="*/ 129479 h 531632"/>
                            <a:gd name="connsiteX27" fmla="*/ 144841 w 266090"/>
                            <a:gd name="connsiteY27" fmla="*/ 130028 h 531632"/>
                            <a:gd name="connsiteX28" fmla="*/ 148681 w 266090"/>
                            <a:gd name="connsiteY28" fmla="*/ 127285 h 531632"/>
                            <a:gd name="connsiteX29" fmla="*/ 142098 w 266090"/>
                            <a:gd name="connsiteY29" fmla="*/ 114666 h 531632"/>
                            <a:gd name="connsiteX30" fmla="*/ 152522 w 266090"/>
                            <a:gd name="connsiteY30" fmla="*/ 103144 h 531632"/>
                            <a:gd name="connsiteX31" fmla="*/ 150876 w 266090"/>
                            <a:gd name="connsiteY31" fmla="*/ 101498 h 531632"/>
                            <a:gd name="connsiteX32" fmla="*/ 155814 w 266090"/>
                            <a:gd name="connsiteY32" fmla="*/ 96561 h 531632"/>
                            <a:gd name="connsiteX33" fmla="*/ 158008 w 266090"/>
                            <a:gd name="connsiteY33" fmla="*/ 101498 h 531632"/>
                            <a:gd name="connsiteX34" fmla="*/ 156362 w 266090"/>
                            <a:gd name="connsiteY34" fmla="*/ 109728 h 531632"/>
                            <a:gd name="connsiteX35" fmla="*/ 167335 w 266090"/>
                            <a:gd name="connsiteY35" fmla="*/ 96012 h 531632"/>
                            <a:gd name="connsiteX36" fmla="*/ 172822 w 266090"/>
                            <a:gd name="connsiteY36" fmla="*/ 96561 h 531632"/>
                            <a:gd name="connsiteX37" fmla="*/ 176662 w 266090"/>
                            <a:gd name="connsiteY37" fmla="*/ 95463 h 531632"/>
                            <a:gd name="connsiteX38" fmla="*/ 175016 w 266090"/>
                            <a:gd name="connsiteY38" fmla="*/ 92720 h 531632"/>
                            <a:gd name="connsiteX39" fmla="*/ 168981 w 266090"/>
                            <a:gd name="connsiteY39" fmla="*/ 91074 h 531632"/>
                            <a:gd name="connsiteX40" fmla="*/ 165689 w 266090"/>
                            <a:gd name="connsiteY40" fmla="*/ 85588 h 531632"/>
                            <a:gd name="connsiteX41" fmla="*/ 172822 w 266090"/>
                            <a:gd name="connsiteY41" fmla="*/ 73518 h 531632"/>
                            <a:gd name="connsiteX42" fmla="*/ 176662 w 266090"/>
                            <a:gd name="connsiteY42" fmla="*/ 77907 h 531632"/>
                            <a:gd name="connsiteX43" fmla="*/ 177211 w 266090"/>
                            <a:gd name="connsiteY43" fmla="*/ 69129 h 531632"/>
                            <a:gd name="connsiteX44" fmla="*/ 172822 w 266090"/>
                            <a:gd name="connsiteY44" fmla="*/ 55961 h 531632"/>
                            <a:gd name="connsiteX45" fmla="*/ 175016 w 266090"/>
                            <a:gd name="connsiteY45" fmla="*/ 53218 h 531632"/>
                            <a:gd name="connsiteX46" fmla="*/ 182148 w 266090"/>
                            <a:gd name="connsiteY46" fmla="*/ 55413 h 531632"/>
                            <a:gd name="connsiteX47" fmla="*/ 184892 w 266090"/>
                            <a:gd name="connsiteY47" fmla="*/ 63094 h 531632"/>
                            <a:gd name="connsiteX48" fmla="*/ 193670 w 266090"/>
                            <a:gd name="connsiteY48" fmla="*/ 50475 h 531632"/>
                            <a:gd name="connsiteX49" fmla="*/ 194767 w 266090"/>
                            <a:gd name="connsiteY49" fmla="*/ 42794 h 531632"/>
                            <a:gd name="connsiteX50" fmla="*/ 199705 w 266090"/>
                            <a:gd name="connsiteY50" fmla="*/ 46634 h 531632"/>
                            <a:gd name="connsiteX51" fmla="*/ 206289 w 266090"/>
                            <a:gd name="connsiteY51" fmla="*/ 42245 h 531632"/>
                            <a:gd name="connsiteX52" fmla="*/ 210129 w 266090"/>
                            <a:gd name="connsiteY52" fmla="*/ 16459 h 531632"/>
                            <a:gd name="connsiteX53" fmla="*/ 206289 w 266090"/>
                            <a:gd name="connsiteY53" fmla="*/ 10424 h 531632"/>
                            <a:gd name="connsiteX54" fmla="*/ 209032 w 266090"/>
                            <a:gd name="connsiteY54" fmla="*/ 11521 h 531632"/>
                            <a:gd name="connsiteX55" fmla="*/ 216164 w 266090"/>
                            <a:gd name="connsiteY55" fmla="*/ 3292 h 531632"/>
                            <a:gd name="connsiteX56" fmla="*/ 221102 w 266090"/>
                            <a:gd name="connsiteY56" fmla="*/ 0 h 531632"/>
                            <a:gd name="connsiteX57" fmla="*/ 241950 w 266090"/>
                            <a:gd name="connsiteY57" fmla="*/ 23043 h 531632"/>
                            <a:gd name="connsiteX58" fmla="*/ 266090 w 266090"/>
                            <a:gd name="connsiteY58" fmla="*/ 135514 h 531632"/>
                            <a:gd name="connsiteX59" fmla="*/ 262799 w 266090"/>
                            <a:gd name="connsiteY59" fmla="*/ 143744 h 531632"/>
                            <a:gd name="connsiteX60" fmla="*/ 257312 w 266090"/>
                            <a:gd name="connsiteY60" fmla="*/ 144841 h 531632"/>
                            <a:gd name="connsiteX61" fmla="*/ 250180 w 266090"/>
                            <a:gd name="connsiteY61" fmla="*/ 125090 h 531632"/>
                            <a:gd name="connsiteX62" fmla="*/ 244145 w 266090"/>
                            <a:gd name="connsiteY62" fmla="*/ 125639 h 531632"/>
                            <a:gd name="connsiteX63" fmla="*/ 241402 w 266090"/>
                            <a:gd name="connsiteY63" fmla="*/ 152522 h 531632"/>
                            <a:gd name="connsiteX64" fmla="*/ 246339 w 266090"/>
                            <a:gd name="connsiteY64" fmla="*/ 160751 h 531632"/>
                            <a:gd name="connsiteX65" fmla="*/ 246339 w 266090"/>
                            <a:gd name="connsiteY65" fmla="*/ 171724 h 531632"/>
                            <a:gd name="connsiteX66" fmla="*/ 233721 w 266090"/>
                            <a:gd name="connsiteY66" fmla="*/ 193670 h 531632"/>
                            <a:gd name="connsiteX67" fmla="*/ 217810 w 266090"/>
                            <a:gd name="connsiteY67" fmla="*/ 271577 h 531632"/>
                            <a:gd name="connsiteX68" fmla="*/ 216713 w 266090"/>
                            <a:gd name="connsiteY68" fmla="*/ 271577 h 531632"/>
                            <a:gd name="connsiteX69" fmla="*/ 143744 w 266090"/>
                            <a:gd name="connsiteY69" fmla="*/ 503652 h 531632"/>
                            <a:gd name="connsiteX70" fmla="*/ 137160 w 266090"/>
                            <a:gd name="connsiteY70" fmla="*/ 510235 h 531632"/>
                            <a:gd name="connsiteX71" fmla="*/ 131125 w 266090"/>
                            <a:gd name="connsiteY71" fmla="*/ 513527 h 531632"/>
                            <a:gd name="connsiteX72" fmla="*/ 125090 w 266090"/>
                            <a:gd name="connsiteY72" fmla="*/ 511881 h 531632"/>
                            <a:gd name="connsiteX73" fmla="*/ 103144 w 266090"/>
                            <a:gd name="connsiteY73" fmla="*/ 516819 h 531632"/>
                            <a:gd name="connsiteX74" fmla="*/ 81199 w 266090"/>
                            <a:gd name="connsiteY74" fmla="*/ 529986 h 531632"/>
                            <a:gd name="connsiteX75" fmla="*/ 71872 w 266090"/>
                            <a:gd name="connsiteY75" fmla="*/ 531632 h 531632"/>
                            <a:gd name="connsiteX76" fmla="*/ 32370 w 266090"/>
                            <a:gd name="connsiteY76" fmla="*/ 503652 h 531632"/>
                            <a:gd name="connsiteX77" fmla="*/ 21946 w 266090"/>
                            <a:gd name="connsiteY77" fmla="*/ 488838 h 531632"/>
                            <a:gd name="connsiteX78" fmla="*/ 15911 w 266090"/>
                            <a:gd name="connsiteY78" fmla="*/ 454274 h 531632"/>
                            <a:gd name="connsiteX79" fmla="*/ 18654 w 266090"/>
                            <a:gd name="connsiteY79" fmla="*/ 447690 h 531632"/>
                            <a:gd name="connsiteX80" fmla="*/ 12070 w 266090"/>
                            <a:gd name="connsiteY80" fmla="*/ 427391 h 531632"/>
                            <a:gd name="connsiteX81" fmla="*/ 5486 w 266090"/>
                            <a:gd name="connsiteY81" fmla="*/ 421904 h 531632"/>
                            <a:gd name="connsiteX82" fmla="*/ 1097 w 266090"/>
                            <a:gd name="connsiteY82" fmla="*/ 410932 h 531632"/>
                            <a:gd name="connsiteX83" fmla="*/ 0 w 266090"/>
                            <a:gd name="connsiteY83" fmla="*/ 380207 h 531632"/>
                            <a:gd name="connsiteX84" fmla="*/ 14265 w 266090"/>
                            <a:gd name="connsiteY84" fmla="*/ 355519 h 531632"/>
                            <a:gd name="connsiteX85" fmla="*/ 19751 w 266090"/>
                            <a:gd name="connsiteY85" fmla="*/ 353324 h 531632"/>
                            <a:gd name="connsiteX86" fmla="*/ 37856 w 266090"/>
                            <a:gd name="connsiteY86" fmla="*/ 312725 h 531632"/>
                            <a:gd name="connsiteX87" fmla="*/ 43891 w 266090"/>
                            <a:gd name="connsiteY87" fmla="*/ 305044 h 531632"/>
                            <a:gd name="connsiteX88" fmla="*/ 47183 w 266090"/>
                            <a:gd name="connsiteY88" fmla="*/ 297911 h 531632"/>
                            <a:gd name="connsiteX89" fmla="*/ 46086 w 266090"/>
                            <a:gd name="connsiteY89" fmla="*/ 290779 h 531632"/>
                            <a:gd name="connsiteX90" fmla="*/ 48829 w 266090"/>
                            <a:gd name="connsiteY90" fmla="*/ 286939 h 531632"/>
                            <a:gd name="connsiteX91" fmla="*/ 32918 w 266090"/>
                            <a:gd name="connsiteY91" fmla="*/ 238110 h 531632"/>
                            <a:gd name="connsiteX92" fmla="*/ 32370 w 266090"/>
                            <a:gd name="connsiteY92" fmla="*/ 217810 h 531632"/>
                            <a:gd name="connsiteX93" fmla="*/ 25237 w 266090"/>
                            <a:gd name="connsiteY93" fmla="*/ 206837 h 531632"/>
                            <a:gd name="connsiteX94" fmla="*/ 43891 w 266090"/>
                            <a:gd name="connsiteY94" fmla="*/ 168981 h 531632"/>
                            <a:gd name="connsiteX95" fmla="*/ 43343 w 266090"/>
                            <a:gd name="connsiteY95" fmla="*/ 157460 h 531632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  <a:cxn ang="0">
                              <a:pos x="connsiteX11" y="connsiteY11"/>
                            </a:cxn>
                            <a:cxn ang="0">
                              <a:pos x="connsiteX12" y="connsiteY12"/>
                            </a:cxn>
                            <a:cxn ang="0">
                              <a:pos x="connsiteX13" y="connsiteY13"/>
                            </a:cxn>
                            <a:cxn ang="0">
                              <a:pos x="connsiteX14" y="connsiteY14"/>
                            </a:cxn>
                            <a:cxn ang="0">
                              <a:pos x="connsiteX15" y="connsiteY15"/>
                            </a:cxn>
                            <a:cxn ang="0">
                              <a:pos x="connsiteX16" y="connsiteY16"/>
                            </a:cxn>
                            <a:cxn ang="0">
                              <a:pos x="connsiteX17" y="connsiteY17"/>
                            </a:cxn>
                            <a:cxn ang="0">
                              <a:pos x="connsiteX18" y="connsiteY18"/>
                            </a:cxn>
                            <a:cxn ang="0">
                              <a:pos x="connsiteX19" y="connsiteY19"/>
                            </a:cxn>
                            <a:cxn ang="0">
                              <a:pos x="connsiteX20" y="connsiteY20"/>
                            </a:cxn>
                            <a:cxn ang="0">
                              <a:pos x="connsiteX21" y="connsiteY21"/>
                            </a:cxn>
                            <a:cxn ang="0">
                              <a:pos x="connsiteX22" y="connsiteY22"/>
                            </a:cxn>
                            <a:cxn ang="0">
                              <a:pos x="connsiteX23" y="connsiteY23"/>
                            </a:cxn>
                            <a:cxn ang="0">
                              <a:pos x="connsiteX24" y="connsiteY24"/>
                            </a:cxn>
                            <a:cxn ang="0">
                              <a:pos x="connsiteX25" y="connsiteY25"/>
                            </a:cxn>
                            <a:cxn ang="0">
                              <a:pos x="connsiteX26" y="connsiteY26"/>
                            </a:cxn>
                            <a:cxn ang="0">
                              <a:pos x="connsiteX27" y="connsiteY27"/>
                            </a:cxn>
                            <a:cxn ang="0">
                              <a:pos x="connsiteX28" y="connsiteY28"/>
                            </a:cxn>
                            <a:cxn ang="0">
                              <a:pos x="connsiteX29" y="connsiteY29"/>
                            </a:cxn>
                            <a:cxn ang="0">
                              <a:pos x="connsiteX30" y="connsiteY30"/>
                            </a:cxn>
                            <a:cxn ang="0">
                              <a:pos x="connsiteX31" y="connsiteY31"/>
                            </a:cxn>
                            <a:cxn ang="0">
                              <a:pos x="connsiteX32" y="connsiteY32"/>
                            </a:cxn>
                            <a:cxn ang="0">
                              <a:pos x="connsiteX33" y="connsiteY33"/>
                            </a:cxn>
                            <a:cxn ang="0">
                              <a:pos x="connsiteX34" y="connsiteY34"/>
                            </a:cxn>
                            <a:cxn ang="0">
                              <a:pos x="connsiteX35" y="connsiteY35"/>
                            </a:cxn>
                            <a:cxn ang="0">
                              <a:pos x="connsiteX36" y="connsiteY36"/>
                            </a:cxn>
                            <a:cxn ang="0">
                              <a:pos x="connsiteX37" y="connsiteY37"/>
                            </a:cxn>
                            <a:cxn ang="0">
                              <a:pos x="connsiteX38" y="connsiteY38"/>
                            </a:cxn>
                            <a:cxn ang="0">
                              <a:pos x="connsiteX39" y="connsiteY39"/>
                            </a:cxn>
                            <a:cxn ang="0">
                              <a:pos x="connsiteX40" y="connsiteY40"/>
                            </a:cxn>
                            <a:cxn ang="0">
                              <a:pos x="connsiteX41" y="connsiteY41"/>
                            </a:cxn>
                            <a:cxn ang="0">
                              <a:pos x="connsiteX42" y="connsiteY42"/>
                            </a:cxn>
                            <a:cxn ang="0">
                              <a:pos x="connsiteX43" y="connsiteY43"/>
                            </a:cxn>
                            <a:cxn ang="0">
                              <a:pos x="connsiteX44" y="connsiteY44"/>
                            </a:cxn>
                            <a:cxn ang="0">
                              <a:pos x="connsiteX45" y="connsiteY45"/>
                            </a:cxn>
                            <a:cxn ang="0">
                              <a:pos x="connsiteX46" y="connsiteY46"/>
                            </a:cxn>
                            <a:cxn ang="0">
                              <a:pos x="connsiteX47" y="connsiteY47"/>
                            </a:cxn>
                            <a:cxn ang="0">
                              <a:pos x="connsiteX48" y="connsiteY48"/>
                            </a:cxn>
                            <a:cxn ang="0">
                              <a:pos x="connsiteX49" y="connsiteY49"/>
                            </a:cxn>
                            <a:cxn ang="0">
                              <a:pos x="connsiteX50" y="connsiteY50"/>
                            </a:cxn>
                            <a:cxn ang="0">
                              <a:pos x="connsiteX51" y="connsiteY51"/>
                            </a:cxn>
                            <a:cxn ang="0">
                              <a:pos x="connsiteX52" y="connsiteY52"/>
                            </a:cxn>
                            <a:cxn ang="0">
                              <a:pos x="connsiteX53" y="connsiteY53"/>
                            </a:cxn>
                            <a:cxn ang="0">
                              <a:pos x="connsiteX54" y="connsiteY54"/>
                            </a:cxn>
                            <a:cxn ang="0">
                              <a:pos x="connsiteX55" y="connsiteY55"/>
                            </a:cxn>
                            <a:cxn ang="0">
                              <a:pos x="connsiteX56" y="connsiteY56"/>
                            </a:cxn>
                            <a:cxn ang="0">
                              <a:pos x="connsiteX57" y="connsiteY57"/>
                            </a:cxn>
                            <a:cxn ang="0">
                              <a:pos x="connsiteX58" y="connsiteY58"/>
                            </a:cxn>
                            <a:cxn ang="0">
                              <a:pos x="connsiteX59" y="connsiteY59"/>
                            </a:cxn>
                            <a:cxn ang="0">
                              <a:pos x="connsiteX60" y="connsiteY60"/>
                            </a:cxn>
                            <a:cxn ang="0">
                              <a:pos x="connsiteX61" y="connsiteY61"/>
                            </a:cxn>
                            <a:cxn ang="0">
                              <a:pos x="connsiteX62" y="connsiteY62"/>
                            </a:cxn>
                            <a:cxn ang="0">
                              <a:pos x="connsiteX63" y="connsiteY63"/>
                            </a:cxn>
                            <a:cxn ang="0">
                              <a:pos x="connsiteX64" y="connsiteY64"/>
                            </a:cxn>
                            <a:cxn ang="0">
                              <a:pos x="connsiteX65" y="connsiteY65"/>
                            </a:cxn>
                            <a:cxn ang="0">
                              <a:pos x="connsiteX66" y="connsiteY66"/>
                            </a:cxn>
                            <a:cxn ang="0">
                              <a:pos x="connsiteX67" y="connsiteY67"/>
                            </a:cxn>
                            <a:cxn ang="0">
                              <a:pos x="connsiteX68" y="connsiteY68"/>
                            </a:cxn>
                            <a:cxn ang="0">
                              <a:pos x="connsiteX69" y="connsiteY69"/>
                            </a:cxn>
                            <a:cxn ang="0">
                              <a:pos x="connsiteX70" y="connsiteY70"/>
                            </a:cxn>
                            <a:cxn ang="0">
                              <a:pos x="connsiteX71" y="connsiteY71"/>
                            </a:cxn>
                            <a:cxn ang="0">
                              <a:pos x="connsiteX72" y="connsiteY72"/>
                            </a:cxn>
                            <a:cxn ang="0">
                              <a:pos x="connsiteX73" y="connsiteY73"/>
                            </a:cxn>
                            <a:cxn ang="0">
                              <a:pos x="connsiteX74" y="connsiteY74"/>
                            </a:cxn>
                            <a:cxn ang="0">
                              <a:pos x="connsiteX75" y="connsiteY75"/>
                            </a:cxn>
                            <a:cxn ang="0">
                              <a:pos x="connsiteX76" y="connsiteY76"/>
                            </a:cxn>
                            <a:cxn ang="0">
                              <a:pos x="connsiteX77" y="connsiteY77"/>
                            </a:cxn>
                            <a:cxn ang="0">
                              <a:pos x="connsiteX78" y="connsiteY78"/>
                            </a:cxn>
                            <a:cxn ang="0">
                              <a:pos x="connsiteX79" y="connsiteY79"/>
                            </a:cxn>
                            <a:cxn ang="0">
                              <a:pos x="connsiteX80" y="connsiteY80"/>
                            </a:cxn>
                            <a:cxn ang="0">
                              <a:pos x="connsiteX81" y="connsiteY81"/>
                            </a:cxn>
                            <a:cxn ang="0">
                              <a:pos x="connsiteX82" y="connsiteY82"/>
                            </a:cxn>
                            <a:cxn ang="0">
                              <a:pos x="connsiteX83" y="connsiteY83"/>
                            </a:cxn>
                            <a:cxn ang="0">
                              <a:pos x="connsiteX84" y="connsiteY84"/>
                            </a:cxn>
                            <a:cxn ang="0">
                              <a:pos x="connsiteX85" y="connsiteY85"/>
                            </a:cxn>
                            <a:cxn ang="0">
                              <a:pos x="connsiteX86" y="connsiteY86"/>
                            </a:cxn>
                            <a:cxn ang="0">
                              <a:pos x="connsiteX87" y="connsiteY87"/>
                            </a:cxn>
                            <a:cxn ang="0">
                              <a:pos x="connsiteX88" y="connsiteY88"/>
                            </a:cxn>
                            <a:cxn ang="0">
                              <a:pos x="connsiteX89" y="connsiteY89"/>
                            </a:cxn>
                            <a:cxn ang="0">
                              <a:pos x="connsiteX90" y="connsiteY90"/>
                            </a:cxn>
                            <a:cxn ang="0">
                              <a:pos x="connsiteX91" y="connsiteY91"/>
                            </a:cxn>
                            <a:cxn ang="0">
                              <a:pos x="connsiteX92" y="connsiteY92"/>
                            </a:cxn>
                            <a:cxn ang="0">
                              <a:pos x="connsiteX93" y="connsiteY93"/>
                            </a:cxn>
                            <a:cxn ang="0">
                              <a:pos x="connsiteX94" y="connsiteY94"/>
                            </a:cxn>
                            <a:cxn ang="0">
                              <a:pos x="connsiteX95" y="connsiteY95"/>
                            </a:cxn>
                          </a:cxnLst>
                          <a:rect l="l" t="t" r="r" b="b"/>
                          <a:pathLst>
                            <a:path w="266090" h="531632">
                              <a:moveTo>
                                <a:pt x="43343" y="157460"/>
                              </a:moveTo>
                              <a:lnTo>
                                <a:pt x="47183" y="153619"/>
                              </a:lnTo>
                              <a:lnTo>
                                <a:pt x="51572" y="155265"/>
                              </a:lnTo>
                              <a:lnTo>
                                <a:pt x="63094" y="154168"/>
                              </a:lnTo>
                              <a:lnTo>
                                <a:pt x="65288" y="151425"/>
                              </a:lnTo>
                              <a:lnTo>
                                <a:pt x="72969" y="147035"/>
                              </a:lnTo>
                              <a:lnTo>
                                <a:pt x="74066" y="150328"/>
                              </a:lnTo>
                              <a:lnTo>
                                <a:pt x="76810" y="151973"/>
                              </a:lnTo>
                              <a:lnTo>
                                <a:pt x="80650" y="147584"/>
                              </a:lnTo>
                              <a:lnTo>
                                <a:pt x="84491" y="149230"/>
                              </a:lnTo>
                              <a:lnTo>
                                <a:pt x="88331" y="144841"/>
                              </a:lnTo>
                              <a:lnTo>
                                <a:pt x="89428" y="139903"/>
                              </a:lnTo>
                              <a:lnTo>
                                <a:pt x="96012" y="138257"/>
                              </a:lnTo>
                              <a:lnTo>
                                <a:pt x="99852" y="141001"/>
                              </a:lnTo>
                              <a:lnTo>
                                <a:pt x="104242" y="136612"/>
                              </a:lnTo>
                              <a:lnTo>
                                <a:pt x="108082" y="137709"/>
                              </a:lnTo>
                              <a:lnTo>
                                <a:pt x="111374" y="144841"/>
                              </a:lnTo>
                              <a:lnTo>
                                <a:pt x="116312" y="149779"/>
                              </a:lnTo>
                              <a:lnTo>
                                <a:pt x="121798" y="150876"/>
                              </a:lnTo>
                              <a:lnTo>
                                <a:pt x="126187" y="150328"/>
                              </a:lnTo>
                              <a:lnTo>
                                <a:pt x="124541" y="144292"/>
                              </a:lnTo>
                              <a:lnTo>
                                <a:pt x="117409" y="137709"/>
                              </a:lnTo>
                              <a:lnTo>
                                <a:pt x="117958" y="131125"/>
                              </a:lnTo>
                              <a:lnTo>
                                <a:pt x="125090" y="123444"/>
                              </a:lnTo>
                              <a:lnTo>
                                <a:pt x="133319" y="118506"/>
                              </a:lnTo>
                              <a:lnTo>
                                <a:pt x="138257" y="120701"/>
                              </a:lnTo>
                              <a:lnTo>
                                <a:pt x="139355" y="129479"/>
                              </a:lnTo>
                              <a:lnTo>
                                <a:pt x="144841" y="130028"/>
                              </a:lnTo>
                              <a:lnTo>
                                <a:pt x="148681" y="127285"/>
                              </a:lnTo>
                              <a:lnTo>
                                <a:pt x="142098" y="114666"/>
                              </a:lnTo>
                              <a:lnTo>
                                <a:pt x="152522" y="103144"/>
                              </a:lnTo>
                              <a:lnTo>
                                <a:pt x="150876" y="101498"/>
                              </a:lnTo>
                              <a:lnTo>
                                <a:pt x="155814" y="96561"/>
                              </a:lnTo>
                              <a:lnTo>
                                <a:pt x="158008" y="101498"/>
                              </a:lnTo>
                              <a:lnTo>
                                <a:pt x="156362" y="109728"/>
                              </a:lnTo>
                              <a:lnTo>
                                <a:pt x="167335" y="96012"/>
                              </a:lnTo>
                              <a:lnTo>
                                <a:pt x="172822" y="96561"/>
                              </a:lnTo>
                              <a:lnTo>
                                <a:pt x="176662" y="95463"/>
                              </a:lnTo>
                              <a:lnTo>
                                <a:pt x="175016" y="92720"/>
                              </a:lnTo>
                              <a:lnTo>
                                <a:pt x="168981" y="91074"/>
                              </a:lnTo>
                              <a:lnTo>
                                <a:pt x="165689" y="85588"/>
                              </a:lnTo>
                              <a:lnTo>
                                <a:pt x="172822" y="73518"/>
                              </a:lnTo>
                              <a:lnTo>
                                <a:pt x="176662" y="77907"/>
                              </a:lnTo>
                              <a:lnTo>
                                <a:pt x="177211" y="69129"/>
                              </a:lnTo>
                              <a:lnTo>
                                <a:pt x="172822" y="55961"/>
                              </a:lnTo>
                              <a:lnTo>
                                <a:pt x="175016" y="53218"/>
                              </a:lnTo>
                              <a:lnTo>
                                <a:pt x="182148" y="55413"/>
                              </a:lnTo>
                              <a:lnTo>
                                <a:pt x="184892" y="63094"/>
                              </a:lnTo>
                              <a:lnTo>
                                <a:pt x="193670" y="50475"/>
                              </a:lnTo>
                              <a:lnTo>
                                <a:pt x="194767" y="42794"/>
                              </a:lnTo>
                              <a:lnTo>
                                <a:pt x="199705" y="46634"/>
                              </a:lnTo>
                              <a:lnTo>
                                <a:pt x="206289" y="42245"/>
                              </a:lnTo>
                              <a:lnTo>
                                <a:pt x="210129" y="16459"/>
                              </a:lnTo>
                              <a:lnTo>
                                <a:pt x="206289" y="10424"/>
                              </a:lnTo>
                              <a:lnTo>
                                <a:pt x="209032" y="11521"/>
                              </a:lnTo>
                              <a:lnTo>
                                <a:pt x="216164" y="3292"/>
                              </a:lnTo>
                              <a:lnTo>
                                <a:pt x="221102" y="0"/>
                              </a:lnTo>
                              <a:lnTo>
                                <a:pt x="241950" y="23043"/>
                              </a:lnTo>
                              <a:lnTo>
                                <a:pt x="266090" y="135514"/>
                              </a:lnTo>
                              <a:lnTo>
                                <a:pt x="262799" y="143744"/>
                              </a:lnTo>
                              <a:lnTo>
                                <a:pt x="257312" y="144841"/>
                              </a:lnTo>
                              <a:lnTo>
                                <a:pt x="250180" y="125090"/>
                              </a:lnTo>
                              <a:lnTo>
                                <a:pt x="244145" y="125639"/>
                              </a:lnTo>
                              <a:lnTo>
                                <a:pt x="241402" y="152522"/>
                              </a:lnTo>
                              <a:lnTo>
                                <a:pt x="246339" y="160751"/>
                              </a:lnTo>
                              <a:lnTo>
                                <a:pt x="246339" y="171724"/>
                              </a:lnTo>
                              <a:lnTo>
                                <a:pt x="233721" y="193670"/>
                              </a:lnTo>
                              <a:lnTo>
                                <a:pt x="217810" y="271577"/>
                              </a:lnTo>
                              <a:lnTo>
                                <a:pt x="216713" y="271577"/>
                              </a:lnTo>
                              <a:lnTo>
                                <a:pt x="143744" y="503652"/>
                              </a:lnTo>
                              <a:lnTo>
                                <a:pt x="137160" y="510235"/>
                              </a:lnTo>
                              <a:lnTo>
                                <a:pt x="131125" y="513527"/>
                              </a:lnTo>
                              <a:lnTo>
                                <a:pt x="125090" y="511881"/>
                              </a:lnTo>
                              <a:lnTo>
                                <a:pt x="103144" y="516819"/>
                              </a:lnTo>
                              <a:lnTo>
                                <a:pt x="81199" y="529986"/>
                              </a:lnTo>
                              <a:lnTo>
                                <a:pt x="71872" y="531632"/>
                              </a:lnTo>
                              <a:lnTo>
                                <a:pt x="32370" y="503652"/>
                              </a:lnTo>
                              <a:lnTo>
                                <a:pt x="21946" y="488838"/>
                              </a:lnTo>
                              <a:lnTo>
                                <a:pt x="15911" y="454274"/>
                              </a:lnTo>
                              <a:lnTo>
                                <a:pt x="18654" y="447690"/>
                              </a:lnTo>
                              <a:lnTo>
                                <a:pt x="12070" y="427391"/>
                              </a:lnTo>
                              <a:lnTo>
                                <a:pt x="5486" y="421904"/>
                              </a:lnTo>
                              <a:lnTo>
                                <a:pt x="1097" y="410932"/>
                              </a:lnTo>
                              <a:lnTo>
                                <a:pt x="0" y="380207"/>
                              </a:lnTo>
                              <a:lnTo>
                                <a:pt x="14265" y="355519"/>
                              </a:lnTo>
                              <a:lnTo>
                                <a:pt x="19751" y="353324"/>
                              </a:lnTo>
                              <a:lnTo>
                                <a:pt x="37856" y="312725"/>
                              </a:lnTo>
                              <a:lnTo>
                                <a:pt x="43891" y="305044"/>
                              </a:lnTo>
                              <a:lnTo>
                                <a:pt x="47183" y="297911"/>
                              </a:lnTo>
                              <a:lnTo>
                                <a:pt x="46086" y="290779"/>
                              </a:lnTo>
                              <a:lnTo>
                                <a:pt x="48829" y="286939"/>
                              </a:lnTo>
                              <a:lnTo>
                                <a:pt x="32918" y="238110"/>
                              </a:lnTo>
                              <a:lnTo>
                                <a:pt x="32370" y="217810"/>
                              </a:lnTo>
                              <a:lnTo>
                                <a:pt x="25237" y="206837"/>
                              </a:lnTo>
                              <a:lnTo>
                                <a:pt x="43891" y="168981"/>
                              </a:lnTo>
                              <a:lnTo>
                                <a:pt x="43343" y="157460"/>
                              </a:lnTo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222" name="Graphic 7">
                          <a:extLst>
                            <a:ext uri="{FF2B5EF4-FFF2-40B4-BE49-F238E27FC236}">
                              <a16:creationId xmlns:a16="http://schemas.microsoft.com/office/drawing/2014/main" id="{1B9F50C1-2D90-938D-36A0-FC06652A020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5549413" y="3418184"/>
                          <a:ext cx="6858" cy="7286"/>
                        </a:xfrm>
                        <a:custGeom>
                          <a:avLst/>
                          <a:gdLst>
                            <a:gd name="connsiteX0" fmla="*/ 7132 w 8778"/>
                            <a:gd name="connsiteY0" fmla="*/ 1646 h 9326"/>
                            <a:gd name="connsiteX1" fmla="*/ 6035 w 8778"/>
                            <a:gd name="connsiteY1" fmla="*/ 0 h 9326"/>
                            <a:gd name="connsiteX2" fmla="*/ 8778 w 8778"/>
                            <a:gd name="connsiteY2" fmla="*/ 4938 h 9326"/>
                            <a:gd name="connsiteX3" fmla="*/ 8778 w 8778"/>
                            <a:gd name="connsiteY3" fmla="*/ 9327 h 9326"/>
                            <a:gd name="connsiteX4" fmla="*/ 1097 w 8778"/>
                            <a:gd name="connsiteY4" fmla="*/ 9327 h 9326"/>
                            <a:gd name="connsiteX5" fmla="*/ 0 w 8778"/>
                            <a:gd name="connsiteY5" fmla="*/ 3292 h 9326"/>
                            <a:gd name="connsiteX6" fmla="*/ 4938 w 8778"/>
                            <a:gd name="connsiteY6" fmla="*/ 0 h 9326"/>
                            <a:gd name="connsiteX7" fmla="*/ 7132 w 8778"/>
                            <a:gd name="connsiteY7" fmla="*/ 1646 h 9326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</a:cxnLst>
                          <a:rect l="l" t="t" r="r" b="b"/>
                          <a:pathLst>
                            <a:path w="8778" h="9326">
                              <a:moveTo>
                                <a:pt x="7132" y="1646"/>
                              </a:moveTo>
                              <a:lnTo>
                                <a:pt x="6035" y="0"/>
                              </a:lnTo>
                              <a:lnTo>
                                <a:pt x="8778" y="4938"/>
                              </a:lnTo>
                              <a:lnTo>
                                <a:pt x="8778" y="9327"/>
                              </a:lnTo>
                              <a:lnTo>
                                <a:pt x="1097" y="9327"/>
                              </a:lnTo>
                              <a:lnTo>
                                <a:pt x="0" y="3292"/>
                              </a:lnTo>
                              <a:lnTo>
                                <a:pt x="4938" y="0"/>
                              </a:lnTo>
                              <a:lnTo>
                                <a:pt x="7132" y="1646"/>
                              </a:lnTo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223" name="Graphic 7">
                          <a:extLst>
                            <a:ext uri="{FF2B5EF4-FFF2-40B4-BE49-F238E27FC236}">
                              <a16:creationId xmlns:a16="http://schemas.microsoft.com/office/drawing/2014/main" id="{04702BC6-39FD-EBBE-DA7C-F7E84565555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5086908" y="4027713"/>
                          <a:ext cx="222036" cy="164170"/>
                        </a:xfrm>
                        <a:custGeom>
                          <a:avLst/>
                          <a:gdLst>
                            <a:gd name="connsiteX0" fmla="*/ 200802 w 284195"/>
                            <a:gd name="connsiteY0" fmla="*/ 0 h 210129"/>
                            <a:gd name="connsiteX1" fmla="*/ 177759 w 284195"/>
                            <a:gd name="connsiteY1" fmla="*/ 1097 h 210129"/>
                            <a:gd name="connsiteX2" fmla="*/ 123444 w 284195"/>
                            <a:gd name="connsiteY2" fmla="*/ 34016 h 210129"/>
                            <a:gd name="connsiteX3" fmla="*/ 114666 w 284195"/>
                            <a:gd name="connsiteY3" fmla="*/ 44440 h 210129"/>
                            <a:gd name="connsiteX4" fmla="*/ 102047 w 284195"/>
                            <a:gd name="connsiteY4" fmla="*/ 53767 h 210129"/>
                            <a:gd name="connsiteX5" fmla="*/ 54864 w 284195"/>
                            <a:gd name="connsiteY5" fmla="*/ 65837 h 210129"/>
                            <a:gd name="connsiteX6" fmla="*/ 49378 w 284195"/>
                            <a:gd name="connsiteY6" fmla="*/ 69677 h 210129"/>
                            <a:gd name="connsiteX7" fmla="*/ 30175 w 284195"/>
                            <a:gd name="connsiteY7" fmla="*/ 110825 h 210129"/>
                            <a:gd name="connsiteX8" fmla="*/ 9327 w 284195"/>
                            <a:gd name="connsiteY8" fmla="*/ 128382 h 210129"/>
                            <a:gd name="connsiteX9" fmla="*/ 0 w 284195"/>
                            <a:gd name="connsiteY9" fmla="*/ 153071 h 210129"/>
                            <a:gd name="connsiteX10" fmla="*/ 0 w 284195"/>
                            <a:gd name="connsiteY10" fmla="*/ 177760 h 210129"/>
                            <a:gd name="connsiteX11" fmla="*/ 1097 w 284195"/>
                            <a:gd name="connsiteY11" fmla="*/ 177760 h 210129"/>
                            <a:gd name="connsiteX12" fmla="*/ 1646 w 284195"/>
                            <a:gd name="connsiteY12" fmla="*/ 178857 h 210129"/>
                            <a:gd name="connsiteX13" fmla="*/ 2195 w 284195"/>
                            <a:gd name="connsiteY13" fmla="*/ 182149 h 210129"/>
                            <a:gd name="connsiteX14" fmla="*/ 2743 w 284195"/>
                            <a:gd name="connsiteY14" fmla="*/ 183246 h 210129"/>
                            <a:gd name="connsiteX15" fmla="*/ 3840 w 284195"/>
                            <a:gd name="connsiteY15" fmla="*/ 183794 h 210129"/>
                            <a:gd name="connsiteX16" fmla="*/ 6584 w 284195"/>
                            <a:gd name="connsiteY16" fmla="*/ 188183 h 210129"/>
                            <a:gd name="connsiteX17" fmla="*/ 8230 w 284195"/>
                            <a:gd name="connsiteY17" fmla="*/ 189281 h 210129"/>
                            <a:gd name="connsiteX18" fmla="*/ 9327 w 284195"/>
                            <a:gd name="connsiteY18" fmla="*/ 190927 h 210129"/>
                            <a:gd name="connsiteX19" fmla="*/ 9327 w 284195"/>
                            <a:gd name="connsiteY19" fmla="*/ 194219 h 210129"/>
                            <a:gd name="connsiteX20" fmla="*/ 11521 w 284195"/>
                            <a:gd name="connsiteY20" fmla="*/ 194219 h 210129"/>
                            <a:gd name="connsiteX21" fmla="*/ 14265 w 284195"/>
                            <a:gd name="connsiteY21" fmla="*/ 196413 h 210129"/>
                            <a:gd name="connsiteX22" fmla="*/ 14813 w 284195"/>
                            <a:gd name="connsiteY22" fmla="*/ 199156 h 210129"/>
                            <a:gd name="connsiteX23" fmla="*/ 19751 w 284195"/>
                            <a:gd name="connsiteY23" fmla="*/ 201899 h 210129"/>
                            <a:gd name="connsiteX24" fmla="*/ 19751 w 284195"/>
                            <a:gd name="connsiteY24" fmla="*/ 201351 h 210129"/>
                            <a:gd name="connsiteX25" fmla="*/ 22494 w 284195"/>
                            <a:gd name="connsiteY25" fmla="*/ 201351 h 210129"/>
                            <a:gd name="connsiteX26" fmla="*/ 23592 w 284195"/>
                            <a:gd name="connsiteY26" fmla="*/ 199156 h 210129"/>
                            <a:gd name="connsiteX27" fmla="*/ 24689 w 284195"/>
                            <a:gd name="connsiteY27" fmla="*/ 199156 h 210129"/>
                            <a:gd name="connsiteX28" fmla="*/ 25786 w 284195"/>
                            <a:gd name="connsiteY28" fmla="*/ 201899 h 210129"/>
                            <a:gd name="connsiteX29" fmla="*/ 30724 w 284195"/>
                            <a:gd name="connsiteY29" fmla="*/ 204643 h 210129"/>
                            <a:gd name="connsiteX30" fmla="*/ 33467 w 284195"/>
                            <a:gd name="connsiteY30" fmla="*/ 202448 h 210129"/>
                            <a:gd name="connsiteX31" fmla="*/ 35113 w 284195"/>
                            <a:gd name="connsiteY31" fmla="*/ 198608 h 210129"/>
                            <a:gd name="connsiteX32" fmla="*/ 59253 w 284195"/>
                            <a:gd name="connsiteY32" fmla="*/ 191476 h 210129"/>
                            <a:gd name="connsiteX33" fmla="*/ 72420 w 284195"/>
                            <a:gd name="connsiteY33" fmla="*/ 194767 h 210129"/>
                            <a:gd name="connsiteX34" fmla="*/ 75164 w 284195"/>
                            <a:gd name="connsiteY34" fmla="*/ 192024 h 210129"/>
                            <a:gd name="connsiteX35" fmla="*/ 76261 w 284195"/>
                            <a:gd name="connsiteY35" fmla="*/ 192024 h 210129"/>
                            <a:gd name="connsiteX36" fmla="*/ 80650 w 284195"/>
                            <a:gd name="connsiteY36" fmla="*/ 198608 h 210129"/>
                            <a:gd name="connsiteX37" fmla="*/ 83393 w 284195"/>
                            <a:gd name="connsiteY37" fmla="*/ 199156 h 210129"/>
                            <a:gd name="connsiteX38" fmla="*/ 87782 w 284195"/>
                            <a:gd name="connsiteY38" fmla="*/ 209032 h 210129"/>
                            <a:gd name="connsiteX39" fmla="*/ 89977 w 284195"/>
                            <a:gd name="connsiteY39" fmla="*/ 210129 h 210129"/>
                            <a:gd name="connsiteX40" fmla="*/ 93269 w 284195"/>
                            <a:gd name="connsiteY40" fmla="*/ 210129 h 210129"/>
                            <a:gd name="connsiteX41" fmla="*/ 95463 w 284195"/>
                            <a:gd name="connsiteY41" fmla="*/ 208483 h 210129"/>
                            <a:gd name="connsiteX42" fmla="*/ 93269 w 284195"/>
                            <a:gd name="connsiteY42" fmla="*/ 204094 h 210129"/>
                            <a:gd name="connsiteX43" fmla="*/ 93269 w 284195"/>
                            <a:gd name="connsiteY43" fmla="*/ 192573 h 210129"/>
                            <a:gd name="connsiteX44" fmla="*/ 91074 w 284195"/>
                            <a:gd name="connsiteY44" fmla="*/ 186538 h 210129"/>
                            <a:gd name="connsiteX45" fmla="*/ 92172 w 284195"/>
                            <a:gd name="connsiteY45" fmla="*/ 178308 h 210129"/>
                            <a:gd name="connsiteX46" fmla="*/ 89428 w 284195"/>
                            <a:gd name="connsiteY46" fmla="*/ 177211 h 210129"/>
                            <a:gd name="connsiteX47" fmla="*/ 89977 w 284195"/>
                            <a:gd name="connsiteY47" fmla="*/ 171724 h 210129"/>
                            <a:gd name="connsiteX48" fmla="*/ 87782 w 284195"/>
                            <a:gd name="connsiteY48" fmla="*/ 170078 h 210129"/>
                            <a:gd name="connsiteX49" fmla="*/ 85588 w 284195"/>
                            <a:gd name="connsiteY49" fmla="*/ 164044 h 210129"/>
                            <a:gd name="connsiteX50" fmla="*/ 86136 w 284195"/>
                            <a:gd name="connsiteY50" fmla="*/ 159106 h 210129"/>
                            <a:gd name="connsiteX51" fmla="*/ 88880 w 284195"/>
                            <a:gd name="connsiteY51" fmla="*/ 153071 h 210129"/>
                            <a:gd name="connsiteX52" fmla="*/ 164592 w 284195"/>
                            <a:gd name="connsiteY52" fmla="*/ 155814 h 210129"/>
                            <a:gd name="connsiteX53" fmla="*/ 166787 w 284195"/>
                            <a:gd name="connsiteY53" fmla="*/ 155265 h 210129"/>
                            <a:gd name="connsiteX54" fmla="*/ 175565 w 284195"/>
                            <a:gd name="connsiteY54" fmla="*/ 149779 h 210129"/>
                            <a:gd name="connsiteX55" fmla="*/ 187086 w 284195"/>
                            <a:gd name="connsiteY55" fmla="*/ 148133 h 210129"/>
                            <a:gd name="connsiteX56" fmla="*/ 187635 w 284195"/>
                            <a:gd name="connsiteY56" fmla="*/ 148682 h 210129"/>
                            <a:gd name="connsiteX57" fmla="*/ 210678 w 284195"/>
                            <a:gd name="connsiteY57" fmla="*/ 151973 h 210129"/>
                            <a:gd name="connsiteX58" fmla="*/ 213421 w 284195"/>
                            <a:gd name="connsiteY58" fmla="*/ 155814 h 210129"/>
                            <a:gd name="connsiteX59" fmla="*/ 216164 w 284195"/>
                            <a:gd name="connsiteY59" fmla="*/ 155814 h 210129"/>
                            <a:gd name="connsiteX60" fmla="*/ 217261 w 284195"/>
                            <a:gd name="connsiteY60" fmla="*/ 153619 h 210129"/>
                            <a:gd name="connsiteX61" fmla="*/ 227137 w 284195"/>
                            <a:gd name="connsiteY61" fmla="*/ 153619 h 210129"/>
                            <a:gd name="connsiteX62" fmla="*/ 230429 w 284195"/>
                            <a:gd name="connsiteY62" fmla="*/ 150328 h 210129"/>
                            <a:gd name="connsiteX63" fmla="*/ 233172 w 284195"/>
                            <a:gd name="connsiteY63" fmla="*/ 150328 h 210129"/>
                            <a:gd name="connsiteX64" fmla="*/ 234269 w 284195"/>
                            <a:gd name="connsiteY64" fmla="*/ 146487 h 210129"/>
                            <a:gd name="connsiteX65" fmla="*/ 236464 w 284195"/>
                            <a:gd name="connsiteY65" fmla="*/ 144841 h 210129"/>
                            <a:gd name="connsiteX66" fmla="*/ 237012 w 284195"/>
                            <a:gd name="connsiteY66" fmla="*/ 143744 h 210129"/>
                            <a:gd name="connsiteX67" fmla="*/ 238110 w 284195"/>
                            <a:gd name="connsiteY67" fmla="*/ 142098 h 210129"/>
                            <a:gd name="connsiteX68" fmla="*/ 241402 w 284195"/>
                            <a:gd name="connsiteY68" fmla="*/ 142646 h 210129"/>
                            <a:gd name="connsiteX69" fmla="*/ 246339 w 284195"/>
                            <a:gd name="connsiteY69" fmla="*/ 134966 h 210129"/>
                            <a:gd name="connsiteX70" fmla="*/ 247985 w 284195"/>
                            <a:gd name="connsiteY70" fmla="*/ 133868 h 210129"/>
                            <a:gd name="connsiteX71" fmla="*/ 252374 w 284195"/>
                            <a:gd name="connsiteY71" fmla="*/ 133868 h 210129"/>
                            <a:gd name="connsiteX72" fmla="*/ 257312 w 284195"/>
                            <a:gd name="connsiteY72" fmla="*/ 136063 h 210129"/>
                            <a:gd name="connsiteX73" fmla="*/ 263896 w 284195"/>
                            <a:gd name="connsiteY73" fmla="*/ 134417 h 210129"/>
                            <a:gd name="connsiteX74" fmla="*/ 268285 w 284195"/>
                            <a:gd name="connsiteY74" fmla="*/ 136063 h 210129"/>
                            <a:gd name="connsiteX75" fmla="*/ 271028 w 284195"/>
                            <a:gd name="connsiteY75" fmla="*/ 134966 h 210129"/>
                            <a:gd name="connsiteX76" fmla="*/ 279806 w 284195"/>
                            <a:gd name="connsiteY76" fmla="*/ 126736 h 210129"/>
                            <a:gd name="connsiteX77" fmla="*/ 280904 w 284195"/>
                            <a:gd name="connsiteY77" fmla="*/ 124541 h 210129"/>
                            <a:gd name="connsiteX78" fmla="*/ 280904 w 284195"/>
                            <a:gd name="connsiteY78" fmla="*/ 123993 h 210129"/>
                            <a:gd name="connsiteX79" fmla="*/ 283098 w 284195"/>
                            <a:gd name="connsiteY79" fmla="*/ 121250 h 210129"/>
                            <a:gd name="connsiteX80" fmla="*/ 284196 w 284195"/>
                            <a:gd name="connsiteY80" fmla="*/ 117958 h 210129"/>
                            <a:gd name="connsiteX81" fmla="*/ 284196 w 284195"/>
                            <a:gd name="connsiteY81" fmla="*/ 116312 h 210129"/>
                            <a:gd name="connsiteX82" fmla="*/ 283647 w 284195"/>
                            <a:gd name="connsiteY82" fmla="*/ 116860 h 210129"/>
                            <a:gd name="connsiteX83" fmla="*/ 272674 w 284195"/>
                            <a:gd name="connsiteY83" fmla="*/ 104790 h 210129"/>
                            <a:gd name="connsiteX84" fmla="*/ 271577 w 284195"/>
                            <a:gd name="connsiteY84" fmla="*/ 102047 h 210129"/>
                            <a:gd name="connsiteX85" fmla="*/ 272674 w 284195"/>
                            <a:gd name="connsiteY85" fmla="*/ 99853 h 210129"/>
                            <a:gd name="connsiteX86" fmla="*/ 274869 w 284195"/>
                            <a:gd name="connsiteY86" fmla="*/ 98755 h 210129"/>
                            <a:gd name="connsiteX87" fmla="*/ 278160 w 284195"/>
                            <a:gd name="connsiteY87" fmla="*/ 99304 h 210129"/>
                            <a:gd name="connsiteX88" fmla="*/ 278709 w 284195"/>
                            <a:gd name="connsiteY88" fmla="*/ 98207 h 210129"/>
                            <a:gd name="connsiteX89" fmla="*/ 273771 w 284195"/>
                            <a:gd name="connsiteY89" fmla="*/ 88880 h 210129"/>
                            <a:gd name="connsiteX90" fmla="*/ 269931 w 284195"/>
                            <a:gd name="connsiteY90" fmla="*/ 86685 h 210129"/>
                            <a:gd name="connsiteX91" fmla="*/ 267188 w 284195"/>
                            <a:gd name="connsiteY91" fmla="*/ 87234 h 210129"/>
                            <a:gd name="connsiteX92" fmla="*/ 263347 w 284195"/>
                            <a:gd name="connsiteY92" fmla="*/ 90526 h 210129"/>
                            <a:gd name="connsiteX93" fmla="*/ 260604 w 284195"/>
                            <a:gd name="connsiteY93" fmla="*/ 91623 h 210129"/>
                            <a:gd name="connsiteX94" fmla="*/ 257312 w 284195"/>
                            <a:gd name="connsiteY94" fmla="*/ 91623 h 210129"/>
                            <a:gd name="connsiteX95" fmla="*/ 245791 w 284195"/>
                            <a:gd name="connsiteY95" fmla="*/ 86685 h 210129"/>
                            <a:gd name="connsiteX96" fmla="*/ 206837 w 284195"/>
                            <a:gd name="connsiteY96" fmla="*/ 37856 h 210129"/>
                            <a:gd name="connsiteX97" fmla="*/ 205191 w 284195"/>
                            <a:gd name="connsiteY97" fmla="*/ 32918 h 210129"/>
                            <a:gd name="connsiteX98" fmla="*/ 205191 w 284195"/>
                            <a:gd name="connsiteY98" fmla="*/ 26883 h 210129"/>
                            <a:gd name="connsiteX99" fmla="*/ 205191 w 284195"/>
                            <a:gd name="connsiteY99" fmla="*/ 25238 h 210129"/>
                            <a:gd name="connsiteX100" fmla="*/ 198059 w 284195"/>
                            <a:gd name="connsiteY100" fmla="*/ 19751 h 210129"/>
                            <a:gd name="connsiteX101" fmla="*/ 196962 w 284195"/>
                            <a:gd name="connsiteY101" fmla="*/ 17557 h 210129"/>
                            <a:gd name="connsiteX102" fmla="*/ 199156 w 284195"/>
                            <a:gd name="connsiteY102" fmla="*/ 10973 h 210129"/>
                            <a:gd name="connsiteX103" fmla="*/ 199705 w 284195"/>
                            <a:gd name="connsiteY103" fmla="*/ 2743 h 210129"/>
                            <a:gd name="connsiteX104" fmla="*/ 200802 w 284195"/>
                            <a:gd name="connsiteY104" fmla="*/ 0 h 210129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  <a:cxn ang="0">
                              <a:pos x="connsiteX11" y="connsiteY11"/>
                            </a:cxn>
                            <a:cxn ang="0">
                              <a:pos x="connsiteX12" y="connsiteY12"/>
                            </a:cxn>
                            <a:cxn ang="0">
                              <a:pos x="connsiteX13" y="connsiteY13"/>
                            </a:cxn>
                            <a:cxn ang="0">
                              <a:pos x="connsiteX14" y="connsiteY14"/>
                            </a:cxn>
                            <a:cxn ang="0">
                              <a:pos x="connsiteX15" y="connsiteY15"/>
                            </a:cxn>
                            <a:cxn ang="0">
                              <a:pos x="connsiteX16" y="connsiteY16"/>
                            </a:cxn>
                            <a:cxn ang="0">
                              <a:pos x="connsiteX17" y="connsiteY17"/>
                            </a:cxn>
                            <a:cxn ang="0">
                              <a:pos x="connsiteX18" y="connsiteY18"/>
                            </a:cxn>
                            <a:cxn ang="0">
                              <a:pos x="connsiteX19" y="connsiteY19"/>
                            </a:cxn>
                            <a:cxn ang="0">
                              <a:pos x="connsiteX20" y="connsiteY20"/>
                            </a:cxn>
                            <a:cxn ang="0">
                              <a:pos x="connsiteX21" y="connsiteY21"/>
                            </a:cxn>
                            <a:cxn ang="0">
                              <a:pos x="connsiteX22" y="connsiteY22"/>
                            </a:cxn>
                            <a:cxn ang="0">
                              <a:pos x="connsiteX23" y="connsiteY23"/>
                            </a:cxn>
                            <a:cxn ang="0">
                              <a:pos x="connsiteX24" y="connsiteY24"/>
                            </a:cxn>
                            <a:cxn ang="0">
                              <a:pos x="connsiteX25" y="connsiteY25"/>
                            </a:cxn>
                            <a:cxn ang="0">
                              <a:pos x="connsiteX26" y="connsiteY26"/>
                            </a:cxn>
                            <a:cxn ang="0">
                              <a:pos x="connsiteX27" y="connsiteY27"/>
                            </a:cxn>
                            <a:cxn ang="0">
                              <a:pos x="connsiteX28" y="connsiteY28"/>
                            </a:cxn>
                            <a:cxn ang="0">
                              <a:pos x="connsiteX29" y="connsiteY29"/>
                            </a:cxn>
                            <a:cxn ang="0">
                              <a:pos x="connsiteX30" y="connsiteY30"/>
                            </a:cxn>
                            <a:cxn ang="0">
                              <a:pos x="connsiteX31" y="connsiteY31"/>
                            </a:cxn>
                            <a:cxn ang="0">
                              <a:pos x="connsiteX32" y="connsiteY32"/>
                            </a:cxn>
                            <a:cxn ang="0">
                              <a:pos x="connsiteX33" y="connsiteY33"/>
                            </a:cxn>
                            <a:cxn ang="0">
                              <a:pos x="connsiteX34" y="connsiteY34"/>
                            </a:cxn>
                            <a:cxn ang="0">
                              <a:pos x="connsiteX35" y="connsiteY35"/>
                            </a:cxn>
                            <a:cxn ang="0">
                              <a:pos x="connsiteX36" y="connsiteY36"/>
                            </a:cxn>
                            <a:cxn ang="0">
                              <a:pos x="connsiteX37" y="connsiteY37"/>
                            </a:cxn>
                            <a:cxn ang="0">
                              <a:pos x="connsiteX38" y="connsiteY38"/>
                            </a:cxn>
                            <a:cxn ang="0">
                              <a:pos x="connsiteX39" y="connsiteY39"/>
                            </a:cxn>
                            <a:cxn ang="0">
                              <a:pos x="connsiteX40" y="connsiteY40"/>
                            </a:cxn>
                            <a:cxn ang="0">
                              <a:pos x="connsiteX41" y="connsiteY41"/>
                            </a:cxn>
                            <a:cxn ang="0">
                              <a:pos x="connsiteX42" y="connsiteY42"/>
                            </a:cxn>
                            <a:cxn ang="0">
                              <a:pos x="connsiteX43" y="connsiteY43"/>
                            </a:cxn>
                            <a:cxn ang="0">
                              <a:pos x="connsiteX44" y="connsiteY44"/>
                            </a:cxn>
                            <a:cxn ang="0">
                              <a:pos x="connsiteX45" y="connsiteY45"/>
                            </a:cxn>
                            <a:cxn ang="0">
                              <a:pos x="connsiteX46" y="connsiteY46"/>
                            </a:cxn>
                            <a:cxn ang="0">
                              <a:pos x="connsiteX47" y="connsiteY47"/>
                            </a:cxn>
                            <a:cxn ang="0">
                              <a:pos x="connsiteX48" y="connsiteY48"/>
                            </a:cxn>
                            <a:cxn ang="0">
                              <a:pos x="connsiteX49" y="connsiteY49"/>
                            </a:cxn>
                            <a:cxn ang="0">
                              <a:pos x="connsiteX50" y="connsiteY50"/>
                            </a:cxn>
                            <a:cxn ang="0">
                              <a:pos x="connsiteX51" y="connsiteY51"/>
                            </a:cxn>
                            <a:cxn ang="0">
                              <a:pos x="connsiteX52" y="connsiteY52"/>
                            </a:cxn>
                            <a:cxn ang="0">
                              <a:pos x="connsiteX53" y="connsiteY53"/>
                            </a:cxn>
                            <a:cxn ang="0">
                              <a:pos x="connsiteX54" y="connsiteY54"/>
                            </a:cxn>
                            <a:cxn ang="0">
                              <a:pos x="connsiteX55" y="connsiteY55"/>
                            </a:cxn>
                            <a:cxn ang="0">
                              <a:pos x="connsiteX56" y="connsiteY56"/>
                            </a:cxn>
                            <a:cxn ang="0">
                              <a:pos x="connsiteX57" y="connsiteY57"/>
                            </a:cxn>
                            <a:cxn ang="0">
                              <a:pos x="connsiteX58" y="connsiteY58"/>
                            </a:cxn>
                            <a:cxn ang="0">
                              <a:pos x="connsiteX59" y="connsiteY59"/>
                            </a:cxn>
                            <a:cxn ang="0">
                              <a:pos x="connsiteX60" y="connsiteY60"/>
                            </a:cxn>
                            <a:cxn ang="0">
                              <a:pos x="connsiteX61" y="connsiteY61"/>
                            </a:cxn>
                            <a:cxn ang="0">
                              <a:pos x="connsiteX62" y="connsiteY62"/>
                            </a:cxn>
                            <a:cxn ang="0">
                              <a:pos x="connsiteX63" y="connsiteY63"/>
                            </a:cxn>
                            <a:cxn ang="0">
                              <a:pos x="connsiteX64" y="connsiteY64"/>
                            </a:cxn>
                            <a:cxn ang="0">
                              <a:pos x="connsiteX65" y="connsiteY65"/>
                            </a:cxn>
                            <a:cxn ang="0">
                              <a:pos x="connsiteX66" y="connsiteY66"/>
                            </a:cxn>
                            <a:cxn ang="0">
                              <a:pos x="connsiteX67" y="connsiteY67"/>
                            </a:cxn>
                            <a:cxn ang="0">
                              <a:pos x="connsiteX68" y="connsiteY68"/>
                            </a:cxn>
                            <a:cxn ang="0">
                              <a:pos x="connsiteX69" y="connsiteY69"/>
                            </a:cxn>
                            <a:cxn ang="0">
                              <a:pos x="connsiteX70" y="connsiteY70"/>
                            </a:cxn>
                            <a:cxn ang="0">
                              <a:pos x="connsiteX71" y="connsiteY71"/>
                            </a:cxn>
                            <a:cxn ang="0">
                              <a:pos x="connsiteX72" y="connsiteY72"/>
                            </a:cxn>
                            <a:cxn ang="0">
                              <a:pos x="connsiteX73" y="connsiteY73"/>
                            </a:cxn>
                            <a:cxn ang="0">
                              <a:pos x="connsiteX74" y="connsiteY74"/>
                            </a:cxn>
                            <a:cxn ang="0">
                              <a:pos x="connsiteX75" y="connsiteY75"/>
                            </a:cxn>
                            <a:cxn ang="0">
                              <a:pos x="connsiteX76" y="connsiteY76"/>
                            </a:cxn>
                            <a:cxn ang="0">
                              <a:pos x="connsiteX77" y="connsiteY77"/>
                            </a:cxn>
                            <a:cxn ang="0">
                              <a:pos x="connsiteX78" y="connsiteY78"/>
                            </a:cxn>
                            <a:cxn ang="0">
                              <a:pos x="connsiteX79" y="connsiteY79"/>
                            </a:cxn>
                            <a:cxn ang="0">
                              <a:pos x="connsiteX80" y="connsiteY80"/>
                            </a:cxn>
                            <a:cxn ang="0">
                              <a:pos x="connsiteX81" y="connsiteY81"/>
                            </a:cxn>
                            <a:cxn ang="0">
                              <a:pos x="connsiteX82" y="connsiteY82"/>
                            </a:cxn>
                            <a:cxn ang="0">
                              <a:pos x="connsiteX83" y="connsiteY83"/>
                            </a:cxn>
                            <a:cxn ang="0">
                              <a:pos x="connsiteX84" y="connsiteY84"/>
                            </a:cxn>
                            <a:cxn ang="0">
                              <a:pos x="connsiteX85" y="connsiteY85"/>
                            </a:cxn>
                            <a:cxn ang="0">
                              <a:pos x="connsiteX86" y="connsiteY86"/>
                            </a:cxn>
                            <a:cxn ang="0">
                              <a:pos x="connsiteX87" y="connsiteY87"/>
                            </a:cxn>
                            <a:cxn ang="0">
                              <a:pos x="connsiteX88" y="connsiteY88"/>
                            </a:cxn>
                            <a:cxn ang="0">
                              <a:pos x="connsiteX89" y="connsiteY89"/>
                            </a:cxn>
                            <a:cxn ang="0">
                              <a:pos x="connsiteX90" y="connsiteY90"/>
                            </a:cxn>
                            <a:cxn ang="0">
                              <a:pos x="connsiteX91" y="connsiteY91"/>
                            </a:cxn>
                            <a:cxn ang="0">
                              <a:pos x="connsiteX92" y="connsiteY92"/>
                            </a:cxn>
                            <a:cxn ang="0">
                              <a:pos x="connsiteX93" y="connsiteY93"/>
                            </a:cxn>
                            <a:cxn ang="0">
                              <a:pos x="connsiteX94" y="connsiteY94"/>
                            </a:cxn>
                            <a:cxn ang="0">
                              <a:pos x="connsiteX95" y="connsiteY95"/>
                            </a:cxn>
                            <a:cxn ang="0">
                              <a:pos x="connsiteX96" y="connsiteY96"/>
                            </a:cxn>
                            <a:cxn ang="0">
                              <a:pos x="connsiteX97" y="connsiteY97"/>
                            </a:cxn>
                            <a:cxn ang="0">
                              <a:pos x="connsiteX98" y="connsiteY98"/>
                            </a:cxn>
                            <a:cxn ang="0">
                              <a:pos x="connsiteX99" y="connsiteY99"/>
                            </a:cxn>
                            <a:cxn ang="0">
                              <a:pos x="connsiteX100" y="connsiteY100"/>
                            </a:cxn>
                            <a:cxn ang="0">
                              <a:pos x="connsiteX101" y="connsiteY101"/>
                            </a:cxn>
                            <a:cxn ang="0">
                              <a:pos x="connsiteX102" y="connsiteY102"/>
                            </a:cxn>
                            <a:cxn ang="0">
                              <a:pos x="connsiteX103" y="connsiteY103"/>
                            </a:cxn>
                            <a:cxn ang="0">
                              <a:pos x="connsiteX104" y="connsiteY104"/>
                            </a:cxn>
                          </a:cxnLst>
                          <a:rect l="l" t="t" r="r" b="b"/>
                          <a:pathLst>
                            <a:path w="284195" h="210129">
                              <a:moveTo>
                                <a:pt x="200802" y="0"/>
                              </a:moveTo>
                              <a:lnTo>
                                <a:pt x="177759" y="1097"/>
                              </a:lnTo>
                              <a:lnTo>
                                <a:pt x="123444" y="34016"/>
                              </a:lnTo>
                              <a:lnTo>
                                <a:pt x="114666" y="44440"/>
                              </a:lnTo>
                              <a:lnTo>
                                <a:pt x="102047" y="53767"/>
                              </a:lnTo>
                              <a:lnTo>
                                <a:pt x="54864" y="65837"/>
                              </a:lnTo>
                              <a:lnTo>
                                <a:pt x="49378" y="69677"/>
                              </a:lnTo>
                              <a:lnTo>
                                <a:pt x="30175" y="110825"/>
                              </a:lnTo>
                              <a:lnTo>
                                <a:pt x="9327" y="128382"/>
                              </a:lnTo>
                              <a:lnTo>
                                <a:pt x="0" y="153071"/>
                              </a:lnTo>
                              <a:lnTo>
                                <a:pt x="0" y="177760"/>
                              </a:lnTo>
                              <a:lnTo>
                                <a:pt x="1097" y="177760"/>
                              </a:lnTo>
                              <a:lnTo>
                                <a:pt x="1646" y="178857"/>
                              </a:lnTo>
                              <a:lnTo>
                                <a:pt x="2195" y="182149"/>
                              </a:lnTo>
                              <a:lnTo>
                                <a:pt x="2743" y="183246"/>
                              </a:lnTo>
                              <a:lnTo>
                                <a:pt x="3840" y="183794"/>
                              </a:lnTo>
                              <a:lnTo>
                                <a:pt x="6584" y="188183"/>
                              </a:lnTo>
                              <a:lnTo>
                                <a:pt x="8230" y="189281"/>
                              </a:lnTo>
                              <a:lnTo>
                                <a:pt x="9327" y="190927"/>
                              </a:lnTo>
                              <a:lnTo>
                                <a:pt x="9327" y="194219"/>
                              </a:lnTo>
                              <a:lnTo>
                                <a:pt x="11521" y="194219"/>
                              </a:lnTo>
                              <a:lnTo>
                                <a:pt x="14265" y="196413"/>
                              </a:lnTo>
                              <a:lnTo>
                                <a:pt x="14813" y="199156"/>
                              </a:lnTo>
                              <a:lnTo>
                                <a:pt x="19751" y="201899"/>
                              </a:lnTo>
                              <a:lnTo>
                                <a:pt x="19751" y="201351"/>
                              </a:lnTo>
                              <a:lnTo>
                                <a:pt x="22494" y="201351"/>
                              </a:lnTo>
                              <a:lnTo>
                                <a:pt x="23592" y="199156"/>
                              </a:lnTo>
                              <a:lnTo>
                                <a:pt x="24689" y="199156"/>
                              </a:lnTo>
                              <a:lnTo>
                                <a:pt x="25786" y="201899"/>
                              </a:lnTo>
                              <a:lnTo>
                                <a:pt x="30724" y="204643"/>
                              </a:lnTo>
                              <a:lnTo>
                                <a:pt x="33467" y="202448"/>
                              </a:lnTo>
                              <a:lnTo>
                                <a:pt x="35113" y="198608"/>
                              </a:lnTo>
                              <a:lnTo>
                                <a:pt x="59253" y="191476"/>
                              </a:lnTo>
                              <a:lnTo>
                                <a:pt x="72420" y="194767"/>
                              </a:lnTo>
                              <a:lnTo>
                                <a:pt x="75164" y="192024"/>
                              </a:lnTo>
                              <a:lnTo>
                                <a:pt x="76261" y="192024"/>
                              </a:lnTo>
                              <a:lnTo>
                                <a:pt x="80650" y="198608"/>
                              </a:lnTo>
                              <a:lnTo>
                                <a:pt x="83393" y="199156"/>
                              </a:lnTo>
                              <a:lnTo>
                                <a:pt x="87782" y="209032"/>
                              </a:lnTo>
                              <a:lnTo>
                                <a:pt x="89977" y="210129"/>
                              </a:lnTo>
                              <a:lnTo>
                                <a:pt x="93269" y="210129"/>
                              </a:lnTo>
                              <a:lnTo>
                                <a:pt x="95463" y="208483"/>
                              </a:lnTo>
                              <a:lnTo>
                                <a:pt x="93269" y="204094"/>
                              </a:lnTo>
                              <a:lnTo>
                                <a:pt x="93269" y="192573"/>
                              </a:lnTo>
                              <a:lnTo>
                                <a:pt x="91074" y="186538"/>
                              </a:lnTo>
                              <a:lnTo>
                                <a:pt x="92172" y="178308"/>
                              </a:lnTo>
                              <a:lnTo>
                                <a:pt x="89428" y="177211"/>
                              </a:lnTo>
                              <a:lnTo>
                                <a:pt x="89977" y="171724"/>
                              </a:lnTo>
                              <a:lnTo>
                                <a:pt x="87782" y="170078"/>
                              </a:lnTo>
                              <a:lnTo>
                                <a:pt x="85588" y="164044"/>
                              </a:lnTo>
                              <a:lnTo>
                                <a:pt x="86136" y="159106"/>
                              </a:lnTo>
                              <a:lnTo>
                                <a:pt x="88880" y="153071"/>
                              </a:lnTo>
                              <a:lnTo>
                                <a:pt x="164592" y="155814"/>
                              </a:lnTo>
                              <a:lnTo>
                                <a:pt x="166787" y="155265"/>
                              </a:lnTo>
                              <a:lnTo>
                                <a:pt x="175565" y="149779"/>
                              </a:lnTo>
                              <a:lnTo>
                                <a:pt x="187086" y="148133"/>
                              </a:lnTo>
                              <a:lnTo>
                                <a:pt x="187635" y="148682"/>
                              </a:lnTo>
                              <a:lnTo>
                                <a:pt x="210678" y="151973"/>
                              </a:lnTo>
                              <a:lnTo>
                                <a:pt x="213421" y="155814"/>
                              </a:lnTo>
                              <a:lnTo>
                                <a:pt x="216164" y="155814"/>
                              </a:lnTo>
                              <a:lnTo>
                                <a:pt x="217261" y="153619"/>
                              </a:lnTo>
                              <a:lnTo>
                                <a:pt x="227137" y="153619"/>
                              </a:lnTo>
                              <a:lnTo>
                                <a:pt x="230429" y="150328"/>
                              </a:lnTo>
                              <a:lnTo>
                                <a:pt x="233172" y="150328"/>
                              </a:lnTo>
                              <a:lnTo>
                                <a:pt x="234269" y="146487"/>
                              </a:lnTo>
                              <a:lnTo>
                                <a:pt x="236464" y="144841"/>
                              </a:lnTo>
                              <a:lnTo>
                                <a:pt x="237012" y="143744"/>
                              </a:lnTo>
                              <a:lnTo>
                                <a:pt x="238110" y="142098"/>
                              </a:lnTo>
                              <a:lnTo>
                                <a:pt x="241402" y="142646"/>
                              </a:lnTo>
                              <a:lnTo>
                                <a:pt x="246339" y="134966"/>
                              </a:lnTo>
                              <a:lnTo>
                                <a:pt x="247985" y="133868"/>
                              </a:lnTo>
                              <a:lnTo>
                                <a:pt x="252374" y="133868"/>
                              </a:lnTo>
                              <a:lnTo>
                                <a:pt x="257312" y="136063"/>
                              </a:lnTo>
                              <a:lnTo>
                                <a:pt x="263896" y="134417"/>
                              </a:lnTo>
                              <a:lnTo>
                                <a:pt x="268285" y="136063"/>
                              </a:lnTo>
                              <a:lnTo>
                                <a:pt x="271028" y="134966"/>
                              </a:lnTo>
                              <a:lnTo>
                                <a:pt x="279806" y="126736"/>
                              </a:lnTo>
                              <a:lnTo>
                                <a:pt x="280904" y="124541"/>
                              </a:lnTo>
                              <a:lnTo>
                                <a:pt x="280904" y="123993"/>
                              </a:lnTo>
                              <a:lnTo>
                                <a:pt x="283098" y="121250"/>
                              </a:lnTo>
                              <a:lnTo>
                                <a:pt x="284196" y="117958"/>
                              </a:lnTo>
                              <a:lnTo>
                                <a:pt x="284196" y="116312"/>
                              </a:lnTo>
                              <a:lnTo>
                                <a:pt x="283647" y="116860"/>
                              </a:lnTo>
                              <a:lnTo>
                                <a:pt x="272674" y="104790"/>
                              </a:lnTo>
                              <a:lnTo>
                                <a:pt x="271577" y="102047"/>
                              </a:lnTo>
                              <a:lnTo>
                                <a:pt x="272674" y="99853"/>
                              </a:lnTo>
                              <a:lnTo>
                                <a:pt x="274869" y="98755"/>
                              </a:lnTo>
                              <a:lnTo>
                                <a:pt x="278160" y="99304"/>
                              </a:lnTo>
                              <a:lnTo>
                                <a:pt x="278709" y="98207"/>
                              </a:lnTo>
                              <a:lnTo>
                                <a:pt x="273771" y="88880"/>
                              </a:lnTo>
                              <a:lnTo>
                                <a:pt x="269931" y="86685"/>
                              </a:lnTo>
                              <a:lnTo>
                                <a:pt x="267188" y="87234"/>
                              </a:lnTo>
                              <a:lnTo>
                                <a:pt x="263347" y="90526"/>
                              </a:lnTo>
                              <a:lnTo>
                                <a:pt x="260604" y="91623"/>
                              </a:lnTo>
                              <a:lnTo>
                                <a:pt x="257312" y="91623"/>
                              </a:lnTo>
                              <a:lnTo>
                                <a:pt x="245791" y="86685"/>
                              </a:lnTo>
                              <a:lnTo>
                                <a:pt x="206837" y="37856"/>
                              </a:lnTo>
                              <a:lnTo>
                                <a:pt x="205191" y="32918"/>
                              </a:lnTo>
                              <a:lnTo>
                                <a:pt x="205191" y="26883"/>
                              </a:lnTo>
                              <a:lnTo>
                                <a:pt x="205191" y="25238"/>
                              </a:lnTo>
                              <a:lnTo>
                                <a:pt x="198059" y="19751"/>
                              </a:lnTo>
                              <a:lnTo>
                                <a:pt x="196962" y="17557"/>
                              </a:lnTo>
                              <a:lnTo>
                                <a:pt x="199156" y="10973"/>
                              </a:lnTo>
                              <a:lnTo>
                                <a:pt x="199705" y="2743"/>
                              </a:lnTo>
                              <a:lnTo>
                                <a:pt x="200802" y="0"/>
                              </a:lnTo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224" name="Graphic 7">
                          <a:extLst>
                            <a:ext uri="{FF2B5EF4-FFF2-40B4-BE49-F238E27FC236}">
                              <a16:creationId xmlns:a16="http://schemas.microsoft.com/office/drawing/2014/main" id="{151DE2EF-E38C-554C-07B1-623A7C4331B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4797575" y="4095439"/>
                          <a:ext cx="216035" cy="163741"/>
                        </a:xfrm>
                        <a:custGeom>
                          <a:avLst/>
                          <a:gdLst>
                            <a:gd name="connsiteX0" fmla="*/ 140452 w 276514"/>
                            <a:gd name="connsiteY0" fmla="*/ 10973 h 209580"/>
                            <a:gd name="connsiteX1" fmla="*/ 133868 w 276514"/>
                            <a:gd name="connsiteY1" fmla="*/ 10424 h 209580"/>
                            <a:gd name="connsiteX2" fmla="*/ 129479 w 276514"/>
                            <a:gd name="connsiteY2" fmla="*/ 12070 h 209580"/>
                            <a:gd name="connsiteX3" fmla="*/ 119604 w 276514"/>
                            <a:gd name="connsiteY3" fmla="*/ 11522 h 209580"/>
                            <a:gd name="connsiteX4" fmla="*/ 117958 w 276514"/>
                            <a:gd name="connsiteY4" fmla="*/ 12070 h 209580"/>
                            <a:gd name="connsiteX5" fmla="*/ 112471 w 276514"/>
                            <a:gd name="connsiteY5" fmla="*/ 12070 h 209580"/>
                            <a:gd name="connsiteX6" fmla="*/ 107533 w 276514"/>
                            <a:gd name="connsiteY6" fmla="*/ 13716 h 209580"/>
                            <a:gd name="connsiteX7" fmla="*/ 103144 w 276514"/>
                            <a:gd name="connsiteY7" fmla="*/ 14265 h 209580"/>
                            <a:gd name="connsiteX8" fmla="*/ 99852 w 276514"/>
                            <a:gd name="connsiteY8" fmla="*/ 12070 h 209580"/>
                            <a:gd name="connsiteX9" fmla="*/ 97658 w 276514"/>
                            <a:gd name="connsiteY9" fmla="*/ 12619 h 209580"/>
                            <a:gd name="connsiteX10" fmla="*/ 92172 w 276514"/>
                            <a:gd name="connsiteY10" fmla="*/ 10973 h 209580"/>
                            <a:gd name="connsiteX11" fmla="*/ 87782 w 276514"/>
                            <a:gd name="connsiteY11" fmla="*/ 10973 h 209580"/>
                            <a:gd name="connsiteX12" fmla="*/ 82845 w 276514"/>
                            <a:gd name="connsiteY12" fmla="*/ 6584 h 209580"/>
                            <a:gd name="connsiteX13" fmla="*/ 81747 w 276514"/>
                            <a:gd name="connsiteY13" fmla="*/ 7681 h 209580"/>
                            <a:gd name="connsiteX14" fmla="*/ 81199 w 276514"/>
                            <a:gd name="connsiteY14" fmla="*/ 9327 h 209580"/>
                            <a:gd name="connsiteX15" fmla="*/ 76261 w 276514"/>
                            <a:gd name="connsiteY15" fmla="*/ 9327 h 209580"/>
                            <a:gd name="connsiteX16" fmla="*/ 76261 w 276514"/>
                            <a:gd name="connsiteY16" fmla="*/ 4938 h 209580"/>
                            <a:gd name="connsiteX17" fmla="*/ 74615 w 276514"/>
                            <a:gd name="connsiteY17" fmla="*/ 3292 h 209580"/>
                            <a:gd name="connsiteX18" fmla="*/ 69129 w 276514"/>
                            <a:gd name="connsiteY18" fmla="*/ 2195 h 209580"/>
                            <a:gd name="connsiteX19" fmla="*/ 64191 w 276514"/>
                            <a:gd name="connsiteY19" fmla="*/ 3292 h 209580"/>
                            <a:gd name="connsiteX20" fmla="*/ 61448 w 276514"/>
                            <a:gd name="connsiteY20" fmla="*/ 549 h 209580"/>
                            <a:gd name="connsiteX21" fmla="*/ 52121 w 276514"/>
                            <a:gd name="connsiteY21" fmla="*/ 0 h 209580"/>
                            <a:gd name="connsiteX22" fmla="*/ 52121 w 276514"/>
                            <a:gd name="connsiteY22" fmla="*/ 4938 h 209580"/>
                            <a:gd name="connsiteX23" fmla="*/ 54864 w 276514"/>
                            <a:gd name="connsiteY23" fmla="*/ 9327 h 209580"/>
                            <a:gd name="connsiteX24" fmla="*/ 54864 w 276514"/>
                            <a:gd name="connsiteY24" fmla="*/ 12619 h 209580"/>
                            <a:gd name="connsiteX25" fmla="*/ 53218 w 276514"/>
                            <a:gd name="connsiteY25" fmla="*/ 16459 h 209580"/>
                            <a:gd name="connsiteX26" fmla="*/ 50475 w 276514"/>
                            <a:gd name="connsiteY26" fmla="*/ 17557 h 209580"/>
                            <a:gd name="connsiteX27" fmla="*/ 47183 w 276514"/>
                            <a:gd name="connsiteY27" fmla="*/ 17557 h 209580"/>
                            <a:gd name="connsiteX28" fmla="*/ 45537 w 276514"/>
                            <a:gd name="connsiteY28" fmla="*/ 18654 h 209580"/>
                            <a:gd name="connsiteX29" fmla="*/ 44440 w 276514"/>
                            <a:gd name="connsiteY29" fmla="*/ 20849 h 209580"/>
                            <a:gd name="connsiteX30" fmla="*/ 48280 w 276514"/>
                            <a:gd name="connsiteY30" fmla="*/ 23592 h 209580"/>
                            <a:gd name="connsiteX31" fmla="*/ 50475 w 276514"/>
                            <a:gd name="connsiteY31" fmla="*/ 26883 h 209580"/>
                            <a:gd name="connsiteX32" fmla="*/ 51572 w 276514"/>
                            <a:gd name="connsiteY32" fmla="*/ 38954 h 209580"/>
                            <a:gd name="connsiteX33" fmla="*/ 46634 w 276514"/>
                            <a:gd name="connsiteY33" fmla="*/ 38954 h 209580"/>
                            <a:gd name="connsiteX34" fmla="*/ 44440 w 276514"/>
                            <a:gd name="connsiteY34" fmla="*/ 41148 h 209580"/>
                            <a:gd name="connsiteX35" fmla="*/ 30724 w 276514"/>
                            <a:gd name="connsiteY35" fmla="*/ 41148 h 209580"/>
                            <a:gd name="connsiteX36" fmla="*/ 18654 w 276514"/>
                            <a:gd name="connsiteY36" fmla="*/ 46634 h 209580"/>
                            <a:gd name="connsiteX37" fmla="*/ 14265 w 276514"/>
                            <a:gd name="connsiteY37" fmla="*/ 49926 h 209580"/>
                            <a:gd name="connsiteX38" fmla="*/ 7681 w 276514"/>
                            <a:gd name="connsiteY38" fmla="*/ 63642 h 209580"/>
                            <a:gd name="connsiteX39" fmla="*/ 4389 w 276514"/>
                            <a:gd name="connsiteY39" fmla="*/ 66386 h 209580"/>
                            <a:gd name="connsiteX40" fmla="*/ 0 w 276514"/>
                            <a:gd name="connsiteY40" fmla="*/ 68031 h 209580"/>
                            <a:gd name="connsiteX41" fmla="*/ 549 w 276514"/>
                            <a:gd name="connsiteY41" fmla="*/ 74615 h 209580"/>
                            <a:gd name="connsiteX42" fmla="*/ 2743 w 276514"/>
                            <a:gd name="connsiteY42" fmla="*/ 75713 h 209580"/>
                            <a:gd name="connsiteX43" fmla="*/ 4938 w 276514"/>
                            <a:gd name="connsiteY43" fmla="*/ 75713 h 209580"/>
                            <a:gd name="connsiteX44" fmla="*/ 6035 w 276514"/>
                            <a:gd name="connsiteY44" fmla="*/ 75164 h 209580"/>
                            <a:gd name="connsiteX45" fmla="*/ 9327 w 276514"/>
                            <a:gd name="connsiteY45" fmla="*/ 69677 h 209580"/>
                            <a:gd name="connsiteX46" fmla="*/ 11521 w 276514"/>
                            <a:gd name="connsiteY46" fmla="*/ 68580 h 209580"/>
                            <a:gd name="connsiteX47" fmla="*/ 12070 w 276514"/>
                            <a:gd name="connsiteY47" fmla="*/ 69129 h 209580"/>
                            <a:gd name="connsiteX48" fmla="*/ 13716 w 276514"/>
                            <a:gd name="connsiteY48" fmla="*/ 78456 h 209580"/>
                            <a:gd name="connsiteX49" fmla="*/ 19751 w 276514"/>
                            <a:gd name="connsiteY49" fmla="*/ 79004 h 209580"/>
                            <a:gd name="connsiteX50" fmla="*/ 20300 w 276514"/>
                            <a:gd name="connsiteY50" fmla="*/ 80102 h 209580"/>
                            <a:gd name="connsiteX51" fmla="*/ 20848 w 276514"/>
                            <a:gd name="connsiteY51" fmla="*/ 88331 h 209580"/>
                            <a:gd name="connsiteX52" fmla="*/ 26883 w 276514"/>
                            <a:gd name="connsiteY52" fmla="*/ 99853 h 209580"/>
                            <a:gd name="connsiteX53" fmla="*/ 44988 w 276514"/>
                            <a:gd name="connsiteY53" fmla="*/ 109179 h 209580"/>
                            <a:gd name="connsiteX54" fmla="*/ 50475 w 276514"/>
                            <a:gd name="connsiteY54" fmla="*/ 115214 h 209580"/>
                            <a:gd name="connsiteX55" fmla="*/ 51024 w 276514"/>
                            <a:gd name="connsiteY55" fmla="*/ 122347 h 209580"/>
                            <a:gd name="connsiteX56" fmla="*/ 56510 w 276514"/>
                            <a:gd name="connsiteY56" fmla="*/ 124541 h 209580"/>
                            <a:gd name="connsiteX57" fmla="*/ 58704 w 276514"/>
                            <a:gd name="connsiteY57" fmla="*/ 128382 h 209580"/>
                            <a:gd name="connsiteX58" fmla="*/ 60899 w 276514"/>
                            <a:gd name="connsiteY58" fmla="*/ 130028 h 209580"/>
                            <a:gd name="connsiteX59" fmla="*/ 60899 w 276514"/>
                            <a:gd name="connsiteY59" fmla="*/ 131674 h 209580"/>
                            <a:gd name="connsiteX60" fmla="*/ 63094 w 276514"/>
                            <a:gd name="connsiteY60" fmla="*/ 133868 h 209580"/>
                            <a:gd name="connsiteX61" fmla="*/ 65837 w 276514"/>
                            <a:gd name="connsiteY61" fmla="*/ 137160 h 209580"/>
                            <a:gd name="connsiteX62" fmla="*/ 71323 w 276514"/>
                            <a:gd name="connsiteY62" fmla="*/ 139355 h 209580"/>
                            <a:gd name="connsiteX63" fmla="*/ 76810 w 276514"/>
                            <a:gd name="connsiteY63" fmla="*/ 138806 h 209580"/>
                            <a:gd name="connsiteX64" fmla="*/ 78456 w 276514"/>
                            <a:gd name="connsiteY64" fmla="*/ 137709 h 209580"/>
                            <a:gd name="connsiteX65" fmla="*/ 81747 w 276514"/>
                            <a:gd name="connsiteY65" fmla="*/ 131125 h 209580"/>
                            <a:gd name="connsiteX66" fmla="*/ 85039 w 276514"/>
                            <a:gd name="connsiteY66" fmla="*/ 130577 h 209580"/>
                            <a:gd name="connsiteX67" fmla="*/ 86685 w 276514"/>
                            <a:gd name="connsiteY67" fmla="*/ 129479 h 209580"/>
                            <a:gd name="connsiteX68" fmla="*/ 87234 w 276514"/>
                            <a:gd name="connsiteY68" fmla="*/ 126187 h 209580"/>
                            <a:gd name="connsiteX69" fmla="*/ 90526 w 276514"/>
                            <a:gd name="connsiteY69" fmla="*/ 124541 h 209580"/>
                            <a:gd name="connsiteX70" fmla="*/ 97658 w 276514"/>
                            <a:gd name="connsiteY70" fmla="*/ 114666 h 209580"/>
                            <a:gd name="connsiteX71" fmla="*/ 97109 w 276514"/>
                            <a:gd name="connsiteY71" fmla="*/ 109179 h 209580"/>
                            <a:gd name="connsiteX72" fmla="*/ 99304 w 276514"/>
                            <a:gd name="connsiteY72" fmla="*/ 108082 h 209580"/>
                            <a:gd name="connsiteX73" fmla="*/ 104790 w 276514"/>
                            <a:gd name="connsiteY73" fmla="*/ 107534 h 209580"/>
                            <a:gd name="connsiteX74" fmla="*/ 107533 w 276514"/>
                            <a:gd name="connsiteY74" fmla="*/ 109179 h 209580"/>
                            <a:gd name="connsiteX75" fmla="*/ 117958 w 276514"/>
                            <a:gd name="connsiteY75" fmla="*/ 107534 h 209580"/>
                            <a:gd name="connsiteX76" fmla="*/ 117958 w 276514"/>
                            <a:gd name="connsiteY76" fmla="*/ 104242 h 209580"/>
                            <a:gd name="connsiteX77" fmla="*/ 144292 w 276514"/>
                            <a:gd name="connsiteY77" fmla="*/ 105339 h 209580"/>
                            <a:gd name="connsiteX78" fmla="*/ 147036 w 276514"/>
                            <a:gd name="connsiteY78" fmla="*/ 109728 h 209580"/>
                            <a:gd name="connsiteX79" fmla="*/ 151425 w 276514"/>
                            <a:gd name="connsiteY79" fmla="*/ 111923 h 209580"/>
                            <a:gd name="connsiteX80" fmla="*/ 153619 w 276514"/>
                            <a:gd name="connsiteY80" fmla="*/ 116312 h 209580"/>
                            <a:gd name="connsiteX81" fmla="*/ 156911 w 276514"/>
                            <a:gd name="connsiteY81" fmla="*/ 117958 h 209580"/>
                            <a:gd name="connsiteX82" fmla="*/ 156911 w 276514"/>
                            <a:gd name="connsiteY82" fmla="*/ 120152 h 209580"/>
                            <a:gd name="connsiteX83" fmla="*/ 159106 w 276514"/>
                            <a:gd name="connsiteY83" fmla="*/ 122347 h 209580"/>
                            <a:gd name="connsiteX84" fmla="*/ 158008 w 276514"/>
                            <a:gd name="connsiteY84" fmla="*/ 124541 h 209580"/>
                            <a:gd name="connsiteX85" fmla="*/ 158557 w 276514"/>
                            <a:gd name="connsiteY85" fmla="*/ 126187 h 209580"/>
                            <a:gd name="connsiteX86" fmla="*/ 163495 w 276514"/>
                            <a:gd name="connsiteY86" fmla="*/ 127285 h 209580"/>
                            <a:gd name="connsiteX87" fmla="*/ 165141 w 276514"/>
                            <a:gd name="connsiteY87" fmla="*/ 128930 h 209580"/>
                            <a:gd name="connsiteX88" fmla="*/ 165141 w 276514"/>
                            <a:gd name="connsiteY88" fmla="*/ 130028 h 209580"/>
                            <a:gd name="connsiteX89" fmla="*/ 164043 w 276514"/>
                            <a:gd name="connsiteY89" fmla="*/ 131674 h 209580"/>
                            <a:gd name="connsiteX90" fmla="*/ 165141 w 276514"/>
                            <a:gd name="connsiteY90" fmla="*/ 134966 h 209580"/>
                            <a:gd name="connsiteX91" fmla="*/ 164043 w 276514"/>
                            <a:gd name="connsiteY91" fmla="*/ 135514 h 209580"/>
                            <a:gd name="connsiteX92" fmla="*/ 165141 w 276514"/>
                            <a:gd name="connsiteY92" fmla="*/ 138806 h 209580"/>
                            <a:gd name="connsiteX93" fmla="*/ 165689 w 276514"/>
                            <a:gd name="connsiteY93" fmla="*/ 140452 h 209580"/>
                            <a:gd name="connsiteX94" fmla="*/ 168981 w 276514"/>
                            <a:gd name="connsiteY94" fmla="*/ 142646 h 209580"/>
                            <a:gd name="connsiteX95" fmla="*/ 170078 w 276514"/>
                            <a:gd name="connsiteY95" fmla="*/ 144841 h 209580"/>
                            <a:gd name="connsiteX96" fmla="*/ 171176 w 276514"/>
                            <a:gd name="connsiteY96" fmla="*/ 152522 h 209580"/>
                            <a:gd name="connsiteX97" fmla="*/ 171176 w 276514"/>
                            <a:gd name="connsiteY97" fmla="*/ 153071 h 209580"/>
                            <a:gd name="connsiteX98" fmla="*/ 167335 w 276514"/>
                            <a:gd name="connsiteY98" fmla="*/ 154168 h 209580"/>
                            <a:gd name="connsiteX99" fmla="*/ 164043 w 276514"/>
                            <a:gd name="connsiteY99" fmla="*/ 165689 h 209580"/>
                            <a:gd name="connsiteX100" fmla="*/ 164043 w 276514"/>
                            <a:gd name="connsiteY100" fmla="*/ 167335 h 209580"/>
                            <a:gd name="connsiteX101" fmla="*/ 172273 w 276514"/>
                            <a:gd name="connsiteY101" fmla="*/ 164044 h 209580"/>
                            <a:gd name="connsiteX102" fmla="*/ 176662 w 276514"/>
                            <a:gd name="connsiteY102" fmla="*/ 160752 h 209580"/>
                            <a:gd name="connsiteX103" fmla="*/ 177211 w 276514"/>
                            <a:gd name="connsiteY103" fmla="*/ 160752 h 209580"/>
                            <a:gd name="connsiteX104" fmla="*/ 177759 w 276514"/>
                            <a:gd name="connsiteY104" fmla="*/ 162398 h 209580"/>
                            <a:gd name="connsiteX105" fmla="*/ 177759 w 276514"/>
                            <a:gd name="connsiteY105" fmla="*/ 165141 h 209580"/>
                            <a:gd name="connsiteX106" fmla="*/ 181051 w 276514"/>
                            <a:gd name="connsiteY106" fmla="*/ 164592 h 209580"/>
                            <a:gd name="connsiteX107" fmla="*/ 182697 w 276514"/>
                            <a:gd name="connsiteY107" fmla="*/ 160203 h 209580"/>
                            <a:gd name="connsiteX108" fmla="*/ 185440 w 276514"/>
                            <a:gd name="connsiteY108" fmla="*/ 158557 h 209580"/>
                            <a:gd name="connsiteX109" fmla="*/ 191475 w 276514"/>
                            <a:gd name="connsiteY109" fmla="*/ 162946 h 209580"/>
                            <a:gd name="connsiteX110" fmla="*/ 192573 w 276514"/>
                            <a:gd name="connsiteY110" fmla="*/ 162946 h 209580"/>
                            <a:gd name="connsiteX111" fmla="*/ 194219 w 276514"/>
                            <a:gd name="connsiteY111" fmla="*/ 161300 h 209580"/>
                            <a:gd name="connsiteX112" fmla="*/ 200254 w 276514"/>
                            <a:gd name="connsiteY112" fmla="*/ 159654 h 209580"/>
                            <a:gd name="connsiteX113" fmla="*/ 201351 w 276514"/>
                            <a:gd name="connsiteY113" fmla="*/ 160203 h 209580"/>
                            <a:gd name="connsiteX114" fmla="*/ 201351 w 276514"/>
                            <a:gd name="connsiteY114" fmla="*/ 161300 h 209580"/>
                            <a:gd name="connsiteX115" fmla="*/ 203545 w 276514"/>
                            <a:gd name="connsiteY115" fmla="*/ 164044 h 209580"/>
                            <a:gd name="connsiteX116" fmla="*/ 208483 w 276514"/>
                            <a:gd name="connsiteY116" fmla="*/ 167335 h 209580"/>
                            <a:gd name="connsiteX117" fmla="*/ 208483 w 276514"/>
                            <a:gd name="connsiteY117" fmla="*/ 172273 h 209580"/>
                            <a:gd name="connsiteX118" fmla="*/ 211226 w 276514"/>
                            <a:gd name="connsiteY118" fmla="*/ 176114 h 209580"/>
                            <a:gd name="connsiteX119" fmla="*/ 212324 w 276514"/>
                            <a:gd name="connsiteY119" fmla="*/ 185989 h 209580"/>
                            <a:gd name="connsiteX120" fmla="*/ 213970 w 276514"/>
                            <a:gd name="connsiteY120" fmla="*/ 187635 h 209580"/>
                            <a:gd name="connsiteX121" fmla="*/ 213421 w 276514"/>
                            <a:gd name="connsiteY121" fmla="*/ 197510 h 209580"/>
                            <a:gd name="connsiteX122" fmla="*/ 211775 w 276514"/>
                            <a:gd name="connsiteY122" fmla="*/ 200254 h 209580"/>
                            <a:gd name="connsiteX123" fmla="*/ 209032 w 276514"/>
                            <a:gd name="connsiteY123" fmla="*/ 201900 h 209580"/>
                            <a:gd name="connsiteX124" fmla="*/ 208483 w 276514"/>
                            <a:gd name="connsiteY124" fmla="*/ 203546 h 209580"/>
                            <a:gd name="connsiteX125" fmla="*/ 209580 w 276514"/>
                            <a:gd name="connsiteY125" fmla="*/ 204643 h 209580"/>
                            <a:gd name="connsiteX126" fmla="*/ 212324 w 276514"/>
                            <a:gd name="connsiteY126" fmla="*/ 204094 h 209580"/>
                            <a:gd name="connsiteX127" fmla="*/ 215067 w 276514"/>
                            <a:gd name="connsiteY127" fmla="*/ 201900 h 209580"/>
                            <a:gd name="connsiteX128" fmla="*/ 216713 w 276514"/>
                            <a:gd name="connsiteY128" fmla="*/ 202448 h 209580"/>
                            <a:gd name="connsiteX129" fmla="*/ 223296 w 276514"/>
                            <a:gd name="connsiteY129" fmla="*/ 209581 h 209580"/>
                            <a:gd name="connsiteX130" fmla="*/ 226588 w 276514"/>
                            <a:gd name="connsiteY130" fmla="*/ 209032 h 209580"/>
                            <a:gd name="connsiteX131" fmla="*/ 228783 w 276514"/>
                            <a:gd name="connsiteY131" fmla="*/ 207386 h 209580"/>
                            <a:gd name="connsiteX132" fmla="*/ 233721 w 276514"/>
                            <a:gd name="connsiteY132" fmla="*/ 207386 h 209580"/>
                            <a:gd name="connsiteX133" fmla="*/ 234269 w 276514"/>
                            <a:gd name="connsiteY133" fmla="*/ 204094 h 209580"/>
                            <a:gd name="connsiteX134" fmla="*/ 237561 w 276514"/>
                            <a:gd name="connsiteY134" fmla="*/ 199705 h 209580"/>
                            <a:gd name="connsiteX135" fmla="*/ 238110 w 276514"/>
                            <a:gd name="connsiteY135" fmla="*/ 194767 h 209580"/>
                            <a:gd name="connsiteX136" fmla="*/ 239756 w 276514"/>
                            <a:gd name="connsiteY136" fmla="*/ 192573 h 209580"/>
                            <a:gd name="connsiteX137" fmla="*/ 244145 w 276514"/>
                            <a:gd name="connsiteY137" fmla="*/ 193121 h 209580"/>
                            <a:gd name="connsiteX138" fmla="*/ 246888 w 276514"/>
                            <a:gd name="connsiteY138" fmla="*/ 197510 h 209580"/>
                            <a:gd name="connsiteX139" fmla="*/ 249083 w 276514"/>
                            <a:gd name="connsiteY139" fmla="*/ 196413 h 209580"/>
                            <a:gd name="connsiteX140" fmla="*/ 258958 w 276514"/>
                            <a:gd name="connsiteY140" fmla="*/ 196413 h 209580"/>
                            <a:gd name="connsiteX141" fmla="*/ 258958 w 276514"/>
                            <a:gd name="connsiteY141" fmla="*/ 193670 h 209580"/>
                            <a:gd name="connsiteX142" fmla="*/ 262250 w 276514"/>
                            <a:gd name="connsiteY142" fmla="*/ 189281 h 209580"/>
                            <a:gd name="connsiteX143" fmla="*/ 263347 w 276514"/>
                            <a:gd name="connsiteY143" fmla="*/ 179954 h 209580"/>
                            <a:gd name="connsiteX144" fmla="*/ 266090 w 276514"/>
                            <a:gd name="connsiteY144" fmla="*/ 177760 h 209580"/>
                            <a:gd name="connsiteX145" fmla="*/ 265542 w 276514"/>
                            <a:gd name="connsiteY145" fmla="*/ 176662 h 209580"/>
                            <a:gd name="connsiteX146" fmla="*/ 264444 w 276514"/>
                            <a:gd name="connsiteY146" fmla="*/ 176114 h 209580"/>
                            <a:gd name="connsiteX147" fmla="*/ 264993 w 276514"/>
                            <a:gd name="connsiteY147" fmla="*/ 175016 h 209580"/>
                            <a:gd name="connsiteX148" fmla="*/ 264444 w 276514"/>
                            <a:gd name="connsiteY148" fmla="*/ 172822 h 209580"/>
                            <a:gd name="connsiteX149" fmla="*/ 261701 w 276514"/>
                            <a:gd name="connsiteY149" fmla="*/ 171725 h 209580"/>
                            <a:gd name="connsiteX150" fmla="*/ 257312 w 276514"/>
                            <a:gd name="connsiteY150" fmla="*/ 172273 h 209580"/>
                            <a:gd name="connsiteX151" fmla="*/ 255666 w 276514"/>
                            <a:gd name="connsiteY151" fmla="*/ 171176 h 209580"/>
                            <a:gd name="connsiteX152" fmla="*/ 257312 w 276514"/>
                            <a:gd name="connsiteY152" fmla="*/ 167335 h 209580"/>
                            <a:gd name="connsiteX153" fmla="*/ 256764 w 276514"/>
                            <a:gd name="connsiteY153" fmla="*/ 164044 h 209580"/>
                            <a:gd name="connsiteX154" fmla="*/ 255666 w 276514"/>
                            <a:gd name="connsiteY154" fmla="*/ 163495 h 209580"/>
                            <a:gd name="connsiteX155" fmla="*/ 255666 w 276514"/>
                            <a:gd name="connsiteY155" fmla="*/ 162946 h 209580"/>
                            <a:gd name="connsiteX156" fmla="*/ 261153 w 276514"/>
                            <a:gd name="connsiteY156" fmla="*/ 160752 h 209580"/>
                            <a:gd name="connsiteX157" fmla="*/ 267188 w 276514"/>
                            <a:gd name="connsiteY157" fmla="*/ 161300 h 209580"/>
                            <a:gd name="connsiteX158" fmla="*/ 269931 w 276514"/>
                            <a:gd name="connsiteY158" fmla="*/ 163495 h 209580"/>
                            <a:gd name="connsiteX159" fmla="*/ 271577 w 276514"/>
                            <a:gd name="connsiteY159" fmla="*/ 164044 h 209580"/>
                            <a:gd name="connsiteX160" fmla="*/ 273771 w 276514"/>
                            <a:gd name="connsiteY160" fmla="*/ 163495 h 209580"/>
                            <a:gd name="connsiteX161" fmla="*/ 275417 w 276514"/>
                            <a:gd name="connsiteY161" fmla="*/ 167335 h 209580"/>
                            <a:gd name="connsiteX162" fmla="*/ 276515 w 276514"/>
                            <a:gd name="connsiteY162" fmla="*/ 167335 h 209580"/>
                            <a:gd name="connsiteX163" fmla="*/ 275966 w 276514"/>
                            <a:gd name="connsiteY163" fmla="*/ 158009 h 209580"/>
                            <a:gd name="connsiteX164" fmla="*/ 273771 w 276514"/>
                            <a:gd name="connsiteY164" fmla="*/ 155265 h 209580"/>
                            <a:gd name="connsiteX165" fmla="*/ 273771 w 276514"/>
                            <a:gd name="connsiteY165" fmla="*/ 151425 h 209580"/>
                            <a:gd name="connsiteX166" fmla="*/ 271577 w 276514"/>
                            <a:gd name="connsiteY166" fmla="*/ 151425 h 209580"/>
                            <a:gd name="connsiteX167" fmla="*/ 269382 w 276514"/>
                            <a:gd name="connsiteY167" fmla="*/ 150328 h 209580"/>
                            <a:gd name="connsiteX168" fmla="*/ 267736 w 276514"/>
                            <a:gd name="connsiteY168" fmla="*/ 150876 h 209580"/>
                            <a:gd name="connsiteX169" fmla="*/ 269931 w 276514"/>
                            <a:gd name="connsiteY169" fmla="*/ 144293 h 209580"/>
                            <a:gd name="connsiteX170" fmla="*/ 272125 w 276514"/>
                            <a:gd name="connsiteY170" fmla="*/ 141549 h 209580"/>
                            <a:gd name="connsiteX171" fmla="*/ 274320 w 276514"/>
                            <a:gd name="connsiteY171" fmla="*/ 141001 h 209580"/>
                            <a:gd name="connsiteX172" fmla="*/ 274320 w 276514"/>
                            <a:gd name="connsiteY172" fmla="*/ 139903 h 209580"/>
                            <a:gd name="connsiteX173" fmla="*/ 271028 w 276514"/>
                            <a:gd name="connsiteY173" fmla="*/ 136063 h 209580"/>
                            <a:gd name="connsiteX174" fmla="*/ 269382 w 276514"/>
                            <a:gd name="connsiteY174" fmla="*/ 136612 h 209580"/>
                            <a:gd name="connsiteX175" fmla="*/ 269931 w 276514"/>
                            <a:gd name="connsiteY175" fmla="*/ 127285 h 209580"/>
                            <a:gd name="connsiteX176" fmla="*/ 264993 w 276514"/>
                            <a:gd name="connsiteY176" fmla="*/ 127833 h 209580"/>
                            <a:gd name="connsiteX177" fmla="*/ 260055 w 276514"/>
                            <a:gd name="connsiteY177" fmla="*/ 124541 h 209580"/>
                            <a:gd name="connsiteX178" fmla="*/ 259507 w 276514"/>
                            <a:gd name="connsiteY178" fmla="*/ 123444 h 209580"/>
                            <a:gd name="connsiteX179" fmla="*/ 258958 w 276514"/>
                            <a:gd name="connsiteY179" fmla="*/ 105888 h 209580"/>
                            <a:gd name="connsiteX180" fmla="*/ 261153 w 276514"/>
                            <a:gd name="connsiteY180" fmla="*/ 104242 h 209580"/>
                            <a:gd name="connsiteX181" fmla="*/ 261153 w 276514"/>
                            <a:gd name="connsiteY181" fmla="*/ 102596 h 209580"/>
                            <a:gd name="connsiteX182" fmla="*/ 266090 w 276514"/>
                            <a:gd name="connsiteY182" fmla="*/ 97658 h 209580"/>
                            <a:gd name="connsiteX183" fmla="*/ 266090 w 276514"/>
                            <a:gd name="connsiteY183" fmla="*/ 93818 h 209580"/>
                            <a:gd name="connsiteX184" fmla="*/ 264993 w 276514"/>
                            <a:gd name="connsiteY184" fmla="*/ 91623 h 209580"/>
                            <a:gd name="connsiteX185" fmla="*/ 261153 w 276514"/>
                            <a:gd name="connsiteY185" fmla="*/ 89429 h 209580"/>
                            <a:gd name="connsiteX186" fmla="*/ 260055 w 276514"/>
                            <a:gd name="connsiteY186" fmla="*/ 86685 h 209580"/>
                            <a:gd name="connsiteX187" fmla="*/ 256215 w 276514"/>
                            <a:gd name="connsiteY187" fmla="*/ 86137 h 209580"/>
                            <a:gd name="connsiteX188" fmla="*/ 254020 w 276514"/>
                            <a:gd name="connsiteY188" fmla="*/ 82296 h 209580"/>
                            <a:gd name="connsiteX189" fmla="*/ 252374 w 276514"/>
                            <a:gd name="connsiteY189" fmla="*/ 63642 h 209580"/>
                            <a:gd name="connsiteX190" fmla="*/ 249083 w 276514"/>
                            <a:gd name="connsiteY190" fmla="*/ 62545 h 209580"/>
                            <a:gd name="connsiteX191" fmla="*/ 245791 w 276514"/>
                            <a:gd name="connsiteY191" fmla="*/ 63094 h 209580"/>
                            <a:gd name="connsiteX192" fmla="*/ 241950 w 276514"/>
                            <a:gd name="connsiteY192" fmla="*/ 68031 h 209580"/>
                            <a:gd name="connsiteX193" fmla="*/ 240304 w 276514"/>
                            <a:gd name="connsiteY193" fmla="*/ 68031 h 209580"/>
                            <a:gd name="connsiteX194" fmla="*/ 240304 w 276514"/>
                            <a:gd name="connsiteY194" fmla="*/ 62545 h 209580"/>
                            <a:gd name="connsiteX195" fmla="*/ 241402 w 276514"/>
                            <a:gd name="connsiteY195" fmla="*/ 61448 h 209580"/>
                            <a:gd name="connsiteX196" fmla="*/ 244145 w 276514"/>
                            <a:gd name="connsiteY196" fmla="*/ 60350 h 209580"/>
                            <a:gd name="connsiteX197" fmla="*/ 244693 w 276514"/>
                            <a:gd name="connsiteY197" fmla="*/ 57059 h 209580"/>
                            <a:gd name="connsiteX198" fmla="*/ 247437 w 276514"/>
                            <a:gd name="connsiteY198" fmla="*/ 57059 h 209580"/>
                            <a:gd name="connsiteX199" fmla="*/ 248534 w 276514"/>
                            <a:gd name="connsiteY199" fmla="*/ 54315 h 209580"/>
                            <a:gd name="connsiteX200" fmla="*/ 251826 w 276514"/>
                            <a:gd name="connsiteY200" fmla="*/ 54315 h 209580"/>
                            <a:gd name="connsiteX201" fmla="*/ 251277 w 276514"/>
                            <a:gd name="connsiteY201" fmla="*/ 50475 h 209580"/>
                            <a:gd name="connsiteX202" fmla="*/ 250728 w 276514"/>
                            <a:gd name="connsiteY202" fmla="*/ 49926 h 209580"/>
                            <a:gd name="connsiteX203" fmla="*/ 246888 w 276514"/>
                            <a:gd name="connsiteY203" fmla="*/ 49926 h 209580"/>
                            <a:gd name="connsiteX204" fmla="*/ 244693 w 276514"/>
                            <a:gd name="connsiteY204" fmla="*/ 47183 h 209580"/>
                            <a:gd name="connsiteX205" fmla="*/ 241950 w 276514"/>
                            <a:gd name="connsiteY205" fmla="*/ 46086 h 209580"/>
                            <a:gd name="connsiteX206" fmla="*/ 238658 w 276514"/>
                            <a:gd name="connsiteY206" fmla="*/ 39502 h 209580"/>
                            <a:gd name="connsiteX207" fmla="*/ 235915 w 276514"/>
                            <a:gd name="connsiteY207" fmla="*/ 41148 h 209580"/>
                            <a:gd name="connsiteX208" fmla="*/ 234818 w 276514"/>
                            <a:gd name="connsiteY208" fmla="*/ 40599 h 209580"/>
                            <a:gd name="connsiteX209" fmla="*/ 234818 w 276514"/>
                            <a:gd name="connsiteY209" fmla="*/ 28529 h 209580"/>
                            <a:gd name="connsiteX210" fmla="*/ 233172 w 276514"/>
                            <a:gd name="connsiteY210" fmla="*/ 25238 h 209580"/>
                            <a:gd name="connsiteX211" fmla="*/ 231526 w 276514"/>
                            <a:gd name="connsiteY211" fmla="*/ 24689 h 209580"/>
                            <a:gd name="connsiteX212" fmla="*/ 232075 w 276514"/>
                            <a:gd name="connsiteY212" fmla="*/ 20849 h 209580"/>
                            <a:gd name="connsiteX213" fmla="*/ 230977 w 276514"/>
                            <a:gd name="connsiteY213" fmla="*/ 19202 h 209580"/>
                            <a:gd name="connsiteX214" fmla="*/ 228783 w 276514"/>
                            <a:gd name="connsiteY214" fmla="*/ 19202 h 209580"/>
                            <a:gd name="connsiteX215" fmla="*/ 227686 w 276514"/>
                            <a:gd name="connsiteY215" fmla="*/ 18654 h 209580"/>
                            <a:gd name="connsiteX216" fmla="*/ 228783 w 276514"/>
                            <a:gd name="connsiteY216" fmla="*/ 10973 h 209580"/>
                            <a:gd name="connsiteX217" fmla="*/ 228234 w 276514"/>
                            <a:gd name="connsiteY217" fmla="*/ 9876 h 209580"/>
                            <a:gd name="connsiteX218" fmla="*/ 226040 w 276514"/>
                            <a:gd name="connsiteY218" fmla="*/ 8230 h 209580"/>
                            <a:gd name="connsiteX219" fmla="*/ 224394 w 276514"/>
                            <a:gd name="connsiteY219" fmla="*/ 8230 h 209580"/>
                            <a:gd name="connsiteX220" fmla="*/ 222199 w 276514"/>
                            <a:gd name="connsiteY220" fmla="*/ 10424 h 209580"/>
                            <a:gd name="connsiteX221" fmla="*/ 220553 w 276514"/>
                            <a:gd name="connsiteY221" fmla="*/ 10424 h 209580"/>
                            <a:gd name="connsiteX222" fmla="*/ 216164 w 276514"/>
                            <a:gd name="connsiteY222" fmla="*/ 7681 h 209580"/>
                            <a:gd name="connsiteX223" fmla="*/ 214518 w 276514"/>
                            <a:gd name="connsiteY223" fmla="*/ 7681 h 209580"/>
                            <a:gd name="connsiteX224" fmla="*/ 213970 w 276514"/>
                            <a:gd name="connsiteY224" fmla="*/ 8230 h 209580"/>
                            <a:gd name="connsiteX225" fmla="*/ 213970 w 276514"/>
                            <a:gd name="connsiteY225" fmla="*/ 14265 h 209580"/>
                            <a:gd name="connsiteX226" fmla="*/ 211775 w 276514"/>
                            <a:gd name="connsiteY226" fmla="*/ 16459 h 209580"/>
                            <a:gd name="connsiteX227" fmla="*/ 202448 w 276514"/>
                            <a:gd name="connsiteY227" fmla="*/ 19202 h 209580"/>
                            <a:gd name="connsiteX228" fmla="*/ 202448 w 276514"/>
                            <a:gd name="connsiteY228" fmla="*/ 23043 h 209580"/>
                            <a:gd name="connsiteX229" fmla="*/ 201351 w 276514"/>
                            <a:gd name="connsiteY229" fmla="*/ 26335 h 209580"/>
                            <a:gd name="connsiteX230" fmla="*/ 191475 w 276514"/>
                            <a:gd name="connsiteY230" fmla="*/ 23043 h 209580"/>
                            <a:gd name="connsiteX231" fmla="*/ 185440 w 276514"/>
                            <a:gd name="connsiteY231" fmla="*/ 19202 h 209580"/>
                            <a:gd name="connsiteX232" fmla="*/ 179405 w 276514"/>
                            <a:gd name="connsiteY232" fmla="*/ 18105 h 209580"/>
                            <a:gd name="connsiteX233" fmla="*/ 177211 w 276514"/>
                            <a:gd name="connsiteY233" fmla="*/ 18654 h 209580"/>
                            <a:gd name="connsiteX234" fmla="*/ 174468 w 276514"/>
                            <a:gd name="connsiteY234" fmla="*/ 22494 h 209580"/>
                            <a:gd name="connsiteX235" fmla="*/ 171176 w 276514"/>
                            <a:gd name="connsiteY235" fmla="*/ 23592 h 209580"/>
                            <a:gd name="connsiteX236" fmla="*/ 168981 w 276514"/>
                            <a:gd name="connsiteY236" fmla="*/ 27432 h 209580"/>
                            <a:gd name="connsiteX237" fmla="*/ 166787 w 276514"/>
                            <a:gd name="connsiteY237" fmla="*/ 29627 h 209580"/>
                            <a:gd name="connsiteX238" fmla="*/ 162397 w 276514"/>
                            <a:gd name="connsiteY238" fmla="*/ 28529 h 209580"/>
                            <a:gd name="connsiteX239" fmla="*/ 155814 w 276514"/>
                            <a:gd name="connsiteY239" fmla="*/ 18654 h 209580"/>
                            <a:gd name="connsiteX240" fmla="*/ 151973 w 276514"/>
                            <a:gd name="connsiteY240" fmla="*/ 19202 h 209580"/>
                            <a:gd name="connsiteX241" fmla="*/ 148133 w 276514"/>
                            <a:gd name="connsiteY241" fmla="*/ 24140 h 209580"/>
                            <a:gd name="connsiteX242" fmla="*/ 145390 w 276514"/>
                            <a:gd name="connsiteY242" fmla="*/ 25786 h 209580"/>
                            <a:gd name="connsiteX243" fmla="*/ 142098 w 276514"/>
                            <a:gd name="connsiteY243" fmla="*/ 26335 h 209580"/>
                            <a:gd name="connsiteX244" fmla="*/ 138806 w 276514"/>
                            <a:gd name="connsiteY244" fmla="*/ 24689 h 209580"/>
                            <a:gd name="connsiteX245" fmla="*/ 135514 w 276514"/>
                            <a:gd name="connsiteY245" fmla="*/ 21397 h 209580"/>
                            <a:gd name="connsiteX246" fmla="*/ 136063 w 276514"/>
                            <a:gd name="connsiteY246" fmla="*/ 18654 h 209580"/>
                            <a:gd name="connsiteX247" fmla="*/ 138806 w 276514"/>
                            <a:gd name="connsiteY247" fmla="*/ 15911 h 209580"/>
                            <a:gd name="connsiteX248" fmla="*/ 138806 w 276514"/>
                            <a:gd name="connsiteY248" fmla="*/ 13716 h 209580"/>
                            <a:gd name="connsiteX249" fmla="*/ 140452 w 276514"/>
                            <a:gd name="connsiteY249" fmla="*/ 10973 h 209580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  <a:cxn ang="0">
                              <a:pos x="connsiteX11" y="connsiteY11"/>
                            </a:cxn>
                            <a:cxn ang="0">
                              <a:pos x="connsiteX12" y="connsiteY12"/>
                            </a:cxn>
                            <a:cxn ang="0">
                              <a:pos x="connsiteX13" y="connsiteY13"/>
                            </a:cxn>
                            <a:cxn ang="0">
                              <a:pos x="connsiteX14" y="connsiteY14"/>
                            </a:cxn>
                            <a:cxn ang="0">
                              <a:pos x="connsiteX15" y="connsiteY15"/>
                            </a:cxn>
                            <a:cxn ang="0">
                              <a:pos x="connsiteX16" y="connsiteY16"/>
                            </a:cxn>
                            <a:cxn ang="0">
                              <a:pos x="connsiteX17" y="connsiteY17"/>
                            </a:cxn>
                            <a:cxn ang="0">
                              <a:pos x="connsiteX18" y="connsiteY18"/>
                            </a:cxn>
                            <a:cxn ang="0">
                              <a:pos x="connsiteX19" y="connsiteY19"/>
                            </a:cxn>
                            <a:cxn ang="0">
                              <a:pos x="connsiteX20" y="connsiteY20"/>
                            </a:cxn>
                            <a:cxn ang="0">
                              <a:pos x="connsiteX21" y="connsiteY21"/>
                            </a:cxn>
                            <a:cxn ang="0">
                              <a:pos x="connsiteX22" y="connsiteY22"/>
                            </a:cxn>
                            <a:cxn ang="0">
                              <a:pos x="connsiteX23" y="connsiteY23"/>
                            </a:cxn>
                            <a:cxn ang="0">
                              <a:pos x="connsiteX24" y="connsiteY24"/>
                            </a:cxn>
                            <a:cxn ang="0">
                              <a:pos x="connsiteX25" y="connsiteY25"/>
                            </a:cxn>
                            <a:cxn ang="0">
                              <a:pos x="connsiteX26" y="connsiteY26"/>
                            </a:cxn>
                            <a:cxn ang="0">
                              <a:pos x="connsiteX27" y="connsiteY27"/>
                            </a:cxn>
                            <a:cxn ang="0">
                              <a:pos x="connsiteX28" y="connsiteY28"/>
                            </a:cxn>
                            <a:cxn ang="0">
                              <a:pos x="connsiteX29" y="connsiteY29"/>
                            </a:cxn>
                            <a:cxn ang="0">
                              <a:pos x="connsiteX30" y="connsiteY30"/>
                            </a:cxn>
                            <a:cxn ang="0">
                              <a:pos x="connsiteX31" y="connsiteY31"/>
                            </a:cxn>
                            <a:cxn ang="0">
                              <a:pos x="connsiteX32" y="connsiteY32"/>
                            </a:cxn>
                            <a:cxn ang="0">
                              <a:pos x="connsiteX33" y="connsiteY33"/>
                            </a:cxn>
                            <a:cxn ang="0">
                              <a:pos x="connsiteX34" y="connsiteY34"/>
                            </a:cxn>
                            <a:cxn ang="0">
                              <a:pos x="connsiteX35" y="connsiteY35"/>
                            </a:cxn>
                            <a:cxn ang="0">
                              <a:pos x="connsiteX36" y="connsiteY36"/>
                            </a:cxn>
                            <a:cxn ang="0">
                              <a:pos x="connsiteX37" y="connsiteY37"/>
                            </a:cxn>
                            <a:cxn ang="0">
                              <a:pos x="connsiteX38" y="connsiteY38"/>
                            </a:cxn>
                            <a:cxn ang="0">
                              <a:pos x="connsiteX39" y="connsiteY39"/>
                            </a:cxn>
                            <a:cxn ang="0">
                              <a:pos x="connsiteX40" y="connsiteY40"/>
                            </a:cxn>
                            <a:cxn ang="0">
                              <a:pos x="connsiteX41" y="connsiteY41"/>
                            </a:cxn>
                            <a:cxn ang="0">
                              <a:pos x="connsiteX42" y="connsiteY42"/>
                            </a:cxn>
                            <a:cxn ang="0">
                              <a:pos x="connsiteX43" y="connsiteY43"/>
                            </a:cxn>
                            <a:cxn ang="0">
                              <a:pos x="connsiteX44" y="connsiteY44"/>
                            </a:cxn>
                            <a:cxn ang="0">
                              <a:pos x="connsiteX45" y="connsiteY45"/>
                            </a:cxn>
                            <a:cxn ang="0">
                              <a:pos x="connsiteX46" y="connsiteY46"/>
                            </a:cxn>
                            <a:cxn ang="0">
                              <a:pos x="connsiteX47" y="connsiteY47"/>
                            </a:cxn>
                            <a:cxn ang="0">
                              <a:pos x="connsiteX48" y="connsiteY48"/>
                            </a:cxn>
                            <a:cxn ang="0">
                              <a:pos x="connsiteX49" y="connsiteY49"/>
                            </a:cxn>
                            <a:cxn ang="0">
                              <a:pos x="connsiteX50" y="connsiteY50"/>
                            </a:cxn>
                            <a:cxn ang="0">
                              <a:pos x="connsiteX51" y="connsiteY51"/>
                            </a:cxn>
                            <a:cxn ang="0">
                              <a:pos x="connsiteX52" y="connsiteY52"/>
                            </a:cxn>
                            <a:cxn ang="0">
                              <a:pos x="connsiteX53" y="connsiteY53"/>
                            </a:cxn>
                            <a:cxn ang="0">
                              <a:pos x="connsiteX54" y="connsiteY54"/>
                            </a:cxn>
                            <a:cxn ang="0">
                              <a:pos x="connsiteX55" y="connsiteY55"/>
                            </a:cxn>
                            <a:cxn ang="0">
                              <a:pos x="connsiteX56" y="connsiteY56"/>
                            </a:cxn>
                            <a:cxn ang="0">
                              <a:pos x="connsiteX57" y="connsiteY57"/>
                            </a:cxn>
                            <a:cxn ang="0">
                              <a:pos x="connsiteX58" y="connsiteY58"/>
                            </a:cxn>
                            <a:cxn ang="0">
                              <a:pos x="connsiteX59" y="connsiteY59"/>
                            </a:cxn>
                            <a:cxn ang="0">
                              <a:pos x="connsiteX60" y="connsiteY60"/>
                            </a:cxn>
                            <a:cxn ang="0">
                              <a:pos x="connsiteX61" y="connsiteY61"/>
                            </a:cxn>
                            <a:cxn ang="0">
                              <a:pos x="connsiteX62" y="connsiteY62"/>
                            </a:cxn>
                            <a:cxn ang="0">
                              <a:pos x="connsiteX63" y="connsiteY63"/>
                            </a:cxn>
                            <a:cxn ang="0">
                              <a:pos x="connsiteX64" y="connsiteY64"/>
                            </a:cxn>
                            <a:cxn ang="0">
                              <a:pos x="connsiteX65" y="connsiteY65"/>
                            </a:cxn>
                            <a:cxn ang="0">
                              <a:pos x="connsiteX66" y="connsiteY66"/>
                            </a:cxn>
                            <a:cxn ang="0">
                              <a:pos x="connsiteX67" y="connsiteY67"/>
                            </a:cxn>
                            <a:cxn ang="0">
                              <a:pos x="connsiteX68" y="connsiteY68"/>
                            </a:cxn>
                            <a:cxn ang="0">
                              <a:pos x="connsiteX69" y="connsiteY69"/>
                            </a:cxn>
                            <a:cxn ang="0">
                              <a:pos x="connsiteX70" y="connsiteY70"/>
                            </a:cxn>
                            <a:cxn ang="0">
                              <a:pos x="connsiteX71" y="connsiteY71"/>
                            </a:cxn>
                            <a:cxn ang="0">
                              <a:pos x="connsiteX72" y="connsiteY72"/>
                            </a:cxn>
                            <a:cxn ang="0">
                              <a:pos x="connsiteX73" y="connsiteY73"/>
                            </a:cxn>
                            <a:cxn ang="0">
                              <a:pos x="connsiteX74" y="connsiteY74"/>
                            </a:cxn>
                            <a:cxn ang="0">
                              <a:pos x="connsiteX75" y="connsiteY75"/>
                            </a:cxn>
                            <a:cxn ang="0">
                              <a:pos x="connsiteX76" y="connsiteY76"/>
                            </a:cxn>
                            <a:cxn ang="0">
                              <a:pos x="connsiteX77" y="connsiteY77"/>
                            </a:cxn>
                            <a:cxn ang="0">
                              <a:pos x="connsiteX78" y="connsiteY78"/>
                            </a:cxn>
                            <a:cxn ang="0">
                              <a:pos x="connsiteX79" y="connsiteY79"/>
                            </a:cxn>
                            <a:cxn ang="0">
                              <a:pos x="connsiteX80" y="connsiteY80"/>
                            </a:cxn>
                            <a:cxn ang="0">
                              <a:pos x="connsiteX81" y="connsiteY81"/>
                            </a:cxn>
                            <a:cxn ang="0">
                              <a:pos x="connsiteX82" y="connsiteY82"/>
                            </a:cxn>
                            <a:cxn ang="0">
                              <a:pos x="connsiteX83" y="connsiteY83"/>
                            </a:cxn>
                            <a:cxn ang="0">
                              <a:pos x="connsiteX84" y="connsiteY84"/>
                            </a:cxn>
                            <a:cxn ang="0">
                              <a:pos x="connsiteX85" y="connsiteY85"/>
                            </a:cxn>
                            <a:cxn ang="0">
                              <a:pos x="connsiteX86" y="connsiteY86"/>
                            </a:cxn>
                            <a:cxn ang="0">
                              <a:pos x="connsiteX87" y="connsiteY87"/>
                            </a:cxn>
                            <a:cxn ang="0">
                              <a:pos x="connsiteX88" y="connsiteY88"/>
                            </a:cxn>
                            <a:cxn ang="0">
                              <a:pos x="connsiteX89" y="connsiteY89"/>
                            </a:cxn>
                            <a:cxn ang="0">
                              <a:pos x="connsiteX90" y="connsiteY90"/>
                            </a:cxn>
                            <a:cxn ang="0">
                              <a:pos x="connsiteX91" y="connsiteY91"/>
                            </a:cxn>
                            <a:cxn ang="0">
                              <a:pos x="connsiteX92" y="connsiteY92"/>
                            </a:cxn>
                            <a:cxn ang="0">
                              <a:pos x="connsiteX93" y="connsiteY93"/>
                            </a:cxn>
                            <a:cxn ang="0">
                              <a:pos x="connsiteX94" y="connsiteY94"/>
                            </a:cxn>
                            <a:cxn ang="0">
                              <a:pos x="connsiteX95" y="connsiteY95"/>
                            </a:cxn>
                            <a:cxn ang="0">
                              <a:pos x="connsiteX96" y="connsiteY96"/>
                            </a:cxn>
                            <a:cxn ang="0">
                              <a:pos x="connsiteX97" y="connsiteY97"/>
                            </a:cxn>
                            <a:cxn ang="0">
                              <a:pos x="connsiteX98" y="connsiteY98"/>
                            </a:cxn>
                            <a:cxn ang="0">
                              <a:pos x="connsiteX99" y="connsiteY99"/>
                            </a:cxn>
                            <a:cxn ang="0">
                              <a:pos x="connsiteX100" y="connsiteY100"/>
                            </a:cxn>
                            <a:cxn ang="0">
                              <a:pos x="connsiteX101" y="connsiteY101"/>
                            </a:cxn>
                            <a:cxn ang="0">
                              <a:pos x="connsiteX102" y="connsiteY102"/>
                            </a:cxn>
                            <a:cxn ang="0">
                              <a:pos x="connsiteX103" y="connsiteY103"/>
                            </a:cxn>
                            <a:cxn ang="0">
                              <a:pos x="connsiteX104" y="connsiteY104"/>
                            </a:cxn>
                            <a:cxn ang="0">
                              <a:pos x="connsiteX105" y="connsiteY105"/>
                            </a:cxn>
                            <a:cxn ang="0">
                              <a:pos x="connsiteX106" y="connsiteY106"/>
                            </a:cxn>
                            <a:cxn ang="0">
                              <a:pos x="connsiteX107" y="connsiteY107"/>
                            </a:cxn>
                            <a:cxn ang="0">
                              <a:pos x="connsiteX108" y="connsiteY108"/>
                            </a:cxn>
                            <a:cxn ang="0">
                              <a:pos x="connsiteX109" y="connsiteY109"/>
                            </a:cxn>
                            <a:cxn ang="0">
                              <a:pos x="connsiteX110" y="connsiteY110"/>
                            </a:cxn>
                            <a:cxn ang="0">
                              <a:pos x="connsiteX111" y="connsiteY111"/>
                            </a:cxn>
                            <a:cxn ang="0">
                              <a:pos x="connsiteX112" y="connsiteY112"/>
                            </a:cxn>
                            <a:cxn ang="0">
                              <a:pos x="connsiteX113" y="connsiteY113"/>
                            </a:cxn>
                            <a:cxn ang="0">
                              <a:pos x="connsiteX114" y="connsiteY114"/>
                            </a:cxn>
                            <a:cxn ang="0">
                              <a:pos x="connsiteX115" y="connsiteY115"/>
                            </a:cxn>
                            <a:cxn ang="0">
                              <a:pos x="connsiteX116" y="connsiteY116"/>
                            </a:cxn>
                            <a:cxn ang="0">
                              <a:pos x="connsiteX117" y="connsiteY117"/>
                            </a:cxn>
                            <a:cxn ang="0">
                              <a:pos x="connsiteX118" y="connsiteY118"/>
                            </a:cxn>
                            <a:cxn ang="0">
                              <a:pos x="connsiteX119" y="connsiteY119"/>
                            </a:cxn>
                            <a:cxn ang="0">
                              <a:pos x="connsiteX120" y="connsiteY120"/>
                            </a:cxn>
                            <a:cxn ang="0">
                              <a:pos x="connsiteX121" y="connsiteY121"/>
                            </a:cxn>
                            <a:cxn ang="0">
                              <a:pos x="connsiteX122" y="connsiteY122"/>
                            </a:cxn>
                            <a:cxn ang="0">
                              <a:pos x="connsiteX123" y="connsiteY123"/>
                            </a:cxn>
                            <a:cxn ang="0">
                              <a:pos x="connsiteX124" y="connsiteY124"/>
                            </a:cxn>
                            <a:cxn ang="0">
                              <a:pos x="connsiteX125" y="connsiteY125"/>
                            </a:cxn>
                            <a:cxn ang="0">
                              <a:pos x="connsiteX126" y="connsiteY126"/>
                            </a:cxn>
                            <a:cxn ang="0">
                              <a:pos x="connsiteX127" y="connsiteY127"/>
                            </a:cxn>
                            <a:cxn ang="0">
                              <a:pos x="connsiteX128" y="connsiteY128"/>
                            </a:cxn>
                            <a:cxn ang="0">
                              <a:pos x="connsiteX129" y="connsiteY129"/>
                            </a:cxn>
                            <a:cxn ang="0">
                              <a:pos x="connsiteX130" y="connsiteY130"/>
                            </a:cxn>
                            <a:cxn ang="0">
                              <a:pos x="connsiteX131" y="connsiteY131"/>
                            </a:cxn>
                            <a:cxn ang="0">
                              <a:pos x="connsiteX132" y="connsiteY132"/>
                            </a:cxn>
                            <a:cxn ang="0">
                              <a:pos x="connsiteX133" y="connsiteY133"/>
                            </a:cxn>
                            <a:cxn ang="0">
                              <a:pos x="connsiteX134" y="connsiteY134"/>
                            </a:cxn>
                            <a:cxn ang="0">
                              <a:pos x="connsiteX135" y="connsiteY135"/>
                            </a:cxn>
                            <a:cxn ang="0">
                              <a:pos x="connsiteX136" y="connsiteY136"/>
                            </a:cxn>
                            <a:cxn ang="0">
                              <a:pos x="connsiteX137" y="connsiteY137"/>
                            </a:cxn>
                            <a:cxn ang="0">
                              <a:pos x="connsiteX138" y="connsiteY138"/>
                            </a:cxn>
                            <a:cxn ang="0">
                              <a:pos x="connsiteX139" y="connsiteY139"/>
                            </a:cxn>
                            <a:cxn ang="0">
                              <a:pos x="connsiteX140" y="connsiteY140"/>
                            </a:cxn>
                            <a:cxn ang="0">
                              <a:pos x="connsiteX141" y="connsiteY141"/>
                            </a:cxn>
                            <a:cxn ang="0">
                              <a:pos x="connsiteX142" y="connsiteY142"/>
                            </a:cxn>
                            <a:cxn ang="0">
                              <a:pos x="connsiteX143" y="connsiteY143"/>
                            </a:cxn>
                            <a:cxn ang="0">
                              <a:pos x="connsiteX144" y="connsiteY144"/>
                            </a:cxn>
                            <a:cxn ang="0">
                              <a:pos x="connsiteX145" y="connsiteY145"/>
                            </a:cxn>
                            <a:cxn ang="0">
                              <a:pos x="connsiteX146" y="connsiteY146"/>
                            </a:cxn>
                            <a:cxn ang="0">
                              <a:pos x="connsiteX147" y="connsiteY147"/>
                            </a:cxn>
                            <a:cxn ang="0">
                              <a:pos x="connsiteX148" y="connsiteY148"/>
                            </a:cxn>
                            <a:cxn ang="0">
                              <a:pos x="connsiteX149" y="connsiteY149"/>
                            </a:cxn>
                            <a:cxn ang="0">
                              <a:pos x="connsiteX150" y="connsiteY150"/>
                            </a:cxn>
                            <a:cxn ang="0">
                              <a:pos x="connsiteX151" y="connsiteY151"/>
                            </a:cxn>
                            <a:cxn ang="0">
                              <a:pos x="connsiteX152" y="connsiteY152"/>
                            </a:cxn>
                            <a:cxn ang="0">
                              <a:pos x="connsiteX153" y="connsiteY153"/>
                            </a:cxn>
                            <a:cxn ang="0">
                              <a:pos x="connsiteX154" y="connsiteY154"/>
                            </a:cxn>
                            <a:cxn ang="0">
                              <a:pos x="connsiteX155" y="connsiteY155"/>
                            </a:cxn>
                            <a:cxn ang="0">
                              <a:pos x="connsiteX156" y="connsiteY156"/>
                            </a:cxn>
                            <a:cxn ang="0">
                              <a:pos x="connsiteX157" y="connsiteY157"/>
                            </a:cxn>
                            <a:cxn ang="0">
                              <a:pos x="connsiteX158" y="connsiteY158"/>
                            </a:cxn>
                            <a:cxn ang="0">
                              <a:pos x="connsiteX159" y="connsiteY159"/>
                            </a:cxn>
                            <a:cxn ang="0">
                              <a:pos x="connsiteX160" y="connsiteY160"/>
                            </a:cxn>
                            <a:cxn ang="0">
                              <a:pos x="connsiteX161" y="connsiteY161"/>
                            </a:cxn>
                            <a:cxn ang="0">
                              <a:pos x="connsiteX162" y="connsiteY162"/>
                            </a:cxn>
                            <a:cxn ang="0">
                              <a:pos x="connsiteX163" y="connsiteY163"/>
                            </a:cxn>
                            <a:cxn ang="0">
                              <a:pos x="connsiteX164" y="connsiteY164"/>
                            </a:cxn>
                            <a:cxn ang="0">
                              <a:pos x="connsiteX165" y="connsiteY165"/>
                            </a:cxn>
                            <a:cxn ang="0">
                              <a:pos x="connsiteX166" y="connsiteY166"/>
                            </a:cxn>
                            <a:cxn ang="0">
                              <a:pos x="connsiteX167" y="connsiteY167"/>
                            </a:cxn>
                            <a:cxn ang="0">
                              <a:pos x="connsiteX168" y="connsiteY168"/>
                            </a:cxn>
                            <a:cxn ang="0">
                              <a:pos x="connsiteX169" y="connsiteY169"/>
                            </a:cxn>
                            <a:cxn ang="0">
                              <a:pos x="connsiteX170" y="connsiteY170"/>
                            </a:cxn>
                            <a:cxn ang="0">
                              <a:pos x="connsiteX171" y="connsiteY171"/>
                            </a:cxn>
                            <a:cxn ang="0">
                              <a:pos x="connsiteX172" y="connsiteY172"/>
                            </a:cxn>
                            <a:cxn ang="0">
                              <a:pos x="connsiteX173" y="connsiteY173"/>
                            </a:cxn>
                            <a:cxn ang="0">
                              <a:pos x="connsiteX174" y="connsiteY174"/>
                            </a:cxn>
                            <a:cxn ang="0">
                              <a:pos x="connsiteX175" y="connsiteY175"/>
                            </a:cxn>
                            <a:cxn ang="0">
                              <a:pos x="connsiteX176" y="connsiteY176"/>
                            </a:cxn>
                            <a:cxn ang="0">
                              <a:pos x="connsiteX177" y="connsiteY177"/>
                            </a:cxn>
                            <a:cxn ang="0">
                              <a:pos x="connsiteX178" y="connsiteY178"/>
                            </a:cxn>
                            <a:cxn ang="0">
                              <a:pos x="connsiteX179" y="connsiteY179"/>
                            </a:cxn>
                            <a:cxn ang="0">
                              <a:pos x="connsiteX180" y="connsiteY180"/>
                            </a:cxn>
                            <a:cxn ang="0">
                              <a:pos x="connsiteX181" y="connsiteY181"/>
                            </a:cxn>
                            <a:cxn ang="0">
                              <a:pos x="connsiteX182" y="connsiteY182"/>
                            </a:cxn>
                            <a:cxn ang="0">
                              <a:pos x="connsiteX183" y="connsiteY183"/>
                            </a:cxn>
                            <a:cxn ang="0">
                              <a:pos x="connsiteX184" y="connsiteY184"/>
                            </a:cxn>
                            <a:cxn ang="0">
                              <a:pos x="connsiteX185" y="connsiteY185"/>
                            </a:cxn>
                            <a:cxn ang="0">
                              <a:pos x="connsiteX186" y="connsiteY186"/>
                            </a:cxn>
                            <a:cxn ang="0">
                              <a:pos x="connsiteX187" y="connsiteY187"/>
                            </a:cxn>
                            <a:cxn ang="0">
                              <a:pos x="connsiteX188" y="connsiteY188"/>
                            </a:cxn>
                            <a:cxn ang="0">
                              <a:pos x="connsiteX189" y="connsiteY189"/>
                            </a:cxn>
                            <a:cxn ang="0">
                              <a:pos x="connsiteX190" y="connsiteY190"/>
                            </a:cxn>
                            <a:cxn ang="0">
                              <a:pos x="connsiteX191" y="connsiteY191"/>
                            </a:cxn>
                            <a:cxn ang="0">
                              <a:pos x="connsiteX192" y="connsiteY192"/>
                            </a:cxn>
                            <a:cxn ang="0">
                              <a:pos x="connsiteX193" y="connsiteY193"/>
                            </a:cxn>
                            <a:cxn ang="0">
                              <a:pos x="connsiteX194" y="connsiteY194"/>
                            </a:cxn>
                            <a:cxn ang="0">
                              <a:pos x="connsiteX195" y="connsiteY195"/>
                            </a:cxn>
                            <a:cxn ang="0">
                              <a:pos x="connsiteX196" y="connsiteY196"/>
                            </a:cxn>
                            <a:cxn ang="0">
                              <a:pos x="connsiteX197" y="connsiteY197"/>
                            </a:cxn>
                            <a:cxn ang="0">
                              <a:pos x="connsiteX198" y="connsiteY198"/>
                            </a:cxn>
                            <a:cxn ang="0">
                              <a:pos x="connsiteX199" y="connsiteY199"/>
                            </a:cxn>
                            <a:cxn ang="0">
                              <a:pos x="connsiteX200" y="connsiteY200"/>
                            </a:cxn>
                            <a:cxn ang="0">
                              <a:pos x="connsiteX201" y="connsiteY201"/>
                            </a:cxn>
                            <a:cxn ang="0">
                              <a:pos x="connsiteX202" y="connsiteY202"/>
                            </a:cxn>
                            <a:cxn ang="0">
                              <a:pos x="connsiteX203" y="connsiteY203"/>
                            </a:cxn>
                            <a:cxn ang="0">
                              <a:pos x="connsiteX204" y="connsiteY204"/>
                            </a:cxn>
                            <a:cxn ang="0">
                              <a:pos x="connsiteX205" y="connsiteY205"/>
                            </a:cxn>
                            <a:cxn ang="0">
                              <a:pos x="connsiteX206" y="connsiteY206"/>
                            </a:cxn>
                            <a:cxn ang="0">
                              <a:pos x="connsiteX207" y="connsiteY207"/>
                            </a:cxn>
                            <a:cxn ang="0">
                              <a:pos x="connsiteX208" y="connsiteY208"/>
                            </a:cxn>
                            <a:cxn ang="0">
                              <a:pos x="connsiteX209" y="connsiteY209"/>
                            </a:cxn>
                            <a:cxn ang="0">
                              <a:pos x="connsiteX210" y="connsiteY210"/>
                            </a:cxn>
                            <a:cxn ang="0">
                              <a:pos x="connsiteX211" y="connsiteY211"/>
                            </a:cxn>
                            <a:cxn ang="0">
                              <a:pos x="connsiteX212" y="connsiteY212"/>
                            </a:cxn>
                            <a:cxn ang="0">
                              <a:pos x="connsiteX213" y="connsiteY213"/>
                            </a:cxn>
                            <a:cxn ang="0">
                              <a:pos x="connsiteX214" y="connsiteY214"/>
                            </a:cxn>
                            <a:cxn ang="0">
                              <a:pos x="connsiteX215" y="connsiteY215"/>
                            </a:cxn>
                            <a:cxn ang="0">
                              <a:pos x="connsiteX216" y="connsiteY216"/>
                            </a:cxn>
                            <a:cxn ang="0">
                              <a:pos x="connsiteX217" y="connsiteY217"/>
                            </a:cxn>
                            <a:cxn ang="0">
                              <a:pos x="connsiteX218" y="connsiteY218"/>
                            </a:cxn>
                            <a:cxn ang="0">
                              <a:pos x="connsiteX219" y="connsiteY219"/>
                            </a:cxn>
                            <a:cxn ang="0">
                              <a:pos x="connsiteX220" y="connsiteY220"/>
                            </a:cxn>
                            <a:cxn ang="0">
                              <a:pos x="connsiteX221" y="connsiteY221"/>
                            </a:cxn>
                            <a:cxn ang="0">
                              <a:pos x="connsiteX222" y="connsiteY222"/>
                            </a:cxn>
                            <a:cxn ang="0">
                              <a:pos x="connsiteX223" y="connsiteY223"/>
                            </a:cxn>
                            <a:cxn ang="0">
                              <a:pos x="connsiteX224" y="connsiteY224"/>
                            </a:cxn>
                            <a:cxn ang="0">
                              <a:pos x="connsiteX225" y="connsiteY225"/>
                            </a:cxn>
                            <a:cxn ang="0">
                              <a:pos x="connsiteX226" y="connsiteY226"/>
                            </a:cxn>
                            <a:cxn ang="0">
                              <a:pos x="connsiteX227" y="connsiteY227"/>
                            </a:cxn>
                            <a:cxn ang="0">
                              <a:pos x="connsiteX228" y="connsiteY228"/>
                            </a:cxn>
                            <a:cxn ang="0">
                              <a:pos x="connsiteX229" y="connsiteY229"/>
                            </a:cxn>
                            <a:cxn ang="0">
                              <a:pos x="connsiteX230" y="connsiteY230"/>
                            </a:cxn>
                            <a:cxn ang="0">
                              <a:pos x="connsiteX231" y="connsiteY231"/>
                            </a:cxn>
                            <a:cxn ang="0">
                              <a:pos x="connsiteX232" y="connsiteY232"/>
                            </a:cxn>
                            <a:cxn ang="0">
                              <a:pos x="connsiteX233" y="connsiteY233"/>
                            </a:cxn>
                            <a:cxn ang="0">
                              <a:pos x="connsiteX234" y="connsiteY234"/>
                            </a:cxn>
                            <a:cxn ang="0">
                              <a:pos x="connsiteX235" y="connsiteY235"/>
                            </a:cxn>
                            <a:cxn ang="0">
                              <a:pos x="connsiteX236" y="connsiteY236"/>
                            </a:cxn>
                            <a:cxn ang="0">
                              <a:pos x="connsiteX237" y="connsiteY237"/>
                            </a:cxn>
                            <a:cxn ang="0">
                              <a:pos x="connsiteX238" y="connsiteY238"/>
                            </a:cxn>
                            <a:cxn ang="0">
                              <a:pos x="connsiteX239" y="connsiteY239"/>
                            </a:cxn>
                            <a:cxn ang="0">
                              <a:pos x="connsiteX240" y="connsiteY240"/>
                            </a:cxn>
                            <a:cxn ang="0">
                              <a:pos x="connsiteX241" y="connsiteY241"/>
                            </a:cxn>
                            <a:cxn ang="0">
                              <a:pos x="connsiteX242" y="connsiteY242"/>
                            </a:cxn>
                            <a:cxn ang="0">
                              <a:pos x="connsiteX243" y="connsiteY243"/>
                            </a:cxn>
                            <a:cxn ang="0">
                              <a:pos x="connsiteX244" y="connsiteY244"/>
                            </a:cxn>
                            <a:cxn ang="0">
                              <a:pos x="connsiteX245" y="connsiteY245"/>
                            </a:cxn>
                            <a:cxn ang="0">
                              <a:pos x="connsiteX246" y="connsiteY246"/>
                            </a:cxn>
                            <a:cxn ang="0">
                              <a:pos x="connsiteX247" y="connsiteY247"/>
                            </a:cxn>
                            <a:cxn ang="0">
                              <a:pos x="connsiteX248" y="connsiteY248"/>
                            </a:cxn>
                            <a:cxn ang="0">
                              <a:pos x="connsiteX249" y="connsiteY249"/>
                            </a:cxn>
                          </a:cxnLst>
                          <a:rect l="l" t="t" r="r" b="b"/>
                          <a:pathLst>
                            <a:path w="276514" h="209580">
                              <a:moveTo>
                                <a:pt x="140452" y="10973"/>
                              </a:moveTo>
                              <a:lnTo>
                                <a:pt x="133868" y="10424"/>
                              </a:lnTo>
                              <a:lnTo>
                                <a:pt x="129479" y="12070"/>
                              </a:lnTo>
                              <a:lnTo>
                                <a:pt x="119604" y="11522"/>
                              </a:lnTo>
                              <a:lnTo>
                                <a:pt x="117958" y="12070"/>
                              </a:lnTo>
                              <a:lnTo>
                                <a:pt x="112471" y="12070"/>
                              </a:lnTo>
                              <a:lnTo>
                                <a:pt x="107533" y="13716"/>
                              </a:lnTo>
                              <a:lnTo>
                                <a:pt x="103144" y="14265"/>
                              </a:lnTo>
                              <a:lnTo>
                                <a:pt x="99852" y="12070"/>
                              </a:lnTo>
                              <a:lnTo>
                                <a:pt x="97658" y="12619"/>
                              </a:lnTo>
                              <a:lnTo>
                                <a:pt x="92172" y="10973"/>
                              </a:lnTo>
                              <a:lnTo>
                                <a:pt x="87782" y="10973"/>
                              </a:lnTo>
                              <a:lnTo>
                                <a:pt x="82845" y="6584"/>
                              </a:lnTo>
                              <a:lnTo>
                                <a:pt x="81747" y="7681"/>
                              </a:lnTo>
                              <a:lnTo>
                                <a:pt x="81199" y="9327"/>
                              </a:lnTo>
                              <a:lnTo>
                                <a:pt x="76261" y="9327"/>
                              </a:lnTo>
                              <a:lnTo>
                                <a:pt x="76261" y="4938"/>
                              </a:lnTo>
                              <a:lnTo>
                                <a:pt x="74615" y="3292"/>
                              </a:lnTo>
                              <a:lnTo>
                                <a:pt x="69129" y="2195"/>
                              </a:lnTo>
                              <a:lnTo>
                                <a:pt x="64191" y="3292"/>
                              </a:lnTo>
                              <a:lnTo>
                                <a:pt x="61448" y="549"/>
                              </a:lnTo>
                              <a:lnTo>
                                <a:pt x="52121" y="0"/>
                              </a:lnTo>
                              <a:lnTo>
                                <a:pt x="52121" y="4938"/>
                              </a:lnTo>
                              <a:lnTo>
                                <a:pt x="54864" y="9327"/>
                              </a:lnTo>
                              <a:lnTo>
                                <a:pt x="54864" y="12619"/>
                              </a:lnTo>
                              <a:lnTo>
                                <a:pt x="53218" y="16459"/>
                              </a:lnTo>
                              <a:lnTo>
                                <a:pt x="50475" y="17557"/>
                              </a:lnTo>
                              <a:lnTo>
                                <a:pt x="47183" y="17557"/>
                              </a:lnTo>
                              <a:lnTo>
                                <a:pt x="45537" y="18654"/>
                              </a:lnTo>
                              <a:lnTo>
                                <a:pt x="44440" y="20849"/>
                              </a:lnTo>
                              <a:lnTo>
                                <a:pt x="48280" y="23592"/>
                              </a:lnTo>
                              <a:lnTo>
                                <a:pt x="50475" y="26883"/>
                              </a:lnTo>
                              <a:lnTo>
                                <a:pt x="51572" y="38954"/>
                              </a:lnTo>
                              <a:lnTo>
                                <a:pt x="46634" y="38954"/>
                              </a:lnTo>
                              <a:lnTo>
                                <a:pt x="44440" y="41148"/>
                              </a:lnTo>
                              <a:lnTo>
                                <a:pt x="30724" y="41148"/>
                              </a:lnTo>
                              <a:lnTo>
                                <a:pt x="18654" y="46634"/>
                              </a:lnTo>
                              <a:lnTo>
                                <a:pt x="14265" y="49926"/>
                              </a:lnTo>
                              <a:lnTo>
                                <a:pt x="7681" y="63642"/>
                              </a:lnTo>
                              <a:lnTo>
                                <a:pt x="4389" y="66386"/>
                              </a:lnTo>
                              <a:lnTo>
                                <a:pt x="0" y="68031"/>
                              </a:lnTo>
                              <a:lnTo>
                                <a:pt x="549" y="74615"/>
                              </a:lnTo>
                              <a:lnTo>
                                <a:pt x="2743" y="75713"/>
                              </a:lnTo>
                              <a:lnTo>
                                <a:pt x="4938" y="75713"/>
                              </a:lnTo>
                              <a:lnTo>
                                <a:pt x="6035" y="75164"/>
                              </a:lnTo>
                              <a:lnTo>
                                <a:pt x="9327" y="69677"/>
                              </a:lnTo>
                              <a:lnTo>
                                <a:pt x="11521" y="68580"/>
                              </a:lnTo>
                              <a:lnTo>
                                <a:pt x="12070" y="69129"/>
                              </a:lnTo>
                              <a:lnTo>
                                <a:pt x="13716" y="78456"/>
                              </a:lnTo>
                              <a:lnTo>
                                <a:pt x="19751" y="79004"/>
                              </a:lnTo>
                              <a:lnTo>
                                <a:pt x="20300" y="80102"/>
                              </a:lnTo>
                              <a:lnTo>
                                <a:pt x="20848" y="88331"/>
                              </a:lnTo>
                              <a:lnTo>
                                <a:pt x="26883" y="99853"/>
                              </a:lnTo>
                              <a:lnTo>
                                <a:pt x="44988" y="109179"/>
                              </a:lnTo>
                              <a:lnTo>
                                <a:pt x="50475" y="115214"/>
                              </a:lnTo>
                              <a:lnTo>
                                <a:pt x="51024" y="122347"/>
                              </a:lnTo>
                              <a:lnTo>
                                <a:pt x="56510" y="124541"/>
                              </a:lnTo>
                              <a:lnTo>
                                <a:pt x="58704" y="128382"/>
                              </a:lnTo>
                              <a:lnTo>
                                <a:pt x="60899" y="130028"/>
                              </a:lnTo>
                              <a:lnTo>
                                <a:pt x="60899" y="131674"/>
                              </a:lnTo>
                              <a:lnTo>
                                <a:pt x="63094" y="133868"/>
                              </a:lnTo>
                              <a:lnTo>
                                <a:pt x="65837" y="137160"/>
                              </a:lnTo>
                              <a:lnTo>
                                <a:pt x="71323" y="139355"/>
                              </a:lnTo>
                              <a:lnTo>
                                <a:pt x="76810" y="138806"/>
                              </a:lnTo>
                              <a:lnTo>
                                <a:pt x="78456" y="137709"/>
                              </a:lnTo>
                              <a:lnTo>
                                <a:pt x="81747" y="131125"/>
                              </a:lnTo>
                              <a:lnTo>
                                <a:pt x="85039" y="130577"/>
                              </a:lnTo>
                              <a:lnTo>
                                <a:pt x="86685" y="129479"/>
                              </a:lnTo>
                              <a:lnTo>
                                <a:pt x="87234" y="126187"/>
                              </a:lnTo>
                              <a:lnTo>
                                <a:pt x="90526" y="124541"/>
                              </a:lnTo>
                              <a:lnTo>
                                <a:pt x="97658" y="114666"/>
                              </a:lnTo>
                              <a:lnTo>
                                <a:pt x="97109" y="109179"/>
                              </a:lnTo>
                              <a:lnTo>
                                <a:pt x="99304" y="108082"/>
                              </a:lnTo>
                              <a:lnTo>
                                <a:pt x="104790" y="107534"/>
                              </a:lnTo>
                              <a:lnTo>
                                <a:pt x="107533" y="109179"/>
                              </a:lnTo>
                              <a:lnTo>
                                <a:pt x="117958" y="107534"/>
                              </a:lnTo>
                              <a:lnTo>
                                <a:pt x="117958" y="104242"/>
                              </a:lnTo>
                              <a:lnTo>
                                <a:pt x="144292" y="105339"/>
                              </a:lnTo>
                              <a:lnTo>
                                <a:pt x="147036" y="109728"/>
                              </a:lnTo>
                              <a:lnTo>
                                <a:pt x="151425" y="111923"/>
                              </a:lnTo>
                              <a:lnTo>
                                <a:pt x="153619" y="116312"/>
                              </a:lnTo>
                              <a:lnTo>
                                <a:pt x="156911" y="117958"/>
                              </a:lnTo>
                              <a:lnTo>
                                <a:pt x="156911" y="120152"/>
                              </a:lnTo>
                              <a:lnTo>
                                <a:pt x="159106" y="122347"/>
                              </a:lnTo>
                              <a:lnTo>
                                <a:pt x="158008" y="124541"/>
                              </a:lnTo>
                              <a:lnTo>
                                <a:pt x="158557" y="126187"/>
                              </a:lnTo>
                              <a:lnTo>
                                <a:pt x="163495" y="127285"/>
                              </a:lnTo>
                              <a:lnTo>
                                <a:pt x="165141" y="128930"/>
                              </a:lnTo>
                              <a:lnTo>
                                <a:pt x="165141" y="130028"/>
                              </a:lnTo>
                              <a:lnTo>
                                <a:pt x="164043" y="131674"/>
                              </a:lnTo>
                              <a:lnTo>
                                <a:pt x="165141" y="134966"/>
                              </a:lnTo>
                              <a:lnTo>
                                <a:pt x="164043" y="135514"/>
                              </a:lnTo>
                              <a:lnTo>
                                <a:pt x="165141" y="138806"/>
                              </a:lnTo>
                              <a:lnTo>
                                <a:pt x="165689" y="140452"/>
                              </a:lnTo>
                              <a:lnTo>
                                <a:pt x="168981" y="142646"/>
                              </a:lnTo>
                              <a:lnTo>
                                <a:pt x="170078" y="144841"/>
                              </a:lnTo>
                              <a:lnTo>
                                <a:pt x="171176" y="152522"/>
                              </a:lnTo>
                              <a:lnTo>
                                <a:pt x="171176" y="153071"/>
                              </a:lnTo>
                              <a:lnTo>
                                <a:pt x="167335" y="154168"/>
                              </a:lnTo>
                              <a:lnTo>
                                <a:pt x="164043" y="165689"/>
                              </a:lnTo>
                              <a:lnTo>
                                <a:pt x="164043" y="167335"/>
                              </a:lnTo>
                              <a:lnTo>
                                <a:pt x="172273" y="164044"/>
                              </a:lnTo>
                              <a:lnTo>
                                <a:pt x="176662" y="160752"/>
                              </a:lnTo>
                              <a:lnTo>
                                <a:pt x="177211" y="160752"/>
                              </a:lnTo>
                              <a:lnTo>
                                <a:pt x="177759" y="162398"/>
                              </a:lnTo>
                              <a:lnTo>
                                <a:pt x="177759" y="165141"/>
                              </a:lnTo>
                              <a:lnTo>
                                <a:pt x="181051" y="164592"/>
                              </a:lnTo>
                              <a:lnTo>
                                <a:pt x="182697" y="160203"/>
                              </a:lnTo>
                              <a:lnTo>
                                <a:pt x="185440" y="158557"/>
                              </a:lnTo>
                              <a:lnTo>
                                <a:pt x="191475" y="162946"/>
                              </a:lnTo>
                              <a:lnTo>
                                <a:pt x="192573" y="162946"/>
                              </a:lnTo>
                              <a:lnTo>
                                <a:pt x="194219" y="161300"/>
                              </a:lnTo>
                              <a:lnTo>
                                <a:pt x="200254" y="159654"/>
                              </a:lnTo>
                              <a:lnTo>
                                <a:pt x="201351" y="160203"/>
                              </a:lnTo>
                              <a:lnTo>
                                <a:pt x="201351" y="161300"/>
                              </a:lnTo>
                              <a:lnTo>
                                <a:pt x="203545" y="164044"/>
                              </a:lnTo>
                              <a:lnTo>
                                <a:pt x="208483" y="167335"/>
                              </a:lnTo>
                              <a:lnTo>
                                <a:pt x="208483" y="172273"/>
                              </a:lnTo>
                              <a:lnTo>
                                <a:pt x="211226" y="176114"/>
                              </a:lnTo>
                              <a:lnTo>
                                <a:pt x="212324" y="185989"/>
                              </a:lnTo>
                              <a:lnTo>
                                <a:pt x="213970" y="187635"/>
                              </a:lnTo>
                              <a:lnTo>
                                <a:pt x="213421" y="197510"/>
                              </a:lnTo>
                              <a:lnTo>
                                <a:pt x="211775" y="200254"/>
                              </a:lnTo>
                              <a:lnTo>
                                <a:pt x="209032" y="201900"/>
                              </a:lnTo>
                              <a:lnTo>
                                <a:pt x="208483" y="203546"/>
                              </a:lnTo>
                              <a:lnTo>
                                <a:pt x="209580" y="204643"/>
                              </a:lnTo>
                              <a:lnTo>
                                <a:pt x="212324" y="204094"/>
                              </a:lnTo>
                              <a:lnTo>
                                <a:pt x="215067" y="201900"/>
                              </a:lnTo>
                              <a:lnTo>
                                <a:pt x="216713" y="202448"/>
                              </a:lnTo>
                              <a:lnTo>
                                <a:pt x="223296" y="209581"/>
                              </a:lnTo>
                              <a:lnTo>
                                <a:pt x="226588" y="209032"/>
                              </a:lnTo>
                              <a:lnTo>
                                <a:pt x="228783" y="207386"/>
                              </a:lnTo>
                              <a:lnTo>
                                <a:pt x="233721" y="207386"/>
                              </a:lnTo>
                              <a:lnTo>
                                <a:pt x="234269" y="204094"/>
                              </a:lnTo>
                              <a:lnTo>
                                <a:pt x="237561" y="199705"/>
                              </a:lnTo>
                              <a:lnTo>
                                <a:pt x="238110" y="194767"/>
                              </a:lnTo>
                              <a:lnTo>
                                <a:pt x="239756" y="192573"/>
                              </a:lnTo>
                              <a:lnTo>
                                <a:pt x="244145" y="193121"/>
                              </a:lnTo>
                              <a:lnTo>
                                <a:pt x="246888" y="197510"/>
                              </a:lnTo>
                              <a:lnTo>
                                <a:pt x="249083" y="196413"/>
                              </a:lnTo>
                              <a:lnTo>
                                <a:pt x="258958" y="196413"/>
                              </a:lnTo>
                              <a:lnTo>
                                <a:pt x="258958" y="193670"/>
                              </a:lnTo>
                              <a:lnTo>
                                <a:pt x="262250" y="189281"/>
                              </a:lnTo>
                              <a:lnTo>
                                <a:pt x="263347" y="179954"/>
                              </a:lnTo>
                              <a:lnTo>
                                <a:pt x="266090" y="177760"/>
                              </a:lnTo>
                              <a:lnTo>
                                <a:pt x="265542" y="176662"/>
                              </a:lnTo>
                              <a:lnTo>
                                <a:pt x="264444" y="176114"/>
                              </a:lnTo>
                              <a:lnTo>
                                <a:pt x="264993" y="175016"/>
                              </a:lnTo>
                              <a:lnTo>
                                <a:pt x="264444" y="172822"/>
                              </a:lnTo>
                              <a:lnTo>
                                <a:pt x="261701" y="171725"/>
                              </a:lnTo>
                              <a:lnTo>
                                <a:pt x="257312" y="172273"/>
                              </a:lnTo>
                              <a:lnTo>
                                <a:pt x="255666" y="171176"/>
                              </a:lnTo>
                              <a:lnTo>
                                <a:pt x="257312" y="167335"/>
                              </a:lnTo>
                              <a:lnTo>
                                <a:pt x="256764" y="164044"/>
                              </a:lnTo>
                              <a:lnTo>
                                <a:pt x="255666" y="163495"/>
                              </a:lnTo>
                              <a:lnTo>
                                <a:pt x="255666" y="162946"/>
                              </a:lnTo>
                              <a:lnTo>
                                <a:pt x="261153" y="160752"/>
                              </a:lnTo>
                              <a:lnTo>
                                <a:pt x="267188" y="161300"/>
                              </a:lnTo>
                              <a:lnTo>
                                <a:pt x="269931" y="163495"/>
                              </a:lnTo>
                              <a:lnTo>
                                <a:pt x="271577" y="164044"/>
                              </a:lnTo>
                              <a:lnTo>
                                <a:pt x="273771" y="163495"/>
                              </a:lnTo>
                              <a:lnTo>
                                <a:pt x="275417" y="167335"/>
                              </a:lnTo>
                              <a:lnTo>
                                <a:pt x="276515" y="167335"/>
                              </a:lnTo>
                              <a:lnTo>
                                <a:pt x="275966" y="158009"/>
                              </a:lnTo>
                              <a:lnTo>
                                <a:pt x="273771" y="155265"/>
                              </a:lnTo>
                              <a:lnTo>
                                <a:pt x="273771" y="151425"/>
                              </a:lnTo>
                              <a:lnTo>
                                <a:pt x="271577" y="151425"/>
                              </a:lnTo>
                              <a:lnTo>
                                <a:pt x="269382" y="150328"/>
                              </a:lnTo>
                              <a:lnTo>
                                <a:pt x="267736" y="150876"/>
                              </a:lnTo>
                              <a:lnTo>
                                <a:pt x="269931" y="144293"/>
                              </a:lnTo>
                              <a:lnTo>
                                <a:pt x="272125" y="141549"/>
                              </a:lnTo>
                              <a:lnTo>
                                <a:pt x="274320" y="141001"/>
                              </a:lnTo>
                              <a:lnTo>
                                <a:pt x="274320" y="139903"/>
                              </a:lnTo>
                              <a:lnTo>
                                <a:pt x="271028" y="136063"/>
                              </a:lnTo>
                              <a:lnTo>
                                <a:pt x="269382" y="136612"/>
                              </a:lnTo>
                              <a:lnTo>
                                <a:pt x="269931" y="127285"/>
                              </a:lnTo>
                              <a:lnTo>
                                <a:pt x="264993" y="127833"/>
                              </a:lnTo>
                              <a:lnTo>
                                <a:pt x="260055" y="124541"/>
                              </a:lnTo>
                              <a:lnTo>
                                <a:pt x="259507" y="123444"/>
                              </a:lnTo>
                              <a:lnTo>
                                <a:pt x="258958" y="105888"/>
                              </a:lnTo>
                              <a:lnTo>
                                <a:pt x="261153" y="104242"/>
                              </a:lnTo>
                              <a:lnTo>
                                <a:pt x="261153" y="102596"/>
                              </a:lnTo>
                              <a:lnTo>
                                <a:pt x="266090" y="97658"/>
                              </a:lnTo>
                              <a:lnTo>
                                <a:pt x="266090" y="93818"/>
                              </a:lnTo>
                              <a:lnTo>
                                <a:pt x="264993" y="91623"/>
                              </a:lnTo>
                              <a:lnTo>
                                <a:pt x="261153" y="89429"/>
                              </a:lnTo>
                              <a:lnTo>
                                <a:pt x="260055" y="86685"/>
                              </a:lnTo>
                              <a:lnTo>
                                <a:pt x="256215" y="86137"/>
                              </a:lnTo>
                              <a:lnTo>
                                <a:pt x="254020" y="82296"/>
                              </a:lnTo>
                              <a:lnTo>
                                <a:pt x="252374" y="63642"/>
                              </a:lnTo>
                              <a:lnTo>
                                <a:pt x="249083" y="62545"/>
                              </a:lnTo>
                              <a:lnTo>
                                <a:pt x="245791" y="63094"/>
                              </a:lnTo>
                              <a:lnTo>
                                <a:pt x="241950" y="68031"/>
                              </a:lnTo>
                              <a:lnTo>
                                <a:pt x="240304" y="68031"/>
                              </a:lnTo>
                              <a:lnTo>
                                <a:pt x="240304" y="62545"/>
                              </a:lnTo>
                              <a:lnTo>
                                <a:pt x="241402" y="61448"/>
                              </a:lnTo>
                              <a:lnTo>
                                <a:pt x="244145" y="60350"/>
                              </a:lnTo>
                              <a:lnTo>
                                <a:pt x="244693" y="57059"/>
                              </a:lnTo>
                              <a:lnTo>
                                <a:pt x="247437" y="57059"/>
                              </a:lnTo>
                              <a:lnTo>
                                <a:pt x="248534" y="54315"/>
                              </a:lnTo>
                              <a:lnTo>
                                <a:pt x="251826" y="54315"/>
                              </a:lnTo>
                              <a:lnTo>
                                <a:pt x="251277" y="50475"/>
                              </a:lnTo>
                              <a:lnTo>
                                <a:pt x="250728" y="49926"/>
                              </a:lnTo>
                              <a:lnTo>
                                <a:pt x="246888" y="49926"/>
                              </a:lnTo>
                              <a:lnTo>
                                <a:pt x="244693" y="47183"/>
                              </a:lnTo>
                              <a:lnTo>
                                <a:pt x="241950" y="46086"/>
                              </a:lnTo>
                              <a:lnTo>
                                <a:pt x="238658" y="39502"/>
                              </a:lnTo>
                              <a:lnTo>
                                <a:pt x="235915" y="41148"/>
                              </a:lnTo>
                              <a:lnTo>
                                <a:pt x="234818" y="40599"/>
                              </a:lnTo>
                              <a:lnTo>
                                <a:pt x="234818" y="28529"/>
                              </a:lnTo>
                              <a:lnTo>
                                <a:pt x="233172" y="25238"/>
                              </a:lnTo>
                              <a:lnTo>
                                <a:pt x="231526" y="24689"/>
                              </a:lnTo>
                              <a:lnTo>
                                <a:pt x="232075" y="20849"/>
                              </a:lnTo>
                              <a:lnTo>
                                <a:pt x="230977" y="19202"/>
                              </a:lnTo>
                              <a:lnTo>
                                <a:pt x="228783" y="19202"/>
                              </a:lnTo>
                              <a:lnTo>
                                <a:pt x="227686" y="18654"/>
                              </a:lnTo>
                              <a:lnTo>
                                <a:pt x="228783" y="10973"/>
                              </a:lnTo>
                              <a:lnTo>
                                <a:pt x="228234" y="9876"/>
                              </a:lnTo>
                              <a:lnTo>
                                <a:pt x="226040" y="8230"/>
                              </a:lnTo>
                              <a:lnTo>
                                <a:pt x="224394" y="8230"/>
                              </a:lnTo>
                              <a:lnTo>
                                <a:pt x="222199" y="10424"/>
                              </a:lnTo>
                              <a:lnTo>
                                <a:pt x="220553" y="10424"/>
                              </a:lnTo>
                              <a:lnTo>
                                <a:pt x="216164" y="7681"/>
                              </a:lnTo>
                              <a:lnTo>
                                <a:pt x="214518" y="7681"/>
                              </a:lnTo>
                              <a:lnTo>
                                <a:pt x="213970" y="8230"/>
                              </a:lnTo>
                              <a:lnTo>
                                <a:pt x="213970" y="14265"/>
                              </a:lnTo>
                              <a:lnTo>
                                <a:pt x="211775" y="16459"/>
                              </a:lnTo>
                              <a:lnTo>
                                <a:pt x="202448" y="19202"/>
                              </a:lnTo>
                              <a:lnTo>
                                <a:pt x="202448" y="23043"/>
                              </a:lnTo>
                              <a:lnTo>
                                <a:pt x="201351" y="26335"/>
                              </a:lnTo>
                              <a:lnTo>
                                <a:pt x="191475" y="23043"/>
                              </a:lnTo>
                              <a:lnTo>
                                <a:pt x="185440" y="19202"/>
                              </a:lnTo>
                              <a:lnTo>
                                <a:pt x="179405" y="18105"/>
                              </a:lnTo>
                              <a:lnTo>
                                <a:pt x="177211" y="18654"/>
                              </a:lnTo>
                              <a:lnTo>
                                <a:pt x="174468" y="22494"/>
                              </a:lnTo>
                              <a:lnTo>
                                <a:pt x="171176" y="23592"/>
                              </a:lnTo>
                              <a:lnTo>
                                <a:pt x="168981" y="27432"/>
                              </a:lnTo>
                              <a:lnTo>
                                <a:pt x="166787" y="29627"/>
                              </a:lnTo>
                              <a:lnTo>
                                <a:pt x="162397" y="28529"/>
                              </a:lnTo>
                              <a:lnTo>
                                <a:pt x="155814" y="18654"/>
                              </a:lnTo>
                              <a:lnTo>
                                <a:pt x="151973" y="19202"/>
                              </a:lnTo>
                              <a:lnTo>
                                <a:pt x="148133" y="24140"/>
                              </a:lnTo>
                              <a:lnTo>
                                <a:pt x="145390" y="25786"/>
                              </a:lnTo>
                              <a:lnTo>
                                <a:pt x="142098" y="26335"/>
                              </a:lnTo>
                              <a:lnTo>
                                <a:pt x="138806" y="24689"/>
                              </a:lnTo>
                              <a:lnTo>
                                <a:pt x="135514" y="21397"/>
                              </a:lnTo>
                              <a:lnTo>
                                <a:pt x="136063" y="18654"/>
                              </a:lnTo>
                              <a:lnTo>
                                <a:pt x="138806" y="15911"/>
                              </a:lnTo>
                              <a:lnTo>
                                <a:pt x="138806" y="13716"/>
                              </a:lnTo>
                              <a:lnTo>
                                <a:pt x="140452" y="10973"/>
                              </a:lnTo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225" name="Graphic 7">
                          <a:extLst>
                            <a:ext uri="{FF2B5EF4-FFF2-40B4-BE49-F238E27FC236}">
                              <a16:creationId xmlns:a16="http://schemas.microsoft.com/office/drawing/2014/main" id="{A1A458E1-858C-D55C-E239-85D0EB613183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5454683" y="3294735"/>
                          <a:ext cx="116591" cy="246897"/>
                        </a:xfrm>
                        <a:custGeom>
                          <a:avLst/>
                          <a:gdLst>
                            <a:gd name="connsiteX0" fmla="*/ 75164 w 149230"/>
                            <a:gd name="connsiteY0" fmla="*/ 316017 h 316016"/>
                            <a:gd name="connsiteX1" fmla="*/ 83942 w 149230"/>
                            <a:gd name="connsiteY1" fmla="*/ 315468 h 316016"/>
                            <a:gd name="connsiteX2" fmla="*/ 98755 w 149230"/>
                            <a:gd name="connsiteY2" fmla="*/ 303947 h 316016"/>
                            <a:gd name="connsiteX3" fmla="*/ 103144 w 149230"/>
                            <a:gd name="connsiteY3" fmla="*/ 296814 h 316016"/>
                            <a:gd name="connsiteX4" fmla="*/ 103693 w 149230"/>
                            <a:gd name="connsiteY4" fmla="*/ 290779 h 316016"/>
                            <a:gd name="connsiteX5" fmla="*/ 99304 w 149230"/>
                            <a:gd name="connsiteY5" fmla="*/ 271028 h 316016"/>
                            <a:gd name="connsiteX6" fmla="*/ 100401 w 149230"/>
                            <a:gd name="connsiteY6" fmla="*/ 265542 h 316016"/>
                            <a:gd name="connsiteX7" fmla="*/ 103693 w 149230"/>
                            <a:gd name="connsiteY7" fmla="*/ 258958 h 316016"/>
                            <a:gd name="connsiteX8" fmla="*/ 118506 w 149230"/>
                            <a:gd name="connsiteY8" fmla="*/ 250180 h 316016"/>
                            <a:gd name="connsiteX9" fmla="*/ 121798 w 149230"/>
                            <a:gd name="connsiteY9" fmla="*/ 243596 h 316016"/>
                            <a:gd name="connsiteX10" fmla="*/ 145938 w 149230"/>
                            <a:gd name="connsiteY10" fmla="*/ 226040 h 316016"/>
                            <a:gd name="connsiteX11" fmla="*/ 149230 w 149230"/>
                            <a:gd name="connsiteY11" fmla="*/ 218908 h 316016"/>
                            <a:gd name="connsiteX12" fmla="*/ 148681 w 149230"/>
                            <a:gd name="connsiteY12" fmla="*/ 191476 h 316016"/>
                            <a:gd name="connsiteX13" fmla="*/ 144841 w 149230"/>
                            <a:gd name="connsiteY13" fmla="*/ 189281 h 316016"/>
                            <a:gd name="connsiteX14" fmla="*/ 142646 w 149230"/>
                            <a:gd name="connsiteY14" fmla="*/ 189830 h 316016"/>
                            <a:gd name="connsiteX15" fmla="*/ 137709 w 149230"/>
                            <a:gd name="connsiteY15" fmla="*/ 189830 h 316016"/>
                            <a:gd name="connsiteX16" fmla="*/ 135514 w 149230"/>
                            <a:gd name="connsiteY16" fmla="*/ 187086 h 316016"/>
                            <a:gd name="connsiteX17" fmla="*/ 135514 w 149230"/>
                            <a:gd name="connsiteY17" fmla="*/ 184343 h 316016"/>
                            <a:gd name="connsiteX18" fmla="*/ 130576 w 149230"/>
                            <a:gd name="connsiteY18" fmla="*/ 172273 h 316016"/>
                            <a:gd name="connsiteX19" fmla="*/ 127284 w 149230"/>
                            <a:gd name="connsiteY19" fmla="*/ 172273 h 316016"/>
                            <a:gd name="connsiteX20" fmla="*/ 121249 w 149230"/>
                            <a:gd name="connsiteY20" fmla="*/ 176114 h 316016"/>
                            <a:gd name="connsiteX21" fmla="*/ 117958 w 149230"/>
                            <a:gd name="connsiteY21" fmla="*/ 172822 h 316016"/>
                            <a:gd name="connsiteX22" fmla="*/ 116312 w 149230"/>
                            <a:gd name="connsiteY22" fmla="*/ 168433 h 316016"/>
                            <a:gd name="connsiteX23" fmla="*/ 112471 w 149230"/>
                            <a:gd name="connsiteY23" fmla="*/ 169530 h 316016"/>
                            <a:gd name="connsiteX24" fmla="*/ 108082 w 149230"/>
                            <a:gd name="connsiteY24" fmla="*/ 169530 h 316016"/>
                            <a:gd name="connsiteX25" fmla="*/ 96561 w 149230"/>
                            <a:gd name="connsiteY25" fmla="*/ 162946 h 316016"/>
                            <a:gd name="connsiteX26" fmla="*/ 94366 w 149230"/>
                            <a:gd name="connsiteY26" fmla="*/ 155265 h 316016"/>
                            <a:gd name="connsiteX27" fmla="*/ 94366 w 149230"/>
                            <a:gd name="connsiteY27" fmla="*/ 147584 h 316016"/>
                            <a:gd name="connsiteX28" fmla="*/ 102596 w 149230"/>
                            <a:gd name="connsiteY28" fmla="*/ 149779 h 316016"/>
                            <a:gd name="connsiteX29" fmla="*/ 104242 w 149230"/>
                            <a:gd name="connsiteY29" fmla="*/ 138806 h 316016"/>
                            <a:gd name="connsiteX30" fmla="*/ 109728 w 149230"/>
                            <a:gd name="connsiteY30" fmla="*/ 137160 h 316016"/>
                            <a:gd name="connsiteX31" fmla="*/ 114117 w 149230"/>
                            <a:gd name="connsiteY31" fmla="*/ 132771 h 316016"/>
                            <a:gd name="connsiteX32" fmla="*/ 117409 w 149230"/>
                            <a:gd name="connsiteY32" fmla="*/ 131125 h 316016"/>
                            <a:gd name="connsiteX33" fmla="*/ 131125 w 149230"/>
                            <a:gd name="connsiteY33" fmla="*/ 118506 h 316016"/>
                            <a:gd name="connsiteX34" fmla="*/ 141549 w 149230"/>
                            <a:gd name="connsiteY34" fmla="*/ 96561 h 316016"/>
                            <a:gd name="connsiteX35" fmla="*/ 137709 w 149230"/>
                            <a:gd name="connsiteY35" fmla="*/ 79553 h 316016"/>
                            <a:gd name="connsiteX36" fmla="*/ 132222 w 149230"/>
                            <a:gd name="connsiteY36" fmla="*/ 75712 h 316016"/>
                            <a:gd name="connsiteX37" fmla="*/ 130576 w 149230"/>
                            <a:gd name="connsiteY37" fmla="*/ 70775 h 316016"/>
                            <a:gd name="connsiteX38" fmla="*/ 123444 w 149230"/>
                            <a:gd name="connsiteY38" fmla="*/ 69677 h 316016"/>
                            <a:gd name="connsiteX39" fmla="*/ 120152 w 149230"/>
                            <a:gd name="connsiteY39" fmla="*/ 64739 h 316016"/>
                            <a:gd name="connsiteX40" fmla="*/ 117409 w 149230"/>
                            <a:gd name="connsiteY40" fmla="*/ 54315 h 316016"/>
                            <a:gd name="connsiteX41" fmla="*/ 119604 w 149230"/>
                            <a:gd name="connsiteY41" fmla="*/ 44989 h 316016"/>
                            <a:gd name="connsiteX42" fmla="*/ 125090 w 149230"/>
                            <a:gd name="connsiteY42" fmla="*/ 40051 h 316016"/>
                            <a:gd name="connsiteX43" fmla="*/ 133320 w 149230"/>
                            <a:gd name="connsiteY43" fmla="*/ 36759 h 316016"/>
                            <a:gd name="connsiteX44" fmla="*/ 141000 w 149230"/>
                            <a:gd name="connsiteY44" fmla="*/ 21397 h 316016"/>
                            <a:gd name="connsiteX45" fmla="*/ 137160 w 149230"/>
                            <a:gd name="connsiteY45" fmla="*/ 13167 h 316016"/>
                            <a:gd name="connsiteX46" fmla="*/ 132222 w 149230"/>
                            <a:gd name="connsiteY46" fmla="*/ 13167 h 316016"/>
                            <a:gd name="connsiteX47" fmla="*/ 128930 w 149230"/>
                            <a:gd name="connsiteY47" fmla="*/ 18105 h 316016"/>
                            <a:gd name="connsiteX48" fmla="*/ 124541 w 149230"/>
                            <a:gd name="connsiteY48" fmla="*/ 21946 h 316016"/>
                            <a:gd name="connsiteX49" fmla="*/ 119604 w 149230"/>
                            <a:gd name="connsiteY49" fmla="*/ 23591 h 316016"/>
                            <a:gd name="connsiteX50" fmla="*/ 116860 w 149230"/>
                            <a:gd name="connsiteY50" fmla="*/ 26883 h 316016"/>
                            <a:gd name="connsiteX51" fmla="*/ 109728 w 149230"/>
                            <a:gd name="connsiteY51" fmla="*/ 23591 h 316016"/>
                            <a:gd name="connsiteX52" fmla="*/ 110825 w 149230"/>
                            <a:gd name="connsiteY52" fmla="*/ 15911 h 316016"/>
                            <a:gd name="connsiteX53" fmla="*/ 105888 w 149230"/>
                            <a:gd name="connsiteY53" fmla="*/ 6035 h 316016"/>
                            <a:gd name="connsiteX54" fmla="*/ 106436 w 149230"/>
                            <a:gd name="connsiteY54" fmla="*/ 4389 h 316016"/>
                            <a:gd name="connsiteX55" fmla="*/ 87234 w 149230"/>
                            <a:gd name="connsiteY55" fmla="*/ 0 h 316016"/>
                            <a:gd name="connsiteX56" fmla="*/ 70775 w 149230"/>
                            <a:gd name="connsiteY56" fmla="*/ 4389 h 316016"/>
                            <a:gd name="connsiteX57" fmla="*/ 55961 w 149230"/>
                            <a:gd name="connsiteY57" fmla="*/ 13167 h 316016"/>
                            <a:gd name="connsiteX58" fmla="*/ 53767 w 149230"/>
                            <a:gd name="connsiteY58" fmla="*/ 15911 h 316016"/>
                            <a:gd name="connsiteX59" fmla="*/ 51024 w 149230"/>
                            <a:gd name="connsiteY59" fmla="*/ 17008 h 316016"/>
                            <a:gd name="connsiteX60" fmla="*/ 49926 w 149230"/>
                            <a:gd name="connsiteY60" fmla="*/ 21397 h 316016"/>
                            <a:gd name="connsiteX61" fmla="*/ 36210 w 149230"/>
                            <a:gd name="connsiteY61" fmla="*/ 33467 h 316016"/>
                            <a:gd name="connsiteX62" fmla="*/ 34016 w 149230"/>
                            <a:gd name="connsiteY62" fmla="*/ 36759 h 316016"/>
                            <a:gd name="connsiteX63" fmla="*/ 38953 w 149230"/>
                            <a:gd name="connsiteY63" fmla="*/ 38405 h 316016"/>
                            <a:gd name="connsiteX64" fmla="*/ 40051 w 149230"/>
                            <a:gd name="connsiteY64" fmla="*/ 41697 h 316016"/>
                            <a:gd name="connsiteX65" fmla="*/ 37856 w 149230"/>
                            <a:gd name="connsiteY65" fmla="*/ 91623 h 316016"/>
                            <a:gd name="connsiteX66" fmla="*/ 40599 w 149230"/>
                            <a:gd name="connsiteY66" fmla="*/ 96012 h 316016"/>
                            <a:gd name="connsiteX67" fmla="*/ 33467 w 149230"/>
                            <a:gd name="connsiteY67" fmla="*/ 126187 h 316016"/>
                            <a:gd name="connsiteX68" fmla="*/ 20300 w 149230"/>
                            <a:gd name="connsiteY68" fmla="*/ 134966 h 316016"/>
                            <a:gd name="connsiteX69" fmla="*/ 18654 w 149230"/>
                            <a:gd name="connsiteY69" fmla="*/ 142098 h 316016"/>
                            <a:gd name="connsiteX70" fmla="*/ 12619 w 149230"/>
                            <a:gd name="connsiteY70" fmla="*/ 144841 h 316016"/>
                            <a:gd name="connsiteX71" fmla="*/ 9327 w 149230"/>
                            <a:gd name="connsiteY71" fmla="*/ 148682 h 316016"/>
                            <a:gd name="connsiteX72" fmla="*/ 8230 w 149230"/>
                            <a:gd name="connsiteY72" fmla="*/ 150328 h 316016"/>
                            <a:gd name="connsiteX73" fmla="*/ 1097 w 149230"/>
                            <a:gd name="connsiteY73" fmla="*/ 155265 h 316016"/>
                            <a:gd name="connsiteX74" fmla="*/ 0 w 149230"/>
                            <a:gd name="connsiteY74" fmla="*/ 155265 h 316016"/>
                            <a:gd name="connsiteX75" fmla="*/ 8778 w 149230"/>
                            <a:gd name="connsiteY75" fmla="*/ 185989 h 316016"/>
                            <a:gd name="connsiteX76" fmla="*/ 21946 w 149230"/>
                            <a:gd name="connsiteY76" fmla="*/ 190927 h 316016"/>
                            <a:gd name="connsiteX77" fmla="*/ 25237 w 149230"/>
                            <a:gd name="connsiteY77" fmla="*/ 194767 h 316016"/>
                            <a:gd name="connsiteX78" fmla="*/ 31272 w 149230"/>
                            <a:gd name="connsiteY78" fmla="*/ 209032 h 316016"/>
                            <a:gd name="connsiteX79" fmla="*/ 31272 w 149230"/>
                            <a:gd name="connsiteY79" fmla="*/ 221651 h 316016"/>
                            <a:gd name="connsiteX80" fmla="*/ 60350 w 149230"/>
                            <a:gd name="connsiteY80" fmla="*/ 238110 h 316016"/>
                            <a:gd name="connsiteX81" fmla="*/ 62545 w 149230"/>
                            <a:gd name="connsiteY81" fmla="*/ 238110 h 316016"/>
                            <a:gd name="connsiteX82" fmla="*/ 75164 w 149230"/>
                            <a:gd name="connsiteY82" fmla="*/ 316017 h 316016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  <a:cxn ang="0">
                              <a:pos x="connsiteX11" y="connsiteY11"/>
                            </a:cxn>
                            <a:cxn ang="0">
                              <a:pos x="connsiteX12" y="connsiteY12"/>
                            </a:cxn>
                            <a:cxn ang="0">
                              <a:pos x="connsiteX13" y="connsiteY13"/>
                            </a:cxn>
                            <a:cxn ang="0">
                              <a:pos x="connsiteX14" y="connsiteY14"/>
                            </a:cxn>
                            <a:cxn ang="0">
                              <a:pos x="connsiteX15" y="connsiteY15"/>
                            </a:cxn>
                            <a:cxn ang="0">
                              <a:pos x="connsiteX16" y="connsiteY16"/>
                            </a:cxn>
                            <a:cxn ang="0">
                              <a:pos x="connsiteX17" y="connsiteY17"/>
                            </a:cxn>
                            <a:cxn ang="0">
                              <a:pos x="connsiteX18" y="connsiteY18"/>
                            </a:cxn>
                            <a:cxn ang="0">
                              <a:pos x="connsiteX19" y="connsiteY19"/>
                            </a:cxn>
                            <a:cxn ang="0">
                              <a:pos x="connsiteX20" y="connsiteY20"/>
                            </a:cxn>
                            <a:cxn ang="0">
                              <a:pos x="connsiteX21" y="connsiteY21"/>
                            </a:cxn>
                            <a:cxn ang="0">
                              <a:pos x="connsiteX22" y="connsiteY22"/>
                            </a:cxn>
                            <a:cxn ang="0">
                              <a:pos x="connsiteX23" y="connsiteY23"/>
                            </a:cxn>
                            <a:cxn ang="0">
                              <a:pos x="connsiteX24" y="connsiteY24"/>
                            </a:cxn>
                            <a:cxn ang="0">
                              <a:pos x="connsiteX25" y="connsiteY25"/>
                            </a:cxn>
                            <a:cxn ang="0">
                              <a:pos x="connsiteX26" y="connsiteY26"/>
                            </a:cxn>
                            <a:cxn ang="0">
                              <a:pos x="connsiteX27" y="connsiteY27"/>
                            </a:cxn>
                            <a:cxn ang="0">
                              <a:pos x="connsiteX28" y="connsiteY28"/>
                            </a:cxn>
                            <a:cxn ang="0">
                              <a:pos x="connsiteX29" y="connsiteY29"/>
                            </a:cxn>
                            <a:cxn ang="0">
                              <a:pos x="connsiteX30" y="connsiteY30"/>
                            </a:cxn>
                            <a:cxn ang="0">
                              <a:pos x="connsiteX31" y="connsiteY31"/>
                            </a:cxn>
                            <a:cxn ang="0">
                              <a:pos x="connsiteX32" y="connsiteY32"/>
                            </a:cxn>
                            <a:cxn ang="0">
                              <a:pos x="connsiteX33" y="connsiteY33"/>
                            </a:cxn>
                            <a:cxn ang="0">
                              <a:pos x="connsiteX34" y="connsiteY34"/>
                            </a:cxn>
                            <a:cxn ang="0">
                              <a:pos x="connsiteX35" y="connsiteY35"/>
                            </a:cxn>
                            <a:cxn ang="0">
                              <a:pos x="connsiteX36" y="connsiteY36"/>
                            </a:cxn>
                            <a:cxn ang="0">
                              <a:pos x="connsiteX37" y="connsiteY37"/>
                            </a:cxn>
                            <a:cxn ang="0">
                              <a:pos x="connsiteX38" y="connsiteY38"/>
                            </a:cxn>
                            <a:cxn ang="0">
                              <a:pos x="connsiteX39" y="connsiteY39"/>
                            </a:cxn>
                            <a:cxn ang="0">
                              <a:pos x="connsiteX40" y="connsiteY40"/>
                            </a:cxn>
                            <a:cxn ang="0">
                              <a:pos x="connsiteX41" y="connsiteY41"/>
                            </a:cxn>
                            <a:cxn ang="0">
                              <a:pos x="connsiteX42" y="connsiteY42"/>
                            </a:cxn>
                            <a:cxn ang="0">
                              <a:pos x="connsiteX43" y="connsiteY43"/>
                            </a:cxn>
                            <a:cxn ang="0">
                              <a:pos x="connsiteX44" y="connsiteY44"/>
                            </a:cxn>
                            <a:cxn ang="0">
                              <a:pos x="connsiteX45" y="connsiteY45"/>
                            </a:cxn>
                            <a:cxn ang="0">
                              <a:pos x="connsiteX46" y="connsiteY46"/>
                            </a:cxn>
                            <a:cxn ang="0">
                              <a:pos x="connsiteX47" y="connsiteY47"/>
                            </a:cxn>
                            <a:cxn ang="0">
                              <a:pos x="connsiteX48" y="connsiteY48"/>
                            </a:cxn>
                            <a:cxn ang="0">
                              <a:pos x="connsiteX49" y="connsiteY49"/>
                            </a:cxn>
                            <a:cxn ang="0">
                              <a:pos x="connsiteX50" y="connsiteY50"/>
                            </a:cxn>
                            <a:cxn ang="0">
                              <a:pos x="connsiteX51" y="connsiteY51"/>
                            </a:cxn>
                            <a:cxn ang="0">
                              <a:pos x="connsiteX52" y="connsiteY52"/>
                            </a:cxn>
                            <a:cxn ang="0">
                              <a:pos x="connsiteX53" y="connsiteY53"/>
                            </a:cxn>
                            <a:cxn ang="0">
                              <a:pos x="connsiteX54" y="connsiteY54"/>
                            </a:cxn>
                            <a:cxn ang="0">
                              <a:pos x="connsiteX55" y="connsiteY55"/>
                            </a:cxn>
                            <a:cxn ang="0">
                              <a:pos x="connsiteX56" y="connsiteY56"/>
                            </a:cxn>
                            <a:cxn ang="0">
                              <a:pos x="connsiteX57" y="connsiteY57"/>
                            </a:cxn>
                            <a:cxn ang="0">
                              <a:pos x="connsiteX58" y="connsiteY58"/>
                            </a:cxn>
                            <a:cxn ang="0">
                              <a:pos x="connsiteX59" y="connsiteY59"/>
                            </a:cxn>
                            <a:cxn ang="0">
                              <a:pos x="connsiteX60" y="connsiteY60"/>
                            </a:cxn>
                            <a:cxn ang="0">
                              <a:pos x="connsiteX61" y="connsiteY61"/>
                            </a:cxn>
                            <a:cxn ang="0">
                              <a:pos x="connsiteX62" y="connsiteY62"/>
                            </a:cxn>
                            <a:cxn ang="0">
                              <a:pos x="connsiteX63" y="connsiteY63"/>
                            </a:cxn>
                            <a:cxn ang="0">
                              <a:pos x="connsiteX64" y="connsiteY64"/>
                            </a:cxn>
                            <a:cxn ang="0">
                              <a:pos x="connsiteX65" y="connsiteY65"/>
                            </a:cxn>
                            <a:cxn ang="0">
                              <a:pos x="connsiteX66" y="connsiteY66"/>
                            </a:cxn>
                            <a:cxn ang="0">
                              <a:pos x="connsiteX67" y="connsiteY67"/>
                            </a:cxn>
                            <a:cxn ang="0">
                              <a:pos x="connsiteX68" y="connsiteY68"/>
                            </a:cxn>
                            <a:cxn ang="0">
                              <a:pos x="connsiteX69" y="connsiteY69"/>
                            </a:cxn>
                            <a:cxn ang="0">
                              <a:pos x="connsiteX70" y="connsiteY70"/>
                            </a:cxn>
                            <a:cxn ang="0">
                              <a:pos x="connsiteX71" y="connsiteY71"/>
                            </a:cxn>
                            <a:cxn ang="0">
                              <a:pos x="connsiteX72" y="connsiteY72"/>
                            </a:cxn>
                            <a:cxn ang="0">
                              <a:pos x="connsiteX73" y="connsiteY73"/>
                            </a:cxn>
                            <a:cxn ang="0">
                              <a:pos x="connsiteX74" y="connsiteY74"/>
                            </a:cxn>
                            <a:cxn ang="0">
                              <a:pos x="connsiteX75" y="connsiteY75"/>
                            </a:cxn>
                            <a:cxn ang="0">
                              <a:pos x="connsiteX76" y="connsiteY76"/>
                            </a:cxn>
                            <a:cxn ang="0">
                              <a:pos x="connsiteX77" y="connsiteY77"/>
                            </a:cxn>
                            <a:cxn ang="0">
                              <a:pos x="connsiteX78" y="connsiteY78"/>
                            </a:cxn>
                            <a:cxn ang="0">
                              <a:pos x="connsiteX79" y="connsiteY79"/>
                            </a:cxn>
                            <a:cxn ang="0">
                              <a:pos x="connsiteX80" y="connsiteY80"/>
                            </a:cxn>
                            <a:cxn ang="0">
                              <a:pos x="connsiteX81" y="connsiteY81"/>
                            </a:cxn>
                            <a:cxn ang="0">
                              <a:pos x="connsiteX82" y="connsiteY82"/>
                            </a:cxn>
                          </a:cxnLst>
                          <a:rect l="l" t="t" r="r" b="b"/>
                          <a:pathLst>
                            <a:path w="149230" h="316016">
                              <a:moveTo>
                                <a:pt x="75164" y="316017"/>
                              </a:moveTo>
                              <a:lnTo>
                                <a:pt x="83942" y="315468"/>
                              </a:lnTo>
                              <a:lnTo>
                                <a:pt x="98755" y="303947"/>
                              </a:lnTo>
                              <a:lnTo>
                                <a:pt x="103144" y="296814"/>
                              </a:lnTo>
                              <a:lnTo>
                                <a:pt x="103693" y="290779"/>
                              </a:lnTo>
                              <a:lnTo>
                                <a:pt x="99304" y="271028"/>
                              </a:lnTo>
                              <a:lnTo>
                                <a:pt x="100401" y="265542"/>
                              </a:lnTo>
                              <a:lnTo>
                                <a:pt x="103693" y="258958"/>
                              </a:lnTo>
                              <a:lnTo>
                                <a:pt x="118506" y="250180"/>
                              </a:lnTo>
                              <a:lnTo>
                                <a:pt x="121798" y="243596"/>
                              </a:lnTo>
                              <a:lnTo>
                                <a:pt x="145938" y="226040"/>
                              </a:lnTo>
                              <a:lnTo>
                                <a:pt x="149230" y="218908"/>
                              </a:lnTo>
                              <a:lnTo>
                                <a:pt x="148681" y="191476"/>
                              </a:lnTo>
                              <a:lnTo>
                                <a:pt x="144841" y="189281"/>
                              </a:lnTo>
                              <a:lnTo>
                                <a:pt x="142646" y="189830"/>
                              </a:lnTo>
                              <a:lnTo>
                                <a:pt x="137709" y="189830"/>
                              </a:lnTo>
                              <a:lnTo>
                                <a:pt x="135514" y="187086"/>
                              </a:lnTo>
                              <a:lnTo>
                                <a:pt x="135514" y="184343"/>
                              </a:lnTo>
                              <a:lnTo>
                                <a:pt x="130576" y="172273"/>
                              </a:lnTo>
                              <a:lnTo>
                                <a:pt x="127284" y="172273"/>
                              </a:lnTo>
                              <a:lnTo>
                                <a:pt x="121249" y="176114"/>
                              </a:lnTo>
                              <a:lnTo>
                                <a:pt x="117958" y="172822"/>
                              </a:lnTo>
                              <a:lnTo>
                                <a:pt x="116312" y="168433"/>
                              </a:lnTo>
                              <a:lnTo>
                                <a:pt x="112471" y="169530"/>
                              </a:lnTo>
                              <a:lnTo>
                                <a:pt x="108082" y="169530"/>
                              </a:lnTo>
                              <a:lnTo>
                                <a:pt x="96561" y="162946"/>
                              </a:lnTo>
                              <a:lnTo>
                                <a:pt x="94366" y="155265"/>
                              </a:lnTo>
                              <a:lnTo>
                                <a:pt x="94366" y="147584"/>
                              </a:lnTo>
                              <a:lnTo>
                                <a:pt x="102596" y="149779"/>
                              </a:lnTo>
                              <a:lnTo>
                                <a:pt x="104242" y="138806"/>
                              </a:lnTo>
                              <a:lnTo>
                                <a:pt x="109728" y="137160"/>
                              </a:lnTo>
                              <a:lnTo>
                                <a:pt x="114117" y="132771"/>
                              </a:lnTo>
                              <a:lnTo>
                                <a:pt x="117409" y="131125"/>
                              </a:lnTo>
                              <a:lnTo>
                                <a:pt x="131125" y="118506"/>
                              </a:lnTo>
                              <a:lnTo>
                                <a:pt x="141549" y="96561"/>
                              </a:lnTo>
                              <a:lnTo>
                                <a:pt x="137709" y="79553"/>
                              </a:lnTo>
                              <a:lnTo>
                                <a:pt x="132222" y="75712"/>
                              </a:lnTo>
                              <a:lnTo>
                                <a:pt x="130576" y="70775"/>
                              </a:lnTo>
                              <a:lnTo>
                                <a:pt x="123444" y="69677"/>
                              </a:lnTo>
                              <a:lnTo>
                                <a:pt x="120152" y="64739"/>
                              </a:lnTo>
                              <a:lnTo>
                                <a:pt x="117409" y="54315"/>
                              </a:lnTo>
                              <a:lnTo>
                                <a:pt x="119604" y="44989"/>
                              </a:lnTo>
                              <a:lnTo>
                                <a:pt x="125090" y="40051"/>
                              </a:lnTo>
                              <a:lnTo>
                                <a:pt x="133320" y="36759"/>
                              </a:lnTo>
                              <a:lnTo>
                                <a:pt x="141000" y="21397"/>
                              </a:lnTo>
                              <a:lnTo>
                                <a:pt x="137160" y="13167"/>
                              </a:lnTo>
                              <a:lnTo>
                                <a:pt x="132222" y="13167"/>
                              </a:lnTo>
                              <a:lnTo>
                                <a:pt x="128930" y="18105"/>
                              </a:lnTo>
                              <a:lnTo>
                                <a:pt x="124541" y="21946"/>
                              </a:lnTo>
                              <a:lnTo>
                                <a:pt x="119604" y="23591"/>
                              </a:lnTo>
                              <a:lnTo>
                                <a:pt x="116860" y="26883"/>
                              </a:lnTo>
                              <a:lnTo>
                                <a:pt x="109728" y="23591"/>
                              </a:lnTo>
                              <a:lnTo>
                                <a:pt x="110825" y="15911"/>
                              </a:lnTo>
                              <a:lnTo>
                                <a:pt x="105888" y="6035"/>
                              </a:lnTo>
                              <a:lnTo>
                                <a:pt x="106436" y="4389"/>
                              </a:lnTo>
                              <a:lnTo>
                                <a:pt x="87234" y="0"/>
                              </a:lnTo>
                              <a:lnTo>
                                <a:pt x="70775" y="4389"/>
                              </a:lnTo>
                              <a:lnTo>
                                <a:pt x="55961" y="13167"/>
                              </a:lnTo>
                              <a:lnTo>
                                <a:pt x="53767" y="15911"/>
                              </a:lnTo>
                              <a:lnTo>
                                <a:pt x="51024" y="17008"/>
                              </a:lnTo>
                              <a:lnTo>
                                <a:pt x="49926" y="21397"/>
                              </a:lnTo>
                              <a:lnTo>
                                <a:pt x="36210" y="33467"/>
                              </a:lnTo>
                              <a:lnTo>
                                <a:pt x="34016" y="36759"/>
                              </a:lnTo>
                              <a:lnTo>
                                <a:pt x="38953" y="38405"/>
                              </a:lnTo>
                              <a:lnTo>
                                <a:pt x="40051" y="41697"/>
                              </a:lnTo>
                              <a:lnTo>
                                <a:pt x="37856" y="91623"/>
                              </a:lnTo>
                              <a:lnTo>
                                <a:pt x="40599" y="96012"/>
                              </a:lnTo>
                              <a:lnTo>
                                <a:pt x="33467" y="126187"/>
                              </a:lnTo>
                              <a:lnTo>
                                <a:pt x="20300" y="134966"/>
                              </a:lnTo>
                              <a:lnTo>
                                <a:pt x="18654" y="142098"/>
                              </a:lnTo>
                              <a:lnTo>
                                <a:pt x="12619" y="144841"/>
                              </a:lnTo>
                              <a:lnTo>
                                <a:pt x="9327" y="148682"/>
                              </a:lnTo>
                              <a:lnTo>
                                <a:pt x="8230" y="150328"/>
                              </a:lnTo>
                              <a:lnTo>
                                <a:pt x="1097" y="155265"/>
                              </a:lnTo>
                              <a:lnTo>
                                <a:pt x="0" y="155265"/>
                              </a:lnTo>
                              <a:lnTo>
                                <a:pt x="8778" y="185989"/>
                              </a:lnTo>
                              <a:lnTo>
                                <a:pt x="21946" y="190927"/>
                              </a:lnTo>
                              <a:lnTo>
                                <a:pt x="25237" y="194767"/>
                              </a:lnTo>
                              <a:lnTo>
                                <a:pt x="31272" y="209032"/>
                              </a:lnTo>
                              <a:lnTo>
                                <a:pt x="31272" y="221651"/>
                              </a:lnTo>
                              <a:lnTo>
                                <a:pt x="60350" y="238110"/>
                              </a:lnTo>
                              <a:lnTo>
                                <a:pt x="62545" y="238110"/>
                              </a:lnTo>
                              <a:lnTo>
                                <a:pt x="75164" y="316017"/>
                              </a:lnTo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226" name="Graphic 7">
                          <a:extLst>
                            <a:ext uri="{FF2B5EF4-FFF2-40B4-BE49-F238E27FC236}">
                              <a16:creationId xmlns:a16="http://schemas.microsoft.com/office/drawing/2014/main" id="{A5A000A2-4BA5-A877-59B3-C5C5BD76B005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65851" y="4094153"/>
                          <a:ext cx="45435" cy="56580"/>
                        </a:xfrm>
                        <a:custGeom>
                          <a:avLst/>
                          <a:gdLst>
                            <a:gd name="connsiteX0" fmla="*/ 45537 w 58155"/>
                            <a:gd name="connsiteY0" fmla="*/ 0 h 72420"/>
                            <a:gd name="connsiteX1" fmla="*/ 15911 w 58155"/>
                            <a:gd name="connsiteY1" fmla="*/ 20300 h 72420"/>
                            <a:gd name="connsiteX2" fmla="*/ 10424 w 58155"/>
                            <a:gd name="connsiteY2" fmla="*/ 43343 h 72420"/>
                            <a:gd name="connsiteX3" fmla="*/ 0 w 58155"/>
                            <a:gd name="connsiteY3" fmla="*/ 59802 h 72420"/>
                            <a:gd name="connsiteX4" fmla="*/ 1097 w 58155"/>
                            <a:gd name="connsiteY4" fmla="*/ 66934 h 72420"/>
                            <a:gd name="connsiteX5" fmla="*/ 5486 w 58155"/>
                            <a:gd name="connsiteY5" fmla="*/ 71323 h 72420"/>
                            <a:gd name="connsiteX6" fmla="*/ 13716 w 58155"/>
                            <a:gd name="connsiteY6" fmla="*/ 71872 h 72420"/>
                            <a:gd name="connsiteX7" fmla="*/ 17556 w 58155"/>
                            <a:gd name="connsiteY7" fmla="*/ 70775 h 72420"/>
                            <a:gd name="connsiteX8" fmla="*/ 21397 w 58155"/>
                            <a:gd name="connsiteY8" fmla="*/ 71872 h 72420"/>
                            <a:gd name="connsiteX9" fmla="*/ 22494 w 58155"/>
                            <a:gd name="connsiteY9" fmla="*/ 71323 h 72420"/>
                            <a:gd name="connsiteX10" fmla="*/ 23591 w 58155"/>
                            <a:gd name="connsiteY10" fmla="*/ 69129 h 72420"/>
                            <a:gd name="connsiteX11" fmla="*/ 31821 w 58155"/>
                            <a:gd name="connsiteY11" fmla="*/ 65837 h 72420"/>
                            <a:gd name="connsiteX12" fmla="*/ 34564 w 58155"/>
                            <a:gd name="connsiteY12" fmla="*/ 66934 h 72420"/>
                            <a:gd name="connsiteX13" fmla="*/ 41148 w 58155"/>
                            <a:gd name="connsiteY13" fmla="*/ 71872 h 72420"/>
                            <a:gd name="connsiteX14" fmla="*/ 41148 w 58155"/>
                            <a:gd name="connsiteY14" fmla="*/ 72421 h 72420"/>
                            <a:gd name="connsiteX15" fmla="*/ 42794 w 58155"/>
                            <a:gd name="connsiteY15" fmla="*/ 68580 h 72420"/>
                            <a:gd name="connsiteX16" fmla="*/ 49378 w 58155"/>
                            <a:gd name="connsiteY16" fmla="*/ 60350 h 72420"/>
                            <a:gd name="connsiteX17" fmla="*/ 52669 w 58155"/>
                            <a:gd name="connsiteY17" fmla="*/ 52670 h 72420"/>
                            <a:gd name="connsiteX18" fmla="*/ 54315 w 58155"/>
                            <a:gd name="connsiteY18" fmla="*/ 51572 h 72420"/>
                            <a:gd name="connsiteX19" fmla="*/ 52669 w 58155"/>
                            <a:gd name="connsiteY19" fmla="*/ 49926 h 72420"/>
                            <a:gd name="connsiteX20" fmla="*/ 50475 w 58155"/>
                            <a:gd name="connsiteY20" fmla="*/ 49378 h 72420"/>
                            <a:gd name="connsiteX21" fmla="*/ 49378 w 58155"/>
                            <a:gd name="connsiteY21" fmla="*/ 47183 h 72420"/>
                            <a:gd name="connsiteX22" fmla="*/ 44440 w 58155"/>
                            <a:gd name="connsiteY22" fmla="*/ 48829 h 72420"/>
                            <a:gd name="connsiteX23" fmla="*/ 38953 w 58155"/>
                            <a:gd name="connsiteY23" fmla="*/ 48280 h 72420"/>
                            <a:gd name="connsiteX24" fmla="*/ 33467 w 58155"/>
                            <a:gd name="connsiteY24" fmla="*/ 49378 h 72420"/>
                            <a:gd name="connsiteX25" fmla="*/ 32370 w 58155"/>
                            <a:gd name="connsiteY25" fmla="*/ 51572 h 72420"/>
                            <a:gd name="connsiteX26" fmla="*/ 30724 w 58155"/>
                            <a:gd name="connsiteY26" fmla="*/ 52121 h 72420"/>
                            <a:gd name="connsiteX27" fmla="*/ 28529 w 58155"/>
                            <a:gd name="connsiteY27" fmla="*/ 51572 h 72420"/>
                            <a:gd name="connsiteX28" fmla="*/ 26335 w 58155"/>
                            <a:gd name="connsiteY28" fmla="*/ 48829 h 72420"/>
                            <a:gd name="connsiteX29" fmla="*/ 26883 w 58155"/>
                            <a:gd name="connsiteY29" fmla="*/ 47183 h 72420"/>
                            <a:gd name="connsiteX30" fmla="*/ 30724 w 58155"/>
                            <a:gd name="connsiteY30" fmla="*/ 48829 h 72420"/>
                            <a:gd name="connsiteX31" fmla="*/ 32370 w 58155"/>
                            <a:gd name="connsiteY31" fmla="*/ 48280 h 72420"/>
                            <a:gd name="connsiteX32" fmla="*/ 32918 w 58155"/>
                            <a:gd name="connsiteY32" fmla="*/ 46086 h 72420"/>
                            <a:gd name="connsiteX33" fmla="*/ 36759 w 58155"/>
                            <a:gd name="connsiteY33" fmla="*/ 40599 h 72420"/>
                            <a:gd name="connsiteX34" fmla="*/ 38953 w 58155"/>
                            <a:gd name="connsiteY34" fmla="*/ 39502 h 72420"/>
                            <a:gd name="connsiteX35" fmla="*/ 42245 w 58155"/>
                            <a:gd name="connsiteY35" fmla="*/ 39502 h 72420"/>
                            <a:gd name="connsiteX36" fmla="*/ 45537 w 58155"/>
                            <a:gd name="connsiteY36" fmla="*/ 35113 h 72420"/>
                            <a:gd name="connsiteX37" fmla="*/ 53218 w 58155"/>
                            <a:gd name="connsiteY37" fmla="*/ 33467 h 72420"/>
                            <a:gd name="connsiteX38" fmla="*/ 57059 w 58155"/>
                            <a:gd name="connsiteY38" fmla="*/ 30724 h 72420"/>
                            <a:gd name="connsiteX39" fmla="*/ 58156 w 58155"/>
                            <a:gd name="connsiteY39" fmla="*/ 26335 h 72420"/>
                            <a:gd name="connsiteX40" fmla="*/ 55413 w 58155"/>
                            <a:gd name="connsiteY40" fmla="*/ 14265 h 72420"/>
                            <a:gd name="connsiteX41" fmla="*/ 52121 w 58155"/>
                            <a:gd name="connsiteY41" fmla="*/ 11522 h 72420"/>
                            <a:gd name="connsiteX42" fmla="*/ 49378 w 58155"/>
                            <a:gd name="connsiteY42" fmla="*/ 6584 h 72420"/>
                            <a:gd name="connsiteX43" fmla="*/ 46634 w 58155"/>
                            <a:gd name="connsiteY43" fmla="*/ 3841 h 72420"/>
                            <a:gd name="connsiteX44" fmla="*/ 45537 w 58155"/>
                            <a:gd name="connsiteY44" fmla="*/ 0 h 72420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  <a:cxn ang="0">
                              <a:pos x="connsiteX11" y="connsiteY11"/>
                            </a:cxn>
                            <a:cxn ang="0">
                              <a:pos x="connsiteX12" y="connsiteY12"/>
                            </a:cxn>
                            <a:cxn ang="0">
                              <a:pos x="connsiteX13" y="connsiteY13"/>
                            </a:cxn>
                            <a:cxn ang="0">
                              <a:pos x="connsiteX14" y="connsiteY14"/>
                            </a:cxn>
                            <a:cxn ang="0">
                              <a:pos x="connsiteX15" y="connsiteY15"/>
                            </a:cxn>
                            <a:cxn ang="0">
                              <a:pos x="connsiteX16" y="connsiteY16"/>
                            </a:cxn>
                            <a:cxn ang="0">
                              <a:pos x="connsiteX17" y="connsiteY17"/>
                            </a:cxn>
                            <a:cxn ang="0">
                              <a:pos x="connsiteX18" y="connsiteY18"/>
                            </a:cxn>
                            <a:cxn ang="0">
                              <a:pos x="connsiteX19" y="connsiteY19"/>
                            </a:cxn>
                            <a:cxn ang="0">
                              <a:pos x="connsiteX20" y="connsiteY20"/>
                            </a:cxn>
                            <a:cxn ang="0">
                              <a:pos x="connsiteX21" y="connsiteY21"/>
                            </a:cxn>
                            <a:cxn ang="0">
                              <a:pos x="connsiteX22" y="connsiteY22"/>
                            </a:cxn>
                            <a:cxn ang="0">
                              <a:pos x="connsiteX23" y="connsiteY23"/>
                            </a:cxn>
                            <a:cxn ang="0">
                              <a:pos x="connsiteX24" y="connsiteY24"/>
                            </a:cxn>
                            <a:cxn ang="0">
                              <a:pos x="connsiteX25" y="connsiteY25"/>
                            </a:cxn>
                            <a:cxn ang="0">
                              <a:pos x="connsiteX26" y="connsiteY26"/>
                            </a:cxn>
                            <a:cxn ang="0">
                              <a:pos x="connsiteX27" y="connsiteY27"/>
                            </a:cxn>
                            <a:cxn ang="0">
                              <a:pos x="connsiteX28" y="connsiteY28"/>
                            </a:cxn>
                            <a:cxn ang="0">
                              <a:pos x="connsiteX29" y="connsiteY29"/>
                            </a:cxn>
                            <a:cxn ang="0">
                              <a:pos x="connsiteX30" y="connsiteY30"/>
                            </a:cxn>
                            <a:cxn ang="0">
                              <a:pos x="connsiteX31" y="connsiteY31"/>
                            </a:cxn>
                            <a:cxn ang="0">
                              <a:pos x="connsiteX32" y="connsiteY32"/>
                            </a:cxn>
                            <a:cxn ang="0">
                              <a:pos x="connsiteX33" y="connsiteY33"/>
                            </a:cxn>
                            <a:cxn ang="0">
                              <a:pos x="connsiteX34" y="connsiteY34"/>
                            </a:cxn>
                            <a:cxn ang="0">
                              <a:pos x="connsiteX35" y="connsiteY35"/>
                            </a:cxn>
                            <a:cxn ang="0">
                              <a:pos x="connsiteX36" y="connsiteY36"/>
                            </a:cxn>
                            <a:cxn ang="0">
                              <a:pos x="connsiteX37" y="connsiteY37"/>
                            </a:cxn>
                            <a:cxn ang="0">
                              <a:pos x="connsiteX38" y="connsiteY38"/>
                            </a:cxn>
                            <a:cxn ang="0">
                              <a:pos x="connsiteX39" y="connsiteY39"/>
                            </a:cxn>
                            <a:cxn ang="0">
                              <a:pos x="connsiteX40" y="connsiteY40"/>
                            </a:cxn>
                            <a:cxn ang="0">
                              <a:pos x="connsiteX41" y="connsiteY41"/>
                            </a:cxn>
                            <a:cxn ang="0">
                              <a:pos x="connsiteX42" y="connsiteY42"/>
                            </a:cxn>
                            <a:cxn ang="0">
                              <a:pos x="connsiteX43" y="connsiteY43"/>
                            </a:cxn>
                            <a:cxn ang="0">
                              <a:pos x="connsiteX44" y="connsiteY44"/>
                            </a:cxn>
                          </a:cxnLst>
                          <a:rect l="l" t="t" r="r" b="b"/>
                          <a:pathLst>
                            <a:path w="58155" h="72420">
                              <a:moveTo>
                                <a:pt x="45537" y="0"/>
                              </a:moveTo>
                              <a:lnTo>
                                <a:pt x="15911" y="20300"/>
                              </a:lnTo>
                              <a:lnTo>
                                <a:pt x="10424" y="43343"/>
                              </a:lnTo>
                              <a:lnTo>
                                <a:pt x="0" y="59802"/>
                              </a:lnTo>
                              <a:lnTo>
                                <a:pt x="1097" y="66934"/>
                              </a:lnTo>
                              <a:lnTo>
                                <a:pt x="5486" y="71323"/>
                              </a:lnTo>
                              <a:lnTo>
                                <a:pt x="13716" y="71872"/>
                              </a:lnTo>
                              <a:lnTo>
                                <a:pt x="17556" y="70775"/>
                              </a:lnTo>
                              <a:lnTo>
                                <a:pt x="21397" y="71872"/>
                              </a:lnTo>
                              <a:lnTo>
                                <a:pt x="22494" y="71323"/>
                              </a:lnTo>
                              <a:lnTo>
                                <a:pt x="23591" y="69129"/>
                              </a:lnTo>
                              <a:lnTo>
                                <a:pt x="31821" y="65837"/>
                              </a:lnTo>
                              <a:lnTo>
                                <a:pt x="34564" y="66934"/>
                              </a:lnTo>
                              <a:lnTo>
                                <a:pt x="41148" y="71872"/>
                              </a:lnTo>
                              <a:lnTo>
                                <a:pt x="41148" y="72421"/>
                              </a:lnTo>
                              <a:lnTo>
                                <a:pt x="42794" y="68580"/>
                              </a:lnTo>
                              <a:lnTo>
                                <a:pt x="49378" y="60350"/>
                              </a:lnTo>
                              <a:lnTo>
                                <a:pt x="52669" y="52670"/>
                              </a:lnTo>
                              <a:lnTo>
                                <a:pt x="54315" y="51572"/>
                              </a:lnTo>
                              <a:lnTo>
                                <a:pt x="52669" y="49926"/>
                              </a:lnTo>
                              <a:lnTo>
                                <a:pt x="50475" y="49378"/>
                              </a:lnTo>
                              <a:lnTo>
                                <a:pt x="49378" y="47183"/>
                              </a:lnTo>
                              <a:lnTo>
                                <a:pt x="44440" y="48829"/>
                              </a:lnTo>
                              <a:lnTo>
                                <a:pt x="38953" y="48280"/>
                              </a:lnTo>
                              <a:lnTo>
                                <a:pt x="33467" y="49378"/>
                              </a:lnTo>
                              <a:lnTo>
                                <a:pt x="32370" y="51572"/>
                              </a:lnTo>
                              <a:lnTo>
                                <a:pt x="30724" y="52121"/>
                              </a:lnTo>
                              <a:lnTo>
                                <a:pt x="28529" y="51572"/>
                              </a:lnTo>
                              <a:lnTo>
                                <a:pt x="26335" y="48829"/>
                              </a:lnTo>
                              <a:lnTo>
                                <a:pt x="26883" y="47183"/>
                              </a:lnTo>
                              <a:lnTo>
                                <a:pt x="30724" y="48829"/>
                              </a:lnTo>
                              <a:lnTo>
                                <a:pt x="32370" y="48280"/>
                              </a:lnTo>
                              <a:lnTo>
                                <a:pt x="32918" y="46086"/>
                              </a:lnTo>
                              <a:lnTo>
                                <a:pt x="36759" y="40599"/>
                              </a:lnTo>
                              <a:lnTo>
                                <a:pt x="38953" y="39502"/>
                              </a:lnTo>
                              <a:lnTo>
                                <a:pt x="42245" y="39502"/>
                              </a:lnTo>
                              <a:lnTo>
                                <a:pt x="45537" y="35113"/>
                              </a:lnTo>
                              <a:lnTo>
                                <a:pt x="53218" y="33467"/>
                              </a:lnTo>
                              <a:lnTo>
                                <a:pt x="57059" y="30724"/>
                              </a:lnTo>
                              <a:lnTo>
                                <a:pt x="58156" y="26335"/>
                              </a:lnTo>
                              <a:lnTo>
                                <a:pt x="55413" y="14265"/>
                              </a:lnTo>
                              <a:lnTo>
                                <a:pt x="52121" y="11522"/>
                              </a:lnTo>
                              <a:lnTo>
                                <a:pt x="49378" y="6584"/>
                              </a:lnTo>
                              <a:lnTo>
                                <a:pt x="46634" y="3841"/>
                              </a:lnTo>
                              <a:lnTo>
                                <a:pt x="45537" y="0"/>
                              </a:lnTo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227" name="Graphic 7">
                          <a:extLst>
                            <a:ext uri="{FF2B5EF4-FFF2-40B4-BE49-F238E27FC236}">
                              <a16:creationId xmlns:a16="http://schemas.microsoft.com/office/drawing/2014/main" id="{025BA2A3-E632-40CA-8CA0-FF6B32999DD7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091216" y="4499650"/>
                          <a:ext cx="55294" cy="51008"/>
                        </a:xfrm>
                        <a:custGeom>
                          <a:avLst/>
                          <a:gdLst>
                            <a:gd name="connsiteX0" fmla="*/ 4389 w 70774"/>
                            <a:gd name="connsiteY0" fmla="*/ 62545 h 65287"/>
                            <a:gd name="connsiteX1" fmla="*/ 4938 w 70774"/>
                            <a:gd name="connsiteY1" fmla="*/ 63094 h 65287"/>
                            <a:gd name="connsiteX2" fmla="*/ 4938 w 70774"/>
                            <a:gd name="connsiteY2" fmla="*/ 56510 h 65287"/>
                            <a:gd name="connsiteX3" fmla="*/ 8230 w 70774"/>
                            <a:gd name="connsiteY3" fmla="*/ 54315 h 65287"/>
                            <a:gd name="connsiteX4" fmla="*/ 11521 w 70774"/>
                            <a:gd name="connsiteY4" fmla="*/ 54315 h 65287"/>
                            <a:gd name="connsiteX5" fmla="*/ 13167 w 70774"/>
                            <a:gd name="connsiteY5" fmla="*/ 54864 h 65287"/>
                            <a:gd name="connsiteX6" fmla="*/ 17557 w 70774"/>
                            <a:gd name="connsiteY6" fmla="*/ 64739 h 65287"/>
                            <a:gd name="connsiteX7" fmla="*/ 19202 w 70774"/>
                            <a:gd name="connsiteY7" fmla="*/ 65288 h 65287"/>
                            <a:gd name="connsiteX8" fmla="*/ 23592 w 70774"/>
                            <a:gd name="connsiteY8" fmla="*/ 64739 h 65287"/>
                            <a:gd name="connsiteX9" fmla="*/ 26883 w 70774"/>
                            <a:gd name="connsiteY9" fmla="*/ 63094 h 65287"/>
                            <a:gd name="connsiteX10" fmla="*/ 32370 w 70774"/>
                            <a:gd name="connsiteY10" fmla="*/ 62545 h 65287"/>
                            <a:gd name="connsiteX11" fmla="*/ 35113 w 70774"/>
                            <a:gd name="connsiteY11" fmla="*/ 59802 h 65287"/>
                            <a:gd name="connsiteX12" fmla="*/ 35113 w 70774"/>
                            <a:gd name="connsiteY12" fmla="*/ 53767 h 65287"/>
                            <a:gd name="connsiteX13" fmla="*/ 35662 w 70774"/>
                            <a:gd name="connsiteY13" fmla="*/ 51572 h 65287"/>
                            <a:gd name="connsiteX14" fmla="*/ 37308 w 70774"/>
                            <a:gd name="connsiteY14" fmla="*/ 50475 h 65287"/>
                            <a:gd name="connsiteX15" fmla="*/ 43891 w 70774"/>
                            <a:gd name="connsiteY15" fmla="*/ 50475 h 65287"/>
                            <a:gd name="connsiteX16" fmla="*/ 53218 w 70774"/>
                            <a:gd name="connsiteY16" fmla="*/ 47731 h 65287"/>
                            <a:gd name="connsiteX17" fmla="*/ 55961 w 70774"/>
                            <a:gd name="connsiteY17" fmla="*/ 47731 h 65287"/>
                            <a:gd name="connsiteX18" fmla="*/ 55961 w 70774"/>
                            <a:gd name="connsiteY18" fmla="*/ 48280 h 65287"/>
                            <a:gd name="connsiteX19" fmla="*/ 59253 w 70774"/>
                            <a:gd name="connsiteY19" fmla="*/ 48829 h 65287"/>
                            <a:gd name="connsiteX20" fmla="*/ 60899 w 70774"/>
                            <a:gd name="connsiteY20" fmla="*/ 50475 h 65287"/>
                            <a:gd name="connsiteX21" fmla="*/ 68580 w 70774"/>
                            <a:gd name="connsiteY21" fmla="*/ 40599 h 65287"/>
                            <a:gd name="connsiteX22" fmla="*/ 70775 w 70774"/>
                            <a:gd name="connsiteY22" fmla="*/ 34564 h 65287"/>
                            <a:gd name="connsiteX23" fmla="*/ 54315 w 70774"/>
                            <a:gd name="connsiteY23" fmla="*/ 0 h 65287"/>
                            <a:gd name="connsiteX24" fmla="*/ 51024 w 70774"/>
                            <a:gd name="connsiteY24" fmla="*/ 1646 h 65287"/>
                            <a:gd name="connsiteX25" fmla="*/ 45537 w 70774"/>
                            <a:gd name="connsiteY25" fmla="*/ 3292 h 65287"/>
                            <a:gd name="connsiteX26" fmla="*/ 43343 w 70774"/>
                            <a:gd name="connsiteY26" fmla="*/ 6035 h 65287"/>
                            <a:gd name="connsiteX27" fmla="*/ 38953 w 70774"/>
                            <a:gd name="connsiteY27" fmla="*/ 12619 h 65287"/>
                            <a:gd name="connsiteX28" fmla="*/ 33467 w 70774"/>
                            <a:gd name="connsiteY28" fmla="*/ 14265 h 65287"/>
                            <a:gd name="connsiteX29" fmla="*/ 29078 w 70774"/>
                            <a:gd name="connsiteY29" fmla="*/ 12619 h 65287"/>
                            <a:gd name="connsiteX30" fmla="*/ 25786 w 70774"/>
                            <a:gd name="connsiteY30" fmla="*/ 10424 h 65287"/>
                            <a:gd name="connsiteX31" fmla="*/ 24140 w 70774"/>
                            <a:gd name="connsiteY31" fmla="*/ 11521 h 65287"/>
                            <a:gd name="connsiteX32" fmla="*/ 0 w 70774"/>
                            <a:gd name="connsiteY32" fmla="*/ 50475 h 65287"/>
                            <a:gd name="connsiteX33" fmla="*/ 0 w 70774"/>
                            <a:gd name="connsiteY33" fmla="*/ 57607 h 65287"/>
                            <a:gd name="connsiteX34" fmla="*/ 4389 w 70774"/>
                            <a:gd name="connsiteY34" fmla="*/ 62545 h 6528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  <a:cxn ang="0">
                              <a:pos x="connsiteX11" y="connsiteY11"/>
                            </a:cxn>
                            <a:cxn ang="0">
                              <a:pos x="connsiteX12" y="connsiteY12"/>
                            </a:cxn>
                            <a:cxn ang="0">
                              <a:pos x="connsiteX13" y="connsiteY13"/>
                            </a:cxn>
                            <a:cxn ang="0">
                              <a:pos x="connsiteX14" y="connsiteY14"/>
                            </a:cxn>
                            <a:cxn ang="0">
                              <a:pos x="connsiteX15" y="connsiteY15"/>
                            </a:cxn>
                            <a:cxn ang="0">
                              <a:pos x="connsiteX16" y="connsiteY16"/>
                            </a:cxn>
                            <a:cxn ang="0">
                              <a:pos x="connsiteX17" y="connsiteY17"/>
                            </a:cxn>
                            <a:cxn ang="0">
                              <a:pos x="connsiteX18" y="connsiteY18"/>
                            </a:cxn>
                            <a:cxn ang="0">
                              <a:pos x="connsiteX19" y="connsiteY19"/>
                            </a:cxn>
                            <a:cxn ang="0">
                              <a:pos x="connsiteX20" y="connsiteY20"/>
                            </a:cxn>
                            <a:cxn ang="0">
                              <a:pos x="connsiteX21" y="connsiteY21"/>
                            </a:cxn>
                            <a:cxn ang="0">
                              <a:pos x="connsiteX22" y="connsiteY22"/>
                            </a:cxn>
                            <a:cxn ang="0">
                              <a:pos x="connsiteX23" y="connsiteY23"/>
                            </a:cxn>
                            <a:cxn ang="0">
                              <a:pos x="connsiteX24" y="connsiteY24"/>
                            </a:cxn>
                            <a:cxn ang="0">
                              <a:pos x="connsiteX25" y="connsiteY25"/>
                            </a:cxn>
                            <a:cxn ang="0">
                              <a:pos x="connsiteX26" y="connsiteY26"/>
                            </a:cxn>
                            <a:cxn ang="0">
                              <a:pos x="connsiteX27" y="connsiteY27"/>
                            </a:cxn>
                            <a:cxn ang="0">
                              <a:pos x="connsiteX28" y="connsiteY28"/>
                            </a:cxn>
                            <a:cxn ang="0">
                              <a:pos x="connsiteX29" y="connsiteY29"/>
                            </a:cxn>
                            <a:cxn ang="0">
                              <a:pos x="connsiteX30" y="connsiteY30"/>
                            </a:cxn>
                            <a:cxn ang="0">
                              <a:pos x="connsiteX31" y="connsiteY31"/>
                            </a:cxn>
                            <a:cxn ang="0">
                              <a:pos x="connsiteX32" y="connsiteY32"/>
                            </a:cxn>
                            <a:cxn ang="0">
                              <a:pos x="connsiteX33" y="connsiteY33"/>
                            </a:cxn>
                            <a:cxn ang="0">
                              <a:pos x="connsiteX34" y="connsiteY34"/>
                            </a:cxn>
                          </a:cxnLst>
                          <a:rect l="l" t="t" r="r" b="b"/>
                          <a:pathLst>
                            <a:path w="70774" h="65287">
                              <a:moveTo>
                                <a:pt x="4389" y="62545"/>
                              </a:moveTo>
                              <a:lnTo>
                                <a:pt x="4938" y="63094"/>
                              </a:lnTo>
                              <a:lnTo>
                                <a:pt x="4938" y="56510"/>
                              </a:lnTo>
                              <a:lnTo>
                                <a:pt x="8230" y="54315"/>
                              </a:lnTo>
                              <a:lnTo>
                                <a:pt x="11521" y="54315"/>
                              </a:lnTo>
                              <a:lnTo>
                                <a:pt x="13167" y="54864"/>
                              </a:lnTo>
                              <a:lnTo>
                                <a:pt x="17557" y="64739"/>
                              </a:lnTo>
                              <a:lnTo>
                                <a:pt x="19202" y="65288"/>
                              </a:lnTo>
                              <a:lnTo>
                                <a:pt x="23592" y="64739"/>
                              </a:lnTo>
                              <a:lnTo>
                                <a:pt x="26883" y="63094"/>
                              </a:lnTo>
                              <a:lnTo>
                                <a:pt x="32370" y="62545"/>
                              </a:lnTo>
                              <a:lnTo>
                                <a:pt x="35113" y="59802"/>
                              </a:lnTo>
                              <a:lnTo>
                                <a:pt x="35113" y="53767"/>
                              </a:lnTo>
                              <a:lnTo>
                                <a:pt x="35662" y="51572"/>
                              </a:lnTo>
                              <a:lnTo>
                                <a:pt x="37308" y="50475"/>
                              </a:lnTo>
                              <a:lnTo>
                                <a:pt x="43891" y="50475"/>
                              </a:lnTo>
                              <a:lnTo>
                                <a:pt x="53218" y="47731"/>
                              </a:lnTo>
                              <a:lnTo>
                                <a:pt x="55961" y="47731"/>
                              </a:lnTo>
                              <a:lnTo>
                                <a:pt x="55961" y="48280"/>
                              </a:lnTo>
                              <a:lnTo>
                                <a:pt x="59253" y="48829"/>
                              </a:lnTo>
                              <a:lnTo>
                                <a:pt x="60899" y="50475"/>
                              </a:lnTo>
                              <a:lnTo>
                                <a:pt x="68580" y="40599"/>
                              </a:lnTo>
                              <a:lnTo>
                                <a:pt x="70775" y="34564"/>
                              </a:lnTo>
                              <a:lnTo>
                                <a:pt x="54315" y="0"/>
                              </a:lnTo>
                              <a:lnTo>
                                <a:pt x="51024" y="1646"/>
                              </a:lnTo>
                              <a:lnTo>
                                <a:pt x="45537" y="3292"/>
                              </a:lnTo>
                              <a:lnTo>
                                <a:pt x="43343" y="6035"/>
                              </a:lnTo>
                              <a:lnTo>
                                <a:pt x="38953" y="12619"/>
                              </a:lnTo>
                              <a:lnTo>
                                <a:pt x="33467" y="14265"/>
                              </a:lnTo>
                              <a:lnTo>
                                <a:pt x="29078" y="12619"/>
                              </a:lnTo>
                              <a:lnTo>
                                <a:pt x="25786" y="10424"/>
                              </a:lnTo>
                              <a:lnTo>
                                <a:pt x="24140" y="11521"/>
                              </a:lnTo>
                              <a:lnTo>
                                <a:pt x="0" y="50475"/>
                              </a:lnTo>
                              <a:lnTo>
                                <a:pt x="0" y="57607"/>
                              </a:lnTo>
                              <a:lnTo>
                                <a:pt x="4389" y="62545"/>
                              </a:lnTo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228" name="Graphic 7">
                          <a:extLst>
                            <a:ext uri="{FF2B5EF4-FFF2-40B4-BE49-F238E27FC236}">
                              <a16:creationId xmlns:a16="http://schemas.microsoft.com/office/drawing/2014/main" id="{9AEB088A-D6B8-DBA8-0383-4B790A786B66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4742279" y="3645365"/>
                          <a:ext cx="353630" cy="388778"/>
                        </a:xfrm>
                        <a:custGeom>
                          <a:avLst/>
                          <a:gdLst>
                            <a:gd name="connsiteX0" fmla="*/ 134965 w 452628"/>
                            <a:gd name="connsiteY0" fmla="*/ 236464 h 497616"/>
                            <a:gd name="connsiteX1" fmla="*/ 10973 w 452628"/>
                            <a:gd name="connsiteY1" fmla="*/ 236464 h 497616"/>
                            <a:gd name="connsiteX2" fmla="*/ 9876 w 452628"/>
                            <a:gd name="connsiteY2" fmla="*/ 241402 h 497616"/>
                            <a:gd name="connsiteX3" fmla="*/ 1097 w 452628"/>
                            <a:gd name="connsiteY3" fmla="*/ 249631 h 497616"/>
                            <a:gd name="connsiteX4" fmla="*/ 2743 w 452628"/>
                            <a:gd name="connsiteY4" fmla="*/ 249083 h 497616"/>
                            <a:gd name="connsiteX5" fmla="*/ 0 w 452628"/>
                            <a:gd name="connsiteY5" fmla="*/ 251826 h 497616"/>
                            <a:gd name="connsiteX6" fmla="*/ 0 w 452628"/>
                            <a:gd name="connsiteY6" fmla="*/ 253472 h 497616"/>
                            <a:gd name="connsiteX7" fmla="*/ 0 w 452628"/>
                            <a:gd name="connsiteY7" fmla="*/ 251826 h 497616"/>
                            <a:gd name="connsiteX8" fmla="*/ 7132 w 452628"/>
                            <a:gd name="connsiteY8" fmla="*/ 249631 h 497616"/>
                            <a:gd name="connsiteX9" fmla="*/ 14813 w 452628"/>
                            <a:gd name="connsiteY9" fmla="*/ 267188 h 497616"/>
                            <a:gd name="connsiteX10" fmla="*/ 15911 w 452628"/>
                            <a:gd name="connsiteY10" fmla="*/ 268834 h 497616"/>
                            <a:gd name="connsiteX11" fmla="*/ 20848 w 452628"/>
                            <a:gd name="connsiteY11" fmla="*/ 267188 h 497616"/>
                            <a:gd name="connsiteX12" fmla="*/ 28529 w 452628"/>
                            <a:gd name="connsiteY12" fmla="*/ 283647 h 497616"/>
                            <a:gd name="connsiteX13" fmla="*/ 28529 w 452628"/>
                            <a:gd name="connsiteY13" fmla="*/ 299558 h 497616"/>
                            <a:gd name="connsiteX14" fmla="*/ 24140 w 452628"/>
                            <a:gd name="connsiteY14" fmla="*/ 311628 h 497616"/>
                            <a:gd name="connsiteX15" fmla="*/ 22494 w 452628"/>
                            <a:gd name="connsiteY15" fmla="*/ 313274 h 497616"/>
                            <a:gd name="connsiteX16" fmla="*/ 19202 w 452628"/>
                            <a:gd name="connsiteY16" fmla="*/ 313822 h 497616"/>
                            <a:gd name="connsiteX17" fmla="*/ 18105 w 452628"/>
                            <a:gd name="connsiteY17" fmla="*/ 317114 h 497616"/>
                            <a:gd name="connsiteX18" fmla="*/ 30724 w 452628"/>
                            <a:gd name="connsiteY18" fmla="*/ 334122 h 497616"/>
                            <a:gd name="connsiteX19" fmla="*/ 34564 w 452628"/>
                            <a:gd name="connsiteY19" fmla="*/ 384597 h 497616"/>
                            <a:gd name="connsiteX20" fmla="*/ 15911 w 452628"/>
                            <a:gd name="connsiteY20" fmla="*/ 445496 h 497616"/>
                            <a:gd name="connsiteX21" fmla="*/ 17008 w 452628"/>
                            <a:gd name="connsiteY21" fmla="*/ 444947 h 497616"/>
                            <a:gd name="connsiteX22" fmla="*/ 21946 w 452628"/>
                            <a:gd name="connsiteY22" fmla="*/ 437815 h 497616"/>
                            <a:gd name="connsiteX23" fmla="*/ 24689 w 452628"/>
                            <a:gd name="connsiteY23" fmla="*/ 429037 h 497616"/>
                            <a:gd name="connsiteX24" fmla="*/ 27432 w 452628"/>
                            <a:gd name="connsiteY24" fmla="*/ 429037 h 497616"/>
                            <a:gd name="connsiteX25" fmla="*/ 29078 w 452628"/>
                            <a:gd name="connsiteY25" fmla="*/ 427939 h 497616"/>
                            <a:gd name="connsiteX26" fmla="*/ 40051 w 452628"/>
                            <a:gd name="connsiteY26" fmla="*/ 428488 h 497616"/>
                            <a:gd name="connsiteX27" fmla="*/ 47183 w 452628"/>
                            <a:gd name="connsiteY27" fmla="*/ 430682 h 497616"/>
                            <a:gd name="connsiteX28" fmla="*/ 52121 w 452628"/>
                            <a:gd name="connsiteY28" fmla="*/ 429585 h 497616"/>
                            <a:gd name="connsiteX29" fmla="*/ 53218 w 452628"/>
                            <a:gd name="connsiteY29" fmla="*/ 427939 h 497616"/>
                            <a:gd name="connsiteX30" fmla="*/ 61448 w 452628"/>
                            <a:gd name="connsiteY30" fmla="*/ 426293 h 497616"/>
                            <a:gd name="connsiteX31" fmla="*/ 67483 w 452628"/>
                            <a:gd name="connsiteY31" fmla="*/ 426842 h 497616"/>
                            <a:gd name="connsiteX32" fmla="*/ 68580 w 452628"/>
                            <a:gd name="connsiteY32" fmla="*/ 426293 h 497616"/>
                            <a:gd name="connsiteX33" fmla="*/ 68580 w 452628"/>
                            <a:gd name="connsiteY33" fmla="*/ 424099 h 497616"/>
                            <a:gd name="connsiteX34" fmla="*/ 69129 w 452628"/>
                            <a:gd name="connsiteY34" fmla="*/ 423550 h 497616"/>
                            <a:gd name="connsiteX35" fmla="*/ 74066 w 452628"/>
                            <a:gd name="connsiteY35" fmla="*/ 424099 h 497616"/>
                            <a:gd name="connsiteX36" fmla="*/ 76810 w 452628"/>
                            <a:gd name="connsiteY36" fmla="*/ 423002 h 497616"/>
                            <a:gd name="connsiteX37" fmla="*/ 92172 w 452628"/>
                            <a:gd name="connsiteY37" fmla="*/ 424648 h 497616"/>
                            <a:gd name="connsiteX38" fmla="*/ 93269 w 452628"/>
                            <a:gd name="connsiteY38" fmla="*/ 425196 h 497616"/>
                            <a:gd name="connsiteX39" fmla="*/ 96561 w 452628"/>
                            <a:gd name="connsiteY39" fmla="*/ 424099 h 497616"/>
                            <a:gd name="connsiteX40" fmla="*/ 98207 w 452628"/>
                            <a:gd name="connsiteY40" fmla="*/ 427939 h 497616"/>
                            <a:gd name="connsiteX41" fmla="*/ 102596 w 452628"/>
                            <a:gd name="connsiteY41" fmla="*/ 428488 h 497616"/>
                            <a:gd name="connsiteX42" fmla="*/ 109728 w 452628"/>
                            <a:gd name="connsiteY42" fmla="*/ 435072 h 497616"/>
                            <a:gd name="connsiteX43" fmla="*/ 111374 w 452628"/>
                            <a:gd name="connsiteY43" fmla="*/ 438912 h 497616"/>
                            <a:gd name="connsiteX44" fmla="*/ 116312 w 452628"/>
                            <a:gd name="connsiteY44" fmla="*/ 443850 h 497616"/>
                            <a:gd name="connsiteX45" fmla="*/ 122895 w 452628"/>
                            <a:gd name="connsiteY45" fmla="*/ 441655 h 497616"/>
                            <a:gd name="connsiteX46" fmla="*/ 122895 w 452628"/>
                            <a:gd name="connsiteY46" fmla="*/ 444947 h 497616"/>
                            <a:gd name="connsiteX47" fmla="*/ 125090 w 452628"/>
                            <a:gd name="connsiteY47" fmla="*/ 445496 h 497616"/>
                            <a:gd name="connsiteX48" fmla="*/ 128930 w 452628"/>
                            <a:gd name="connsiteY48" fmla="*/ 443301 h 497616"/>
                            <a:gd name="connsiteX49" fmla="*/ 130576 w 452628"/>
                            <a:gd name="connsiteY49" fmla="*/ 443301 h 497616"/>
                            <a:gd name="connsiteX50" fmla="*/ 140452 w 452628"/>
                            <a:gd name="connsiteY50" fmla="*/ 459761 h 497616"/>
                            <a:gd name="connsiteX51" fmla="*/ 139903 w 452628"/>
                            <a:gd name="connsiteY51" fmla="*/ 461955 h 497616"/>
                            <a:gd name="connsiteX52" fmla="*/ 143195 w 452628"/>
                            <a:gd name="connsiteY52" fmla="*/ 463601 h 497616"/>
                            <a:gd name="connsiteX53" fmla="*/ 145390 w 452628"/>
                            <a:gd name="connsiteY53" fmla="*/ 466344 h 497616"/>
                            <a:gd name="connsiteX54" fmla="*/ 145938 w 452628"/>
                            <a:gd name="connsiteY54" fmla="*/ 468539 h 497616"/>
                            <a:gd name="connsiteX55" fmla="*/ 147036 w 452628"/>
                            <a:gd name="connsiteY55" fmla="*/ 469087 h 497616"/>
                            <a:gd name="connsiteX56" fmla="*/ 149779 w 452628"/>
                            <a:gd name="connsiteY56" fmla="*/ 467990 h 497616"/>
                            <a:gd name="connsiteX57" fmla="*/ 150327 w 452628"/>
                            <a:gd name="connsiteY57" fmla="*/ 468539 h 497616"/>
                            <a:gd name="connsiteX58" fmla="*/ 151973 w 452628"/>
                            <a:gd name="connsiteY58" fmla="*/ 473477 h 497616"/>
                            <a:gd name="connsiteX59" fmla="*/ 154168 w 452628"/>
                            <a:gd name="connsiteY59" fmla="*/ 474025 h 497616"/>
                            <a:gd name="connsiteX60" fmla="*/ 155814 w 452628"/>
                            <a:gd name="connsiteY60" fmla="*/ 476768 h 497616"/>
                            <a:gd name="connsiteX61" fmla="*/ 153071 w 452628"/>
                            <a:gd name="connsiteY61" fmla="*/ 477317 h 497616"/>
                            <a:gd name="connsiteX62" fmla="*/ 153071 w 452628"/>
                            <a:gd name="connsiteY62" fmla="*/ 477866 h 497616"/>
                            <a:gd name="connsiteX63" fmla="*/ 156362 w 452628"/>
                            <a:gd name="connsiteY63" fmla="*/ 479512 h 497616"/>
                            <a:gd name="connsiteX64" fmla="*/ 158008 w 452628"/>
                            <a:gd name="connsiteY64" fmla="*/ 481706 h 497616"/>
                            <a:gd name="connsiteX65" fmla="*/ 160752 w 452628"/>
                            <a:gd name="connsiteY65" fmla="*/ 483352 h 497616"/>
                            <a:gd name="connsiteX66" fmla="*/ 163495 w 452628"/>
                            <a:gd name="connsiteY66" fmla="*/ 483352 h 497616"/>
                            <a:gd name="connsiteX67" fmla="*/ 167335 w 452628"/>
                            <a:gd name="connsiteY67" fmla="*/ 484998 h 497616"/>
                            <a:gd name="connsiteX68" fmla="*/ 169530 w 452628"/>
                            <a:gd name="connsiteY68" fmla="*/ 487193 h 497616"/>
                            <a:gd name="connsiteX69" fmla="*/ 170078 w 452628"/>
                            <a:gd name="connsiteY69" fmla="*/ 491033 h 497616"/>
                            <a:gd name="connsiteX70" fmla="*/ 171176 w 452628"/>
                            <a:gd name="connsiteY70" fmla="*/ 492130 h 497616"/>
                            <a:gd name="connsiteX71" fmla="*/ 175565 w 452628"/>
                            <a:gd name="connsiteY71" fmla="*/ 493776 h 497616"/>
                            <a:gd name="connsiteX72" fmla="*/ 180503 w 452628"/>
                            <a:gd name="connsiteY72" fmla="*/ 497617 h 497616"/>
                            <a:gd name="connsiteX73" fmla="*/ 195865 w 452628"/>
                            <a:gd name="connsiteY73" fmla="*/ 482255 h 497616"/>
                            <a:gd name="connsiteX74" fmla="*/ 206837 w 452628"/>
                            <a:gd name="connsiteY74" fmla="*/ 454823 h 497616"/>
                            <a:gd name="connsiteX75" fmla="*/ 208483 w 452628"/>
                            <a:gd name="connsiteY75" fmla="*/ 454274 h 497616"/>
                            <a:gd name="connsiteX76" fmla="*/ 210678 w 452628"/>
                            <a:gd name="connsiteY76" fmla="*/ 454274 h 497616"/>
                            <a:gd name="connsiteX77" fmla="*/ 211226 w 452628"/>
                            <a:gd name="connsiteY77" fmla="*/ 455371 h 497616"/>
                            <a:gd name="connsiteX78" fmla="*/ 215067 w 452628"/>
                            <a:gd name="connsiteY78" fmla="*/ 455920 h 497616"/>
                            <a:gd name="connsiteX79" fmla="*/ 217810 w 452628"/>
                            <a:gd name="connsiteY79" fmla="*/ 458114 h 497616"/>
                            <a:gd name="connsiteX80" fmla="*/ 227686 w 452628"/>
                            <a:gd name="connsiteY80" fmla="*/ 480060 h 497616"/>
                            <a:gd name="connsiteX81" fmla="*/ 239756 w 452628"/>
                            <a:gd name="connsiteY81" fmla="*/ 482255 h 497616"/>
                            <a:gd name="connsiteX82" fmla="*/ 257312 w 452628"/>
                            <a:gd name="connsiteY82" fmla="*/ 467441 h 497616"/>
                            <a:gd name="connsiteX83" fmla="*/ 428488 w 452628"/>
                            <a:gd name="connsiteY83" fmla="*/ 470733 h 497616"/>
                            <a:gd name="connsiteX84" fmla="*/ 436717 w 452628"/>
                            <a:gd name="connsiteY84" fmla="*/ 438364 h 497616"/>
                            <a:gd name="connsiteX85" fmla="*/ 421356 w 452628"/>
                            <a:gd name="connsiteY85" fmla="*/ 433974 h 497616"/>
                            <a:gd name="connsiteX86" fmla="*/ 386791 w 452628"/>
                            <a:gd name="connsiteY86" fmla="*/ 90526 h 497616"/>
                            <a:gd name="connsiteX87" fmla="*/ 452628 w 452628"/>
                            <a:gd name="connsiteY87" fmla="*/ 90526 h 497616"/>
                            <a:gd name="connsiteX88" fmla="*/ 314371 w 452628"/>
                            <a:gd name="connsiteY88" fmla="*/ 0 h 497616"/>
                            <a:gd name="connsiteX89" fmla="*/ 314371 w 452628"/>
                            <a:gd name="connsiteY89" fmla="*/ 47183 h 497616"/>
                            <a:gd name="connsiteX90" fmla="*/ 193121 w 452628"/>
                            <a:gd name="connsiteY90" fmla="*/ 47183 h 497616"/>
                            <a:gd name="connsiteX91" fmla="*/ 193121 w 452628"/>
                            <a:gd name="connsiteY91" fmla="*/ 151973 h 497616"/>
                            <a:gd name="connsiteX92" fmla="*/ 156362 w 452628"/>
                            <a:gd name="connsiteY92" fmla="*/ 161300 h 497616"/>
                            <a:gd name="connsiteX93" fmla="*/ 153071 w 452628"/>
                            <a:gd name="connsiteY93" fmla="*/ 163495 h 497616"/>
                            <a:gd name="connsiteX94" fmla="*/ 147036 w 452628"/>
                            <a:gd name="connsiteY94" fmla="*/ 175016 h 497616"/>
                            <a:gd name="connsiteX95" fmla="*/ 151973 w 452628"/>
                            <a:gd name="connsiteY95" fmla="*/ 236464 h 497616"/>
                            <a:gd name="connsiteX96" fmla="*/ 134965 w 452628"/>
                            <a:gd name="connsiteY96" fmla="*/ 236464 h 497616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  <a:cxn ang="0">
                              <a:pos x="connsiteX11" y="connsiteY11"/>
                            </a:cxn>
                            <a:cxn ang="0">
                              <a:pos x="connsiteX12" y="connsiteY12"/>
                            </a:cxn>
                            <a:cxn ang="0">
                              <a:pos x="connsiteX13" y="connsiteY13"/>
                            </a:cxn>
                            <a:cxn ang="0">
                              <a:pos x="connsiteX14" y="connsiteY14"/>
                            </a:cxn>
                            <a:cxn ang="0">
                              <a:pos x="connsiteX15" y="connsiteY15"/>
                            </a:cxn>
                            <a:cxn ang="0">
                              <a:pos x="connsiteX16" y="connsiteY16"/>
                            </a:cxn>
                            <a:cxn ang="0">
                              <a:pos x="connsiteX17" y="connsiteY17"/>
                            </a:cxn>
                            <a:cxn ang="0">
                              <a:pos x="connsiteX18" y="connsiteY18"/>
                            </a:cxn>
                            <a:cxn ang="0">
                              <a:pos x="connsiteX19" y="connsiteY19"/>
                            </a:cxn>
                            <a:cxn ang="0">
                              <a:pos x="connsiteX20" y="connsiteY20"/>
                            </a:cxn>
                            <a:cxn ang="0">
                              <a:pos x="connsiteX21" y="connsiteY21"/>
                            </a:cxn>
                            <a:cxn ang="0">
                              <a:pos x="connsiteX22" y="connsiteY22"/>
                            </a:cxn>
                            <a:cxn ang="0">
                              <a:pos x="connsiteX23" y="connsiteY23"/>
                            </a:cxn>
                            <a:cxn ang="0">
                              <a:pos x="connsiteX24" y="connsiteY24"/>
                            </a:cxn>
                            <a:cxn ang="0">
                              <a:pos x="connsiteX25" y="connsiteY25"/>
                            </a:cxn>
                            <a:cxn ang="0">
                              <a:pos x="connsiteX26" y="connsiteY26"/>
                            </a:cxn>
                            <a:cxn ang="0">
                              <a:pos x="connsiteX27" y="connsiteY27"/>
                            </a:cxn>
                            <a:cxn ang="0">
                              <a:pos x="connsiteX28" y="connsiteY28"/>
                            </a:cxn>
                            <a:cxn ang="0">
                              <a:pos x="connsiteX29" y="connsiteY29"/>
                            </a:cxn>
                            <a:cxn ang="0">
                              <a:pos x="connsiteX30" y="connsiteY30"/>
                            </a:cxn>
                            <a:cxn ang="0">
                              <a:pos x="connsiteX31" y="connsiteY31"/>
                            </a:cxn>
                            <a:cxn ang="0">
                              <a:pos x="connsiteX32" y="connsiteY32"/>
                            </a:cxn>
                            <a:cxn ang="0">
                              <a:pos x="connsiteX33" y="connsiteY33"/>
                            </a:cxn>
                            <a:cxn ang="0">
                              <a:pos x="connsiteX34" y="connsiteY34"/>
                            </a:cxn>
                            <a:cxn ang="0">
                              <a:pos x="connsiteX35" y="connsiteY35"/>
                            </a:cxn>
                            <a:cxn ang="0">
                              <a:pos x="connsiteX36" y="connsiteY36"/>
                            </a:cxn>
                            <a:cxn ang="0">
                              <a:pos x="connsiteX37" y="connsiteY37"/>
                            </a:cxn>
                            <a:cxn ang="0">
                              <a:pos x="connsiteX38" y="connsiteY38"/>
                            </a:cxn>
                            <a:cxn ang="0">
                              <a:pos x="connsiteX39" y="connsiteY39"/>
                            </a:cxn>
                            <a:cxn ang="0">
                              <a:pos x="connsiteX40" y="connsiteY40"/>
                            </a:cxn>
                            <a:cxn ang="0">
                              <a:pos x="connsiteX41" y="connsiteY41"/>
                            </a:cxn>
                            <a:cxn ang="0">
                              <a:pos x="connsiteX42" y="connsiteY42"/>
                            </a:cxn>
                            <a:cxn ang="0">
                              <a:pos x="connsiteX43" y="connsiteY43"/>
                            </a:cxn>
                            <a:cxn ang="0">
                              <a:pos x="connsiteX44" y="connsiteY44"/>
                            </a:cxn>
                            <a:cxn ang="0">
                              <a:pos x="connsiteX45" y="connsiteY45"/>
                            </a:cxn>
                            <a:cxn ang="0">
                              <a:pos x="connsiteX46" y="connsiteY46"/>
                            </a:cxn>
                            <a:cxn ang="0">
                              <a:pos x="connsiteX47" y="connsiteY47"/>
                            </a:cxn>
                            <a:cxn ang="0">
                              <a:pos x="connsiteX48" y="connsiteY48"/>
                            </a:cxn>
                            <a:cxn ang="0">
                              <a:pos x="connsiteX49" y="connsiteY49"/>
                            </a:cxn>
                            <a:cxn ang="0">
                              <a:pos x="connsiteX50" y="connsiteY50"/>
                            </a:cxn>
                            <a:cxn ang="0">
                              <a:pos x="connsiteX51" y="connsiteY51"/>
                            </a:cxn>
                            <a:cxn ang="0">
                              <a:pos x="connsiteX52" y="connsiteY52"/>
                            </a:cxn>
                            <a:cxn ang="0">
                              <a:pos x="connsiteX53" y="connsiteY53"/>
                            </a:cxn>
                            <a:cxn ang="0">
                              <a:pos x="connsiteX54" y="connsiteY54"/>
                            </a:cxn>
                            <a:cxn ang="0">
                              <a:pos x="connsiteX55" y="connsiteY55"/>
                            </a:cxn>
                            <a:cxn ang="0">
                              <a:pos x="connsiteX56" y="connsiteY56"/>
                            </a:cxn>
                            <a:cxn ang="0">
                              <a:pos x="connsiteX57" y="connsiteY57"/>
                            </a:cxn>
                            <a:cxn ang="0">
                              <a:pos x="connsiteX58" y="connsiteY58"/>
                            </a:cxn>
                            <a:cxn ang="0">
                              <a:pos x="connsiteX59" y="connsiteY59"/>
                            </a:cxn>
                            <a:cxn ang="0">
                              <a:pos x="connsiteX60" y="connsiteY60"/>
                            </a:cxn>
                            <a:cxn ang="0">
                              <a:pos x="connsiteX61" y="connsiteY61"/>
                            </a:cxn>
                            <a:cxn ang="0">
                              <a:pos x="connsiteX62" y="connsiteY62"/>
                            </a:cxn>
                            <a:cxn ang="0">
                              <a:pos x="connsiteX63" y="connsiteY63"/>
                            </a:cxn>
                            <a:cxn ang="0">
                              <a:pos x="connsiteX64" y="connsiteY64"/>
                            </a:cxn>
                            <a:cxn ang="0">
                              <a:pos x="connsiteX65" y="connsiteY65"/>
                            </a:cxn>
                            <a:cxn ang="0">
                              <a:pos x="connsiteX66" y="connsiteY66"/>
                            </a:cxn>
                            <a:cxn ang="0">
                              <a:pos x="connsiteX67" y="connsiteY67"/>
                            </a:cxn>
                            <a:cxn ang="0">
                              <a:pos x="connsiteX68" y="connsiteY68"/>
                            </a:cxn>
                            <a:cxn ang="0">
                              <a:pos x="connsiteX69" y="connsiteY69"/>
                            </a:cxn>
                            <a:cxn ang="0">
                              <a:pos x="connsiteX70" y="connsiteY70"/>
                            </a:cxn>
                            <a:cxn ang="0">
                              <a:pos x="connsiteX71" y="connsiteY71"/>
                            </a:cxn>
                            <a:cxn ang="0">
                              <a:pos x="connsiteX72" y="connsiteY72"/>
                            </a:cxn>
                            <a:cxn ang="0">
                              <a:pos x="connsiteX73" y="connsiteY73"/>
                            </a:cxn>
                            <a:cxn ang="0">
                              <a:pos x="connsiteX74" y="connsiteY74"/>
                            </a:cxn>
                            <a:cxn ang="0">
                              <a:pos x="connsiteX75" y="connsiteY75"/>
                            </a:cxn>
                            <a:cxn ang="0">
                              <a:pos x="connsiteX76" y="connsiteY76"/>
                            </a:cxn>
                            <a:cxn ang="0">
                              <a:pos x="connsiteX77" y="connsiteY77"/>
                            </a:cxn>
                            <a:cxn ang="0">
                              <a:pos x="connsiteX78" y="connsiteY78"/>
                            </a:cxn>
                            <a:cxn ang="0">
                              <a:pos x="connsiteX79" y="connsiteY79"/>
                            </a:cxn>
                            <a:cxn ang="0">
                              <a:pos x="connsiteX80" y="connsiteY80"/>
                            </a:cxn>
                            <a:cxn ang="0">
                              <a:pos x="connsiteX81" y="connsiteY81"/>
                            </a:cxn>
                            <a:cxn ang="0">
                              <a:pos x="connsiteX82" y="connsiteY82"/>
                            </a:cxn>
                            <a:cxn ang="0">
                              <a:pos x="connsiteX83" y="connsiteY83"/>
                            </a:cxn>
                            <a:cxn ang="0">
                              <a:pos x="connsiteX84" y="connsiteY84"/>
                            </a:cxn>
                            <a:cxn ang="0">
                              <a:pos x="connsiteX85" y="connsiteY85"/>
                            </a:cxn>
                            <a:cxn ang="0">
                              <a:pos x="connsiteX86" y="connsiteY86"/>
                            </a:cxn>
                            <a:cxn ang="0">
                              <a:pos x="connsiteX87" y="connsiteY87"/>
                            </a:cxn>
                            <a:cxn ang="0">
                              <a:pos x="connsiteX88" y="connsiteY88"/>
                            </a:cxn>
                            <a:cxn ang="0">
                              <a:pos x="connsiteX89" y="connsiteY89"/>
                            </a:cxn>
                            <a:cxn ang="0">
                              <a:pos x="connsiteX90" y="connsiteY90"/>
                            </a:cxn>
                            <a:cxn ang="0">
                              <a:pos x="connsiteX91" y="connsiteY91"/>
                            </a:cxn>
                            <a:cxn ang="0">
                              <a:pos x="connsiteX92" y="connsiteY92"/>
                            </a:cxn>
                            <a:cxn ang="0">
                              <a:pos x="connsiteX93" y="connsiteY93"/>
                            </a:cxn>
                            <a:cxn ang="0">
                              <a:pos x="connsiteX94" y="connsiteY94"/>
                            </a:cxn>
                            <a:cxn ang="0">
                              <a:pos x="connsiteX95" y="connsiteY95"/>
                            </a:cxn>
                            <a:cxn ang="0">
                              <a:pos x="connsiteX96" y="connsiteY96"/>
                            </a:cxn>
                          </a:cxnLst>
                          <a:rect l="l" t="t" r="r" b="b"/>
                          <a:pathLst>
                            <a:path w="452628" h="497616">
                              <a:moveTo>
                                <a:pt x="134965" y="236464"/>
                              </a:moveTo>
                              <a:lnTo>
                                <a:pt x="10973" y="236464"/>
                              </a:lnTo>
                              <a:lnTo>
                                <a:pt x="9876" y="241402"/>
                              </a:lnTo>
                              <a:lnTo>
                                <a:pt x="1097" y="249631"/>
                              </a:lnTo>
                              <a:lnTo>
                                <a:pt x="2743" y="249083"/>
                              </a:lnTo>
                              <a:lnTo>
                                <a:pt x="0" y="251826"/>
                              </a:lnTo>
                              <a:lnTo>
                                <a:pt x="0" y="253472"/>
                              </a:lnTo>
                              <a:lnTo>
                                <a:pt x="0" y="251826"/>
                              </a:lnTo>
                              <a:lnTo>
                                <a:pt x="7132" y="249631"/>
                              </a:lnTo>
                              <a:lnTo>
                                <a:pt x="14813" y="267188"/>
                              </a:lnTo>
                              <a:lnTo>
                                <a:pt x="15911" y="268834"/>
                              </a:lnTo>
                              <a:lnTo>
                                <a:pt x="20848" y="267188"/>
                              </a:lnTo>
                              <a:lnTo>
                                <a:pt x="28529" y="283647"/>
                              </a:lnTo>
                              <a:lnTo>
                                <a:pt x="28529" y="299558"/>
                              </a:lnTo>
                              <a:lnTo>
                                <a:pt x="24140" y="311628"/>
                              </a:lnTo>
                              <a:lnTo>
                                <a:pt x="22494" y="313274"/>
                              </a:lnTo>
                              <a:lnTo>
                                <a:pt x="19202" y="313822"/>
                              </a:lnTo>
                              <a:lnTo>
                                <a:pt x="18105" y="317114"/>
                              </a:lnTo>
                              <a:lnTo>
                                <a:pt x="30724" y="334122"/>
                              </a:lnTo>
                              <a:lnTo>
                                <a:pt x="34564" y="384597"/>
                              </a:lnTo>
                              <a:lnTo>
                                <a:pt x="15911" y="445496"/>
                              </a:lnTo>
                              <a:lnTo>
                                <a:pt x="17008" y="444947"/>
                              </a:lnTo>
                              <a:lnTo>
                                <a:pt x="21946" y="437815"/>
                              </a:lnTo>
                              <a:lnTo>
                                <a:pt x="24689" y="429037"/>
                              </a:lnTo>
                              <a:lnTo>
                                <a:pt x="27432" y="429037"/>
                              </a:lnTo>
                              <a:lnTo>
                                <a:pt x="29078" y="427939"/>
                              </a:lnTo>
                              <a:lnTo>
                                <a:pt x="40051" y="428488"/>
                              </a:lnTo>
                              <a:lnTo>
                                <a:pt x="47183" y="430682"/>
                              </a:lnTo>
                              <a:lnTo>
                                <a:pt x="52121" y="429585"/>
                              </a:lnTo>
                              <a:lnTo>
                                <a:pt x="53218" y="427939"/>
                              </a:lnTo>
                              <a:lnTo>
                                <a:pt x="61448" y="426293"/>
                              </a:lnTo>
                              <a:lnTo>
                                <a:pt x="67483" y="426842"/>
                              </a:lnTo>
                              <a:lnTo>
                                <a:pt x="68580" y="426293"/>
                              </a:lnTo>
                              <a:lnTo>
                                <a:pt x="68580" y="424099"/>
                              </a:lnTo>
                              <a:lnTo>
                                <a:pt x="69129" y="423550"/>
                              </a:lnTo>
                              <a:lnTo>
                                <a:pt x="74066" y="424099"/>
                              </a:lnTo>
                              <a:lnTo>
                                <a:pt x="76810" y="423002"/>
                              </a:lnTo>
                              <a:lnTo>
                                <a:pt x="92172" y="424648"/>
                              </a:lnTo>
                              <a:lnTo>
                                <a:pt x="93269" y="425196"/>
                              </a:lnTo>
                              <a:lnTo>
                                <a:pt x="96561" y="424099"/>
                              </a:lnTo>
                              <a:lnTo>
                                <a:pt x="98207" y="427939"/>
                              </a:lnTo>
                              <a:lnTo>
                                <a:pt x="102596" y="428488"/>
                              </a:lnTo>
                              <a:lnTo>
                                <a:pt x="109728" y="435072"/>
                              </a:lnTo>
                              <a:lnTo>
                                <a:pt x="111374" y="438912"/>
                              </a:lnTo>
                              <a:lnTo>
                                <a:pt x="116312" y="443850"/>
                              </a:lnTo>
                              <a:lnTo>
                                <a:pt x="122895" y="441655"/>
                              </a:lnTo>
                              <a:lnTo>
                                <a:pt x="122895" y="444947"/>
                              </a:lnTo>
                              <a:lnTo>
                                <a:pt x="125090" y="445496"/>
                              </a:lnTo>
                              <a:lnTo>
                                <a:pt x="128930" y="443301"/>
                              </a:lnTo>
                              <a:lnTo>
                                <a:pt x="130576" y="443301"/>
                              </a:lnTo>
                              <a:lnTo>
                                <a:pt x="140452" y="459761"/>
                              </a:lnTo>
                              <a:lnTo>
                                <a:pt x="139903" y="461955"/>
                              </a:lnTo>
                              <a:lnTo>
                                <a:pt x="143195" y="463601"/>
                              </a:lnTo>
                              <a:lnTo>
                                <a:pt x="145390" y="466344"/>
                              </a:lnTo>
                              <a:lnTo>
                                <a:pt x="145938" y="468539"/>
                              </a:lnTo>
                              <a:lnTo>
                                <a:pt x="147036" y="469087"/>
                              </a:lnTo>
                              <a:lnTo>
                                <a:pt x="149779" y="467990"/>
                              </a:lnTo>
                              <a:lnTo>
                                <a:pt x="150327" y="468539"/>
                              </a:lnTo>
                              <a:lnTo>
                                <a:pt x="151973" y="473477"/>
                              </a:lnTo>
                              <a:lnTo>
                                <a:pt x="154168" y="474025"/>
                              </a:lnTo>
                              <a:lnTo>
                                <a:pt x="155814" y="476768"/>
                              </a:lnTo>
                              <a:lnTo>
                                <a:pt x="153071" y="477317"/>
                              </a:lnTo>
                              <a:lnTo>
                                <a:pt x="153071" y="477866"/>
                              </a:lnTo>
                              <a:lnTo>
                                <a:pt x="156362" y="479512"/>
                              </a:lnTo>
                              <a:lnTo>
                                <a:pt x="158008" y="481706"/>
                              </a:lnTo>
                              <a:lnTo>
                                <a:pt x="160752" y="483352"/>
                              </a:lnTo>
                              <a:lnTo>
                                <a:pt x="163495" y="483352"/>
                              </a:lnTo>
                              <a:lnTo>
                                <a:pt x="167335" y="484998"/>
                              </a:lnTo>
                              <a:lnTo>
                                <a:pt x="169530" y="487193"/>
                              </a:lnTo>
                              <a:lnTo>
                                <a:pt x="170078" y="491033"/>
                              </a:lnTo>
                              <a:lnTo>
                                <a:pt x="171176" y="492130"/>
                              </a:lnTo>
                              <a:lnTo>
                                <a:pt x="175565" y="493776"/>
                              </a:lnTo>
                              <a:lnTo>
                                <a:pt x="180503" y="497617"/>
                              </a:lnTo>
                              <a:lnTo>
                                <a:pt x="195865" y="482255"/>
                              </a:lnTo>
                              <a:lnTo>
                                <a:pt x="206837" y="454823"/>
                              </a:lnTo>
                              <a:lnTo>
                                <a:pt x="208483" y="454274"/>
                              </a:lnTo>
                              <a:lnTo>
                                <a:pt x="210678" y="454274"/>
                              </a:lnTo>
                              <a:lnTo>
                                <a:pt x="211226" y="455371"/>
                              </a:lnTo>
                              <a:lnTo>
                                <a:pt x="215067" y="455920"/>
                              </a:lnTo>
                              <a:lnTo>
                                <a:pt x="217810" y="458114"/>
                              </a:lnTo>
                              <a:lnTo>
                                <a:pt x="227686" y="480060"/>
                              </a:lnTo>
                              <a:lnTo>
                                <a:pt x="239756" y="482255"/>
                              </a:lnTo>
                              <a:lnTo>
                                <a:pt x="257312" y="467441"/>
                              </a:lnTo>
                              <a:lnTo>
                                <a:pt x="428488" y="470733"/>
                              </a:lnTo>
                              <a:lnTo>
                                <a:pt x="436717" y="438364"/>
                              </a:lnTo>
                              <a:lnTo>
                                <a:pt x="421356" y="433974"/>
                              </a:lnTo>
                              <a:lnTo>
                                <a:pt x="386791" y="90526"/>
                              </a:lnTo>
                              <a:lnTo>
                                <a:pt x="452628" y="90526"/>
                              </a:lnTo>
                              <a:lnTo>
                                <a:pt x="314371" y="0"/>
                              </a:lnTo>
                              <a:lnTo>
                                <a:pt x="314371" y="47183"/>
                              </a:lnTo>
                              <a:lnTo>
                                <a:pt x="193121" y="47183"/>
                              </a:lnTo>
                              <a:lnTo>
                                <a:pt x="193121" y="151973"/>
                              </a:lnTo>
                              <a:lnTo>
                                <a:pt x="156362" y="161300"/>
                              </a:lnTo>
                              <a:lnTo>
                                <a:pt x="153071" y="163495"/>
                              </a:lnTo>
                              <a:lnTo>
                                <a:pt x="147036" y="175016"/>
                              </a:lnTo>
                              <a:lnTo>
                                <a:pt x="151973" y="236464"/>
                              </a:lnTo>
                              <a:lnTo>
                                <a:pt x="134965" y="236464"/>
                              </a:lnTo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229" name="Graphic 7">
                          <a:extLst>
                            <a:ext uri="{FF2B5EF4-FFF2-40B4-BE49-F238E27FC236}">
                              <a16:creationId xmlns:a16="http://schemas.microsoft.com/office/drawing/2014/main" id="{BFA70D20-32A0-6764-A781-2CF0675DC3FE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5884611" y="4709256"/>
                          <a:ext cx="342485" cy="295335"/>
                        </a:xfrm>
                        <a:custGeom>
                          <a:avLst/>
                          <a:gdLst>
                            <a:gd name="connsiteX0" fmla="*/ 0 w 438363"/>
                            <a:gd name="connsiteY0" fmla="*/ 319857 h 378013"/>
                            <a:gd name="connsiteX1" fmla="*/ 0 w 438363"/>
                            <a:gd name="connsiteY1" fmla="*/ 182697 h 378013"/>
                            <a:gd name="connsiteX2" fmla="*/ 81747 w 438363"/>
                            <a:gd name="connsiteY2" fmla="*/ 182697 h 378013"/>
                            <a:gd name="connsiteX3" fmla="*/ 75712 w 438363"/>
                            <a:gd name="connsiteY3" fmla="*/ 180503 h 378013"/>
                            <a:gd name="connsiteX4" fmla="*/ 72969 w 438363"/>
                            <a:gd name="connsiteY4" fmla="*/ 178308 h 378013"/>
                            <a:gd name="connsiteX5" fmla="*/ 71872 w 438363"/>
                            <a:gd name="connsiteY5" fmla="*/ 175565 h 378013"/>
                            <a:gd name="connsiteX6" fmla="*/ 77358 w 438363"/>
                            <a:gd name="connsiteY6" fmla="*/ 115214 h 378013"/>
                            <a:gd name="connsiteX7" fmla="*/ 76261 w 438363"/>
                            <a:gd name="connsiteY7" fmla="*/ 108631 h 378013"/>
                            <a:gd name="connsiteX8" fmla="*/ 76810 w 438363"/>
                            <a:gd name="connsiteY8" fmla="*/ 106436 h 378013"/>
                            <a:gd name="connsiteX9" fmla="*/ 78455 w 438363"/>
                            <a:gd name="connsiteY9" fmla="*/ 105887 h 378013"/>
                            <a:gd name="connsiteX10" fmla="*/ 77907 w 438363"/>
                            <a:gd name="connsiteY10" fmla="*/ 103144 h 378013"/>
                            <a:gd name="connsiteX11" fmla="*/ 75712 w 438363"/>
                            <a:gd name="connsiteY11" fmla="*/ 100950 h 378013"/>
                            <a:gd name="connsiteX12" fmla="*/ 85039 w 438363"/>
                            <a:gd name="connsiteY12" fmla="*/ 98755 h 378013"/>
                            <a:gd name="connsiteX13" fmla="*/ 86136 w 438363"/>
                            <a:gd name="connsiteY13" fmla="*/ 99304 h 378013"/>
                            <a:gd name="connsiteX14" fmla="*/ 90526 w 438363"/>
                            <a:gd name="connsiteY14" fmla="*/ 106436 h 378013"/>
                            <a:gd name="connsiteX15" fmla="*/ 90526 w 438363"/>
                            <a:gd name="connsiteY15" fmla="*/ 115214 h 378013"/>
                            <a:gd name="connsiteX16" fmla="*/ 91623 w 438363"/>
                            <a:gd name="connsiteY16" fmla="*/ 117958 h 378013"/>
                            <a:gd name="connsiteX17" fmla="*/ 93817 w 438363"/>
                            <a:gd name="connsiteY17" fmla="*/ 118506 h 378013"/>
                            <a:gd name="connsiteX18" fmla="*/ 106985 w 438363"/>
                            <a:gd name="connsiteY18" fmla="*/ 113569 h 378013"/>
                            <a:gd name="connsiteX19" fmla="*/ 110825 w 438363"/>
                            <a:gd name="connsiteY19" fmla="*/ 113569 h 378013"/>
                            <a:gd name="connsiteX20" fmla="*/ 118506 w 438363"/>
                            <a:gd name="connsiteY20" fmla="*/ 110277 h 378013"/>
                            <a:gd name="connsiteX21" fmla="*/ 122895 w 438363"/>
                            <a:gd name="connsiteY21" fmla="*/ 116312 h 378013"/>
                            <a:gd name="connsiteX22" fmla="*/ 125090 w 438363"/>
                            <a:gd name="connsiteY22" fmla="*/ 121798 h 378013"/>
                            <a:gd name="connsiteX23" fmla="*/ 128382 w 438363"/>
                            <a:gd name="connsiteY23" fmla="*/ 126187 h 378013"/>
                            <a:gd name="connsiteX24" fmla="*/ 158557 w 438363"/>
                            <a:gd name="connsiteY24" fmla="*/ 140452 h 378013"/>
                            <a:gd name="connsiteX25" fmla="*/ 166787 w 438363"/>
                            <a:gd name="connsiteY25" fmla="*/ 141001 h 378013"/>
                            <a:gd name="connsiteX26" fmla="*/ 187635 w 438363"/>
                            <a:gd name="connsiteY26" fmla="*/ 134417 h 378013"/>
                            <a:gd name="connsiteX27" fmla="*/ 190378 w 438363"/>
                            <a:gd name="connsiteY27" fmla="*/ 134966 h 378013"/>
                            <a:gd name="connsiteX28" fmla="*/ 204094 w 438363"/>
                            <a:gd name="connsiteY28" fmla="*/ 147584 h 378013"/>
                            <a:gd name="connsiteX29" fmla="*/ 221102 w 438363"/>
                            <a:gd name="connsiteY29" fmla="*/ 154717 h 378013"/>
                            <a:gd name="connsiteX30" fmla="*/ 228783 w 438363"/>
                            <a:gd name="connsiteY30" fmla="*/ 155265 h 378013"/>
                            <a:gd name="connsiteX31" fmla="*/ 233172 w 438363"/>
                            <a:gd name="connsiteY31" fmla="*/ 160203 h 378013"/>
                            <a:gd name="connsiteX32" fmla="*/ 239207 w 438363"/>
                            <a:gd name="connsiteY32" fmla="*/ 172822 h 378013"/>
                            <a:gd name="connsiteX33" fmla="*/ 258409 w 438363"/>
                            <a:gd name="connsiteY33" fmla="*/ 186538 h 378013"/>
                            <a:gd name="connsiteX34" fmla="*/ 271577 w 438363"/>
                            <a:gd name="connsiteY34" fmla="*/ 190378 h 378013"/>
                            <a:gd name="connsiteX35" fmla="*/ 274320 w 438363"/>
                            <a:gd name="connsiteY35" fmla="*/ 190378 h 378013"/>
                            <a:gd name="connsiteX36" fmla="*/ 278160 w 438363"/>
                            <a:gd name="connsiteY36" fmla="*/ 187635 h 378013"/>
                            <a:gd name="connsiteX37" fmla="*/ 281452 w 438363"/>
                            <a:gd name="connsiteY37" fmla="*/ 187635 h 378013"/>
                            <a:gd name="connsiteX38" fmla="*/ 284744 w 438363"/>
                            <a:gd name="connsiteY38" fmla="*/ 193121 h 378013"/>
                            <a:gd name="connsiteX39" fmla="*/ 287487 w 438363"/>
                            <a:gd name="connsiteY39" fmla="*/ 194219 h 378013"/>
                            <a:gd name="connsiteX40" fmla="*/ 290231 w 438363"/>
                            <a:gd name="connsiteY40" fmla="*/ 194219 h 378013"/>
                            <a:gd name="connsiteX41" fmla="*/ 291328 w 438363"/>
                            <a:gd name="connsiteY41" fmla="*/ 192573 h 378013"/>
                            <a:gd name="connsiteX42" fmla="*/ 289682 w 438363"/>
                            <a:gd name="connsiteY42" fmla="*/ 158557 h 378013"/>
                            <a:gd name="connsiteX43" fmla="*/ 288036 w 438363"/>
                            <a:gd name="connsiteY43" fmla="*/ 153071 h 378013"/>
                            <a:gd name="connsiteX44" fmla="*/ 284195 w 438363"/>
                            <a:gd name="connsiteY44" fmla="*/ 151973 h 378013"/>
                            <a:gd name="connsiteX45" fmla="*/ 278160 w 438363"/>
                            <a:gd name="connsiteY45" fmla="*/ 155814 h 378013"/>
                            <a:gd name="connsiteX46" fmla="*/ 262250 w 438363"/>
                            <a:gd name="connsiteY46" fmla="*/ 153619 h 378013"/>
                            <a:gd name="connsiteX47" fmla="*/ 257312 w 438363"/>
                            <a:gd name="connsiteY47" fmla="*/ 150876 h 378013"/>
                            <a:gd name="connsiteX48" fmla="*/ 245242 w 438363"/>
                            <a:gd name="connsiteY48" fmla="*/ 135514 h 378013"/>
                            <a:gd name="connsiteX49" fmla="*/ 244693 w 438363"/>
                            <a:gd name="connsiteY49" fmla="*/ 129479 h 378013"/>
                            <a:gd name="connsiteX50" fmla="*/ 259507 w 438363"/>
                            <a:gd name="connsiteY50" fmla="*/ 68031 h 378013"/>
                            <a:gd name="connsiteX51" fmla="*/ 252923 w 438363"/>
                            <a:gd name="connsiteY51" fmla="*/ 38405 h 378013"/>
                            <a:gd name="connsiteX52" fmla="*/ 266090 w 438363"/>
                            <a:gd name="connsiteY52" fmla="*/ 13716 h 378013"/>
                            <a:gd name="connsiteX53" fmla="*/ 269382 w 438363"/>
                            <a:gd name="connsiteY53" fmla="*/ 11522 h 378013"/>
                            <a:gd name="connsiteX54" fmla="*/ 320406 w 438363"/>
                            <a:gd name="connsiteY54" fmla="*/ 0 h 378013"/>
                            <a:gd name="connsiteX55" fmla="*/ 322600 w 438363"/>
                            <a:gd name="connsiteY55" fmla="*/ 4389 h 378013"/>
                            <a:gd name="connsiteX56" fmla="*/ 322052 w 438363"/>
                            <a:gd name="connsiteY56" fmla="*/ 8778 h 378013"/>
                            <a:gd name="connsiteX57" fmla="*/ 322600 w 438363"/>
                            <a:gd name="connsiteY57" fmla="*/ 14813 h 378013"/>
                            <a:gd name="connsiteX58" fmla="*/ 325343 w 438363"/>
                            <a:gd name="connsiteY58" fmla="*/ 15911 h 378013"/>
                            <a:gd name="connsiteX59" fmla="*/ 330281 w 438363"/>
                            <a:gd name="connsiteY59" fmla="*/ 16459 h 378013"/>
                            <a:gd name="connsiteX60" fmla="*/ 337962 w 438363"/>
                            <a:gd name="connsiteY60" fmla="*/ 23043 h 378013"/>
                            <a:gd name="connsiteX61" fmla="*/ 343449 w 438363"/>
                            <a:gd name="connsiteY61" fmla="*/ 14813 h 378013"/>
                            <a:gd name="connsiteX62" fmla="*/ 348386 w 438363"/>
                            <a:gd name="connsiteY62" fmla="*/ 14265 h 378013"/>
                            <a:gd name="connsiteX63" fmla="*/ 352775 w 438363"/>
                            <a:gd name="connsiteY63" fmla="*/ 15911 h 378013"/>
                            <a:gd name="connsiteX64" fmla="*/ 368137 w 438363"/>
                            <a:gd name="connsiteY64" fmla="*/ 29078 h 378013"/>
                            <a:gd name="connsiteX65" fmla="*/ 408737 w 438363"/>
                            <a:gd name="connsiteY65" fmla="*/ 42245 h 378013"/>
                            <a:gd name="connsiteX66" fmla="*/ 410383 w 438363"/>
                            <a:gd name="connsiteY66" fmla="*/ 43343 h 378013"/>
                            <a:gd name="connsiteX67" fmla="*/ 413126 w 438363"/>
                            <a:gd name="connsiteY67" fmla="*/ 46634 h 378013"/>
                            <a:gd name="connsiteX68" fmla="*/ 412029 w 438363"/>
                            <a:gd name="connsiteY68" fmla="*/ 47183 h 378013"/>
                            <a:gd name="connsiteX69" fmla="*/ 412029 w 438363"/>
                            <a:gd name="connsiteY69" fmla="*/ 51023 h 378013"/>
                            <a:gd name="connsiteX70" fmla="*/ 413126 w 438363"/>
                            <a:gd name="connsiteY70" fmla="*/ 52670 h 378013"/>
                            <a:gd name="connsiteX71" fmla="*/ 414223 w 438363"/>
                            <a:gd name="connsiteY71" fmla="*/ 56510 h 378013"/>
                            <a:gd name="connsiteX72" fmla="*/ 420807 w 438363"/>
                            <a:gd name="connsiteY72" fmla="*/ 56510 h 378013"/>
                            <a:gd name="connsiteX73" fmla="*/ 426842 w 438363"/>
                            <a:gd name="connsiteY73" fmla="*/ 65288 h 378013"/>
                            <a:gd name="connsiteX74" fmla="*/ 428488 w 438363"/>
                            <a:gd name="connsiteY74" fmla="*/ 72969 h 378013"/>
                            <a:gd name="connsiteX75" fmla="*/ 432877 w 438363"/>
                            <a:gd name="connsiteY75" fmla="*/ 76261 h 378013"/>
                            <a:gd name="connsiteX76" fmla="*/ 434523 w 438363"/>
                            <a:gd name="connsiteY76" fmla="*/ 88880 h 378013"/>
                            <a:gd name="connsiteX77" fmla="*/ 437815 w 438363"/>
                            <a:gd name="connsiteY77" fmla="*/ 91074 h 378013"/>
                            <a:gd name="connsiteX78" fmla="*/ 438363 w 438363"/>
                            <a:gd name="connsiteY78" fmla="*/ 94915 h 378013"/>
                            <a:gd name="connsiteX79" fmla="*/ 437815 w 438363"/>
                            <a:gd name="connsiteY79" fmla="*/ 97658 h 378013"/>
                            <a:gd name="connsiteX80" fmla="*/ 432328 w 438363"/>
                            <a:gd name="connsiteY80" fmla="*/ 100950 h 378013"/>
                            <a:gd name="connsiteX81" fmla="*/ 430682 w 438363"/>
                            <a:gd name="connsiteY81" fmla="*/ 101498 h 378013"/>
                            <a:gd name="connsiteX82" fmla="*/ 427939 w 438363"/>
                            <a:gd name="connsiteY82" fmla="*/ 103693 h 378013"/>
                            <a:gd name="connsiteX83" fmla="*/ 427939 w 438363"/>
                            <a:gd name="connsiteY83" fmla="*/ 115763 h 378013"/>
                            <a:gd name="connsiteX84" fmla="*/ 424099 w 438363"/>
                            <a:gd name="connsiteY84" fmla="*/ 127833 h 378013"/>
                            <a:gd name="connsiteX85" fmla="*/ 424099 w 438363"/>
                            <a:gd name="connsiteY85" fmla="*/ 154717 h 378013"/>
                            <a:gd name="connsiteX86" fmla="*/ 426842 w 438363"/>
                            <a:gd name="connsiteY86" fmla="*/ 157460 h 378013"/>
                            <a:gd name="connsiteX87" fmla="*/ 430134 w 438363"/>
                            <a:gd name="connsiteY87" fmla="*/ 159106 h 378013"/>
                            <a:gd name="connsiteX88" fmla="*/ 431231 w 438363"/>
                            <a:gd name="connsiteY88" fmla="*/ 163495 h 378013"/>
                            <a:gd name="connsiteX89" fmla="*/ 430134 w 438363"/>
                            <a:gd name="connsiteY89" fmla="*/ 165689 h 378013"/>
                            <a:gd name="connsiteX90" fmla="*/ 424099 w 438363"/>
                            <a:gd name="connsiteY90" fmla="*/ 166787 h 378013"/>
                            <a:gd name="connsiteX91" fmla="*/ 419710 w 438363"/>
                            <a:gd name="connsiteY91" fmla="*/ 169530 h 378013"/>
                            <a:gd name="connsiteX92" fmla="*/ 415869 w 438363"/>
                            <a:gd name="connsiteY92" fmla="*/ 170627 h 378013"/>
                            <a:gd name="connsiteX93" fmla="*/ 415320 w 438363"/>
                            <a:gd name="connsiteY93" fmla="*/ 171724 h 378013"/>
                            <a:gd name="connsiteX94" fmla="*/ 409285 w 438363"/>
                            <a:gd name="connsiteY94" fmla="*/ 201351 h 378013"/>
                            <a:gd name="connsiteX95" fmla="*/ 404348 w 438363"/>
                            <a:gd name="connsiteY95" fmla="*/ 206837 h 378013"/>
                            <a:gd name="connsiteX96" fmla="*/ 403799 w 438363"/>
                            <a:gd name="connsiteY96" fmla="*/ 209581 h 378013"/>
                            <a:gd name="connsiteX97" fmla="*/ 405445 w 438363"/>
                            <a:gd name="connsiteY97" fmla="*/ 215067 h 378013"/>
                            <a:gd name="connsiteX98" fmla="*/ 408737 w 438363"/>
                            <a:gd name="connsiteY98" fmla="*/ 216164 h 378013"/>
                            <a:gd name="connsiteX99" fmla="*/ 410931 w 438363"/>
                            <a:gd name="connsiteY99" fmla="*/ 220553 h 378013"/>
                            <a:gd name="connsiteX100" fmla="*/ 416418 w 438363"/>
                            <a:gd name="connsiteY100" fmla="*/ 220553 h 378013"/>
                            <a:gd name="connsiteX101" fmla="*/ 418612 w 438363"/>
                            <a:gd name="connsiteY101" fmla="*/ 221651 h 378013"/>
                            <a:gd name="connsiteX102" fmla="*/ 419161 w 438363"/>
                            <a:gd name="connsiteY102" fmla="*/ 222748 h 378013"/>
                            <a:gd name="connsiteX103" fmla="*/ 300106 w 438363"/>
                            <a:gd name="connsiteY103" fmla="*/ 262799 h 378013"/>
                            <a:gd name="connsiteX104" fmla="*/ 307238 w 438363"/>
                            <a:gd name="connsiteY104" fmla="*/ 281452 h 378013"/>
                            <a:gd name="connsiteX105" fmla="*/ 309982 w 438363"/>
                            <a:gd name="connsiteY105" fmla="*/ 283647 h 378013"/>
                            <a:gd name="connsiteX106" fmla="*/ 308884 w 438363"/>
                            <a:gd name="connsiteY106" fmla="*/ 284744 h 378013"/>
                            <a:gd name="connsiteX107" fmla="*/ 304495 w 438363"/>
                            <a:gd name="connsiteY107" fmla="*/ 284195 h 378013"/>
                            <a:gd name="connsiteX108" fmla="*/ 298460 w 438363"/>
                            <a:gd name="connsiteY108" fmla="*/ 285842 h 378013"/>
                            <a:gd name="connsiteX109" fmla="*/ 294071 w 438363"/>
                            <a:gd name="connsiteY109" fmla="*/ 285293 h 378013"/>
                            <a:gd name="connsiteX110" fmla="*/ 290231 w 438363"/>
                            <a:gd name="connsiteY110" fmla="*/ 283098 h 378013"/>
                            <a:gd name="connsiteX111" fmla="*/ 287487 w 438363"/>
                            <a:gd name="connsiteY111" fmla="*/ 283098 h 378013"/>
                            <a:gd name="connsiteX112" fmla="*/ 279258 w 438363"/>
                            <a:gd name="connsiteY112" fmla="*/ 286939 h 378013"/>
                            <a:gd name="connsiteX113" fmla="*/ 268285 w 438363"/>
                            <a:gd name="connsiteY113" fmla="*/ 288036 h 378013"/>
                            <a:gd name="connsiteX114" fmla="*/ 259507 w 438363"/>
                            <a:gd name="connsiteY114" fmla="*/ 295717 h 378013"/>
                            <a:gd name="connsiteX115" fmla="*/ 254569 w 438363"/>
                            <a:gd name="connsiteY115" fmla="*/ 295717 h 378013"/>
                            <a:gd name="connsiteX116" fmla="*/ 250728 w 438363"/>
                            <a:gd name="connsiteY116" fmla="*/ 297911 h 378013"/>
                            <a:gd name="connsiteX117" fmla="*/ 248534 w 438363"/>
                            <a:gd name="connsiteY117" fmla="*/ 320406 h 378013"/>
                            <a:gd name="connsiteX118" fmla="*/ 234269 w 438363"/>
                            <a:gd name="connsiteY118" fmla="*/ 319309 h 378013"/>
                            <a:gd name="connsiteX119" fmla="*/ 229880 w 438363"/>
                            <a:gd name="connsiteY119" fmla="*/ 321503 h 378013"/>
                            <a:gd name="connsiteX120" fmla="*/ 228783 w 438363"/>
                            <a:gd name="connsiteY120" fmla="*/ 323149 h 378013"/>
                            <a:gd name="connsiteX121" fmla="*/ 226588 w 438363"/>
                            <a:gd name="connsiteY121" fmla="*/ 323698 h 378013"/>
                            <a:gd name="connsiteX122" fmla="*/ 221651 w 438363"/>
                            <a:gd name="connsiteY122" fmla="*/ 330281 h 378013"/>
                            <a:gd name="connsiteX123" fmla="*/ 216713 w 438363"/>
                            <a:gd name="connsiteY123" fmla="*/ 329733 h 378013"/>
                            <a:gd name="connsiteX124" fmla="*/ 213421 w 438363"/>
                            <a:gd name="connsiteY124" fmla="*/ 330830 h 378013"/>
                            <a:gd name="connsiteX125" fmla="*/ 211775 w 438363"/>
                            <a:gd name="connsiteY125" fmla="*/ 331927 h 378013"/>
                            <a:gd name="connsiteX126" fmla="*/ 210129 w 438363"/>
                            <a:gd name="connsiteY126" fmla="*/ 335219 h 378013"/>
                            <a:gd name="connsiteX127" fmla="*/ 207386 w 438363"/>
                            <a:gd name="connsiteY127" fmla="*/ 336316 h 378013"/>
                            <a:gd name="connsiteX128" fmla="*/ 202997 w 438363"/>
                            <a:gd name="connsiteY128" fmla="*/ 344546 h 378013"/>
                            <a:gd name="connsiteX129" fmla="*/ 196413 w 438363"/>
                            <a:gd name="connsiteY129" fmla="*/ 351678 h 378013"/>
                            <a:gd name="connsiteX130" fmla="*/ 194767 w 438363"/>
                            <a:gd name="connsiteY130" fmla="*/ 354422 h 378013"/>
                            <a:gd name="connsiteX131" fmla="*/ 194767 w 438363"/>
                            <a:gd name="connsiteY131" fmla="*/ 358811 h 378013"/>
                            <a:gd name="connsiteX132" fmla="*/ 181051 w 438363"/>
                            <a:gd name="connsiteY132" fmla="*/ 376367 h 378013"/>
                            <a:gd name="connsiteX133" fmla="*/ 177211 w 438363"/>
                            <a:gd name="connsiteY133" fmla="*/ 375270 h 378013"/>
                            <a:gd name="connsiteX134" fmla="*/ 172273 w 438363"/>
                            <a:gd name="connsiteY134" fmla="*/ 378013 h 378013"/>
                            <a:gd name="connsiteX135" fmla="*/ 169530 w 438363"/>
                            <a:gd name="connsiteY135" fmla="*/ 376916 h 378013"/>
                            <a:gd name="connsiteX136" fmla="*/ 167884 w 438363"/>
                            <a:gd name="connsiteY136" fmla="*/ 373624 h 378013"/>
                            <a:gd name="connsiteX137" fmla="*/ 164592 w 438363"/>
                            <a:gd name="connsiteY137" fmla="*/ 371978 h 378013"/>
                            <a:gd name="connsiteX138" fmla="*/ 159654 w 438363"/>
                            <a:gd name="connsiteY138" fmla="*/ 373075 h 378013"/>
                            <a:gd name="connsiteX139" fmla="*/ 156362 w 438363"/>
                            <a:gd name="connsiteY139" fmla="*/ 372527 h 378013"/>
                            <a:gd name="connsiteX140" fmla="*/ 144841 w 438363"/>
                            <a:gd name="connsiteY140" fmla="*/ 374173 h 378013"/>
                            <a:gd name="connsiteX141" fmla="*/ 134965 w 438363"/>
                            <a:gd name="connsiteY141" fmla="*/ 370332 h 378013"/>
                            <a:gd name="connsiteX142" fmla="*/ 122347 w 438363"/>
                            <a:gd name="connsiteY142" fmla="*/ 371978 h 378013"/>
                            <a:gd name="connsiteX143" fmla="*/ 119603 w 438363"/>
                            <a:gd name="connsiteY143" fmla="*/ 371429 h 378013"/>
                            <a:gd name="connsiteX144" fmla="*/ 117409 w 438363"/>
                            <a:gd name="connsiteY144" fmla="*/ 369235 h 378013"/>
                            <a:gd name="connsiteX145" fmla="*/ 113020 w 438363"/>
                            <a:gd name="connsiteY145" fmla="*/ 367589 h 378013"/>
                            <a:gd name="connsiteX146" fmla="*/ 107533 w 438363"/>
                            <a:gd name="connsiteY146" fmla="*/ 358811 h 378013"/>
                            <a:gd name="connsiteX147" fmla="*/ 104790 w 438363"/>
                            <a:gd name="connsiteY147" fmla="*/ 356616 h 378013"/>
                            <a:gd name="connsiteX148" fmla="*/ 80650 w 438363"/>
                            <a:gd name="connsiteY148" fmla="*/ 354422 h 378013"/>
                            <a:gd name="connsiteX149" fmla="*/ 79004 w 438363"/>
                            <a:gd name="connsiteY149" fmla="*/ 352775 h 378013"/>
                            <a:gd name="connsiteX150" fmla="*/ 44988 w 438363"/>
                            <a:gd name="connsiteY150" fmla="*/ 361005 h 378013"/>
                            <a:gd name="connsiteX151" fmla="*/ 38953 w 438363"/>
                            <a:gd name="connsiteY151" fmla="*/ 357713 h 378013"/>
                            <a:gd name="connsiteX152" fmla="*/ 36210 w 438363"/>
                            <a:gd name="connsiteY152" fmla="*/ 353324 h 378013"/>
                            <a:gd name="connsiteX153" fmla="*/ 7681 w 438363"/>
                            <a:gd name="connsiteY153" fmla="*/ 330830 h 378013"/>
                            <a:gd name="connsiteX154" fmla="*/ 4938 w 438363"/>
                            <a:gd name="connsiteY154" fmla="*/ 325343 h 378013"/>
                            <a:gd name="connsiteX155" fmla="*/ 0 w 438363"/>
                            <a:gd name="connsiteY155" fmla="*/ 321503 h 378013"/>
                            <a:gd name="connsiteX156" fmla="*/ 0 w 438363"/>
                            <a:gd name="connsiteY156" fmla="*/ 319857 h 37801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  <a:cxn ang="0">
                              <a:pos x="connsiteX11" y="connsiteY11"/>
                            </a:cxn>
                            <a:cxn ang="0">
                              <a:pos x="connsiteX12" y="connsiteY12"/>
                            </a:cxn>
                            <a:cxn ang="0">
                              <a:pos x="connsiteX13" y="connsiteY13"/>
                            </a:cxn>
                            <a:cxn ang="0">
                              <a:pos x="connsiteX14" y="connsiteY14"/>
                            </a:cxn>
                            <a:cxn ang="0">
                              <a:pos x="connsiteX15" y="connsiteY15"/>
                            </a:cxn>
                            <a:cxn ang="0">
                              <a:pos x="connsiteX16" y="connsiteY16"/>
                            </a:cxn>
                            <a:cxn ang="0">
                              <a:pos x="connsiteX17" y="connsiteY17"/>
                            </a:cxn>
                            <a:cxn ang="0">
                              <a:pos x="connsiteX18" y="connsiteY18"/>
                            </a:cxn>
                            <a:cxn ang="0">
                              <a:pos x="connsiteX19" y="connsiteY19"/>
                            </a:cxn>
                            <a:cxn ang="0">
                              <a:pos x="connsiteX20" y="connsiteY20"/>
                            </a:cxn>
                            <a:cxn ang="0">
                              <a:pos x="connsiteX21" y="connsiteY21"/>
                            </a:cxn>
                            <a:cxn ang="0">
                              <a:pos x="connsiteX22" y="connsiteY22"/>
                            </a:cxn>
                            <a:cxn ang="0">
                              <a:pos x="connsiteX23" y="connsiteY23"/>
                            </a:cxn>
                            <a:cxn ang="0">
                              <a:pos x="connsiteX24" y="connsiteY24"/>
                            </a:cxn>
                            <a:cxn ang="0">
                              <a:pos x="connsiteX25" y="connsiteY25"/>
                            </a:cxn>
                            <a:cxn ang="0">
                              <a:pos x="connsiteX26" y="connsiteY26"/>
                            </a:cxn>
                            <a:cxn ang="0">
                              <a:pos x="connsiteX27" y="connsiteY27"/>
                            </a:cxn>
                            <a:cxn ang="0">
                              <a:pos x="connsiteX28" y="connsiteY28"/>
                            </a:cxn>
                            <a:cxn ang="0">
                              <a:pos x="connsiteX29" y="connsiteY29"/>
                            </a:cxn>
                            <a:cxn ang="0">
                              <a:pos x="connsiteX30" y="connsiteY30"/>
                            </a:cxn>
                            <a:cxn ang="0">
                              <a:pos x="connsiteX31" y="connsiteY31"/>
                            </a:cxn>
                            <a:cxn ang="0">
                              <a:pos x="connsiteX32" y="connsiteY32"/>
                            </a:cxn>
                            <a:cxn ang="0">
                              <a:pos x="connsiteX33" y="connsiteY33"/>
                            </a:cxn>
                            <a:cxn ang="0">
                              <a:pos x="connsiteX34" y="connsiteY34"/>
                            </a:cxn>
                            <a:cxn ang="0">
                              <a:pos x="connsiteX35" y="connsiteY35"/>
                            </a:cxn>
                            <a:cxn ang="0">
                              <a:pos x="connsiteX36" y="connsiteY36"/>
                            </a:cxn>
                            <a:cxn ang="0">
                              <a:pos x="connsiteX37" y="connsiteY37"/>
                            </a:cxn>
                            <a:cxn ang="0">
                              <a:pos x="connsiteX38" y="connsiteY38"/>
                            </a:cxn>
                            <a:cxn ang="0">
                              <a:pos x="connsiteX39" y="connsiteY39"/>
                            </a:cxn>
                            <a:cxn ang="0">
                              <a:pos x="connsiteX40" y="connsiteY40"/>
                            </a:cxn>
                            <a:cxn ang="0">
                              <a:pos x="connsiteX41" y="connsiteY41"/>
                            </a:cxn>
                            <a:cxn ang="0">
                              <a:pos x="connsiteX42" y="connsiteY42"/>
                            </a:cxn>
                            <a:cxn ang="0">
                              <a:pos x="connsiteX43" y="connsiteY43"/>
                            </a:cxn>
                            <a:cxn ang="0">
                              <a:pos x="connsiteX44" y="connsiteY44"/>
                            </a:cxn>
                            <a:cxn ang="0">
                              <a:pos x="connsiteX45" y="connsiteY45"/>
                            </a:cxn>
                            <a:cxn ang="0">
                              <a:pos x="connsiteX46" y="connsiteY46"/>
                            </a:cxn>
                            <a:cxn ang="0">
                              <a:pos x="connsiteX47" y="connsiteY47"/>
                            </a:cxn>
                            <a:cxn ang="0">
                              <a:pos x="connsiteX48" y="connsiteY48"/>
                            </a:cxn>
                            <a:cxn ang="0">
                              <a:pos x="connsiteX49" y="connsiteY49"/>
                            </a:cxn>
                            <a:cxn ang="0">
                              <a:pos x="connsiteX50" y="connsiteY50"/>
                            </a:cxn>
                            <a:cxn ang="0">
                              <a:pos x="connsiteX51" y="connsiteY51"/>
                            </a:cxn>
                            <a:cxn ang="0">
                              <a:pos x="connsiteX52" y="connsiteY52"/>
                            </a:cxn>
                            <a:cxn ang="0">
                              <a:pos x="connsiteX53" y="connsiteY53"/>
                            </a:cxn>
                            <a:cxn ang="0">
                              <a:pos x="connsiteX54" y="connsiteY54"/>
                            </a:cxn>
                            <a:cxn ang="0">
                              <a:pos x="connsiteX55" y="connsiteY55"/>
                            </a:cxn>
                            <a:cxn ang="0">
                              <a:pos x="connsiteX56" y="connsiteY56"/>
                            </a:cxn>
                            <a:cxn ang="0">
                              <a:pos x="connsiteX57" y="connsiteY57"/>
                            </a:cxn>
                            <a:cxn ang="0">
                              <a:pos x="connsiteX58" y="connsiteY58"/>
                            </a:cxn>
                            <a:cxn ang="0">
                              <a:pos x="connsiteX59" y="connsiteY59"/>
                            </a:cxn>
                            <a:cxn ang="0">
                              <a:pos x="connsiteX60" y="connsiteY60"/>
                            </a:cxn>
                            <a:cxn ang="0">
                              <a:pos x="connsiteX61" y="connsiteY61"/>
                            </a:cxn>
                            <a:cxn ang="0">
                              <a:pos x="connsiteX62" y="connsiteY62"/>
                            </a:cxn>
                            <a:cxn ang="0">
                              <a:pos x="connsiteX63" y="connsiteY63"/>
                            </a:cxn>
                            <a:cxn ang="0">
                              <a:pos x="connsiteX64" y="connsiteY64"/>
                            </a:cxn>
                            <a:cxn ang="0">
                              <a:pos x="connsiteX65" y="connsiteY65"/>
                            </a:cxn>
                            <a:cxn ang="0">
                              <a:pos x="connsiteX66" y="connsiteY66"/>
                            </a:cxn>
                            <a:cxn ang="0">
                              <a:pos x="connsiteX67" y="connsiteY67"/>
                            </a:cxn>
                            <a:cxn ang="0">
                              <a:pos x="connsiteX68" y="connsiteY68"/>
                            </a:cxn>
                            <a:cxn ang="0">
                              <a:pos x="connsiteX69" y="connsiteY69"/>
                            </a:cxn>
                            <a:cxn ang="0">
                              <a:pos x="connsiteX70" y="connsiteY70"/>
                            </a:cxn>
                            <a:cxn ang="0">
                              <a:pos x="connsiteX71" y="connsiteY71"/>
                            </a:cxn>
                            <a:cxn ang="0">
                              <a:pos x="connsiteX72" y="connsiteY72"/>
                            </a:cxn>
                            <a:cxn ang="0">
                              <a:pos x="connsiteX73" y="connsiteY73"/>
                            </a:cxn>
                            <a:cxn ang="0">
                              <a:pos x="connsiteX74" y="connsiteY74"/>
                            </a:cxn>
                            <a:cxn ang="0">
                              <a:pos x="connsiteX75" y="connsiteY75"/>
                            </a:cxn>
                            <a:cxn ang="0">
                              <a:pos x="connsiteX76" y="connsiteY76"/>
                            </a:cxn>
                            <a:cxn ang="0">
                              <a:pos x="connsiteX77" y="connsiteY77"/>
                            </a:cxn>
                            <a:cxn ang="0">
                              <a:pos x="connsiteX78" y="connsiteY78"/>
                            </a:cxn>
                            <a:cxn ang="0">
                              <a:pos x="connsiteX79" y="connsiteY79"/>
                            </a:cxn>
                            <a:cxn ang="0">
                              <a:pos x="connsiteX80" y="connsiteY80"/>
                            </a:cxn>
                            <a:cxn ang="0">
                              <a:pos x="connsiteX81" y="connsiteY81"/>
                            </a:cxn>
                            <a:cxn ang="0">
                              <a:pos x="connsiteX82" y="connsiteY82"/>
                            </a:cxn>
                            <a:cxn ang="0">
                              <a:pos x="connsiteX83" y="connsiteY83"/>
                            </a:cxn>
                            <a:cxn ang="0">
                              <a:pos x="connsiteX84" y="connsiteY84"/>
                            </a:cxn>
                            <a:cxn ang="0">
                              <a:pos x="connsiteX85" y="connsiteY85"/>
                            </a:cxn>
                            <a:cxn ang="0">
                              <a:pos x="connsiteX86" y="connsiteY86"/>
                            </a:cxn>
                            <a:cxn ang="0">
                              <a:pos x="connsiteX87" y="connsiteY87"/>
                            </a:cxn>
                            <a:cxn ang="0">
                              <a:pos x="connsiteX88" y="connsiteY88"/>
                            </a:cxn>
                            <a:cxn ang="0">
                              <a:pos x="connsiteX89" y="connsiteY89"/>
                            </a:cxn>
                            <a:cxn ang="0">
                              <a:pos x="connsiteX90" y="connsiteY90"/>
                            </a:cxn>
                            <a:cxn ang="0">
                              <a:pos x="connsiteX91" y="connsiteY91"/>
                            </a:cxn>
                            <a:cxn ang="0">
                              <a:pos x="connsiteX92" y="connsiteY92"/>
                            </a:cxn>
                            <a:cxn ang="0">
                              <a:pos x="connsiteX93" y="connsiteY93"/>
                            </a:cxn>
                            <a:cxn ang="0">
                              <a:pos x="connsiteX94" y="connsiteY94"/>
                            </a:cxn>
                            <a:cxn ang="0">
                              <a:pos x="connsiteX95" y="connsiteY95"/>
                            </a:cxn>
                            <a:cxn ang="0">
                              <a:pos x="connsiteX96" y="connsiteY96"/>
                            </a:cxn>
                            <a:cxn ang="0">
                              <a:pos x="connsiteX97" y="connsiteY97"/>
                            </a:cxn>
                            <a:cxn ang="0">
                              <a:pos x="connsiteX98" y="connsiteY98"/>
                            </a:cxn>
                            <a:cxn ang="0">
                              <a:pos x="connsiteX99" y="connsiteY99"/>
                            </a:cxn>
                            <a:cxn ang="0">
                              <a:pos x="connsiteX100" y="connsiteY100"/>
                            </a:cxn>
                            <a:cxn ang="0">
                              <a:pos x="connsiteX101" y="connsiteY101"/>
                            </a:cxn>
                            <a:cxn ang="0">
                              <a:pos x="connsiteX102" y="connsiteY102"/>
                            </a:cxn>
                            <a:cxn ang="0">
                              <a:pos x="connsiteX103" y="connsiteY103"/>
                            </a:cxn>
                            <a:cxn ang="0">
                              <a:pos x="connsiteX104" y="connsiteY104"/>
                            </a:cxn>
                            <a:cxn ang="0">
                              <a:pos x="connsiteX105" y="connsiteY105"/>
                            </a:cxn>
                            <a:cxn ang="0">
                              <a:pos x="connsiteX106" y="connsiteY106"/>
                            </a:cxn>
                            <a:cxn ang="0">
                              <a:pos x="connsiteX107" y="connsiteY107"/>
                            </a:cxn>
                            <a:cxn ang="0">
                              <a:pos x="connsiteX108" y="connsiteY108"/>
                            </a:cxn>
                            <a:cxn ang="0">
                              <a:pos x="connsiteX109" y="connsiteY109"/>
                            </a:cxn>
                            <a:cxn ang="0">
                              <a:pos x="connsiteX110" y="connsiteY110"/>
                            </a:cxn>
                            <a:cxn ang="0">
                              <a:pos x="connsiteX111" y="connsiteY111"/>
                            </a:cxn>
                            <a:cxn ang="0">
                              <a:pos x="connsiteX112" y="connsiteY112"/>
                            </a:cxn>
                            <a:cxn ang="0">
                              <a:pos x="connsiteX113" y="connsiteY113"/>
                            </a:cxn>
                            <a:cxn ang="0">
                              <a:pos x="connsiteX114" y="connsiteY114"/>
                            </a:cxn>
                            <a:cxn ang="0">
                              <a:pos x="connsiteX115" y="connsiteY115"/>
                            </a:cxn>
                            <a:cxn ang="0">
                              <a:pos x="connsiteX116" y="connsiteY116"/>
                            </a:cxn>
                            <a:cxn ang="0">
                              <a:pos x="connsiteX117" y="connsiteY117"/>
                            </a:cxn>
                            <a:cxn ang="0">
                              <a:pos x="connsiteX118" y="connsiteY118"/>
                            </a:cxn>
                            <a:cxn ang="0">
                              <a:pos x="connsiteX119" y="connsiteY119"/>
                            </a:cxn>
                            <a:cxn ang="0">
                              <a:pos x="connsiteX120" y="connsiteY120"/>
                            </a:cxn>
                            <a:cxn ang="0">
                              <a:pos x="connsiteX121" y="connsiteY121"/>
                            </a:cxn>
                            <a:cxn ang="0">
                              <a:pos x="connsiteX122" y="connsiteY122"/>
                            </a:cxn>
                            <a:cxn ang="0">
                              <a:pos x="connsiteX123" y="connsiteY123"/>
                            </a:cxn>
                            <a:cxn ang="0">
                              <a:pos x="connsiteX124" y="connsiteY124"/>
                            </a:cxn>
                            <a:cxn ang="0">
                              <a:pos x="connsiteX125" y="connsiteY125"/>
                            </a:cxn>
                            <a:cxn ang="0">
                              <a:pos x="connsiteX126" y="connsiteY126"/>
                            </a:cxn>
                            <a:cxn ang="0">
                              <a:pos x="connsiteX127" y="connsiteY127"/>
                            </a:cxn>
                            <a:cxn ang="0">
                              <a:pos x="connsiteX128" y="connsiteY128"/>
                            </a:cxn>
                            <a:cxn ang="0">
                              <a:pos x="connsiteX129" y="connsiteY129"/>
                            </a:cxn>
                            <a:cxn ang="0">
                              <a:pos x="connsiteX130" y="connsiteY130"/>
                            </a:cxn>
                            <a:cxn ang="0">
                              <a:pos x="connsiteX131" y="connsiteY131"/>
                            </a:cxn>
                            <a:cxn ang="0">
                              <a:pos x="connsiteX132" y="connsiteY132"/>
                            </a:cxn>
                            <a:cxn ang="0">
                              <a:pos x="connsiteX133" y="connsiteY133"/>
                            </a:cxn>
                            <a:cxn ang="0">
                              <a:pos x="connsiteX134" y="connsiteY134"/>
                            </a:cxn>
                            <a:cxn ang="0">
                              <a:pos x="connsiteX135" y="connsiteY135"/>
                            </a:cxn>
                            <a:cxn ang="0">
                              <a:pos x="connsiteX136" y="connsiteY136"/>
                            </a:cxn>
                            <a:cxn ang="0">
                              <a:pos x="connsiteX137" y="connsiteY137"/>
                            </a:cxn>
                            <a:cxn ang="0">
                              <a:pos x="connsiteX138" y="connsiteY138"/>
                            </a:cxn>
                            <a:cxn ang="0">
                              <a:pos x="connsiteX139" y="connsiteY139"/>
                            </a:cxn>
                            <a:cxn ang="0">
                              <a:pos x="connsiteX140" y="connsiteY140"/>
                            </a:cxn>
                            <a:cxn ang="0">
                              <a:pos x="connsiteX141" y="connsiteY141"/>
                            </a:cxn>
                            <a:cxn ang="0">
                              <a:pos x="connsiteX142" y="connsiteY142"/>
                            </a:cxn>
                            <a:cxn ang="0">
                              <a:pos x="connsiteX143" y="connsiteY143"/>
                            </a:cxn>
                            <a:cxn ang="0">
                              <a:pos x="connsiteX144" y="connsiteY144"/>
                            </a:cxn>
                            <a:cxn ang="0">
                              <a:pos x="connsiteX145" y="connsiteY145"/>
                            </a:cxn>
                            <a:cxn ang="0">
                              <a:pos x="connsiteX146" y="connsiteY146"/>
                            </a:cxn>
                            <a:cxn ang="0">
                              <a:pos x="connsiteX147" y="connsiteY147"/>
                            </a:cxn>
                            <a:cxn ang="0">
                              <a:pos x="connsiteX148" y="connsiteY148"/>
                            </a:cxn>
                            <a:cxn ang="0">
                              <a:pos x="connsiteX149" y="connsiteY149"/>
                            </a:cxn>
                            <a:cxn ang="0">
                              <a:pos x="connsiteX150" y="connsiteY150"/>
                            </a:cxn>
                            <a:cxn ang="0">
                              <a:pos x="connsiteX151" y="connsiteY151"/>
                            </a:cxn>
                            <a:cxn ang="0">
                              <a:pos x="connsiteX152" y="connsiteY152"/>
                            </a:cxn>
                            <a:cxn ang="0">
                              <a:pos x="connsiteX153" y="connsiteY153"/>
                            </a:cxn>
                            <a:cxn ang="0">
                              <a:pos x="connsiteX154" y="connsiteY154"/>
                            </a:cxn>
                            <a:cxn ang="0">
                              <a:pos x="connsiteX155" y="connsiteY155"/>
                            </a:cxn>
                            <a:cxn ang="0">
                              <a:pos x="connsiteX156" y="connsiteY156"/>
                            </a:cxn>
                          </a:cxnLst>
                          <a:rect l="l" t="t" r="r" b="b"/>
                          <a:pathLst>
                            <a:path w="438363" h="378013">
                              <a:moveTo>
                                <a:pt x="0" y="319857"/>
                              </a:moveTo>
                              <a:lnTo>
                                <a:pt x="0" y="182697"/>
                              </a:lnTo>
                              <a:lnTo>
                                <a:pt x="81747" y="182697"/>
                              </a:lnTo>
                              <a:lnTo>
                                <a:pt x="75712" y="180503"/>
                              </a:lnTo>
                              <a:lnTo>
                                <a:pt x="72969" y="178308"/>
                              </a:lnTo>
                              <a:lnTo>
                                <a:pt x="71872" y="175565"/>
                              </a:lnTo>
                              <a:lnTo>
                                <a:pt x="77358" y="115214"/>
                              </a:lnTo>
                              <a:lnTo>
                                <a:pt x="76261" y="108631"/>
                              </a:lnTo>
                              <a:lnTo>
                                <a:pt x="76810" y="106436"/>
                              </a:lnTo>
                              <a:lnTo>
                                <a:pt x="78455" y="105887"/>
                              </a:lnTo>
                              <a:lnTo>
                                <a:pt x="77907" y="103144"/>
                              </a:lnTo>
                              <a:lnTo>
                                <a:pt x="75712" y="100950"/>
                              </a:lnTo>
                              <a:lnTo>
                                <a:pt x="85039" y="98755"/>
                              </a:lnTo>
                              <a:lnTo>
                                <a:pt x="86136" y="99304"/>
                              </a:lnTo>
                              <a:lnTo>
                                <a:pt x="90526" y="106436"/>
                              </a:lnTo>
                              <a:lnTo>
                                <a:pt x="90526" y="115214"/>
                              </a:lnTo>
                              <a:lnTo>
                                <a:pt x="91623" y="117958"/>
                              </a:lnTo>
                              <a:lnTo>
                                <a:pt x="93817" y="118506"/>
                              </a:lnTo>
                              <a:lnTo>
                                <a:pt x="106985" y="113569"/>
                              </a:lnTo>
                              <a:lnTo>
                                <a:pt x="110825" y="113569"/>
                              </a:lnTo>
                              <a:lnTo>
                                <a:pt x="118506" y="110277"/>
                              </a:lnTo>
                              <a:lnTo>
                                <a:pt x="122895" y="116312"/>
                              </a:lnTo>
                              <a:lnTo>
                                <a:pt x="125090" y="121798"/>
                              </a:lnTo>
                              <a:lnTo>
                                <a:pt x="128382" y="126187"/>
                              </a:lnTo>
                              <a:lnTo>
                                <a:pt x="158557" y="140452"/>
                              </a:lnTo>
                              <a:lnTo>
                                <a:pt x="166787" y="141001"/>
                              </a:lnTo>
                              <a:lnTo>
                                <a:pt x="187635" y="134417"/>
                              </a:lnTo>
                              <a:lnTo>
                                <a:pt x="190378" y="134966"/>
                              </a:lnTo>
                              <a:lnTo>
                                <a:pt x="204094" y="147584"/>
                              </a:lnTo>
                              <a:lnTo>
                                <a:pt x="221102" y="154717"/>
                              </a:lnTo>
                              <a:lnTo>
                                <a:pt x="228783" y="155265"/>
                              </a:lnTo>
                              <a:lnTo>
                                <a:pt x="233172" y="160203"/>
                              </a:lnTo>
                              <a:lnTo>
                                <a:pt x="239207" y="172822"/>
                              </a:lnTo>
                              <a:lnTo>
                                <a:pt x="258409" y="186538"/>
                              </a:lnTo>
                              <a:lnTo>
                                <a:pt x="271577" y="190378"/>
                              </a:lnTo>
                              <a:lnTo>
                                <a:pt x="274320" y="190378"/>
                              </a:lnTo>
                              <a:lnTo>
                                <a:pt x="278160" y="187635"/>
                              </a:lnTo>
                              <a:lnTo>
                                <a:pt x="281452" y="187635"/>
                              </a:lnTo>
                              <a:lnTo>
                                <a:pt x="284744" y="193121"/>
                              </a:lnTo>
                              <a:lnTo>
                                <a:pt x="287487" y="194219"/>
                              </a:lnTo>
                              <a:lnTo>
                                <a:pt x="290231" y="194219"/>
                              </a:lnTo>
                              <a:lnTo>
                                <a:pt x="291328" y="192573"/>
                              </a:lnTo>
                              <a:lnTo>
                                <a:pt x="289682" y="158557"/>
                              </a:lnTo>
                              <a:lnTo>
                                <a:pt x="288036" y="153071"/>
                              </a:lnTo>
                              <a:lnTo>
                                <a:pt x="284195" y="151973"/>
                              </a:lnTo>
                              <a:lnTo>
                                <a:pt x="278160" y="155814"/>
                              </a:lnTo>
                              <a:lnTo>
                                <a:pt x="262250" y="153619"/>
                              </a:lnTo>
                              <a:lnTo>
                                <a:pt x="257312" y="150876"/>
                              </a:lnTo>
                              <a:lnTo>
                                <a:pt x="245242" y="135514"/>
                              </a:lnTo>
                              <a:lnTo>
                                <a:pt x="244693" y="129479"/>
                              </a:lnTo>
                              <a:lnTo>
                                <a:pt x="259507" y="68031"/>
                              </a:lnTo>
                              <a:lnTo>
                                <a:pt x="252923" y="38405"/>
                              </a:lnTo>
                              <a:lnTo>
                                <a:pt x="266090" y="13716"/>
                              </a:lnTo>
                              <a:lnTo>
                                <a:pt x="269382" y="11522"/>
                              </a:lnTo>
                              <a:lnTo>
                                <a:pt x="320406" y="0"/>
                              </a:lnTo>
                              <a:lnTo>
                                <a:pt x="322600" y="4389"/>
                              </a:lnTo>
                              <a:lnTo>
                                <a:pt x="322052" y="8778"/>
                              </a:lnTo>
                              <a:lnTo>
                                <a:pt x="322600" y="14813"/>
                              </a:lnTo>
                              <a:lnTo>
                                <a:pt x="325343" y="15911"/>
                              </a:lnTo>
                              <a:lnTo>
                                <a:pt x="330281" y="16459"/>
                              </a:lnTo>
                              <a:lnTo>
                                <a:pt x="337962" y="23043"/>
                              </a:lnTo>
                              <a:lnTo>
                                <a:pt x="343449" y="14813"/>
                              </a:lnTo>
                              <a:lnTo>
                                <a:pt x="348386" y="14265"/>
                              </a:lnTo>
                              <a:lnTo>
                                <a:pt x="352775" y="15911"/>
                              </a:lnTo>
                              <a:lnTo>
                                <a:pt x="368137" y="29078"/>
                              </a:lnTo>
                              <a:lnTo>
                                <a:pt x="408737" y="42245"/>
                              </a:lnTo>
                              <a:lnTo>
                                <a:pt x="410383" y="43343"/>
                              </a:lnTo>
                              <a:lnTo>
                                <a:pt x="413126" y="46634"/>
                              </a:lnTo>
                              <a:lnTo>
                                <a:pt x="412029" y="47183"/>
                              </a:lnTo>
                              <a:lnTo>
                                <a:pt x="412029" y="51023"/>
                              </a:lnTo>
                              <a:lnTo>
                                <a:pt x="413126" y="52670"/>
                              </a:lnTo>
                              <a:lnTo>
                                <a:pt x="414223" y="56510"/>
                              </a:lnTo>
                              <a:lnTo>
                                <a:pt x="420807" y="56510"/>
                              </a:lnTo>
                              <a:lnTo>
                                <a:pt x="426842" y="65288"/>
                              </a:lnTo>
                              <a:lnTo>
                                <a:pt x="428488" y="72969"/>
                              </a:lnTo>
                              <a:lnTo>
                                <a:pt x="432877" y="76261"/>
                              </a:lnTo>
                              <a:lnTo>
                                <a:pt x="434523" y="88880"/>
                              </a:lnTo>
                              <a:lnTo>
                                <a:pt x="437815" y="91074"/>
                              </a:lnTo>
                              <a:lnTo>
                                <a:pt x="438363" y="94915"/>
                              </a:lnTo>
                              <a:lnTo>
                                <a:pt x="437815" y="97658"/>
                              </a:lnTo>
                              <a:lnTo>
                                <a:pt x="432328" y="100950"/>
                              </a:lnTo>
                              <a:lnTo>
                                <a:pt x="430682" y="101498"/>
                              </a:lnTo>
                              <a:lnTo>
                                <a:pt x="427939" y="103693"/>
                              </a:lnTo>
                              <a:lnTo>
                                <a:pt x="427939" y="115763"/>
                              </a:lnTo>
                              <a:lnTo>
                                <a:pt x="424099" y="127833"/>
                              </a:lnTo>
                              <a:lnTo>
                                <a:pt x="424099" y="154717"/>
                              </a:lnTo>
                              <a:lnTo>
                                <a:pt x="426842" y="157460"/>
                              </a:lnTo>
                              <a:lnTo>
                                <a:pt x="430134" y="159106"/>
                              </a:lnTo>
                              <a:lnTo>
                                <a:pt x="431231" y="163495"/>
                              </a:lnTo>
                              <a:lnTo>
                                <a:pt x="430134" y="165689"/>
                              </a:lnTo>
                              <a:lnTo>
                                <a:pt x="424099" y="166787"/>
                              </a:lnTo>
                              <a:lnTo>
                                <a:pt x="419710" y="169530"/>
                              </a:lnTo>
                              <a:lnTo>
                                <a:pt x="415869" y="170627"/>
                              </a:lnTo>
                              <a:lnTo>
                                <a:pt x="415320" y="171724"/>
                              </a:lnTo>
                              <a:lnTo>
                                <a:pt x="409285" y="201351"/>
                              </a:lnTo>
                              <a:lnTo>
                                <a:pt x="404348" y="206837"/>
                              </a:lnTo>
                              <a:lnTo>
                                <a:pt x="403799" y="209581"/>
                              </a:lnTo>
                              <a:lnTo>
                                <a:pt x="405445" y="215067"/>
                              </a:lnTo>
                              <a:lnTo>
                                <a:pt x="408737" y="216164"/>
                              </a:lnTo>
                              <a:lnTo>
                                <a:pt x="410931" y="220553"/>
                              </a:lnTo>
                              <a:lnTo>
                                <a:pt x="416418" y="220553"/>
                              </a:lnTo>
                              <a:lnTo>
                                <a:pt x="418612" y="221651"/>
                              </a:lnTo>
                              <a:lnTo>
                                <a:pt x="419161" y="222748"/>
                              </a:lnTo>
                              <a:lnTo>
                                <a:pt x="300106" y="262799"/>
                              </a:lnTo>
                              <a:lnTo>
                                <a:pt x="307238" y="281452"/>
                              </a:lnTo>
                              <a:lnTo>
                                <a:pt x="309982" y="283647"/>
                              </a:lnTo>
                              <a:lnTo>
                                <a:pt x="308884" y="284744"/>
                              </a:lnTo>
                              <a:lnTo>
                                <a:pt x="304495" y="284195"/>
                              </a:lnTo>
                              <a:lnTo>
                                <a:pt x="298460" y="285842"/>
                              </a:lnTo>
                              <a:lnTo>
                                <a:pt x="294071" y="285293"/>
                              </a:lnTo>
                              <a:lnTo>
                                <a:pt x="290231" y="283098"/>
                              </a:lnTo>
                              <a:lnTo>
                                <a:pt x="287487" y="283098"/>
                              </a:lnTo>
                              <a:lnTo>
                                <a:pt x="279258" y="286939"/>
                              </a:lnTo>
                              <a:lnTo>
                                <a:pt x="268285" y="288036"/>
                              </a:lnTo>
                              <a:lnTo>
                                <a:pt x="259507" y="295717"/>
                              </a:lnTo>
                              <a:lnTo>
                                <a:pt x="254569" y="295717"/>
                              </a:lnTo>
                              <a:lnTo>
                                <a:pt x="250728" y="297911"/>
                              </a:lnTo>
                              <a:lnTo>
                                <a:pt x="248534" y="320406"/>
                              </a:lnTo>
                              <a:lnTo>
                                <a:pt x="234269" y="319309"/>
                              </a:lnTo>
                              <a:lnTo>
                                <a:pt x="229880" y="321503"/>
                              </a:lnTo>
                              <a:lnTo>
                                <a:pt x="228783" y="323149"/>
                              </a:lnTo>
                              <a:lnTo>
                                <a:pt x="226588" y="323698"/>
                              </a:lnTo>
                              <a:lnTo>
                                <a:pt x="221651" y="330281"/>
                              </a:lnTo>
                              <a:lnTo>
                                <a:pt x="216713" y="329733"/>
                              </a:lnTo>
                              <a:lnTo>
                                <a:pt x="213421" y="330830"/>
                              </a:lnTo>
                              <a:lnTo>
                                <a:pt x="211775" y="331927"/>
                              </a:lnTo>
                              <a:lnTo>
                                <a:pt x="210129" y="335219"/>
                              </a:lnTo>
                              <a:lnTo>
                                <a:pt x="207386" y="336316"/>
                              </a:lnTo>
                              <a:lnTo>
                                <a:pt x="202997" y="344546"/>
                              </a:lnTo>
                              <a:lnTo>
                                <a:pt x="196413" y="351678"/>
                              </a:lnTo>
                              <a:lnTo>
                                <a:pt x="194767" y="354422"/>
                              </a:lnTo>
                              <a:lnTo>
                                <a:pt x="194767" y="358811"/>
                              </a:lnTo>
                              <a:lnTo>
                                <a:pt x="181051" y="376367"/>
                              </a:lnTo>
                              <a:lnTo>
                                <a:pt x="177211" y="375270"/>
                              </a:lnTo>
                              <a:lnTo>
                                <a:pt x="172273" y="378013"/>
                              </a:lnTo>
                              <a:lnTo>
                                <a:pt x="169530" y="376916"/>
                              </a:lnTo>
                              <a:lnTo>
                                <a:pt x="167884" y="373624"/>
                              </a:lnTo>
                              <a:lnTo>
                                <a:pt x="164592" y="371978"/>
                              </a:lnTo>
                              <a:lnTo>
                                <a:pt x="159654" y="373075"/>
                              </a:lnTo>
                              <a:lnTo>
                                <a:pt x="156362" y="372527"/>
                              </a:lnTo>
                              <a:lnTo>
                                <a:pt x="144841" y="374173"/>
                              </a:lnTo>
                              <a:lnTo>
                                <a:pt x="134965" y="370332"/>
                              </a:lnTo>
                              <a:lnTo>
                                <a:pt x="122347" y="371978"/>
                              </a:lnTo>
                              <a:lnTo>
                                <a:pt x="119603" y="371429"/>
                              </a:lnTo>
                              <a:lnTo>
                                <a:pt x="117409" y="369235"/>
                              </a:lnTo>
                              <a:lnTo>
                                <a:pt x="113020" y="367589"/>
                              </a:lnTo>
                              <a:lnTo>
                                <a:pt x="107533" y="358811"/>
                              </a:lnTo>
                              <a:lnTo>
                                <a:pt x="104790" y="356616"/>
                              </a:lnTo>
                              <a:lnTo>
                                <a:pt x="80650" y="354422"/>
                              </a:lnTo>
                              <a:lnTo>
                                <a:pt x="79004" y="352775"/>
                              </a:lnTo>
                              <a:lnTo>
                                <a:pt x="44988" y="361005"/>
                              </a:lnTo>
                              <a:lnTo>
                                <a:pt x="38953" y="357713"/>
                              </a:lnTo>
                              <a:lnTo>
                                <a:pt x="36210" y="353324"/>
                              </a:lnTo>
                              <a:lnTo>
                                <a:pt x="7681" y="330830"/>
                              </a:lnTo>
                              <a:lnTo>
                                <a:pt x="4938" y="325343"/>
                              </a:lnTo>
                              <a:lnTo>
                                <a:pt x="0" y="321503"/>
                              </a:lnTo>
                              <a:lnTo>
                                <a:pt x="0" y="319857"/>
                              </a:lnTo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230" name="Graphic 7">
                          <a:extLst>
                            <a:ext uri="{FF2B5EF4-FFF2-40B4-BE49-F238E27FC236}">
                              <a16:creationId xmlns:a16="http://schemas.microsoft.com/office/drawing/2014/main" id="{08BD9EF3-DB76-DEC7-465A-E6D2BBD832E0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235670" y="4335908"/>
                          <a:ext cx="232752" cy="269616"/>
                        </a:xfrm>
                        <a:custGeom>
                          <a:avLst/>
                          <a:gdLst>
                            <a:gd name="connsiteX0" fmla="*/ 264993 w 297911"/>
                            <a:gd name="connsiteY0" fmla="*/ 175565 h 345094"/>
                            <a:gd name="connsiteX1" fmla="*/ 264993 w 297911"/>
                            <a:gd name="connsiteY1" fmla="*/ 66934 h 345094"/>
                            <a:gd name="connsiteX2" fmla="*/ 267188 w 297911"/>
                            <a:gd name="connsiteY2" fmla="*/ 65837 h 345094"/>
                            <a:gd name="connsiteX3" fmla="*/ 296814 w 297911"/>
                            <a:gd name="connsiteY3" fmla="*/ 28529 h 345094"/>
                            <a:gd name="connsiteX4" fmla="*/ 297911 w 297911"/>
                            <a:gd name="connsiteY4" fmla="*/ 25237 h 345094"/>
                            <a:gd name="connsiteX5" fmla="*/ 278709 w 297911"/>
                            <a:gd name="connsiteY5" fmla="*/ 25786 h 345094"/>
                            <a:gd name="connsiteX6" fmla="*/ 256763 w 297911"/>
                            <a:gd name="connsiteY6" fmla="*/ 14813 h 345094"/>
                            <a:gd name="connsiteX7" fmla="*/ 229880 w 297911"/>
                            <a:gd name="connsiteY7" fmla="*/ 21397 h 345094"/>
                            <a:gd name="connsiteX8" fmla="*/ 219456 w 297911"/>
                            <a:gd name="connsiteY8" fmla="*/ 32918 h 345094"/>
                            <a:gd name="connsiteX9" fmla="*/ 202997 w 297911"/>
                            <a:gd name="connsiteY9" fmla="*/ 41148 h 345094"/>
                            <a:gd name="connsiteX10" fmla="*/ 146487 w 297911"/>
                            <a:gd name="connsiteY10" fmla="*/ 31273 h 345094"/>
                            <a:gd name="connsiteX11" fmla="*/ 100950 w 297911"/>
                            <a:gd name="connsiteY11" fmla="*/ 2743 h 345094"/>
                            <a:gd name="connsiteX12" fmla="*/ 79553 w 297911"/>
                            <a:gd name="connsiteY12" fmla="*/ 2743 h 345094"/>
                            <a:gd name="connsiteX13" fmla="*/ 70775 w 297911"/>
                            <a:gd name="connsiteY13" fmla="*/ 0 h 345094"/>
                            <a:gd name="connsiteX14" fmla="*/ 18654 w 297911"/>
                            <a:gd name="connsiteY14" fmla="*/ 1097 h 345094"/>
                            <a:gd name="connsiteX15" fmla="*/ 10424 w 297911"/>
                            <a:gd name="connsiteY15" fmla="*/ 5486 h 345094"/>
                            <a:gd name="connsiteX16" fmla="*/ 0 w 297911"/>
                            <a:gd name="connsiteY16" fmla="*/ 19751 h 345094"/>
                            <a:gd name="connsiteX17" fmla="*/ 1646 w 297911"/>
                            <a:gd name="connsiteY17" fmla="*/ 20300 h 345094"/>
                            <a:gd name="connsiteX18" fmla="*/ 2743 w 297911"/>
                            <a:gd name="connsiteY18" fmla="*/ 21946 h 345094"/>
                            <a:gd name="connsiteX19" fmla="*/ 11521 w 297911"/>
                            <a:gd name="connsiteY19" fmla="*/ 23591 h 345094"/>
                            <a:gd name="connsiteX20" fmla="*/ 13167 w 297911"/>
                            <a:gd name="connsiteY20" fmla="*/ 24689 h 345094"/>
                            <a:gd name="connsiteX21" fmla="*/ 13167 w 297911"/>
                            <a:gd name="connsiteY21" fmla="*/ 29626 h 345094"/>
                            <a:gd name="connsiteX22" fmla="*/ 13716 w 297911"/>
                            <a:gd name="connsiteY22" fmla="*/ 30724 h 345094"/>
                            <a:gd name="connsiteX23" fmla="*/ 15911 w 297911"/>
                            <a:gd name="connsiteY23" fmla="*/ 32918 h 345094"/>
                            <a:gd name="connsiteX24" fmla="*/ 20848 w 297911"/>
                            <a:gd name="connsiteY24" fmla="*/ 55413 h 345094"/>
                            <a:gd name="connsiteX25" fmla="*/ 24140 w 297911"/>
                            <a:gd name="connsiteY25" fmla="*/ 58705 h 345094"/>
                            <a:gd name="connsiteX26" fmla="*/ 31273 w 297911"/>
                            <a:gd name="connsiteY26" fmla="*/ 63094 h 345094"/>
                            <a:gd name="connsiteX27" fmla="*/ 36759 w 297911"/>
                            <a:gd name="connsiteY27" fmla="*/ 68580 h 345094"/>
                            <a:gd name="connsiteX28" fmla="*/ 38953 w 297911"/>
                            <a:gd name="connsiteY28" fmla="*/ 105887 h 345094"/>
                            <a:gd name="connsiteX29" fmla="*/ 36759 w 297911"/>
                            <a:gd name="connsiteY29" fmla="*/ 115214 h 345094"/>
                            <a:gd name="connsiteX30" fmla="*/ 1646 w 297911"/>
                            <a:gd name="connsiteY30" fmla="*/ 163495 h 345094"/>
                            <a:gd name="connsiteX31" fmla="*/ 1097 w 297911"/>
                            <a:gd name="connsiteY31" fmla="*/ 173370 h 345094"/>
                            <a:gd name="connsiteX32" fmla="*/ 6035 w 297911"/>
                            <a:gd name="connsiteY32" fmla="*/ 179954 h 345094"/>
                            <a:gd name="connsiteX33" fmla="*/ 8230 w 297911"/>
                            <a:gd name="connsiteY33" fmla="*/ 185440 h 345094"/>
                            <a:gd name="connsiteX34" fmla="*/ 12619 w 297911"/>
                            <a:gd name="connsiteY34" fmla="*/ 184892 h 345094"/>
                            <a:gd name="connsiteX35" fmla="*/ 17008 w 297911"/>
                            <a:gd name="connsiteY35" fmla="*/ 182697 h 345094"/>
                            <a:gd name="connsiteX36" fmla="*/ 31273 w 297911"/>
                            <a:gd name="connsiteY36" fmla="*/ 181600 h 345094"/>
                            <a:gd name="connsiteX37" fmla="*/ 31273 w 297911"/>
                            <a:gd name="connsiteY37" fmla="*/ 184892 h 345094"/>
                            <a:gd name="connsiteX38" fmla="*/ 23591 w 297911"/>
                            <a:gd name="connsiteY38" fmla="*/ 188183 h 345094"/>
                            <a:gd name="connsiteX39" fmla="*/ 17557 w 297911"/>
                            <a:gd name="connsiteY39" fmla="*/ 192573 h 345094"/>
                            <a:gd name="connsiteX40" fmla="*/ 10424 w 297911"/>
                            <a:gd name="connsiteY40" fmla="*/ 192573 h 345094"/>
                            <a:gd name="connsiteX41" fmla="*/ 4938 w 297911"/>
                            <a:gd name="connsiteY41" fmla="*/ 201351 h 345094"/>
                            <a:gd name="connsiteX42" fmla="*/ 10424 w 297911"/>
                            <a:gd name="connsiteY42" fmla="*/ 207386 h 345094"/>
                            <a:gd name="connsiteX43" fmla="*/ 141549 w 297911"/>
                            <a:gd name="connsiteY43" fmla="*/ 284195 h 345094"/>
                            <a:gd name="connsiteX44" fmla="*/ 149779 w 297911"/>
                            <a:gd name="connsiteY44" fmla="*/ 313273 h 345094"/>
                            <a:gd name="connsiteX45" fmla="*/ 201899 w 297911"/>
                            <a:gd name="connsiteY45" fmla="*/ 345094 h 345094"/>
                            <a:gd name="connsiteX46" fmla="*/ 209032 w 297911"/>
                            <a:gd name="connsiteY46" fmla="*/ 341254 h 345094"/>
                            <a:gd name="connsiteX47" fmla="*/ 234818 w 297911"/>
                            <a:gd name="connsiteY47" fmla="*/ 293522 h 345094"/>
                            <a:gd name="connsiteX48" fmla="*/ 237013 w 297911"/>
                            <a:gd name="connsiteY48" fmla="*/ 282550 h 345094"/>
                            <a:gd name="connsiteX49" fmla="*/ 244693 w 297911"/>
                            <a:gd name="connsiteY49" fmla="*/ 268834 h 345094"/>
                            <a:gd name="connsiteX50" fmla="*/ 258958 w 297911"/>
                            <a:gd name="connsiteY50" fmla="*/ 261153 h 345094"/>
                            <a:gd name="connsiteX51" fmla="*/ 261153 w 297911"/>
                            <a:gd name="connsiteY51" fmla="*/ 252923 h 345094"/>
                            <a:gd name="connsiteX52" fmla="*/ 266090 w 297911"/>
                            <a:gd name="connsiteY52" fmla="*/ 246888 h 345094"/>
                            <a:gd name="connsiteX53" fmla="*/ 269931 w 297911"/>
                            <a:gd name="connsiteY53" fmla="*/ 245242 h 345094"/>
                            <a:gd name="connsiteX54" fmla="*/ 275966 w 297911"/>
                            <a:gd name="connsiteY54" fmla="*/ 244693 h 345094"/>
                            <a:gd name="connsiteX55" fmla="*/ 283647 w 297911"/>
                            <a:gd name="connsiteY55" fmla="*/ 237013 h 345094"/>
                            <a:gd name="connsiteX56" fmla="*/ 285293 w 297911"/>
                            <a:gd name="connsiteY56" fmla="*/ 233172 h 345094"/>
                            <a:gd name="connsiteX57" fmla="*/ 285293 w 297911"/>
                            <a:gd name="connsiteY57" fmla="*/ 229880 h 345094"/>
                            <a:gd name="connsiteX58" fmla="*/ 264993 w 297911"/>
                            <a:gd name="connsiteY58" fmla="*/ 205191 h 345094"/>
                            <a:gd name="connsiteX59" fmla="*/ 264993 w 297911"/>
                            <a:gd name="connsiteY59" fmla="*/ 175565 h 345094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  <a:cxn ang="0">
                              <a:pos x="connsiteX11" y="connsiteY11"/>
                            </a:cxn>
                            <a:cxn ang="0">
                              <a:pos x="connsiteX12" y="connsiteY12"/>
                            </a:cxn>
                            <a:cxn ang="0">
                              <a:pos x="connsiteX13" y="connsiteY13"/>
                            </a:cxn>
                            <a:cxn ang="0">
                              <a:pos x="connsiteX14" y="connsiteY14"/>
                            </a:cxn>
                            <a:cxn ang="0">
                              <a:pos x="connsiteX15" y="connsiteY15"/>
                            </a:cxn>
                            <a:cxn ang="0">
                              <a:pos x="connsiteX16" y="connsiteY16"/>
                            </a:cxn>
                            <a:cxn ang="0">
                              <a:pos x="connsiteX17" y="connsiteY17"/>
                            </a:cxn>
                            <a:cxn ang="0">
                              <a:pos x="connsiteX18" y="connsiteY18"/>
                            </a:cxn>
                            <a:cxn ang="0">
                              <a:pos x="connsiteX19" y="connsiteY19"/>
                            </a:cxn>
                            <a:cxn ang="0">
                              <a:pos x="connsiteX20" y="connsiteY20"/>
                            </a:cxn>
                            <a:cxn ang="0">
                              <a:pos x="connsiteX21" y="connsiteY21"/>
                            </a:cxn>
                            <a:cxn ang="0">
                              <a:pos x="connsiteX22" y="connsiteY22"/>
                            </a:cxn>
                            <a:cxn ang="0">
                              <a:pos x="connsiteX23" y="connsiteY23"/>
                            </a:cxn>
                            <a:cxn ang="0">
                              <a:pos x="connsiteX24" y="connsiteY24"/>
                            </a:cxn>
                            <a:cxn ang="0">
                              <a:pos x="connsiteX25" y="connsiteY25"/>
                            </a:cxn>
                            <a:cxn ang="0">
                              <a:pos x="connsiteX26" y="connsiteY26"/>
                            </a:cxn>
                            <a:cxn ang="0">
                              <a:pos x="connsiteX27" y="connsiteY27"/>
                            </a:cxn>
                            <a:cxn ang="0">
                              <a:pos x="connsiteX28" y="connsiteY28"/>
                            </a:cxn>
                            <a:cxn ang="0">
                              <a:pos x="connsiteX29" y="connsiteY29"/>
                            </a:cxn>
                            <a:cxn ang="0">
                              <a:pos x="connsiteX30" y="connsiteY30"/>
                            </a:cxn>
                            <a:cxn ang="0">
                              <a:pos x="connsiteX31" y="connsiteY31"/>
                            </a:cxn>
                            <a:cxn ang="0">
                              <a:pos x="connsiteX32" y="connsiteY32"/>
                            </a:cxn>
                            <a:cxn ang="0">
                              <a:pos x="connsiteX33" y="connsiteY33"/>
                            </a:cxn>
                            <a:cxn ang="0">
                              <a:pos x="connsiteX34" y="connsiteY34"/>
                            </a:cxn>
                            <a:cxn ang="0">
                              <a:pos x="connsiteX35" y="connsiteY35"/>
                            </a:cxn>
                            <a:cxn ang="0">
                              <a:pos x="connsiteX36" y="connsiteY36"/>
                            </a:cxn>
                            <a:cxn ang="0">
                              <a:pos x="connsiteX37" y="connsiteY37"/>
                            </a:cxn>
                            <a:cxn ang="0">
                              <a:pos x="connsiteX38" y="connsiteY38"/>
                            </a:cxn>
                            <a:cxn ang="0">
                              <a:pos x="connsiteX39" y="connsiteY39"/>
                            </a:cxn>
                            <a:cxn ang="0">
                              <a:pos x="connsiteX40" y="connsiteY40"/>
                            </a:cxn>
                            <a:cxn ang="0">
                              <a:pos x="connsiteX41" y="connsiteY41"/>
                            </a:cxn>
                            <a:cxn ang="0">
                              <a:pos x="connsiteX42" y="connsiteY42"/>
                            </a:cxn>
                            <a:cxn ang="0">
                              <a:pos x="connsiteX43" y="connsiteY43"/>
                            </a:cxn>
                            <a:cxn ang="0">
                              <a:pos x="connsiteX44" y="connsiteY44"/>
                            </a:cxn>
                            <a:cxn ang="0">
                              <a:pos x="connsiteX45" y="connsiteY45"/>
                            </a:cxn>
                            <a:cxn ang="0">
                              <a:pos x="connsiteX46" y="connsiteY46"/>
                            </a:cxn>
                            <a:cxn ang="0">
                              <a:pos x="connsiteX47" y="connsiteY47"/>
                            </a:cxn>
                            <a:cxn ang="0">
                              <a:pos x="connsiteX48" y="connsiteY48"/>
                            </a:cxn>
                            <a:cxn ang="0">
                              <a:pos x="connsiteX49" y="connsiteY49"/>
                            </a:cxn>
                            <a:cxn ang="0">
                              <a:pos x="connsiteX50" y="connsiteY50"/>
                            </a:cxn>
                            <a:cxn ang="0">
                              <a:pos x="connsiteX51" y="connsiteY51"/>
                            </a:cxn>
                            <a:cxn ang="0">
                              <a:pos x="connsiteX52" y="connsiteY52"/>
                            </a:cxn>
                            <a:cxn ang="0">
                              <a:pos x="connsiteX53" y="connsiteY53"/>
                            </a:cxn>
                            <a:cxn ang="0">
                              <a:pos x="connsiteX54" y="connsiteY54"/>
                            </a:cxn>
                            <a:cxn ang="0">
                              <a:pos x="connsiteX55" y="connsiteY55"/>
                            </a:cxn>
                            <a:cxn ang="0">
                              <a:pos x="connsiteX56" y="connsiteY56"/>
                            </a:cxn>
                            <a:cxn ang="0">
                              <a:pos x="connsiteX57" y="connsiteY57"/>
                            </a:cxn>
                            <a:cxn ang="0">
                              <a:pos x="connsiteX58" y="connsiteY58"/>
                            </a:cxn>
                            <a:cxn ang="0">
                              <a:pos x="connsiteX59" y="connsiteY59"/>
                            </a:cxn>
                          </a:cxnLst>
                          <a:rect l="l" t="t" r="r" b="b"/>
                          <a:pathLst>
                            <a:path w="297911" h="345094">
                              <a:moveTo>
                                <a:pt x="264993" y="175565"/>
                              </a:moveTo>
                              <a:lnTo>
                                <a:pt x="264993" y="66934"/>
                              </a:lnTo>
                              <a:lnTo>
                                <a:pt x="267188" y="65837"/>
                              </a:lnTo>
                              <a:lnTo>
                                <a:pt x="296814" y="28529"/>
                              </a:lnTo>
                              <a:lnTo>
                                <a:pt x="297911" y="25237"/>
                              </a:lnTo>
                              <a:lnTo>
                                <a:pt x="278709" y="25786"/>
                              </a:lnTo>
                              <a:lnTo>
                                <a:pt x="256763" y="14813"/>
                              </a:lnTo>
                              <a:lnTo>
                                <a:pt x="229880" y="21397"/>
                              </a:lnTo>
                              <a:lnTo>
                                <a:pt x="219456" y="32918"/>
                              </a:lnTo>
                              <a:lnTo>
                                <a:pt x="202997" y="41148"/>
                              </a:lnTo>
                              <a:lnTo>
                                <a:pt x="146487" y="31273"/>
                              </a:lnTo>
                              <a:lnTo>
                                <a:pt x="100950" y="2743"/>
                              </a:lnTo>
                              <a:lnTo>
                                <a:pt x="79553" y="2743"/>
                              </a:lnTo>
                              <a:lnTo>
                                <a:pt x="70775" y="0"/>
                              </a:lnTo>
                              <a:lnTo>
                                <a:pt x="18654" y="1097"/>
                              </a:lnTo>
                              <a:lnTo>
                                <a:pt x="10424" y="5486"/>
                              </a:lnTo>
                              <a:lnTo>
                                <a:pt x="0" y="19751"/>
                              </a:lnTo>
                              <a:lnTo>
                                <a:pt x="1646" y="20300"/>
                              </a:lnTo>
                              <a:lnTo>
                                <a:pt x="2743" y="21946"/>
                              </a:lnTo>
                              <a:lnTo>
                                <a:pt x="11521" y="23591"/>
                              </a:lnTo>
                              <a:lnTo>
                                <a:pt x="13167" y="24689"/>
                              </a:lnTo>
                              <a:lnTo>
                                <a:pt x="13167" y="29626"/>
                              </a:lnTo>
                              <a:lnTo>
                                <a:pt x="13716" y="30724"/>
                              </a:lnTo>
                              <a:lnTo>
                                <a:pt x="15911" y="32918"/>
                              </a:lnTo>
                              <a:lnTo>
                                <a:pt x="20848" y="55413"/>
                              </a:lnTo>
                              <a:lnTo>
                                <a:pt x="24140" y="58705"/>
                              </a:lnTo>
                              <a:lnTo>
                                <a:pt x="31273" y="63094"/>
                              </a:lnTo>
                              <a:lnTo>
                                <a:pt x="36759" y="68580"/>
                              </a:lnTo>
                              <a:lnTo>
                                <a:pt x="38953" y="105887"/>
                              </a:lnTo>
                              <a:lnTo>
                                <a:pt x="36759" y="115214"/>
                              </a:lnTo>
                              <a:lnTo>
                                <a:pt x="1646" y="163495"/>
                              </a:lnTo>
                              <a:lnTo>
                                <a:pt x="1097" y="173370"/>
                              </a:lnTo>
                              <a:lnTo>
                                <a:pt x="6035" y="179954"/>
                              </a:lnTo>
                              <a:lnTo>
                                <a:pt x="8230" y="185440"/>
                              </a:lnTo>
                              <a:lnTo>
                                <a:pt x="12619" y="184892"/>
                              </a:lnTo>
                              <a:lnTo>
                                <a:pt x="17008" y="182697"/>
                              </a:lnTo>
                              <a:lnTo>
                                <a:pt x="31273" y="181600"/>
                              </a:lnTo>
                              <a:lnTo>
                                <a:pt x="31273" y="184892"/>
                              </a:lnTo>
                              <a:lnTo>
                                <a:pt x="23591" y="188183"/>
                              </a:lnTo>
                              <a:lnTo>
                                <a:pt x="17557" y="192573"/>
                              </a:lnTo>
                              <a:lnTo>
                                <a:pt x="10424" y="192573"/>
                              </a:lnTo>
                              <a:lnTo>
                                <a:pt x="4938" y="201351"/>
                              </a:lnTo>
                              <a:lnTo>
                                <a:pt x="10424" y="207386"/>
                              </a:lnTo>
                              <a:lnTo>
                                <a:pt x="141549" y="284195"/>
                              </a:lnTo>
                              <a:lnTo>
                                <a:pt x="149779" y="313273"/>
                              </a:lnTo>
                              <a:lnTo>
                                <a:pt x="201899" y="345094"/>
                              </a:lnTo>
                              <a:lnTo>
                                <a:pt x="209032" y="341254"/>
                              </a:lnTo>
                              <a:lnTo>
                                <a:pt x="234818" y="293522"/>
                              </a:lnTo>
                              <a:lnTo>
                                <a:pt x="237013" y="282550"/>
                              </a:lnTo>
                              <a:lnTo>
                                <a:pt x="244693" y="268834"/>
                              </a:lnTo>
                              <a:lnTo>
                                <a:pt x="258958" y="261153"/>
                              </a:lnTo>
                              <a:lnTo>
                                <a:pt x="261153" y="252923"/>
                              </a:lnTo>
                              <a:lnTo>
                                <a:pt x="266090" y="246888"/>
                              </a:lnTo>
                              <a:lnTo>
                                <a:pt x="269931" y="245242"/>
                              </a:lnTo>
                              <a:lnTo>
                                <a:pt x="275966" y="244693"/>
                              </a:lnTo>
                              <a:lnTo>
                                <a:pt x="283647" y="237013"/>
                              </a:lnTo>
                              <a:lnTo>
                                <a:pt x="285293" y="233172"/>
                              </a:lnTo>
                              <a:lnTo>
                                <a:pt x="285293" y="229880"/>
                              </a:lnTo>
                              <a:lnTo>
                                <a:pt x="264993" y="205191"/>
                              </a:lnTo>
                              <a:lnTo>
                                <a:pt x="264993" y="175565"/>
                              </a:lnTo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231" name="Graphic 7">
                          <a:extLst>
                            <a:ext uri="{FF2B5EF4-FFF2-40B4-BE49-F238E27FC236}">
                              <a16:creationId xmlns:a16="http://schemas.microsoft.com/office/drawing/2014/main" id="{75F08DCD-1B1A-AD94-7CB0-433B307A1592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464563" y="3969847"/>
                          <a:ext cx="3857" cy="4715"/>
                        </a:xfrm>
                        <a:custGeom>
                          <a:avLst/>
                          <a:gdLst>
                            <a:gd name="connsiteX0" fmla="*/ 549 w 4937"/>
                            <a:gd name="connsiteY0" fmla="*/ 0 h 6035"/>
                            <a:gd name="connsiteX1" fmla="*/ 0 w 4937"/>
                            <a:gd name="connsiteY1" fmla="*/ 0 h 6035"/>
                            <a:gd name="connsiteX2" fmla="*/ 549 w 4937"/>
                            <a:gd name="connsiteY2" fmla="*/ 2195 h 6035"/>
                            <a:gd name="connsiteX3" fmla="*/ 1646 w 4937"/>
                            <a:gd name="connsiteY3" fmla="*/ 3292 h 6035"/>
                            <a:gd name="connsiteX4" fmla="*/ 2743 w 4937"/>
                            <a:gd name="connsiteY4" fmla="*/ 4938 h 6035"/>
                            <a:gd name="connsiteX5" fmla="*/ 3292 w 4937"/>
                            <a:gd name="connsiteY5" fmla="*/ 6035 h 6035"/>
                            <a:gd name="connsiteX6" fmla="*/ 4938 w 4937"/>
                            <a:gd name="connsiteY6" fmla="*/ 6035 h 6035"/>
                            <a:gd name="connsiteX7" fmla="*/ 4938 w 4937"/>
                            <a:gd name="connsiteY7" fmla="*/ 4938 h 6035"/>
                            <a:gd name="connsiteX8" fmla="*/ 3841 w 4937"/>
                            <a:gd name="connsiteY8" fmla="*/ 3841 h 6035"/>
                            <a:gd name="connsiteX9" fmla="*/ 3292 w 4937"/>
                            <a:gd name="connsiteY9" fmla="*/ 1097 h 6035"/>
                            <a:gd name="connsiteX10" fmla="*/ 549 w 4937"/>
                            <a:gd name="connsiteY10" fmla="*/ 0 h 6035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</a:cxnLst>
                          <a:rect l="l" t="t" r="r" b="b"/>
                          <a:pathLst>
                            <a:path w="4937" h="6035">
                              <a:moveTo>
                                <a:pt x="549" y="0"/>
                              </a:moveTo>
                              <a:lnTo>
                                <a:pt x="0" y="0"/>
                              </a:lnTo>
                              <a:lnTo>
                                <a:pt x="549" y="2195"/>
                              </a:lnTo>
                              <a:lnTo>
                                <a:pt x="1646" y="3292"/>
                              </a:lnTo>
                              <a:lnTo>
                                <a:pt x="2743" y="4938"/>
                              </a:lnTo>
                              <a:lnTo>
                                <a:pt x="3292" y="6035"/>
                              </a:lnTo>
                              <a:lnTo>
                                <a:pt x="4938" y="6035"/>
                              </a:lnTo>
                              <a:lnTo>
                                <a:pt x="4938" y="4938"/>
                              </a:lnTo>
                              <a:lnTo>
                                <a:pt x="3841" y="3841"/>
                              </a:lnTo>
                              <a:lnTo>
                                <a:pt x="3292" y="1097"/>
                              </a:lnTo>
                              <a:lnTo>
                                <a:pt x="549" y="0"/>
                              </a:lnTo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232" name="Graphic 7">
                          <a:extLst>
                            <a:ext uri="{FF2B5EF4-FFF2-40B4-BE49-F238E27FC236}">
                              <a16:creationId xmlns:a16="http://schemas.microsoft.com/office/drawing/2014/main" id="{35DA01FA-1625-2246-345C-5FFD0A788335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5260508" y="4105728"/>
                          <a:ext cx="88729" cy="181744"/>
                        </a:xfrm>
                        <a:custGeom>
                          <a:avLst/>
                          <a:gdLst>
                            <a:gd name="connsiteX0" fmla="*/ 106985 w 113568"/>
                            <a:gd name="connsiteY0" fmla="*/ 25786 h 232623"/>
                            <a:gd name="connsiteX1" fmla="*/ 78456 w 113568"/>
                            <a:gd name="connsiteY1" fmla="*/ 0 h 232623"/>
                            <a:gd name="connsiteX2" fmla="*/ 72969 w 113568"/>
                            <a:gd name="connsiteY2" fmla="*/ 2743 h 232623"/>
                            <a:gd name="connsiteX3" fmla="*/ 61448 w 113568"/>
                            <a:gd name="connsiteY3" fmla="*/ 4938 h 232623"/>
                            <a:gd name="connsiteX4" fmla="*/ 61996 w 113568"/>
                            <a:gd name="connsiteY4" fmla="*/ 8230 h 232623"/>
                            <a:gd name="connsiteX5" fmla="*/ 66385 w 113568"/>
                            <a:gd name="connsiteY5" fmla="*/ 14265 h 232623"/>
                            <a:gd name="connsiteX6" fmla="*/ 61448 w 113568"/>
                            <a:gd name="connsiteY6" fmla="*/ 17008 h 232623"/>
                            <a:gd name="connsiteX7" fmla="*/ 61996 w 113568"/>
                            <a:gd name="connsiteY7" fmla="*/ 16459 h 232623"/>
                            <a:gd name="connsiteX8" fmla="*/ 61996 w 113568"/>
                            <a:gd name="connsiteY8" fmla="*/ 18105 h 232623"/>
                            <a:gd name="connsiteX9" fmla="*/ 60899 w 113568"/>
                            <a:gd name="connsiteY9" fmla="*/ 21397 h 232623"/>
                            <a:gd name="connsiteX10" fmla="*/ 58704 w 113568"/>
                            <a:gd name="connsiteY10" fmla="*/ 24140 h 232623"/>
                            <a:gd name="connsiteX11" fmla="*/ 58704 w 113568"/>
                            <a:gd name="connsiteY11" fmla="*/ 24689 h 232623"/>
                            <a:gd name="connsiteX12" fmla="*/ 57607 w 113568"/>
                            <a:gd name="connsiteY12" fmla="*/ 26883 h 232623"/>
                            <a:gd name="connsiteX13" fmla="*/ 48829 w 113568"/>
                            <a:gd name="connsiteY13" fmla="*/ 35113 h 232623"/>
                            <a:gd name="connsiteX14" fmla="*/ 46086 w 113568"/>
                            <a:gd name="connsiteY14" fmla="*/ 36210 h 232623"/>
                            <a:gd name="connsiteX15" fmla="*/ 41697 w 113568"/>
                            <a:gd name="connsiteY15" fmla="*/ 34564 h 232623"/>
                            <a:gd name="connsiteX16" fmla="*/ 35113 w 113568"/>
                            <a:gd name="connsiteY16" fmla="*/ 36210 h 232623"/>
                            <a:gd name="connsiteX17" fmla="*/ 30175 w 113568"/>
                            <a:gd name="connsiteY17" fmla="*/ 34016 h 232623"/>
                            <a:gd name="connsiteX18" fmla="*/ 25786 w 113568"/>
                            <a:gd name="connsiteY18" fmla="*/ 34016 h 232623"/>
                            <a:gd name="connsiteX19" fmla="*/ 24140 w 113568"/>
                            <a:gd name="connsiteY19" fmla="*/ 35113 h 232623"/>
                            <a:gd name="connsiteX20" fmla="*/ 19202 w 113568"/>
                            <a:gd name="connsiteY20" fmla="*/ 42794 h 232623"/>
                            <a:gd name="connsiteX21" fmla="*/ 15911 w 113568"/>
                            <a:gd name="connsiteY21" fmla="*/ 42245 h 232623"/>
                            <a:gd name="connsiteX22" fmla="*/ 14813 w 113568"/>
                            <a:gd name="connsiteY22" fmla="*/ 43891 h 232623"/>
                            <a:gd name="connsiteX23" fmla="*/ 14265 w 113568"/>
                            <a:gd name="connsiteY23" fmla="*/ 44989 h 232623"/>
                            <a:gd name="connsiteX24" fmla="*/ 12070 w 113568"/>
                            <a:gd name="connsiteY24" fmla="*/ 46634 h 232623"/>
                            <a:gd name="connsiteX25" fmla="*/ 10973 w 113568"/>
                            <a:gd name="connsiteY25" fmla="*/ 50475 h 232623"/>
                            <a:gd name="connsiteX26" fmla="*/ 8230 w 113568"/>
                            <a:gd name="connsiteY26" fmla="*/ 50475 h 232623"/>
                            <a:gd name="connsiteX27" fmla="*/ 4938 w 113568"/>
                            <a:gd name="connsiteY27" fmla="*/ 54864 h 232623"/>
                            <a:gd name="connsiteX28" fmla="*/ 3840 w 113568"/>
                            <a:gd name="connsiteY28" fmla="*/ 60350 h 232623"/>
                            <a:gd name="connsiteX29" fmla="*/ 1646 w 113568"/>
                            <a:gd name="connsiteY29" fmla="*/ 64739 h 232623"/>
                            <a:gd name="connsiteX30" fmla="*/ 0 w 113568"/>
                            <a:gd name="connsiteY30" fmla="*/ 71872 h 232623"/>
                            <a:gd name="connsiteX31" fmla="*/ 549 w 113568"/>
                            <a:gd name="connsiteY31" fmla="*/ 77907 h 232623"/>
                            <a:gd name="connsiteX32" fmla="*/ 3292 w 113568"/>
                            <a:gd name="connsiteY32" fmla="*/ 80650 h 232623"/>
                            <a:gd name="connsiteX33" fmla="*/ 8230 w 113568"/>
                            <a:gd name="connsiteY33" fmla="*/ 82845 h 232623"/>
                            <a:gd name="connsiteX34" fmla="*/ 10424 w 113568"/>
                            <a:gd name="connsiteY34" fmla="*/ 82845 h 232623"/>
                            <a:gd name="connsiteX35" fmla="*/ 14265 w 113568"/>
                            <a:gd name="connsiteY35" fmla="*/ 85039 h 232623"/>
                            <a:gd name="connsiteX36" fmla="*/ 22494 w 113568"/>
                            <a:gd name="connsiteY36" fmla="*/ 94915 h 232623"/>
                            <a:gd name="connsiteX37" fmla="*/ 40051 w 113568"/>
                            <a:gd name="connsiteY37" fmla="*/ 226588 h 232623"/>
                            <a:gd name="connsiteX38" fmla="*/ 42794 w 113568"/>
                            <a:gd name="connsiteY38" fmla="*/ 232624 h 232623"/>
                            <a:gd name="connsiteX39" fmla="*/ 77358 w 113568"/>
                            <a:gd name="connsiteY39" fmla="*/ 230429 h 232623"/>
                            <a:gd name="connsiteX40" fmla="*/ 75164 w 113568"/>
                            <a:gd name="connsiteY40" fmla="*/ 228783 h 232623"/>
                            <a:gd name="connsiteX41" fmla="*/ 77907 w 113568"/>
                            <a:gd name="connsiteY41" fmla="*/ 147584 h 232623"/>
                            <a:gd name="connsiteX42" fmla="*/ 88880 w 113568"/>
                            <a:gd name="connsiteY42" fmla="*/ 125639 h 232623"/>
                            <a:gd name="connsiteX43" fmla="*/ 91623 w 113568"/>
                            <a:gd name="connsiteY43" fmla="*/ 108631 h 232623"/>
                            <a:gd name="connsiteX44" fmla="*/ 106985 w 113568"/>
                            <a:gd name="connsiteY44" fmla="*/ 94366 h 232623"/>
                            <a:gd name="connsiteX45" fmla="*/ 106985 w 113568"/>
                            <a:gd name="connsiteY45" fmla="*/ 90526 h 232623"/>
                            <a:gd name="connsiteX46" fmla="*/ 109728 w 113568"/>
                            <a:gd name="connsiteY46" fmla="*/ 88880 h 232623"/>
                            <a:gd name="connsiteX47" fmla="*/ 109728 w 113568"/>
                            <a:gd name="connsiteY47" fmla="*/ 87782 h 232623"/>
                            <a:gd name="connsiteX48" fmla="*/ 109179 w 113568"/>
                            <a:gd name="connsiteY48" fmla="*/ 85588 h 232623"/>
                            <a:gd name="connsiteX49" fmla="*/ 106436 w 113568"/>
                            <a:gd name="connsiteY49" fmla="*/ 82296 h 232623"/>
                            <a:gd name="connsiteX50" fmla="*/ 105888 w 113568"/>
                            <a:gd name="connsiteY50" fmla="*/ 79553 h 232623"/>
                            <a:gd name="connsiteX51" fmla="*/ 108082 w 113568"/>
                            <a:gd name="connsiteY51" fmla="*/ 75712 h 232623"/>
                            <a:gd name="connsiteX52" fmla="*/ 109728 w 113568"/>
                            <a:gd name="connsiteY52" fmla="*/ 75164 h 232623"/>
                            <a:gd name="connsiteX53" fmla="*/ 113020 w 113568"/>
                            <a:gd name="connsiteY53" fmla="*/ 74615 h 232623"/>
                            <a:gd name="connsiteX54" fmla="*/ 113568 w 113568"/>
                            <a:gd name="connsiteY54" fmla="*/ 72969 h 232623"/>
                            <a:gd name="connsiteX55" fmla="*/ 110277 w 113568"/>
                            <a:gd name="connsiteY55" fmla="*/ 47183 h 232623"/>
                            <a:gd name="connsiteX56" fmla="*/ 104242 w 113568"/>
                            <a:gd name="connsiteY56" fmla="*/ 40051 h 232623"/>
                            <a:gd name="connsiteX57" fmla="*/ 102596 w 113568"/>
                            <a:gd name="connsiteY57" fmla="*/ 37307 h 232623"/>
                            <a:gd name="connsiteX58" fmla="*/ 104242 w 113568"/>
                            <a:gd name="connsiteY58" fmla="*/ 29627 h 232623"/>
                            <a:gd name="connsiteX59" fmla="*/ 106985 w 113568"/>
                            <a:gd name="connsiteY59" fmla="*/ 25786 h 23262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  <a:cxn ang="0">
                              <a:pos x="connsiteX11" y="connsiteY11"/>
                            </a:cxn>
                            <a:cxn ang="0">
                              <a:pos x="connsiteX12" y="connsiteY12"/>
                            </a:cxn>
                            <a:cxn ang="0">
                              <a:pos x="connsiteX13" y="connsiteY13"/>
                            </a:cxn>
                            <a:cxn ang="0">
                              <a:pos x="connsiteX14" y="connsiteY14"/>
                            </a:cxn>
                            <a:cxn ang="0">
                              <a:pos x="connsiteX15" y="connsiteY15"/>
                            </a:cxn>
                            <a:cxn ang="0">
                              <a:pos x="connsiteX16" y="connsiteY16"/>
                            </a:cxn>
                            <a:cxn ang="0">
                              <a:pos x="connsiteX17" y="connsiteY17"/>
                            </a:cxn>
                            <a:cxn ang="0">
                              <a:pos x="connsiteX18" y="connsiteY18"/>
                            </a:cxn>
                            <a:cxn ang="0">
                              <a:pos x="connsiteX19" y="connsiteY19"/>
                            </a:cxn>
                            <a:cxn ang="0">
                              <a:pos x="connsiteX20" y="connsiteY20"/>
                            </a:cxn>
                            <a:cxn ang="0">
                              <a:pos x="connsiteX21" y="connsiteY21"/>
                            </a:cxn>
                            <a:cxn ang="0">
                              <a:pos x="connsiteX22" y="connsiteY22"/>
                            </a:cxn>
                            <a:cxn ang="0">
                              <a:pos x="connsiteX23" y="connsiteY23"/>
                            </a:cxn>
                            <a:cxn ang="0">
                              <a:pos x="connsiteX24" y="connsiteY24"/>
                            </a:cxn>
                            <a:cxn ang="0">
                              <a:pos x="connsiteX25" y="connsiteY25"/>
                            </a:cxn>
                            <a:cxn ang="0">
                              <a:pos x="connsiteX26" y="connsiteY26"/>
                            </a:cxn>
                            <a:cxn ang="0">
                              <a:pos x="connsiteX27" y="connsiteY27"/>
                            </a:cxn>
                            <a:cxn ang="0">
                              <a:pos x="connsiteX28" y="connsiteY28"/>
                            </a:cxn>
                            <a:cxn ang="0">
                              <a:pos x="connsiteX29" y="connsiteY29"/>
                            </a:cxn>
                            <a:cxn ang="0">
                              <a:pos x="connsiteX30" y="connsiteY30"/>
                            </a:cxn>
                            <a:cxn ang="0">
                              <a:pos x="connsiteX31" y="connsiteY31"/>
                            </a:cxn>
                            <a:cxn ang="0">
                              <a:pos x="connsiteX32" y="connsiteY32"/>
                            </a:cxn>
                            <a:cxn ang="0">
                              <a:pos x="connsiteX33" y="connsiteY33"/>
                            </a:cxn>
                            <a:cxn ang="0">
                              <a:pos x="connsiteX34" y="connsiteY34"/>
                            </a:cxn>
                            <a:cxn ang="0">
                              <a:pos x="connsiteX35" y="connsiteY35"/>
                            </a:cxn>
                            <a:cxn ang="0">
                              <a:pos x="connsiteX36" y="connsiteY36"/>
                            </a:cxn>
                            <a:cxn ang="0">
                              <a:pos x="connsiteX37" y="connsiteY37"/>
                            </a:cxn>
                            <a:cxn ang="0">
                              <a:pos x="connsiteX38" y="connsiteY38"/>
                            </a:cxn>
                            <a:cxn ang="0">
                              <a:pos x="connsiteX39" y="connsiteY39"/>
                            </a:cxn>
                            <a:cxn ang="0">
                              <a:pos x="connsiteX40" y="connsiteY40"/>
                            </a:cxn>
                            <a:cxn ang="0">
                              <a:pos x="connsiteX41" y="connsiteY41"/>
                            </a:cxn>
                            <a:cxn ang="0">
                              <a:pos x="connsiteX42" y="connsiteY42"/>
                            </a:cxn>
                            <a:cxn ang="0">
                              <a:pos x="connsiteX43" y="connsiteY43"/>
                            </a:cxn>
                            <a:cxn ang="0">
                              <a:pos x="connsiteX44" y="connsiteY44"/>
                            </a:cxn>
                            <a:cxn ang="0">
                              <a:pos x="connsiteX45" y="connsiteY45"/>
                            </a:cxn>
                            <a:cxn ang="0">
                              <a:pos x="connsiteX46" y="connsiteY46"/>
                            </a:cxn>
                            <a:cxn ang="0">
                              <a:pos x="connsiteX47" y="connsiteY47"/>
                            </a:cxn>
                            <a:cxn ang="0">
                              <a:pos x="connsiteX48" y="connsiteY48"/>
                            </a:cxn>
                            <a:cxn ang="0">
                              <a:pos x="connsiteX49" y="connsiteY49"/>
                            </a:cxn>
                            <a:cxn ang="0">
                              <a:pos x="connsiteX50" y="connsiteY50"/>
                            </a:cxn>
                            <a:cxn ang="0">
                              <a:pos x="connsiteX51" y="connsiteY51"/>
                            </a:cxn>
                            <a:cxn ang="0">
                              <a:pos x="connsiteX52" y="connsiteY52"/>
                            </a:cxn>
                            <a:cxn ang="0">
                              <a:pos x="connsiteX53" y="connsiteY53"/>
                            </a:cxn>
                            <a:cxn ang="0">
                              <a:pos x="connsiteX54" y="connsiteY54"/>
                            </a:cxn>
                            <a:cxn ang="0">
                              <a:pos x="connsiteX55" y="connsiteY55"/>
                            </a:cxn>
                            <a:cxn ang="0">
                              <a:pos x="connsiteX56" y="connsiteY56"/>
                            </a:cxn>
                            <a:cxn ang="0">
                              <a:pos x="connsiteX57" y="connsiteY57"/>
                            </a:cxn>
                            <a:cxn ang="0">
                              <a:pos x="connsiteX58" y="connsiteY58"/>
                            </a:cxn>
                            <a:cxn ang="0">
                              <a:pos x="connsiteX59" y="connsiteY59"/>
                            </a:cxn>
                          </a:cxnLst>
                          <a:rect l="l" t="t" r="r" b="b"/>
                          <a:pathLst>
                            <a:path w="113568" h="232623">
                              <a:moveTo>
                                <a:pt x="106985" y="25786"/>
                              </a:moveTo>
                              <a:lnTo>
                                <a:pt x="78456" y="0"/>
                              </a:lnTo>
                              <a:lnTo>
                                <a:pt x="72969" y="2743"/>
                              </a:lnTo>
                              <a:lnTo>
                                <a:pt x="61448" y="4938"/>
                              </a:lnTo>
                              <a:lnTo>
                                <a:pt x="61996" y="8230"/>
                              </a:lnTo>
                              <a:lnTo>
                                <a:pt x="66385" y="14265"/>
                              </a:lnTo>
                              <a:lnTo>
                                <a:pt x="61448" y="17008"/>
                              </a:lnTo>
                              <a:lnTo>
                                <a:pt x="61996" y="16459"/>
                              </a:lnTo>
                              <a:lnTo>
                                <a:pt x="61996" y="18105"/>
                              </a:lnTo>
                              <a:lnTo>
                                <a:pt x="60899" y="21397"/>
                              </a:lnTo>
                              <a:lnTo>
                                <a:pt x="58704" y="24140"/>
                              </a:lnTo>
                              <a:lnTo>
                                <a:pt x="58704" y="24689"/>
                              </a:lnTo>
                              <a:lnTo>
                                <a:pt x="57607" y="26883"/>
                              </a:lnTo>
                              <a:lnTo>
                                <a:pt x="48829" y="35113"/>
                              </a:lnTo>
                              <a:lnTo>
                                <a:pt x="46086" y="36210"/>
                              </a:lnTo>
                              <a:lnTo>
                                <a:pt x="41697" y="34564"/>
                              </a:lnTo>
                              <a:lnTo>
                                <a:pt x="35113" y="36210"/>
                              </a:lnTo>
                              <a:lnTo>
                                <a:pt x="30175" y="34016"/>
                              </a:lnTo>
                              <a:lnTo>
                                <a:pt x="25786" y="34016"/>
                              </a:lnTo>
                              <a:lnTo>
                                <a:pt x="24140" y="35113"/>
                              </a:lnTo>
                              <a:lnTo>
                                <a:pt x="19202" y="42794"/>
                              </a:lnTo>
                              <a:lnTo>
                                <a:pt x="15911" y="42245"/>
                              </a:lnTo>
                              <a:lnTo>
                                <a:pt x="14813" y="43891"/>
                              </a:lnTo>
                              <a:lnTo>
                                <a:pt x="14265" y="44989"/>
                              </a:lnTo>
                              <a:lnTo>
                                <a:pt x="12070" y="46634"/>
                              </a:lnTo>
                              <a:lnTo>
                                <a:pt x="10973" y="50475"/>
                              </a:lnTo>
                              <a:lnTo>
                                <a:pt x="8230" y="50475"/>
                              </a:lnTo>
                              <a:lnTo>
                                <a:pt x="4938" y="54864"/>
                              </a:lnTo>
                              <a:lnTo>
                                <a:pt x="3840" y="60350"/>
                              </a:lnTo>
                              <a:lnTo>
                                <a:pt x="1646" y="64739"/>
                              </a:lnTo>
                              <a:lnTo>
                                <a:pt x="0" y="71872"/>
                              </a:lnTo>
                              <a:lnTo>
                                <a:pt x="549" y="77907"/>
                              </a:lnTo>
                              <a:lnTo>
                                <a:pt x="3292" y="80650"/>
                              </a:lnTo>
                              <a:lnTo>
                                <a:pt x="8230" y="82845"/>
                              </a:lnTo>
                              <a:lnTo>
                                <a:pt x="10424" y="82845"/>
                              </a:lnTo>
                              <a:lnTo>
                                <a:pt x="14265" y="85039"/>
                              </a:lnTo>
                              <a:lnTo>
                                <a:pt x="22494" y="94915"/>
                              </a:lnTo>
                              <a:lnTo>
                                <a:pt x="40051" y="226588"/>
                              </a:lnTo>
                              <a:lnTo>
                                <a:pt x="42794" y="232624"/>
                              </a:lnTo>
                              <a:lnTo>
                                <a:pt x="77358" y="230429"/>
                              </a:lnTo>
                              <a:lnTo>
                                <a:pt x="75164" y="228783"/>
                              </a:lnTo>
                              <a:lnTo>
                                <a:pt x="77907" y="147584"/>
                              </a:lnTo>
                              <a:lnTo>
                                <a:pt x="88880" y="125639"/>
                              </a:lnTo>
                              <a:lnTo>
                                <a:pt x="91623" y="108631"/>
                              </a:lnTo>
                              <a:lnTo>
                                <a:pt x="106985" y="94366"/>
                              </a:lnTo>
                              <a:lnTo>
                                <a:pt x="106985" y="90526"/>
                              </a:lnTo>
                              <a:lnTo>
                                <a:pt x="109728" y="88880"/>
                              </a:lnTo>
                              <a:lnTo>
                                <a:pt x="109728" y="87782"/>
                              </a:lnTo>
                              <a:lnTo>
                                <a:pt x="109179" y="85588"/>
                              </a:lnTo>
                              <a:lnTo>
                                <a:pt x="106436" y="82296"/>
                              </a:lnTo>
                              <a:lnTo>
                                <a:pt x="105888" y="79553"/>
                              </a:lnTo>
                              <a:lnTo>
                                <a:pt x="108082" y="75712"/>
                              </a:lnTo>
                              <a:lnTo>
                                <a:pt x="109728" y="75164"/>
                              </a:lnTo>
                              <a:lnTo>
                                <a:pt x="113020" y="74615"/>
                              </a:lnTo>
                              <a:lnTo>
                                <a:pt x="113568" y="72969"/>
                              </a:lnTo>
                              <a:lnTo>
                                <a:pt x="110277" y="47183"/>
                              </a:lnTo>
                              <a:lnTo>
                                <a:pt x="104242" y="40051"/>
                              </a:lnTo>
                              <a:lnTo>
                                <a:pt x="102596" y="37307"/>
                              </a:lnTo>
                              <a:lnTo>
                                <a:pt x="104242" y="29627"/>
                              </a:lnTo>
                              <a:lnTo>
                                <a:pt x="106985" y="25786"/>
                              </a:lnTo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233" name="Graphic 7">
                          <a:extLst>
                            <a:ext uri="{FF2B5EF4-FFF2-40B4-BE49-F238E27FC236}">
                              <a16:creationId xmlns:a16="http://schemas.microsoft.com/office/drawing/2014/main" id="{3CEAEA2F-63D0-FB0F-9AA4-E53641DB8521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207379" y="4033287"/>
                          <a:ext cx="441072" cy="334770"/>
                        </a:xfrm>
                        <a:custGeom>
                          <a:avLst/>
                          <a:gdLst>
                            <a:gd name="connsiteX0" fmla="*/ 131125 w 564550"/>
                            <a:gd name="connsiteY0" fmla="*/ 21397 h 428488"/>
                            <a:gd name="connsiteX1" fmla="*/ 119055 w 564550"/>
                            <a:gd name="connsiteY1" fmla="*/ 71872 h 428488"/>
                            <a:gd name="connsiteX2" fmla="*/ 114117 w 564550"/>
                            <a:gd name="connsiteY2" fmla="*/ 76810 h 428488"/>
                            <a:gd name="connsiteX3" fmla="*/ 108631 w 564550"/>
                            <a:gd name="connsiteY3" fmla="*/ 79004 h 428488"/>
                            <a:gd name="connsiteX4" fmla="*/ 77907 w 564550"/>
                            <a:gd name="connsiteY4" fmla="*/ 119055 h 428488"/>
                            <a:gd name="connsiteX5" fmla="*/ 71323 w 564550"/>
                            <a:gd name="connsiteY5" fmla="*/ 147036 h 428488"/>
                            <a:gd name="connsiteX6" fmla="*/ 68580 w 564550"/>
                            <a:gd name="connsiteY6" fmla="*/ 150328 h 428488"/>
                            <a:gd name="connsiteX7" fmla="*/ 60350 w 564550"/>
                            <a:gd name="connsiteY7" fmla="*/ 149779 h 428488"/>
                            <a:gd name="connsiteX8" fmla="*/ 54864 w 564550"/>
                            <a:gd name="connsiteY8" fmla="*/ 153619 h 428488"/>
                            <a:gd name="connsiteX9" fmla="*/ 48280 w 564550"/>
                            <a:gd name="connsiteY9" fmla="*/ 167335 h 428488"/>
                            <a:gd name="connsiteX10" fmla="*/ 45537 w 564550"/>
                            <a:gd name="connsiteY10" fmla="*/ 165141 h 428488"/>
                            <a:gd name="connsiteX11" fmla="*/ 42245 w 564550"/>
                            <a:gd name="connsiteY11" fmla="*/ 236464 h 428488"/>
                            <a:gd name="connsiteX12" fmla="*/ 36759 w 564550"/>
                            <a:gd name="connsiteY12" fmla="*/ 240853 h 428488"/>
                            <a:gd name="connsiteX13" fmla="*/ 29078 w 564550"/>
                            <a:gd name="connsiteY13" fmla="*/ 244145 h 428488"/>
                            <a:gd name="connsiteX14" fmla="*/ 13716 w 564550"/>
                            <a:gd name="connsiteY14" fmla="*/ 242499 h 428488"/>
                            <a:gd name="connsiteX15" fmla="*/ 7132 w 564550"/>
                            <a:gd name="connsiteY15" fmla="*/ 244694 h 428488"/>
                            <a:gd name="connsiteX16" fmla="*/ 7132 w 564550"/>
                            <a:gd name="connsiteY16" fmla="*/ 255666 h 428488"/>
                            <a:gd name="connsiteX17" fmla="*/ 3292 w 564550"/>
                            <a:gd name="connsiteY17" fmla="*/ 258410 h 428488"/>
                            <a:gd name="connsiteX18" fmla="*/ 0 w 564550"/>
                            <a:gd name="connsiteY18" fmla="*/ 263896 h 428488"/>
                            <a:gd name="connsiteX19" fmla="*/ 3841 w 564550"/>
                            <a:gd name="connsiteY19" fmla="*/ 266639 h 428488"/>
                            <a:gd name="connsiteX20" fmla="*/ 8230 w 564550"/>
                            <a:gd name="connsiteY20" fmla="*/ 267188 h 428488"/>
                            <a:gd name="connsiteX21" fmla="*/ 13716 w 564550"/>
                            <a:gd name="connsiteY21" fmla="*/ 271028 h 428488"/>
                            <a:gd name="connsiteX22" fmla="*/ 19202 w 564550"/>
                            <a:gd name="connsiteY22" fmla="*/ 270480 h 428488"/>
                            <a:gd name="connsiteX23" fmla="*/ 26883 w 564550"/>
                            <a:gd name="connsiteY23" fmla="*/ 272674 h 428488"/>
                            <a:gd name="connsiteX24" fmla="*/ 32370 w 564550"/>
                            <a:gd name="connsiteY24" fmla="*/ 275966 h 428488"/>
                            <a:gd name="connsiteX25" fmla="*/ 38405 w 564550"/>
                            <a:gd name="connsiteY25" fmla="*/ 282550 h 428488"/>
                            <a:gd name="connsiteX26" fmla="*/ 39502 w 564550"/>
                            <a:gd name="connsiteY26" fmla="*/ 289133 h 428488"/>
                            <a:gd name="connsiteX27" fmla="*/ 48829 w 564550"/>
                            <a:gd name="connsiteY27" fmla="*/ 300655 h 428488"/>
                            <a:gd name="connsiteX28" fmla="*/ 64191 w 564550"/>
                            <a:gd name="connsiteY28" fmla="*/ 309982 h 428488"/>
                            <a:gd name="connsiteX29" fmla="*/ 80650 w 564550"/>
                            <a:gd name="connsiteY29" fmla="*/ 350033 h 428488"/>
                            <a:gd name="connsiteX30" fmla="*/ 86685 w 564550"/>
                            <a:gd name="connsiteY30" fmla="*/ 353873 h 428488"/>
                            <a:gd name="connsiteX31" fmla="*/ 102596 w 564550"/>
                            <a:gd name="connsiteY31" fmla="*/ 357165 h 428488"/>
                            <a:gd name="connsiteX32" fmla="*/ 107533 w 564550"/>
                            <a:gd name="connsiteY32" fmla="*/ 360457 h 428488"/>
                            <a:gd name="connsiteX33" fmla="*/ 106985 w 564550"/>
                            <a:gd name="connsiteY33" fmla="*/ 387340 h 428488"/>
                            <a:gd name="connsiteX34" fmla="*/ 115763 w 564550"/>
                            <a:gd name="connsiteY34" fmla="*/ 390083 h 428488"/>
                            <a:gd name="connsiteX35" fmla="*/ 137160 w 564550"/>
                            <a:gd name="connsiteY35" fmla="*/ 390083 h 428488"/>
                            <a:gd name="connsiteX36" fmla="*/ 174468 w 564550"/>
                            <a:gd name="connsiteY36" fmla="*/ 410932 h 428488"/>
                            <a:gd name="connsiteX37" fmla="*/ 182697 w 564550"/>
                            <a:gd name="connsiteY37" fmla="*/ 418613 h 428488"/>
                            <a:gd name="connsiteX38" fmla="*/ 239207 w 564550"/>
                            <a:gd name="connsiteY38" fmla="*/ 428488 h 428488"/>
                            <a:gd name="connsiteX39" fmla="*/ 255666 w 564550"/>
                            <a:gd name="connsiteY39" fmla="*/ 420258 h 428488"/>
                            <a:gd name="connsiteX40" fmla="*/ 266090 w 564550"/>
                            <a:gd name="connsiteY40" fmla="*/ 408737 h 428488"/>
                            <a:gd name="connsiteX41" fmla="*/ 292425 w 564550"/>
                            <a:gd name="connsiteY41" fmla="*/ 402153 h 428488"/>
                            <a:gd name="connsiteX42" fmla="*/ 314919 w 564550"/>
                            <a:gd name="connsiteY42" fmla="*/ 413126 h 428488"/>
                            <a:gd name="connsiteX43" fmla="*/ 334122 w 564550"/>
                            <a:gd name="connsiteY43" fmla="*/ 412577 h 428488"/>
                            <a:gd name="connsiteX44" fmla="*/ 336316 w 564550"/>
                            <a:gd name="connsiteY44" fmla="*/ 409834 h 428488"/>
                            <a:gd name="connsiteX45" fmla="*/ 370332 w 564550"/>
                            <a:gd name="connsiteY45" fmla="*/ 397216 h 428488"/>
                            <a:gd name="connsiteX46" fmla="*/ 387889 w 564550"/>
                            <a:gd name="connsiteY46" fmla="*/ 382402 h 428488"/>
                            <a:gd name="connsiteX47" fmla="*/ 408188 w 564550"/>
                            <a:gd name="connsiteY47" fmla="*/ 373624 h 428488"/>
                            <a:gd name="connsiteX48" fmla="*/ 452628 w 564550"/>
                            <a:gd name="connsiteY48" fmla="*/ 372527 h 428488"/>
                            <a:gd name="connsiteX49" fmla="*/ 563453 w 564550"/>
                            <a:gd name="connsiteY49" fmla="*/ 260604 h 428488"/>
                            <a:gd name="connsiteX50" fmla="*/ 564551 w 564550"/>
                            <a:gd name="connsiteY50" fmla="*/ 257861 h 428488"/>
                            <a:gd name="connsiteX51" fmla="*/ 528340 w 564550"/>
                            <a:gd name="connsiteY51" fmla="*/ 259507 h 428488"/>
                            <a:gd name="connsiteX52" fmla="*/ 414772 w 564550"/>
                            <a:gd name="connsiteY52" fmla="*/ 219456 h 428488"/>
                            <a:gd name="connsiteX53" fmla="*/ 410383 w 564550"/>
                            <a:gd name="connsiteY53" fmla="*/ 213970 h 428488"/>
                            <a:gd name="connsiteX54" fmla="*/ 396118 w 564550"/>
                            <a:gd name="connsiteY54" fmla="*/ 203546 h 428488"/>
                            <a:gd name="connsiteX55" fmla="*/ 391729 w 564550"/>
                            <a:gd name="connsiteY55" fmla="*/ 196962 h 428488"/>
                            <a:gd name="connsiteX56" fmla="*/ 387340 w 564550"/>
                            <a:gd name="connsiteY56" fmla="*/ 193121 h 428488"/>
                            <a:gd name="connsiteX57" fmla="*/ 385694 w 564550"/>
                            <a:gd name="connsiteY57" fmla="*/ 188732 h 428488"/>
                            <a:gd name="connsiteX58" fmla="*/ 378562 w 564550"/>
                            <a:gd name="connsiteY58" fmla="*/ 181600 h 428488"/>
                            <a:gd name="connsiteX59" fmla="*/ 376916 w 564550"/>
                            <a:gd name="connsiteY59" fmla="*/ 178308 h 428488"/>
                            <a:gd name="connsiteX60" fmla="*/ 371978 w 564550"/>
                            <a:gd name="connsiteY60" fmla="*/ 173370 h 428488"/>
                            <a:gd name="connsiteX61" fmla="*/ 368137 w 564550"/>
                            <a:gd name="connsiteY61" fmla="*/ 158009 h 428488"/>
                            <a:gd name="connsiteX62" fmla="*/ 369235 w 564550"/>
                            <a:gd name="connsiteY62" fmla="*/ 154717 h 428488"/>
                            <a:gd name="connsiteX63" fmla="*/ 371978 w 564550"/>
                            <a:gd name="connsiteY63" fmla="*/ 150328 h 428488"/>
                            <a:gd name="connsiteX64" fmla="*/ 371978 w 564550"/>
                            <a:gd name="connsiteY64" fmla="*/ 149779 h 428488"/>
                            <a:gd name="connsiteX65" fmla="*/ 365394 w 564550"/>
                            <a:gd name="connsiteY65" fmla="*/ 144841 h 428488"/>
                            <a:gd name="connsiteX66" fmla="*/ 362651 w 564550"/>
                            <a:gd name="connsiteY66" fmla="*/ 143744 h 428488"/>
                            <a:gd name="connsiteX67" fmla="*/ 354421 w 564550"/>
                            <a:gd name="connsiteY67" fmla="*/ 147036 h 428488"/>
                            <a:gd name="connsiteX68" fmla="*/ 353324 w 564550"/>
                            <a:gd name="connsiteY68" fmla="*/ 149230 h 428488"/>
                            <a:gd name="connsiteX69" fmla="*/ 352227 w 564550"/>
                            <a:gd name="connsiteY69" fmla="*/ 149779 h 428488"/>
                            <a:gd name="connsiteX70" fmla="*/ 348386 w 564550"/>
                            <a:gd name="connsiteY70" fmla="*/ 148682 h 428488"/>
                            <a:gd name="connsiteX71" fmla="*/ 344546 w 564550"/>
                            <a:gd name="connsiteY71" fmla="*/ 149779 h 428488"/>
                            <a:gd name="connsiteX72" fmla="*/ 336316 w 564550"/>
                            <a:gd name="connsiteY72" fmla="*/ 149230 h 428488"/>
                            <a:gd name="connsiteX73" fmla="*/ 331927 w 564550"/>
                            <a:gd name="connsiteY73" fmla="*/ 144841 h 428488"/>
                            <a:gd name="connsiteX74" fmla="*/ 330830 w 564550"/>
                            <a:gd name="connsiteY74" fmla="*/ 138257 h 428488"/>
                            <a:gd name="connsiteX75" fmla="*/ 341254 w 564550"/>
                            <a:gd name="connsiteY75" fmla="*/ 121250 h 428488"/>
                            <a:gd name="connsiteX76" fmla="*/ 346741 w 564550"/>
                            <a:gd name="connsiteY76" fmla="*/ 98207 h 428488"/>
                            <a:gd name="connsiteX77" fmla="*/ 350581 w 564550"/>
                            <a:gd name="connsiteY77" fmla="*/ 94915 h 428488"/>
                            <a:gd name="connsiteX78" fmla="*/ 343997 w 564550"/>
                            <a:gd name="connsiteY78" fmla="*/ 85039 h 428488"/>
                            <a:gd name="connsiteX79" fmla="*/ 333025 w 564550"/>
                            <a:gd name="connsiteY79" fmla="*/ 77907 h 428488"/>
                            <a:gd name="connsiteX80" fmla="*/ 328635 w 564550"/>
                            <a:gd name="connsiteY80" fmla="*/ 67483 h 428488"/>
                            <a:gd name="connsiteX81" fmla="*/ 288036 w 564550"/>
                            <a:gd name="connsiteY81" fmla="*/ 26883 h 428488"/>
                            <a:gd name="connsiteX82" fmla="*/ 282550 w 564550"/>
                            <a:gd name="connsiteY82" fmla="*/ 26335 h 428488"/>
                            <a:gd name="connsiteX83" fmla="*/ 266639 w 564550"/>
                            <a:gd name="connsiteY83" fmla="*/ 15911 h 428488"/>
                            <a:gd name="connsiteX84" fmla="*/ 258409 w 564550"/>
                            <a:gd name="connsiteY84" fmla="*/ 15911 h 428488"/>
                            <a:gd name="connsiteX85" fmla="*/ 257312 w 564550"/>
                            <a:gd name="connsiteY85" fmla="*/ 17008 h 428488"/>
                            <a:gd name="connsiteX86" fmla="*/ 255118 w 564550"/>
                            <a:gd name="connsiteY86" fmla="*/ 17008 h 428488"/>
                            <a:gd name="connsiteX87" fmla="*/ 253472 w 564550"/>
                            <a:gd name="connsiteY87" fmla="*/ 14813 h 428488"/>
                            <a:gd name="connsiteX88" fmla="*/ 246888 w 564550"/>
                            <a:gd name="connsiteY88" fmla="*/ 14813 h 428488"/>
                            <a:gd name="connsiteX89" fmla="*/ 243596 w 564550"/>
                            <a:gd name="connsiteY89" fmla="*/ 12070 h 428488"/>
                            <a:gd name="connsiteX90" fmla="*/ 241402 w 564550"/>
                            <a:gd name="connsiteY90" fmla="*/ 11522 h 428488"/>
                            <a:gd name="connsiteX91" fmla="*/ 238110 w 564550"/>
                            <a:gd name="connsiteY91" fmla="*/ 14813 h 428488"/>
                            <a:gd name="connsiteX92" fmla="*/ 233172 w 564550"/>
                            <a:gd name="connsiteY92" fmla="*/ 15362 h 428488"/>
                            <a:gd name="connsiteX93" fmla="*/ 232075 w 564550"/>
                            <a:gd name="connsiteY93" fmla="*/ 16459 h 428488"/>
                            <a:gd name="connsiteX94" fmla="*/ 230429 w 564550"/>
                            <a:gd name="connsiteY94" fmla="*/ 16459 h 428488"/>
                            <a:gd name="connsiteX95" fmla="*/ 228783 w 564550"/>
                            <a:gd name="connsiteY95" fmla="*/ 12070 h 428488"/>
                            <a:gd name="connsiteX96" fmla="*/ 224942 w 564550"/>
                            <a:gd name="connsiteY96" fmla="*/ 8778 h 428488"/>
                            <a:gd name="connsiteX97" fmla="*/ 221651 w 564550"/>
                            <a:gd name="connsiteY97" fmla="*/ 8778 h 428488"/>
                            <a:gd name="connsiteX98" fmla="*/ 221651 w 564550"/>
                            <a:gd name="connsiteY98" fmla="*/ 11522 h 428488"/>
                            <a:gd name="connsiteX99" fmla="*/ 217810 w 564550"/>
                            <a:gd name="connsiteY99" fmla="*/ 14813 h 428488"/>
                            <a:gd name="connsiteX100" fmla="*/ 208483 w 564550"/>
                            <a:gd name="connsiteY100" fmla="*/ 15911 h 428488"/>
                            <a:gd name="connsiteX101" fmla="*/ 205740 w 564550"/>
                            <a:gd name="connsiteY101" fmla="*/ 17557 h 428488"/>
                            <a:gd name="connsiteX102" fmla="*/ 200254 w 564550"/>
                            <a:gd name="connsiteY102" fmla="*/ 17008 h 428488"/>
                            <a:gd name="connsiteX103" fmla="*/ 194219 w 564550"/>
                            <a:gd name="connsiteY103" fmla="*/ 9876 h 428488"/>
                            <a:gd name="connsiteX104" fmla="*/ 194219 w 564550"/>
                            <a:gd name="connsiteY104" fmla="*/ 7681 h 428488"/>
                            <a:gd name="connsiteX105" fmla="*/ 192573 w 564550"/>
                            <a:gd name="connsiteY105" fmla="*/ 7133 h 428488"/>
                            <a:gd name="connsiteX106" fmla="*/ 187635 w 564550"/>
                            <a:gd name="connsiteY106" fmla="*/ 7133 h 428488"/>
                            <a:gd name="connsiteX107" fmla="*/ 180503 w 564550"/>
                            <a:gd name="connsiteY107" fmla="*/ 0 h 428488"/>
                            <a:gd name="connsiteX108" fmla="*/ 167335 w 564550"/>
                            <a:gd name="connsiteY108" fmla="*/ 29627 h 428488"/>
                            <a:gd name="connsiteX109" fmla="*/ 161300 w 564550"/>
                            <a:gd name="connsiteY109" fmla="*/ 23043 h 428488"/>
                            <a:gd name="connsiteX110" fmla="*/ 161300 w 564550"/>
                            <a:gd name="connsiteY110" fmla="*/ 20300 h 428488"/>
                            <a:gd name="connsiteX111" fmla="*/ 158008 w 564550"/>
                            <a:gd name="connsiteY111" fmla="*/ 16459 h 428488"/>
                            <a:gd name="connsiteX112" fmla="*/ 152522 w 564550"/>
                            <a:gd name="connsiteY112" fmla="*/ 16459 h 428488"/>
                            <a:gd name="connsiteX113" fmla="*/ 150327 w 564550"/>
                            <a:gd name="connsiteY113" fmla="*/ 19202 h 428488"/>
                            <a:gd name="connsiteX114" fmla="*/ 149779 w 564550"/>
                            <a:gd name="connsiteY114" fmla="*/ 21946 h 428488"/>
                            <a:gd name="connsiteX115" fmla="*/ 147584 w 564550"/>
                            <a:gd name="connsiteY115" fmla="*/ 23592 h 428488"/>
                            <a:gd name="connsiteX116" fmla="*/ 145390 w 564550"/>
                            <a:gd name="connsiteY116" fmla="*/ 23592 h 428488"/>
                            <a:gd name="connsiteX117" fmla="*/ 142098 w 564550"/>
                            <a:gd name="connsiteY117" fmla="*/ 21946 h 428488"/>
                            <a:gd name="connsiteX118" fmla="*/ 132771 w 564550"/>
                            <a:gd name="connsiteY118" fmla="*/ 21946 h 428488"/>
                            <a:gd name="connsiteX119" fmla="*/ 131125 w 564550"/>
                            <a:gd name="connsiteY119" fmla="*/ 21397 h 428488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  <a:cxn ang="0">
                              <a:pos x="connsiteX11" y="connsiteY11"/>
                            </a:cxn>
                            <a:cxn ang="0">
                              <a:pos x="connsiteX12" y="connsiteY12"/>
                            </a:cxn>
                            <a:cxn ang="0">
                              <a:pos x="connsiteX13" y="connsiteY13"/>
                            </a:cxn>
                            <a:cxn ang="0">
                              <a:pos x="connsiteX14" y="connsiteY14"/>
                            </a:cxn>
                            <a:cxn ang="0">
                              <a:pos x="connsiteX15" y="connsiteY15"/>
                            </a:cxn>
                            <a:cxn ang="0">
                              <a:pos x="connsiteX16" y="connsiteY16"/>
                            </a:cxn>
                            <a:cxn ang="0">
                              <a:pos x="connsiteX17" y="connsiteY17"/>
                            </a:cxn>
                            <a:cxn ang="0">
                              <a:pos x="connsiteX18" y="connsiteY18"/>
                            </a:cxn>
                            <a:cxn ang="0">
                              <a:pos x="connsiteX19" y="connsiteY19"/>
                            </a:cxn>
                            <a:cxn ang="0">
                              <a:pos x="connsiteX20" y="connsiteY20"/>
                            </a:cxn>
                            <a:cxn ang="0">
                              <a:pos x="connsiteX21" y="connsiteY21"/>
                            </a:cxn>
                            <a:cxn ang="0">
                              <a:pos x="connsiteX22" y="connsiteY22"/>
                            </a:cxn>
                            <a:cxn ang="0">
                              <a:pos x="connsiteX23" y="connsiteY23"/>
                            </a:cxn>
                            <a:cxn ang="0">
                              <a:pos x="connsiteX24" y="connsiteY24"/>
                            </a:cxn>
                            <a:cxn ang="0">
                              <a:pos x="connsiteX25" y="connsiteY25"/>
                            </a:cxn>
                            <a:cxn ang="0">
                              <a:pos x="connsiteX26" y="connsiteY26"/>
                            </a:cxn>
                            <a:cxn ang="0">
                              <a:pos x="connsiteX27" y="connsiteY27"/>
                            </a:cxn>
                            <a:cxn ang="0">
                              <a:pos x="connsiteX28" y="connsiteY28"/>
                            </a:cxn>
                            <a:cxn ang="0">
                              <a:pos x="connsiteX29" y="connsiteY29"/>
                            </a:cxn>
                            <a:cxn ang="0">
                              <a:pos x="connsiteX30" y="connsiteY30"/>
                            </a:cxn>
                            <a:cxn ang="0">
                              <a:pos x="connsiteX31" y="connsiteY31"/>
                            </a:cxn>
                            <a:cxn ang="0">
                              <a:pos x="connsiteX32" y="connsiteY32"/>
                            </a:cxn>
                            <a:cxn ang="0">
                              <a:pos x="connsiteX33" y="connsiteY33"/>
                            </a:cxn>
                            <a:cxn ang="0">
                              <a:pos x="connsiteX34" y="connsiteY34"/>
                            </a:cxn>
                            <a:cxn ang="0">
                              <a:pos x="connsiteX35" y="connsiteY35"/>
                            </a:cxn>
                            <a:cxn ang="0">
                              <a:pos x="connsiteX36" y="connsiteY36"/>
                            </a:cxn>
                            <a:cxn ang="0">
                              <a:pos x="connsiteX37" y="connsiteY37"/>
                            </a:cxn>
                            <a:cxn ang="0">
                              <a:pos x="connsiteX38" y="connsiteY38"/>
                            </a:cxn>
                            <a:cxn ang="0">
                              <a:pos x="connsiteX39" y="connsiteY39"/>
                            </a:cxn>
                            <a:cxn ang="0">
                              <a:pos x="connsiteX40" y="connsiteY40"/>
                            </a:cxn>
                            <a:cxn ang="0">
                              <a:pos x="connsiteX41" y="connsiteY41"/>
                            </a:cxn>
                            <a:cxn ang="0">
                              <a:pos x="connsiteX42" y="connsiteY42"/>
                            </a:cxn>
                            <a:cxn ang="0">
                              <a:pos x="connsiteX43" y="connsiteY43"/>
                            </a:cxn>
                            <a:cxn ang="0">
                              <a:pos x="connsiteX44" y="connsiteY44"/>
                            </a:cxn>
                            <a:cxn ang="0">
                              <a:pos x="connsiteX45" y="connsiteY45"/>
                            </a:cxn>
                            <a:cxn ang="0">
                              <a:pos x="connsiteX46" y="connsiteY46"/>
                            </a:cxn>
                            <a:cxn ang="0">
                              <a:pos x="connsiteX47" y="connsiteY47"/>
                            </a:cxn>
                            <a:cxn ang="0">
                              <a:pos x="connsiteX48" y="connsiteY48"/>
                            </a:cxn>
                            <a:cxn ang="0">
                              <a:pos x="connsiteX49" y="connsiteY49"/>
                            </a:cxn>
                            <a:cxn ang="0">
                              <a:pos x="connsiteX50" y="connsiteY50"/>
                            </a:cxn>
                            <a:cxn ang="0">
                              <a:pos x="connsiteX51" y="connsiteY51"/>
                            </a:cxn>
                            <a:cxn ang="0">
                              <a:pos x="connsiteX52" y="connsiteY52"/>
                            </a:cxn>
                            <a:cxn ang="0">
                              <a:pos x="connsiteX53" y="connsiteY53"/>
                            </a:cxn>
                            <a:cxn ang="0">
                              <a:pos x="connsiteX54" y="connsiteY54"/>
                            </a:cxn>
                            <a:cxn ang="0">
                              <a:pos x="connsiteX55" y="connsiteY55"/>
                            </a:cxn>
                            <a:cxn ang="0">
                              <a:pos x="connsiteX56" y="connsiteY56"/>
                            </a:cxn>
                            <a:cxn ang="0">
                              <a:pos x="connsiteX57" y="connsiteY57"/>
                            </a:cxn>
                            <a:cxn ang="0">
                              <a:pos x="connsiteX58" y="connsiteY58"/>
                            </a:cxn>
                            <a:cxn ang="0">
                              <a:pos x="connsiteX59" y="connsiteY59"/>
                            </a:cxn>
                            <a:cxn ang="0">
                              <a:pos x="connsiteX60" y="connsiteY60"/>
                            </a:cxn>
                            <a:cxn ang="0">
                              <a:pos x="connsiteX61" y="connsiteY61"/>
                            </a:cxn>
                            <a:cxn ang="0">
                              <a:pos x="connsiteX62" y="connsiteY62"/>
                            </a:cxn>
                            <a:cxn ang="0">
                              <a:pos x="connsiteX63" y="connsiteY63"/>
                            </a:cxn>
                            <a:cxn ang="0">
                              <a:pos x="connsiteX64" y="connsiteY64"/>
                            </a:cxn>
                            <a:cxn ang="0">
                              <a:pos x="connsiteX65" y="connsiteY65"/>
                            </a:cxn>
                            <a:cxn ang="0">
                              <a:pos x="connsiteX66" y="connsiteY66"/>
                            </a:cxn>
                            <a:cxn ang="0">
                              <a:pos x="connsiteX67" y="connsiteY67"/>
                            </a:cxn>
                            <a:cxn ang="0">
                              <a:pos x="connsiteX68" y="connsiteY68"/>
                            </a:cxn>
                            <a:cxn ang="0">
                              <a:pos x="connsiteX69" y="connsiteY69"/>
                            </a:cxn>
                            <a:cxn ang="0">
                              <a:pos x="connsiteX70" y="connsiteY70"/>
                            </a:cxn>
                            <a:cxn ang="0">
                              <a:pos x="connsiteX71" y="connsiteY71"/>
                            </a:cxn>
                            <a:cxn ang="0">
                              <a:pos x="connsiteX72" y="connsiteY72"/>
                            </a:cxn>
                            <a:cxn ang="0">
                              <a:pos x="connsiteX73" y="connsiteY73"/>
                            </a:cxn>
                            <a:cxn ang="0">
                              <a:pos x="connsiteX74" y="connsiteY74"/>
                            </a:cxn>
                            <a:cxn ang="0">
                              <a:pos x="connsiteX75" y="connsiteY75"/>
                            </a:cxn>
                            <a:cxn ang="0">
                              <a:pos x="connsiteX76" y="connsiteY76"/>
                            </a:cxn>
                            <a:cxn ang="0">
                              <a:pos x="connsiteX77" y="connsiteY77"/>
                            </a:cxn>
                            <a:cxn ang="0">
                              <a:pos x="connsiteX78" y="connsiteY78"/>
                            </a:cxn>
                            <a:cxn ang="0">
                              <a:pos x="connsiteX79" y="connsiteY79"/>
                            </a:cxn>
                            <a:cxn ang="0">
                              <a:pos x="connsiteX80" y="connsiteY80"/>
                            </a:cxn>
                            <a:cxn ang="0">
                              <a:pos x="connsiteX81" y="connsiteY81"/>
                            </a:cxn>
                            <a:cxn ang="0">
                              <a:pos x="connsiteX82" y="connsiteY82"/>
                            </a:cxn>
                            <a:cxn ang="0">
                              <a:pos x="connsiteX83" y="connsiteY83"/>
                            </a:cxn>
                            <a:cxn ang="0">
                              <a:pos x="connsiteX84" y="connsiteY84"/>
                            </a:cxn>
                            <a:cxn ang="0">
                              <a:pos x="connsiteX85" y="connsiteY85"/>
                            </a:cxn>
                            <a:cxn ang="0">
                              <a:pos x="connsiteX86" y="connsiteY86"/>
                            </a:cxn>
                            <a:cxn ang="0">
                              <a:pos x="connsiteX87" y="connsiteY87"/>
                            </a:cxn>
                            <a:cxn ang="0">
                              <a:pos x="connsiteX88" y="connsiteY88"/>
                            </a:cxn>
                            <a:cxn ang="0">
                              <a:pos x="connsiteX89" y="connsiteY89"/>
                            </a:cxn>
                            <a:cxn ang="0">
                              <a:pos x="connsiteX90" y="connsiteY90"/>
                            </a:cxn>
                            <a:cxn ang="0">
                              <a:pos x="connsiteX91" y="connsiteY91"/>
                            </a:cxn>
                            <a:cxn ang="0">
                              <a:pos x="connsiteX92" y="connsiteY92"/>
                            </a:cxn>
                            <a:cxn ang="0">
                              <a:pos x="connsiteX93" y="connsiteY93"/>
                            </a:cxn>
                            <a:cxn ang="0">
                              <a:pos x="connsiteX94" y="connsiteY94"/>
                            </a:cxn>
                            <a:cxn ang="0">
                              <a:pos x="connsiteX95" y="connsiteY95"/>
                            </a:cxn>
                            <a:cxn ang="0">
                              <a:pos x="connsiteX96" y="connsiteY96"/>
                            </a:cxn>
                            <a:cxn ang="0">
                              <a:pos x="connsiteX97" y="connsiteY97"/>
                            </a:cxn>
                            <a:cxn ang="0">
                              <a:pos x="connsiteX98" y="connsiteY98"/>
                            </a:cxn>
                            <a:cxn ang="0">
                              <a:pos x="connsiteX99" y="connsiteY99"/>
                            </a:cxn>
                            <a:cxn ang="0">
                              <a:pos x="connsiteX100" y="connsiteY100"/>
                            </a:cxn>
                            <a:cxn ang="0">
                              <a:pos x="connsiteX101" y="connsiteY101"/>
                            </a:cxn>
                            <a:cxn ang="0">
                              <a:pos x="connsiteX102" y="connsiteY102"/>
                            </a:cxn>
                            <a:cxn ang="0">
                              <a:pos x="connsiteX103" y="connsiteY103"/>
                            </a:cxn>
                            <a:cxn ang="0">
                              <a:pos x="connsiteX104" y="connsiteY104"/>
                            </a:cxn>
                            <a:cxn ang="0">
                              <a:pos x="connsiteX105" y="connsiteY105"/>
                            </a:cxn>
                            <a:cxn ang="0">
                              <a:pos x="connsiteX106" y="connsiteY106"/>
                            </a:cxn>
                            <a:cxn ang="0">
                              <a:pos x="connsiteX107" y="connsiteY107"/>
                            </a:cxn>
                            <a:cxn ang="0">
                              <a:pos x="connsiteX108" y="connsiteY108"/>
                            </a:cxn>
                            <a:cxn ang="0">
                              <a:pos x="connsiteX109" y="connsiteY109"/>
                            </a:cxn>
                            <a:cxn ang="0">
                              <a:pos x="connsiteX110" y="connsiteY110"/>
                            </a:cxn>
                            <a:cxn ang="0">
                              <a:pos x="connsiteX111" y="connsiteY111"/>
                            </a:cxn>
                            <a:cxn ang="0">
                              <a:pos x="connsiteX112" y="connsiteY112"/>
                            </a:cxn>
                            <a:cxn ang="0">
                              <a:pos x="connsiteX113" y="connsiteY113"/>
                            </a:cxn>
                            <a:cxn ang="0">
                              <a:pos x="connsiteX114" y="connsiteY114"/>
                            </a:cxn>
                            <a:cxn ang="0">
                              <a:pos x="connsiteX115" y="connsiteY115"/>
                            </a:cxn>
                            <a:cxn ang="0">
                              <a:pos x="connsiteX116" y="connsiteY116"/>
                            </a:cxn>
                            <a:cxn ang="0">
                              <a:pos x="connsiteX117" y="connsiteY117"/>
                            </a:cxn>
                            <a:cxn ang="0">
                              <a:pos x="connsiteX118" y="connsiteY118"/>
                            </a:cxn>
                            <a:cxn ang="0">
                              <a:pos x="connsiteX119" y="connsiteY119"/>
                            </a:cxn>
                          </a:cxnLst>
                          <a:rect l="l" t="t" r="r" b="b"/>
                          <a:pathLst>
                            <a:path w="564550" h="428488">
                              <a:moveTo>
                                <a:pt x="131125" y="21397"/>
                              </a:moveTo>
                              <a:lnTo>
                                <a:pt x="119055" y="71872"/>
                              </a:lnTo>
                              <a:lnTo>
                                <a:pt x="114117" y="76810"/>
                              </a:lnTo>
                              <a:lnTo>
                                <a:pt x="108631" y="79004"/>
                              </a:lnTo>
                              <a:lnTo>
                                <a:pt x="77907" y="119055"/>
                              </a:lnTo>
                              <a:lnTo>
                                <a:pt x="71323" y="147036"/>
                              </a:lnTo>
                              <a:lnTo>
                                <a:pt x="68580" y="150328"/>
                              </a:lnTo>
                              <a:lnTo>
                                <a:pt x="60350" y="149779"/>
                              </a:lnTo>
                              <a:lnTo>
                                <a:pt x="54864" y="153619"/>
                              </a:lnTo>
                              <a:lnTo>
                                <a:pt x="48280" y="167335"/>
                              </a:lnTo>
                              <a:lnTo>
                                <a:pt x="45537" y="165141"/>
                              </a:lnTo>
                              <a:lnTo>
                                <a:pt x="42245" y="236464"/>
                              </a:lnTo>
                              <a:lnTo>
                                <a:pt x="36759" y="240853"/>
                              </a:lnTo>
                              <a:lnTo>
                                <a:pt x="29078" y="244145"/>
                              </a:lnTo>
                              <a:lnTo>
                                <a:pt x="13716" y="242499"/>
                              </a:lnTo>
                              <a:lnTo>
                                <a:pt x="7132" y="244694"/>
                              </a:lnTo>
                              <a:lnTo>
                                <a:pt x="7132" y="255666"/>
                              </a:lnTo>
                              <a:lnTo>
                                <a:pt x="3292" y="258410"/>
                              </a:lnTo>
                              <a:lnTo>
                                <a:pt x="0" y="263896"/>
                              </a:lnTo>
                              <a:lnTo>
                                <a:pt x="3841" y="266639"/>
                              </a:lnTo>
                              <a:lnTo>
                                <a:pt x="8230" y="267188"/>
                              </a:lnTo>
                              <a:lnTo>
                                <a:pt x="13716" y="271028"/>
                              </a:lnTo>
                              <a:lnTo>
                                <a:pt x="19202" y="270480"/>
                              </a:lnTo>
                              <a:lnTo>
                                <a:pt x="26883" y="272674"/>
                              </a:lnTo>
                              <a:lnTo>
                                <a:pt x="32370" y="275966"/>
                              </a:lnTo>
                              <a:lnTo>
                                <a:pt x="38405" y="282550"/>
                              </a:lnTo>
                              <a:lnTo>
                                <a:pt x="39502" y="289133"/>
                              </a:lnTo>
                              <a:lnTo>
                                <a:pt x="48829" y="300655"/>
                              </a:lnTo>
                              <a:lnTo>
                                <a:pt x="64191" y="309982"/>
                              </a:lnTo>
                              <a:lnTo>
                                <a:pt x="80650" y="350033"/>
                              </a:lnTo>
                              <a:lnTo>
                                <a:pt x="86685" y="353873"/>
                              </a:lnTo>
                              <a:lnTo>
                                <a:pt x="102596" y="357165"/>
                              </a:lnTo>
                              <a:lnTo>
                                <a:pt x="107533" y="360457"/>
                              </a:lnTo>
                              <a:lnTo>
                                <a:pt x="106985" y="387340"/>
                              </a:lnTo>
                              <a:lnTo>
                                <a:pt x="115763" y="390083"/>
                              </a:lnTo>
                              <a:lnTo>
                                <a:pt x="137160" y="390083"/>
                              </a:lnTo>
                              <a:lnTo>
                                <a:pt x="174468" y="410932"/>
                              </a:lnTo>
                              <a:lnTo>
                                <a:pt x="182697" y="418613"/>
                              </a:lnTo>
                              <a:lnTo>
                                <a:pt x="239207" y="428488"/>
                              </a:lnTo>
                              <a:lnTo>
                                <a:pt x="255666" y="420258"/>
                              </a:lnTo>
                              <a:lnTo>
                                <a:pt x="266090" y="408737"/>
                              </a:lnTo>
                              <a:lnTo>
                                <a:pt x="292425" y="402153"/>
                              </a:lnTo>
                              <a:lnTo>
                                <a:pt x="314919" y="413126"/>
                              </a:lnTo>
                              <a:lnTo>
                                <a:pt x="334122" y="412577"/>
                              </a:lnTo>
                              <a:lnTo>
                                <a:pt x="336316" y="409834"/>
                              </a:lnTo>
                              <a:lnTo>
                                <a:pt x="370332" y="397216"/>
                              </a:lnTo>
                              <a:lnTo>
                                <a:pt x="387889" y="382402"/>
                              </a:lnTo>
                              <a:lnTo>
                                <a:pt x="408188" y="373624"/>
                              </a:lnTo>
                              <a:lnTo>
                                <a:pt x="452628" y="372527"/>
                              </a:lnTo>
                              <a:lnTo>
                                <a:pt x="563453" y="260604"/>
                              </a:lnTo>
                              <a:lnTo>
                                <a:pt x="564551" y="257861"/>
                              </a:lnTo>
                              <a:lnTo>
                                <a:pt x="528340" y="259507"/>
                              </a:lnTo>
                              <a:lnTo>
                                <a:pt x="414772" y="219456"/>
                              </a:lnTo>
                              <a:lnTo>
                                <a:pt x="410383" y="213970"/>
                              </a:lnTo>
                              <a:lnTo>
                                <a:pt x="396118" y="203546"/>
                              </a:lnTo>
                              <a:lnTo>
                                <a:pt x="391729" y="196962"/>
                              </a:lnTo>
                              <a:lnTo>
                                <a:pt x="387340" y="193121"/>
                              </a:lnTo>
                              <a:lnTo>
                                <a:pt x="385694" y="188732"/>
                              </a:lnTo>
                              <a:lnTo>
                                <a:pt x="378562" y="181600"/>
                              </a:lnTo>
                              <a:lnTo>
                                <a:pt x="376916" y="178308"/>
                              </a:lnTo>
                              <a:lnTo>
                                <a:pt x="371978" y="173370"/>
                              </a:lnTo>
                              <a:lnTo>
                                <a:pt x="368137" y="158009"/>
                              </a:lnTo>
                              <a:lnTo>
                                <a:pt x="369235" y="154717"/>
                              </a:lnTo>
                              <a:lnTo>
                                <a:pt x="371978" y="150328"/>
                              </a:lnTo>
                              <a:lnTo>
                                <a:pt x="371978" y="149779"/>
                              </a:lnTo>
                              <a:lnTo>
                                <a:pt x="365394" y="144841"/>
                              </a:lnTo>
                              <a:lnTo>
                                <a:pt x="362651" y="143744"/>
                              </a:lnTo>
                              <a:lnTo>
                                <a:pt x="354421" y="147036"/>
                              </a:lnTo>
                              <a:lnTo>
                                <a:pt x="353324" y="149230"/>
                              </a:lnTo>
                              <a:lnTo>
                                <a:pt x="352227" y="149779"/>
                              </a:lnTo>
                              <a:lnTo>
                                <a:pt x="348386" y="148682"/>
                              </a:lnTo>
                              <a:lnTo>
                                <a:pt x="344546" y="149779"/>
                              </a:lnTo>
                              <a:lnTo>
                                <a:pt x="336316" y="149230"/>
                              </a:lnTo>
                              <a:lnTo>
                                <a:pt x="331927" y="144841"/>
                              </a:lnTo>
                              <a:lnTo>
                                <a:pt x="330830" y="138257"/>
                              </a:lnTo>
                              <a:lnTo>
                                <a:pt x="341254" y="121250"/>
                              </a:lnTo>
                              <a:lnTo>
                                <a:pt x="346741" y="98207"/>
                              </a:lnTo>
                              <a:lnTo>
                                <a:pt x="350581" y="94915"/>
                              </a:lnTo>
                              <a:lnTo>
                                <a:pt x="343997" y="85039"/>
                              </a:lnTo>
                              <a:lnTo>
                                <a:pt x="333025" y="77907"/>
                              </a:lnTo>
                              <a:lnTo>
                                <a:pt x="328635" y="67483"/>
                              </a:lnTo>
                              <a:lnTo>
                                <a:pt x="288036" y="26883"/>
                              </a:lnTo>
                              <a:lnTo>
                                <a:pt x="282550" y="26335"/>
                              </a:lnTo>
                              <a:lnTo>
                                <a:pt x="266639" y="15911"/>
                              </a:lnTo>
                              <a:lnTo>
                                <a:pt x="258409" y="15911"/>
                              </a:lnTo>
                              <a:lnTo>
                                <a:pt x="257312" y="17008"/>
                              </a:lnTo>
                              <a:lnTo>
                                <a:pt x="255118" y="17008"/>
                              </a:lnTo>
                              <a:lnTo>
                                <a:pt x="253472" y="14813"/>
                              </a:lnTo>
                              <a:lnTo>
                                <a:pt x="246888" y="14813"/>
                              </a:lnTo>
                              <a:lnTo>
                                <a:pt x="243596" y="12070"/>
                              </a:lnTo>
                              <a:lnTo>
                                <a:pt x="241402" y="11522"/>
                              </a:lnTo>
                              <a:lnTo>
                                <a:pt x="238110" y="14813"/>
                              </a:lnTo>
                              <a:lnTo>
                                <a:pt x="233172" y="15362"/>
                              </a:lnTo>
                              <a:lnTo>
                                <a:pt x="232075" y="16459"/>
                              </a:lnTo>
                              <a:lnTo>
                                <a:pt x="230429" y="16459"/>
                              </a:lnTo>
                              <a:lnTo>
                                <a:pt x="228783" y="12070"/>
                              </a:lnTo>
                              <a:lnTo>
                                <a:pt x="224942" y="8778"/>
                              </a:lnTo>
                              <a:lnTo>
                                <a:pt x="221651" y="8778"/>
                              </a:lnTo>
                              <a:lnTo>
                                <a:pt x="221651" y="11522"/>
                              </a:lnTo>
                              <a:lnTo>
                                <a:pt x="217810" y="14813"/>
                              </a:lnTo>
                              <a:lnTo>
                                <a:pt x="208483" y="15911"/>
                              </a:lnTo>
                              <a:lnTo>
                                <a:pt x="205740" y="17557"/>
                              </a:lnTo>
                              <a:lnTo>
                                <a:pt x="200254" y="17008"/>
                              </a:lnTo>
                              <a:lnTo>
                                <a:pt x="194219" y="9876"/>
                              </a:lnTo>
                              <a:lnTo>
                                <a:pt x="194219" y="7681"/>
                              </a:lnTo>
                              <a:lnTo>
                                <a:pt x="192573" y="7133"/>
                              </a:lnTo>
                              <a:lnTo>
                                <a:pt x="187635" y="7133"/>
                              </a:lnTo>
                              <a:lnTo>
                                <a:pt x="180503" y="0"/>
                              </a:lnTo>
                              <a:lnTo>
                                <a:pt x="167335" y="29627"/>
                              </a:lnTo>
                              <a:lnTo>
                                <a:pt x="161300" y="23043"/>
                              </a:lnTo>
                              <a:lnTo>
                                <a:pt x="161300" y="20300"/>
                              </a:lnTo>
                              <a:lnTo>
                                <a:pt x="158008" y="16459"/>
                              </a:lnTo>
                              <a:lnTo>
                                <a:pt x="152522" y="16459"/>
                              </a:lnTo>
                              <a:lnTo>
                                <a:pt x="150327" y="19202"/>
                              </a:lnTo>
                              <a:lnTo>
                                <a:pt x="149779" y="21946"/>
                              </a:lnTo>
                              <a:lnTo>
                                <a:pt x="147584" y="23592"/>
                              </a:lnTo>
                              <a:lnTo>
                                <a:pt x="145390" y="23592"/>
                              </a:lnTo>
                              <a:lnTo>
                                <a:pt x="142098" y="21946"/>
                              </a:lnTo>
                              <a:lnTo>
                                <a:pt x="132771" y="21946"/>
                              </a:lnTo>
                              <a:lnTo>
                                <a:pt x="131125" y="21397"/>
                              </a:lnTo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234" name="Graphic 7">
                          <a:extLst>
                            <a:ext uri="{FF2B5EF4-FFF2-40B4-BE49-F238E27FC236}">
                              <a16:creationId xmlns:a16="http://schemas.microsoft.com/office/drawing/2014/main" id="{C34AE9AE-77DE-DB33-2114-16AAC3A52626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119078" y="4779123"/>
                          <a:ext cx="313337" cy="500654"/>
                        </a:xfrm>
                        <a:custGeom>
                          <a:avLst/>
                          <a:gdLst>
                            <a:gd name="connsiteX0" fmla="*/ 397216 w 401055"/>
                            <a:gd name="connsiteY0" fmla="*/ 0 h 640811"/>
                            <a:gd name="connsiteX1" fmla="*/ 399959 w 401055"/>
                            <a:gd name="connsiteY1" fmla="*/ 1097 h 640811"/>
                            <a:gd name="connsiteX2" fmla="*/ 401056 w 401055"/>
                            <a:gd name="connsiteY2" fmla="*/ 4938 h 640811"/>
                            <a:gd name="connsiteX3" fmla="*/ 399959 w 401055"/>
                            <a:gd name="connsiteY3" fmla="*/ 6035 h 640811"/>
                            <a:gd name="connsiteX4" fmla="*/ 400507 w 401055"/>
                            <a:gd name="connsiteY4" fmla="*/ 18105 h 640811"/>
                            <a:gd name="connsiteX5" fmla="*/ 387889 w 401055"/>
                            <a:gd name="connsiteY5" fmla="*/ 47732 h 640811"/>
                            <a:gd name="connsiteX6" fmla="*/ 391180 w 401055"/>
                            <a:gd name="connsiteY6" fmla="*/ 86685 h 640811"/>
                            <a:gd name="connsiteX7" fmla="*/ 387340 w 401055"/>
                            <a:gd name="connsiteY7" fmla="*/ 90526 h 640811"/>
                            <a:gd name="connsiteX8" fmla="*/ 388437 w 401055"/>
                            <a:gd name="connsiteY8" fmla="*/ 97109 h 640811"/>
                            <a:gd name="connsiteX9" fmla="*/ 390083 w 401055"/>
                            <a:gd name="connsiteY9" fmla="*/ 97109 h 640811"/>
                            <a:gd name="connsiteX10" fmla="*/ 391729 w 401055"/>
                            <a:gd name="connsiteY10" fmla="*/ 134417 h 640811"/>
                            <a:gd name="connsiteX11" fmla="*/ 390083 w 401055"/>
                            <a:gd name="connsiteY11" fmla="*/ 139903 h 640811"/>
                            <a:gd name="connsiteX12" fmla="*/ 392826 w 401055"/>
                            <a:gd name="connsiteY12" fmla="*/ 142098 h 640811"/>
                            <a:gd name="connsiteX13" fmla="*/ 395569 w 401055"/>
                            <a:gd name="connsiteY13" fmla="*/ 139903 h 640811"/>
                            <a:gd name="connsiteX14" fmla="*/ 397764 w 401055"/>
                            <a:gd name="connsiteY14" fmla="*/ 144841 h 640811"/>
                            <a:gd name="connsiteX15" fmla="*/ 393924 w 401055"/>
                            <a:gd name="connsiteY15" fmla="*/ 149779 h 640811"/>
                            <a:gd name="connsiteX16" fmla="*/ 397216 w 401055"/>
                            <a:gd name="connsiteY16" fmla="*/ 150328 h 640811"/>
                            <a:gd name="connsiteX17" fmla="*/ 399959 w 401055"/>
                            <a:gd name="connsiteY17" fmla="*/ 152522 h 640811"/>
                            <a:gd name="connsiteX18" fmla="*/ 399959 w 401055"/>
                            <a:gd name="connsiteY18" fmla="*/ 158557 h 640811"/>
                            <a:gd name="connsiteX19" fmla="*/ 394472 w 401055"/>
                            <a:gd name="connsiteY19" fmla="*/ 172822 h 640811"/>
                            <a:gd name="connsiteX20" fmla="*/ 388437 w 401055"/>
                            <a:gd name="connsiteY20" fmla="*/ 179405 h 640811"/>
                            <a:gd name="connsiteX21" fmla="*/ 393924 w 401055"/>
                            <a:gd name="connsiteY21" fmla="*/ 181051 h 640811"/>
                            <a:gd name="connsiteX22" fmla="*/ 391729 w 401055"/>
                            <a:gd name="connsiteY22" fmla="*/ 191476 h 640811"/>
                            <a:gd name="connsiteX23" fmla="*/ 385694 w 401055"/>
                            <a:gd name="connsiteY23" fmla="*/ 194767 h 640811"/>
                            <a:gd name="connsiteX24" fmla="*/ 371978 w 401055"/>
                            <a:gd name="connsiteY24" fmla="*/ 214518 h 640811"/>
                            <a:gd name="connsiteX25" fmla="*/ 360457 w 401055"/>
                            <a:gd name="connsiteY25" fmla="*/ 220553 h 640811"/>
                            <a:gd name="connsiteX26" fmla="*/ 364297 w 401055"/>
                            <a:gd name="connsiteY26" fmla="*/ 223845 h 640811"/>
                            <a:gd name="connsiteX27" fmla="*/ 361554 w 401055"/>
                            <a:gd name="connsiteY27" fmla="*/ 229880 h 640811"/>
                            <a:gd name="connsiteX28" fmla="*/ 339608 w 401055"/>
                            <a:gd name="connsiteY28" fmla="*/ 242499 h 640811"/>
                            <a:gd name="connsiteX29" fmla="*/ 335768 w 401055"/>
                            <a:gd name="connsiteY29" fmla="*/ 250180 h 640811"/>
                            <a:gd name="connsiteX30" fmla="*/ 326441 w 401055"/>
                            <a:gd name="connsiteY30" fmla="*/ 255118 h 640811"/>
                            <a:gd name="connsiteX31" fmla="*/ 314920 w 401055"/>
                            <a:gd name="connsiteY31" fmla="*/ 255118 h 640811"/>
                            <a:gd name="connsiteX32" fmla="*/ 256764 w 401055"/>
                            <a:gd name="connsiteY32" fmla="*/ 287488 h 640811"/>
                            <a:gd name="connsiteX33" fmla="*/ 255118 w 401055"/>
                            <a:gd name="connsiteY33" fmla="*/ 294071 h 640811"/>
                            <a:gd name="connsiteX34" fmla="*/ 251826 w 401055"/>
                            <a:gd name="connsiteY34" fmla="*/ 296266 h 640811"/>
                            <a:gd name="connsiteX35" fmla="*/ 246340 w 401055"/>
                            <a:gd name="connsiteY35" fmla="*/ 297363 h 640811"/>
                            <a:gd name="connsiteX36" fmla="*/ 243048 w 401055"/>
                            <a:gd name="connsiteY36" fmla="*/ 298460 h 640811"/>
                            <a:gd name="connsiteX37" fmla="*/ 247985 w 401055"/>
                            <a:gd name="connsiteY37" fmla="*/ 302301 h 640811"/>
                            <a:gd name="connsiteX38" fmla="*/ 232075 w 401055"/>
                            <a:gd name="connsiteY38" fmla="*/ 323149 h 640811"/>
                            <a:gd name="connsiteX39" fmla="*/ 228234 w 401055"/>
                            <a:gd name="connsiteY39" fmla="*/ 321503 h 640811"/>
                            <a:gd name="connsiteX40" fmla="*/ 226040 w 401055"/>
                            <a:gd name="connsiteY40" fmla="*/ 314920 h 640811"/>
                            <a:gd name="connsiteX41" fmla="*/ 221651 w 401055"/>
                            <a:gd name="connsiteY41" fmla="*/ 325892 h 640811"/>
                            <a:gd name="connsiteX42" fmla="*/ 215616 w 401055"/>
                            <a:gd name="connsiteY42" fmla="*/ 328636 h 640811"/>
                            <a:gd name="connsiteX43" fmla="*/ 181600 w 401055"/>
                            <a:gd name="connsiteY43" fmla="*/ 362651 h 640811"/>
                            <a:gd name="connsiteX44" fmla="*/ 174468 w 401055"/>
                            <a:gd name="connsiteY44" fmla="*/ 364846 h 640811"/>
                            <a:gd name="connsiteX45" fmla="*/ 173370 w 401055"/>
                            <a:gd name="connsiteY45" fmla="*/ 391181 h 640811"/>
                            <a:gd name="connsiteX46" fmla="*/ 182697 w 401055"/>
                            <a:gd name="connsiteY46" fmla="*/ 398313 h 640811"/>
                            <a:gd name="connsiteX47" fmla="*/ 185440 w 401055"/>
                            <a:gd name="connsiteY47" fmla="*/ 402702 h 640811"/>
                            <a:gd name="connsiteX48" fmla="*/ 185989 w 401055"/>
                            <a:gd name="connsiteY48" fmla="*/ 408737 h 640811"/>
                            <a:gd name="connsiteX49" fmla="*/ 187086 w 401055"/>
                            <a:gd name="connsiteY49" fmla="*/ 409286 h 640811"/>
                            <a:gd name="connsiteX50" fmla="*/ 198059 w 401055"/>
                            <a:gd name="connsiteY50" fmla="*/ 455920 h 640811"/>
                            <a:gd name="connsiteX51" fmla="*/ 201900 w 401055"/>
                            <a:gd name="connsiteY51" fmla="*/ 452628 h 640811"/>
                            <a:gd name="connsiteX52" fmla="*/ 205192 w 401055"/>
                            <a:gd name="connsiteY52" fmla="*/ 454823 h 640811"/>
                            <a:gd name="connsiteX53" fmla="*/ 193670 w 401055"/>
                            <a:gd name="connsiteY53" fmla="*/ 527792 h 640811"/>
                            <a:gd name="connsiteX54" fmla="*/ 194767 w 401055"/>
                            <a:gd name="connsiteY54" fmla="*/ 535473 h 640811"/>
                            <a:gd name="connsiteX55" fmla="*/ 197510 w 401055"/>
                            <a:gd name="connsiteY55" fmla="*/ 529438 h 640811"/>
                            <a:gd name="connsiteX56" fmla="*/ 202448 w 401055"/>
                            <a:gd name="connsiteY56" fmla="*/ 522854 h 640811"/>
                            <a:gd name="connsiteX57" fmla="*/ 200254 w 401055"/>
                            <a:gd name="connsiteY57" fmla="*/ 534376 h 640811"/>
                            <a:gd name="connsiteX58" fmla="*/ 186538 w 401055"/>
                            <a:gd name="connsiteY58" fmla="*/ 554675 h 640811"/>
                            <a:gd name="connsiteX59" fmla="*/ 176662 w 401055"/>
                            <a:gd name="connsiteY59" fmla="*/ 562356 h 640811"/>
                            <a:gd name="connsiteX60" fmla="*/ 164044 w 401055"/>
                            <a:gd name="connsiteY60" fmla="*/ 567294 h 640811"/>
                            <a:gd name="connsiteX61" fmla="*/ 155814 w 401055"/>
                            <a:gd name="connsiteY61" fmla="*/ 567842 h 640811"/>
                            <a:gd name="connsiteX62" fmla="*/ 106985 w 401055"/>
                            <a:gd name="connsiteY62" fmla="*/ 590886 h 640811"/>
                            <a:gd name="connsiteX63" fmla="*/ 92720 w 401055"/>
                            <a:gd name="connsiteY63" fmla="*/ 611185 h 640811"/>
                            <a:gd name="connsiteX64" fmla="*/ 91623 w 401055"/>
                            <a:gd name="connsiteY64" fmla="*/ 611185 h 640811"/>
                            <a:gd name="connsiteX65" fmla="*/ 101498 w 401055"/>
                            <a:gd name="connsiteY65" fmla="*/ 622706 h 640811"/>
                            <a:gd name="connsiteX66" fmla="*/ 105339 w 401055"/>
                            <a:gd name="connsiteY66" fmla="*/ 619415 h 640811"/>
                            <a:gd name="connsiteX67" fmla="*/ 107533 w 401055"/>
                            <a:gd name="connsiteY67" fmla="*/ 615025 h 640811"/>
                            <a:gd name="connsiteX68" fmla="*/ 105339 w 401055"/>
                            <a:gd name="connsiteY68" fmla="*/ 640812 h 640811"/>
                            <a:gd name="connsiteX69" fmla="*/ 76810 w 401055"/>
                            <a:gd name="connsiteY69" fmla="*/ 640812 h 640811"/>
                            <a:gd name="connsiteX70" fmla="*/ 57059 w 401055"/>
                            <a:gd name="connsiteY70" fmla="*/ 471282 h 640811"/>
                            <a:gd name="connsiteX71" fmla="*/ 58156 w 401055"/>
                            <a:gd name="connsiteY71" fmla="*/ 470185 h 640811"/>
                            <a:gd name="connsiteX72" fmla="*/ 57607 w 401055"/>
                            <a:gd name="connsiteY72" fmla="*/ 460309 h 640811"/>
                            <a:gd name="connsiteX73" fmla="*/ 60350 w 401055"/>
                            <a:gd name="connsiteY73" fmla="*/ 452080 h 640811"/>
                            <a:gd name="connsiteX74" fmla="*/ 64740 w 401055"/>
                            <a:gd name="connsiteY74" fmla="*/ 445496 h 640811"/>
                            <a:gd name="connsiteX75" fmla="*/ 77358 w 401055"/>
                            <a:gd name="connsiteY75" fmla="*/ 435620 h 640811"/>
                            <a:gd name="connsiteX76" fmla="*/ 106985 w 401055"/>
                            <a:gd name="connsiteY76" fmla="*/ 365943 h 640811"/>
                            <a:gd name="connsiteX77" fmla="*/ 100401 w 401055"/>
                            <a:gd name="connsiteY77" fmla="*/ 326990 h 640811"/>
                            <a:gd name="connsiteX78" fmla="*/ 106985 w 401055"/>
                            <a:gd name="connsiteY78" fmla="*/ 314371 h 640811"/>
                            <a:gd name="connsiteX79" fmla="*/ 111374 w 401055"/>
                            <a:gd name="connsiteY79" fmla="*/ 266090 h 640811"/>
                            <a:gd name="connsiteX80" fmla="*/ 104790 w 401055"/>
                            <a:gd name="connsiteY80" fmla="*/ 234818 h 640811"/>
                            <a:gd name="connsiteX81" fmla="*/ 98755 w 401055"/>
                            <a:gd name="connsiteY81" fmla="*/ 228234 h 640811"/>
                            <a:gd name="connsiteX82" fmla="*/ 37308 w 401055"/>
                            <a:gd name="connsiteY82" fmla="*/ 207386 h 640811"/>
                            <a:gd name="connsiteX83" fmla="*/ 9876 w 401055"/>
                            <a:gd name="connsiteY83" fmla="*/ 207386 h 640811"/>
                            <a:gd name="connsiteX84" fmla="*/ 9876 w 401055"/>
                            <a:gd name="connsiteY84" fmla="*/ 194219 h 640811"/>
                            <a:gd name="connsiteX85" fmla="*/ 7132 w 401055"/>
                            <a:gd name="connsiteY85" fmla="*/ 192024 h 640811"/>
                            <a:gd name="connsiteX86" fmla="*/ 0 w 401055"/>
                            <a:gd name="connsiteY86" fmla="*/ 173370 h 640811"/>
                            <a:gd name="connsiteX87" fmla="*/ 119055 w 401055"/>
                            <a:gd name="connsiteY87" fmla="*/ 133320 h 640811"/>
                            <a:gd name="connsiteX88" fmla="*/ 119604 w 401055"/>
                            <a:gd name="connsiteY88" fmla="*/ 134966 h 640811"/>
                            <a:gd name="connsiteX89" fmla="*/ 123444 w 401055"/>
                            <a:gd name="connsiteY89" fmla="*/ 136612 h 640811"/>
                            <a:gd name="connsiteX90" fmla="*/ 129479 w 401055"/>
                            <a:gd name="connsiteY90" fmla="*/ 147584 h 640811"/>
                            <a:gd name="connsiteX91" fmla="*/ 136063 w 401055"/>
                            <a:gd name="connsiteY91" fmla="*/ 154168 h 640811"/>
                            <a:gd name="connsiteX92" fmla="*/ 138257 w 401055"/>
                            <a:gd name="connsiteY92" fmla="*/ 154717 h 640811"/>
                            <a:gd name="connsiteX93" fmla="*/ 164044 w 401055"/>
                            <a:gd name="connsiteY93" fmla="*/ 149779 h 640811"/>
                            <a:gd name="connsiteX94" fmla="*/ 166787 w 401055"/>
                            <a:gd name="connsiteY94" fmla="*/ 150876 h 640811"/>
                            <a:gd name="connsiteX95" fmla="*/ 169530 w 401055"/>
                            <a:gd name="connsiteY95" fmla="*/ 154717 h 640811"/>
                            <a:gd name="connsiteX96" fmla="*/ 173370 w 401055"/>
                            <a:gd name="connsiteY96" fmla="*/ 181600 h 640811"/>
                            <a:gd name="connsiteX97" fmla="*/ 171176 w 401055"/>
                            <a:gd name="connsiteY97" fmla="*/ 185989 h 640811"/>
                            <a:gd name="connsiteX98" fmla="*/ 167335 w 401055"/>
                            <a:gd name="connsiteY98" fmla="*/ 190927 h 640811"/>
                            <a:gd name="connsiteX99" fmla="*/ 167884 w 401055"/>
                            <a:gd name="connsiteY99" fmla="*/ 195865 h 640811"/>
                            <a:gd name="connsiteX100" fmla="*/ 164044 w 401055"/>
                            <a:gd name="connsiteY100" fmla="*/ 199157 h 640811"/>
                            <a:gd name="connsiteX101" fmla="*/ 161849 w 401055"/>
                            <a:gd name="connsiteY101" fmla="*/ 206289 h 640811"/>
                            <a:gd name="connsiteX102" fmla="*/ 164044 w 401055"/>
                            <a:gd name="connsiteY102" fmla="*/ 209032 h 640811"/>
                            <a:gd name="connsiteX103" fmla="*/ 167884 w 401055"/>
                            <a:gd name="connsiteY103" fmla="*/ 220005 h 640811"/>
                            <a:gd name="connsiteX104" fmla="*/ 170078 w 401055"/>
                            <a:gd name="connsiteY104" fmla="*/ 222199 h 640811"/>
                            <a:gd name="connsiteX105" fmla="*/ 172273 w 401055"/>
                            <a:gd name="connsiteY105" fmla="*/ 223297 h 640811"/>
                            <a:gd name="connsiteX106" fmla="*/ 183246 w 401055"/>
                            <a:gd name="connsiteY106" fmla="*/ 237561 h 640811"/>
                            <a:gd name="connsiteX107" fmla="*/ 190927 w 401055"/>
                            <a:gd name="connsiteY107" fmla="*/ 240853 h 640811"/>
                            <a:gd name="connsiteX108" fmla="*/ 193670 w 401055"/>
                            <a:gd name="connsiteY108" fmla="*/ 243596 h 640811"/>
                            <a:gd name="connsiteX109" fmla="*/ 193670 w 401055"/>
                            <a:gd name="connsiteY109" fmla="*/ 246340 h 640811"/>
                            <a:gd name="connsiteX110" fmla="*/ 190378 w 401055"/>
                            <a:gd name="connsiteY110" fmla="*/ 250180 h 640811"/>
                            <a:gd name="connsiteX111" fmla="*/ 190927 w 401055"/>
                            <a:gd name="connsiteY111" fmla="*/ 251826 h 640811"/>
                            <a:gd name="connsiteX112" fmla="*/ 199156 w 401055"/>
                            <a:gd name="connsiteY112" fmla="*/ 251826 h 640811"/>
                            <a:gd name="connsiteX113" fmla="*/ 200254 w 401055"/>
                            <a:gd name="connsiteY113" fmla="*/ 251277 h 640811"/>
                            <a:gd name="connsiteX114" fmla="*/ 200254 w 401055"/>
                            <a:gd name="connsiteY114" fmla="*/ 239756 h 640811"/>
                            <a:gd name="connsiteX115" fmla="*/ 198608 w 401055"/>
                            <a:gd name="connsiteY115" fmla="*/ 236464 h 640811"/>
                            <a:gd name="connsiteX116" fmla="*/ 196413 w 401055"/>
                            <a:gd name="connsiteY116" fmla="*/ 234818 h 640811"/>
                            <a:gd name="connsiteX117" fmla="*/ 195865 w 401055"/>
                            <a:gd name="connsiteY117" fmla="*/ 229880 h 640811"/>
                            <a:gd name="connsiteX118" fmla="*/ 198608 w 401055"/>
                            <a:gd name="connsiteY118" fmla="*/ 225491 h 640811"/>
                            <a:gd name="connsiteX119" fmla="*/ 198608 w 401055"/>
                            <a:gd name="connsiteY119" fmla="*/ 222748 h 640811"/>
                            <a:gd name="connsiteX120" fmla="*/ 199156 w 401055"/>
                            <a:gd name="connsiteY120" fmla="*/ 220005 h 640811"/>
                            <a:gd name="connsiteX121" fmla="*/ 216713 w 401055"/>
                            <a:gd name="connsiteY121" fmla="*/ 211775 h 640811"/>
                            <a:gd name="connsiteX122" fmla="*/ 218359 w 401055"/>
                            <a:gd name="connsiteY122" fmla="*/ 208483 h 640811"/>
                            <a:gd name="connsiteX123" fmla="*/ 219456 w 401055"/>
                            <a:gd name="connsiteY123" fmla="*/ 193670 h 640811"/>
                            <a:gd name="connsiteX124" fmla="*/ 221651 w 401055"/>
                            <a:gd name="connsiteY124" fmla="*/ 188732 h 640811"/>
                            <a:gd name="connsiteX125" fmla="*/ 218359 w 401055"/>
                            <a:gd name="connsiteY125" fmla="*/ 178857 h 640811"/>
                            <a:gd name="connsiteX126" fmla="*/ 222748 w 401055"/>
                            <a:gd name="connsiteY126" fmla="*/ 167335 h 640811"/>
                            <a:gd name="connsiteX127" fmla="*/ 221102 w 401055"/>
                            <a:gd name="connsiteY127" fmla="*/ 158009 h 640811"/>
                            <a:gd name="connsiteX128" fmla="*/ 183246 w 401055"/>
                            <a:gd name="connsiteY128" fmla="*/ 114117 h 640811"/>
                            <a:gd name="connsiteX129" fmla="*/ 182149 w 401055"/>
                            <a:gd name="connsiteY129" fmla="*/ 114117 h 640811"/>
                            <a:gd name="connsiteX130" fmla="*/ 178857 w 401055"/>
                            <a:gd name="connsiteY130" fmla="*/ 83393 h 640811"/>
                            <a:gd name="connsiteX131" fmla="*/ 177211 w 401055"/>
                            <a:gd name="connsiteY131" fmla="*/ 78456 h 640811"/>
                            <a:gd name="connsiteX132" fmla="*/ 176113 w 401055"/>
                            <a:gd name="connsiteY132" fmla="*/ 72969 h 640811"/>
                            <a:gd name="connsiteX133" fmla="*/ 187086 w 401055"/>
                            <a:gd name="connsiteY133" fmla="*/ 38954 h 640811"/>
                            <a:gd name="connsiteX134" fmla="*/ 217261 w 401055"/>
                            <a:gd name="connsiteY134" fmla="*/ 39502 h 640811"/>
                            <a:gd name="connsiteX135" fmla="*/ 221651 w 401055"/>
                            <a:gd name="connsiteY135" fmla="*/ 35662 h 640811"/>
                            <a:gd name="connsiteX136" fmla="*/ 226588 w 401055"/>
                            <a:gd name="connsiteY136" fmla="*/ 35662 h 640811"/>
                            <a:gd name="connsiteX137" fmla="*/ 231526 w 401055"/>
                            <a:gd name="connsiteY137" fmla="*/ 37308 h 640811"/>
                            <a:gd name="connsiteX138" fmla="*/ 238658 w 401055"/>
                            <a:gd name="connsiteY138" fmla="*/ 44440 h 640811"/>
                            <a:gd name="connsiteX139" fmla="*/ 241950 w 401055"/>
                            <a:gd name="connsiteY139" fmla="*/ 44989 h 640811"/>
                            <a:gd name="connsiteX140" fmla="*/ 247437 w 401055"/>
                            <a:gd name="connsiteY140" fmla="*/ 43343 h 640811"/>
                            <a:gd name="connsiteX141" fmla="*/ 252923 w 401055"/>
                            <a:gd name="connsiteY141" fmla="*/ 43343 h 640811"/>
                            <a:gd name="connsiteX142" fmla="*/ 260604 w 401055"/>
                            <a:gd name="connsiteY142" fmla="*/ 38405 h 640811"/>
                            <a:gd name="connsiteX143" fmla="*/ 289133 w 401055"/>
                            <a:gd name="connsiteY143" fmla="*/ 38405 h 640811"/>
                            <a:gd name="connsiteX144" fmla="*/ 298460 w 401055"/>
                            <a:gd name="connsiteY144" fmla="*/ 29078 h 640811"/>
                            <a:gd name="connsiteX145" fmla="*/ 307787 w 401055"/>
                            <a:gd name="connsiteY145" fmla="*/ 28529 h 640811"/>
                            <a:gd name="connsiteX146" fmla="*/ 314371 w 401055"/>
                            <a:gd name="connsiteY146" fmla="*/ 26335 h 640811"/>
                            <a:gd name="connsiteX147" fmla="*/ 323149 w 401055"/>
                            <a:gd name="connsiteY147" fmla="*/ 30724 h 640811"/>
                            <a:gd name="connsiteX148" fmla="*/ 336316 w 401055"/>
                            <a:gd name="connsiteY148" fmla="*/ 30175 h 640811"/>
                            <a:gd name="connsiteX149" fmla="*/ 371978 w 401055"/>
                            <a:gd name="connsiteY149" fmla="*/ 17557 h 640811"/>
                            <a:gd name="connsiteX150" fmla="*/ 397216 w 401055"/>
                            <a:gd name="connsiteY150" fmla="*/ 0 h 640811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  <a:cxn ang="0">
                              <a:pos x="connsiteX11" y="connsiteY11"/>
                            </a:cxn>
                            <a:cxn ang="0">
                              <a:pos x="connsiteX12" y="connsiteY12"/>
                            </a:cxn>
                            <a:cxn ang="0">
                              <a:pos x="connsiteX13" y="connsiteY13"/>
                            </a:cxn>
                            <a:cxn ang="0">
                              <a:pos x="connsiteX14" y="connsiteY14"/>
                            </a:cxn>
                            <a:cxn ang="0">
                              <a:pos x="connsiteX15" y="connsiteY15"/>
                            </a:cxn>
                            <a:cxn ang="0">
                              <a:pos x="connsiteX16" y="connsiteY16"/>
                            </a:cxn>
                            <a:cxn ang="0">
                              <a:pos x="connsiteX17" y="connsiteY17"/>
                            </a:cxn>
                            <a:cxn ang="0">
                              <a:pos x="connsiteX18" y="connsiteY18"/>
                            </a:cxn>
                            <a:cxn ang="0">
                              <a:pos x="connsiteX19" y="connsiteY19"/>
                            </a:cxn>
                            <a:cxn ang="0">
                              <a:pos x="connsiteX20" y="connsiteY20"/>
                            </a:cxn>
                            <a:cxn ang="0">
                              <a:pos x="connsiteX21" y="connsiteY21"/>
                            </a:cxn>
                            <a:cxn ang="0">
                              <a:pos x="connsiteX22" y="connsiteY22"/>
                            </a:cxn>
                            <a:cxn ang="0">
                              <a:pos x="connsiteX23" y="connsiteY23"/>
                            </a:cxn>
                            <a:cxn ang="0">
                              <a:pos x="connsiteX24" y="connsiteY24"/>
                            </a:cxn>
                            <a:cxn ang="0">
                              <a:pos x="connsiteX25" y="connsiteY25"/>
                            </a:cxn>
                            <a:cxn ang="0">
                              <a:pos x="connsiteX26" y="connsiteY26"/>
                            </a:cxn>
                            <a:cxn ang="0">
                              <a:pos x="connsiteX27" y="connsiteY27"/>
                            </a:cxn>
                            <a:cxn ang="0">
                              <a:pos x="connsiteX28" y="connsiteY28"/>
                            </a:cxn>
                            <a:cxn ang="0">
                              <a:pos x="connsiteX29" y="connsiteY29"/>
                            </a:cxn>
                            <a:cxn ang="0">
                              <a:pos x="connsiteX30" y="connsiteY30"/>
                            </a:cxn>
                            <a:cxn ang="0">
                              <a:pos x="connsiteX31" y="connsiteY31"/>
                            </a:cxn>
                            <a:cxn ang="0">
                              <a:pos x="connsiteX32" y="connsiteY32"/>
                            </a:cxn>
                            <a:cxn ang="0">
                              <a:pos x="connsiteX33" y="connsiteY33"/>
                            </a:cxn>
                            <a:cxn ang="0">
                              <a:pos x="connsiteX34" y="connsiteY34"/>
                            </a:cxn>
                            <a:cxn ang="0">
                              <a:pos x="connsiteX35" y="connsiteY35"/>
                            </a:cxn>
                            <a:cxn ang="0">
                              <a:pos x="connsiteX36" y="connsiteY36"/>
                            </a:cxn>
                            <a:cxn ang="0">
                              <a:pos x="connsiteX37" y="connsiteY37"/>
                            </a:cxn>
                            <a:cxn ang="0">
                              <a:pos x="connsiteX38" y="connsiteY38"/>
                            </a:cxn>
                            <a:cxn ang="0">
                              <a:pos x="connsiteX39" y="connsiteY39"/>
                            </a:cxn>
                            <a:cxn ang="0">
                              <a:pos x="connsiteX40" y="connsiteY40"/>
                            </a:cxn>
                            <a:cxn ang="0">
                              <a:pos x="connsiteX41" y="connsiteY41"/>
                            </a:cxn>
                            <a:cxn ang="0">
                              <a:pos x="connsiteX42" y="connsiteY42"/>
                            </a:cxn>
                            <a:cxn ang="0">
                              <a:pos x="connsiteX43" y="connsiteY43"/>
                            </a:cxn>
                            <a:cxn ang="0">
                              <a:pos x="connsiteX44" y="connsiteY44"/>
                            </a:cxn>
                            <a:cxn ang="0">
                              <a:pos x="connsiteX45" y="connsiteY45"/>
                            </a:cxn>
                            <a:cxn ang="0">
                              <a:pos x="connsiteX46" y="connsiteY46"/>
                            </a:cxn>
                            <a:cxn ang="0">
                              <a:pos x="connsiteX47" y="connsiteY47"/>
                            </a:cxn>
                            <a:cxn ang="0">
                              <a:pos x="connsiteX48" y="connsiteY48"/>
                            </a:cxn>
                            <a:cxn ang="0">
                              <a:pos x="connsiteX49" y="connsiteY49"/>
                            </a:cxn>
                            <a:cxn ang="0">
                              <a:pos x="connsiteX50" y="connsiteY50"/>
                            </a:cxn>
                            <a:cxn ang="0">
                              <a:pos x="connsiteX51" y="connsiteY51"/>
                            </a:cxn>
                            <a:cxn ang="0">
                              <a:pos x="connsiteX52" y="connsiteY52"/>
                            </a:cxn>
                            <a:cxn ang="0">
                              <a:pos x="connsiteX53" y="connsiteY53"/>
                            </a:cxn>
                            <a:cxn ang="0">
                              <a:pos x="connsiteX54" y="connsiteY54"/>
                            </a:cxn>
                            <a:cxn ang="0">
                              <a:pos x="connsiteX55" y="connsiteY55"/>
                            </a:cxn>
                            <a:cxn ang="0">
                              <a:pos x="connsiteX56" y="connsiteY56"/>
                            </a:cxn>
                            <a:cxn ang="0">
                              <a:pos x="connsiteX57" y="connsiteY57"/>
                            </a:cxn>
                            <a:cxn ang="0">
                              <a:pos x="connsiteX58" y="connsiteY58"/>
                            </a:cxn>
                            <a:cxn ang="0">
                              <a:pos x="connsiteX59" y="connsiteY59"/>
                            </a:cxn>
                            <a:cxn ang="0">
                              <a:pos x="connsiteX60" y="connsiteY60"/>
                            </a:cxn>
                            <a:cxn ang="0">
                              <a:pos x="connsiteX61" y="connsiteY61"/>
                            </a:cxn>
                            <a:cxn ang="0">
                              <a:pos x="connsiteX62" y="connsiteY62"/>
                            </a:cxn>
                            <a:cxn ang="0">
                              <a:pos x="connsiteX63" y="connsiteY63"/>
                            </a:cxn>
                            <a:cxn ang="0">
                              <a:pos x="connsiteX64" y="connsiteY64"/>
                            </a:cxn>
                            <a:cxn ang="0">
                              <a:pos x="connsiteX65" y="connsiteY65"/>
                            </a:cxn>
                            <a:cxn ang="0">
                              <a:pos x="connsiteX66" y="connsiteY66"/>
                            </a:cxn>
                            <a:cxn ang="0">
                              <a:pos x="connsiteX67" y="connsiteY67"/>
                            </a:cxn>
                            <a:cxn ang="0">
                              <a:pos x="connsiteX68" y="connsiteY68"/>
                            </a:cxn>
                            <a:cxn ang="0">
                              <a:pos x="connsiteX69" y="connsiteY69"/>
                            </a:cxn>
                            <a:cxn ang="0">
                              <a:pos x="connsiteX70" y="connsiteY70"/>
                            </a:cxn>
                            <a:cxn ang="0">
                              <a:pos x="connsiteX71" y="connsiteY71"/>
                            </a:cxn>
                            <a:cxn ang="0">
                              <a:pos x="connsiteX72" y="connsiteY72"/>
                            </a:cxn>
                            <a:cxn ang="0">
                              <a:pos x="connsiteX73" y="connsiteY73"/>
                            </a:cxn>
                            <a:cxn ang="0">
                              <a:pos x="connsiteX74" y="connsiteY74"/>
                            </a:cxn>
                            <a:cxn ang="0">
                              <a:pos x="connsiteX75" y="connsiteY75"/>
                            </a:cxn>
                            <a:cxn ang="0">
                              <a:pos x="connsiteX76" y="connsiteY76"/>
                            </a:cxn>
                            <a:cxn ang="0">
                              <a:pos x="connsiteX77" y="connsiteY77"/>
                            </a:cxn>
                            <a:cxn ang="0">
                              <a:pos x="connsiteX78" y="connsiteY78"/>
                            </a:cxn>
                            <a:cxn ang="0">
                              <a:pos x="connsiteX79" y="connsiteY79"/>
                            </a:cxn>
                            <a:cxn ang="0">
                              <a:pos x="connsiteX80" y="connsiteY80"/>
                            </a:cxn>
                            <a:cxn ang="0">
                              <a:pos x="connsiteX81" y="connsiteY81"/>
                            </a:cxn>
                            <a:cxn ang="0">
                              <a:pos x="connsiteX82" y="connsiteY82"/>
                            </a:cxn>
                            <a:cxn ang="0">
                              <a:pos x="connsiteX83" y="connsiteY83"/>
                            </a:cxn>
                            <a:cxn ang="0">
                              <a:pos x="connsiteX84" y="connsiteY84"/>
                            </a:cxn>
                            <a:cxn ang="0">
                              <a:pos x="connsiteX85" y="connsiteY85"/>
                            </a:cxn>
                            <a:cxn ang="0">
                              <a:pos x="connsiteX86" y="connsiteY86"/>
                            </a:cxn>
                            <a:cxn ang="0">
                              <a:pos x="connsiteX87" y="connsiteY87"/>
                            </a:cxn>
                            <a:cxn ang="0">
                              <a:pos x="connsiteX88" y="connsiteY88"/>
                            </a:cxn>
                            <a:cxn ang="0">
                              <a:pos x="connsiteX89" y="connsiteY89"/>
                            </a:cxn>
                            <a:cxn ang="0">
                              <a:pos x="connsiteX90" y="connsiteY90"/>
                            </a:cxn>
                            <a:cxn ang="0">
                              <a:pos x="connsiteX91" y="connsiteY91"/>
                            </a:cxn>
                            <a:cxn ang="0">
                              <a:pos x="connsiteX92" y="connsiteY92"/>
                            </a:cxn>
                            <a:cxn ang="0">
                              <a:pos x="connsiteX93" y="connsiteY93"/>
                            </a:cxn>
                            <a:cxn ang="0">
                              <a:pos x="connsiteX94" y="connsiteY94"/>
                            </a:cxn>
                            <a:cxn ang="0">
                              <a:pos x="connsiteX95" y="connsiteY95"/>
                            </a:cxn>
                            <a:cxn ang="0">
                              <a:pos x="connsiteX96" y="connsiteY96"/>
                            </a:cxn>
                            <a:cxn ang="0">
                              <a:pos x="connsiteX97" y="connsiteY97"/>
                            </a:cxn>
                            <a:cxn ang="0">
                              <a:pos x="connsiteX98" y="connsiteY98"/>
                            </a:cxn>
                            <a:cxn ang="0">
                              <a:pos x="connsiteX99" y="connsiteY99"/>
                            </a:cxn>
                            <a:cxn ang="0">
                              <a:pos x="connsiteX100" y="connsiteY100"/>
                            </a:cxn>
                            <a:cxn ang="0">
                              <a:pos x="connsiteX101" y="connsiteY101"/>
                            </a:cxn>
                            <a:cxn ang="0">
                              <a:pos x="connsiteX102" y="connsiteY102"/>
                            </a:cxn>
                            <a:cxn ang="0">
                              <a:pos x="connsiteX103" y="connsiteY103"/>
                            </a:cxn>
                            <a:cxn ang="0">
                              <a:pos x="connsiteX104" y="connsiteY104"/>
                            </a:cxn>
                            <a:cxn ang="0">
                              <a:pos x="connsiteX105" y="connsiteY105"/>
                            </a:cxn>
                            <a:cxn ang="0">
                              <a:pos x="connsiteX106" y="connsiteY106"/>
                            </a:cxn>
                            <a:cxn ang="0">
                              <a:pos x="connsiteX107" y="connsiteY107"/>
                            </a:cxn>
                            <a:cxn ang="0">
                              <a:pos x="connsiteX108" y="connsiteY108"/>
                            </a:cxn>
                            <a:cxn ang="0">
                              <a:pos x="connsiteX109" y="connsiteY109"/>
                            </a:cxn>
                            <a:cxn ang="0">
                              <a:pos x="connsiteX110" y="connsiteY110"/>
                            </a:cxn>
                            <a:cxn ang="0">
                              <a:pos x="connsiteX111" y="connsiteY111"/>
                            </a:cxn>
                            <a:cxn ang="0">
                              <a:pos x="connsiteX112" y="connsiteY112"/>
                            </a:cxn>
                            <a:cxn ang="0">
                              <a:pos x="connsiteX113" y="connsiteY113"/>
                            </a:cxn>
                            <a:cxn ang="0">
                              <a:pos x="connsiteX114" y="connsiteY114"/>
                            </a:cxn>
                            <a:cxn ang="0">
                              <a:pos x="connsiteX115" y="connsiteY115"/>
                            </a:cxn>
                            <a:cxn ang="0">
                              <a:pos x="connsiteX116" y="connsiteY116"/>
                            </a:cxn>
                            <a:cxn ang="0">
                              <a:pos x="connsiteX117" y="connsiteY117"/>
                            </a:cxn>
                            <a:cxn ang="0">
                              <a:pos x="connsiteX118" y="connsiteY118"/>
                            </a:cxn>
                            <a:cxn ang="0">
                              <a:pos x="connsiteX119" y="connsiteY119"/>
                            </a:cxn>
                            <a:cxn ang="0">
                              <a:pos x="connsiteX120" y="connsiteY120"/>
                            </a:cxn>
                            <a:cxn ang="0">
                              <a:pos x="connsiteX121" y="connsiteY121"/>
                            </a:cxn>
                            <a:cxn ang="0">
                              <a:pos x="connsiteX122" y="connsiteY122"/>
                            </a:cxn>
                            <a:cxn ang="0">
                              <a:pos x="connsiteX123" y="connsiteY123"/>
                            </a:cxn>
                            <a:cxn ang="0">
                              <a:pos x="connsiteX124" y="connsiteY124"/>
                            </a:cxn>
                            <a:cxn ang="0">
                              <a:pos x="connsiteX125" y="connsiteY125"/>
                            </a:cxn>
                            <a:cxn ang="0">
                              <a:pos x="connsiteX126" y="connsiteY126"/>
                            </a:cxn>
                            <a:cxn ang="0">
                              <a:pos x="connsiteX127" y="connsiteY127"/>
                            </a:cxn>
                            <a:cxn ang="0">
                              <a:pos x="connsiteX128" y="connsiteY128"/>
                            </a:cxn>
                            <a:cxn ang="0">
                              <a:pos x="connsiteX129" y="connsiteY129"/>
                            </a:cxn>
                            <a:cxn ang="0">
                              <a:pos x="connsiteX130" y="connsiteY130"/>
                            </a:cxn>
                            <a:cxn ang="0">
                              <a:pos x="connsiteX131" y="connsiteY131"/>
                            </a:cxn>
                            <a:cxn ang="0">
                              <a:pos x="connsiteX132" y="connsiteY132"/>
                            </a:cxn>
                            <a:cxn ang="0">
                              <a:pos x="connsiteX133" y="connsiteY133"/>
                            </a:cxn>
                            <a:cxn ang="0">
                              <a:pos x="connsiteX134" y="connsiteY134"/>
                            </a:cxn>
                            <a:cxn ang="0">
                              <a:pos x="connsiteX135" y="connsiteY135"/>
                            </a:cxn>
                            <a:cxn ang="0">
                              <a:pos x="connsiteX136" y="connsiteY136"/>
                            </a:cxn>
                            <a:cxn ang="0">
                              <a:pos x="connsiteX137" y="connsiteY137"/>
                            </a:cxn>
                            <a:cxn ang="0">
                              <a:pos x="connsiteX138" y="connsiteY138"/>
                            </a:cxn>
                            <a:cxn ang="0">
                              <a:pos x="connsiteX139" y="connsiteY139"/>
                            </a:cxn>
                            <a:cxn ang="0">
                              <a:pos x="connsiteX140" y="connsiteY140"/>
                            </a:cxn>
                            <a:cxn ang="0">
                              <a:pos x="connsiteX141" y="connsiteY141"/>
                            </a:cxn>
                            <a:cxn ang="0">
                              <a:pos x="connsiteX142" y="connsiteY142"/>
                            </a:cxn>
                            <a:cxn ang="0">
                              <a:pos x="connsiteX143" y="connsiteY143"/>
                            </a:cxn>
                            <a:cxn ang="0">
                              <a:pos x="connsiteX144" y="connsiteY144"/>
                            </a:cxn>
                            <a:cxn ang="0">
                              <a:pos x="connsiteX145" y="connsiteY145"/>
                            </a:cxn>
                            <a:cxn ang="0">
                              <a:pos x="connsiteX146" y="connsiteY146"/>
                            </a:cxn>
                            <a:cxn ang="0">
                              <a:pos x="connsiteX147" y="connsiteY147"/>
                            </a:cxn>
                            <a:cxn ang="0">
                              <a:pos x="connsiteX148" y="connsiteY148"/>
                            </a:cxn>
                            <a:cxn ang="0">
                              <a:pos x="connsiteX149" y="connsiteY149"/>
                            </a:cxn>
                            <a:cxn ang="0">
                              <a:pos x="connsiteX150" y="connsiteY150"/>
                            </a:cxn>
                          </a:cxnLst>
                          <a:rect l="l" t="t" r="r" b="b"/>
                          <a:pathLst>
                            <a:path w="401055" h="640811">
                              <a:moveTo>
                                <a:pt x="397216" y="0"/>
                              </a:moveTo>
                              <a:lnTo>
                                <a:pt x="399959" y="1097"/>
                              </a:lnTo>
                              <a:lnTo>
                                <a:pt x="401056" y="4938"/>
                              </a:lnTo>
                              <a:lnTo>
                                <a:pt x="399959" y="6035"/>
                              </a:lnTo>
                              <a:lnTo>
                                <a:pt x="400507" y="18105"/>
                              </a:lnTo>
                              <a:lnTo>
                                <a:pt x="387889" y="47732"/>
                              </a:lnTo>
                              <a:lnTo>
                                <a:pt x="391180" y="86685"/>
                              </a:lnTo>
                              <a:lnTo>
                                <a:pt x="387340" y="90526"/>
                              </a:lnTo>
                              <a:lnTo>
                                <a:pt x="388437" y="97109"/>
                              </a:lnTo>
                              <a:lnTo>
                                <a:pt x="390083" y="97109"/>
                              </a:lnTo>
                              <a:lnTo>
                                <a:pt x="391729" y="134417"/>
                              </a:lnTo>
                              <a:lnTo>
                                <a:pt x="390083" y="139903"/>
                              </a:lnTo>
                              <a:lnTo>
                                <a:pt x="392826" y="142098"/>
                              </a:lnTo>
                              <a:lnTo>
                                <a:pt x="395569" y="139903"/>
                              </a:lnTo>
                              <a:lnTo>
                                <a:pt x="397764" y="144841"/>
                              </a:lnTo>
                              <a:lnTo>
                                <a:pt x="393924" y="149779"/>
                              </a:lnTo>
                              <a:lnTo>
                                <a:pt x="397216" y="150328"/>
                              </a:lnTo>
                              <a:lnTo>
                                <a:pt x="399959" y="152522"/>
                              </a:lnTo>
                              <a:lnTo>
                                <a:pt x="399959" y="158557"/>
                              </a:lnTo>
                              <a:lnTo>
                                <a:pt x="394472" y="172822"/>
                              </a:lnTo>
                              <a:lnTo>
                                <a:pt x="388437" y="179405"/>
                              </a:lnTo>
                              <a:lnTo>
                                <a:pt x="393924" y="181051"/>
                              </a:lnTo>
                              <a:lnTo>
                                <a:pt x="391729" y="191476"/>
                              </a:lnTo>
                              <a:lnTo>
                                <a:pt x="385694" y="194767"/>
                              </a:lnTo>
                              <a:lnTo>
                                <a:pt x="371978" y="214518"/>
                              </a:lnTo>
                              <a:lnTo>
                                <a:pt x="360457" y="220553"/>
                              </a:lnTo>
                              <a:lnTo>
                                <a:pt x="364297" y="223845"/>
                              </a:lnTo>
                              <a:lnTo>
                                <a:pt x="361554" y="229880"/>
                              </a:lnTo>
                              <a:lnTo>
                                <a:pt x="339608" y="242499"/>
                              </a:lnTo>
                              <a:lnTo>
                                <a:pt x="335768" y="250180"/>
                              </a:lnTo>
                              <a:lnTo>
                                <a:pt x="326441" y="255118"/>
                              </a:lnTo>
                              <a:lnTo>
                                <a:pt x="314920" y="255118"/>
                              </a:lnTo>
                              <a:lnTo>
                                <a:pt x="256764" y="287488"/>
                              </a:lnTo>
                              <a:lnTo>
                                <a:pt x="255118" y="294071"/>
                              </a:lnTo>
                              <a:lnTo>
                                <a:pt x="251826" y="296266"/>
                              </a:lnTo>
                              <a:lnTo>
                                <a:pt x="246340" y="297363"/>
                              </a:lnTo>
                              <a:lnTo>
                                <a:pt x="243048" y="298460"/>
                              </a:lnTo>
                              <a:lnTo>
                                <a:pt x="247985" y="302301"/>
                              </a:lnTo>
                              <a:lnTo>
                                <a:pt x="232075" y="323149"/>
                              </a:lnTo>
                              <a:lnTo>
                                <a:pt x="228234" y="321503"/>
                              </a:lnTo>
                              <a:lnTo>
                                <a:pt x="226040" y="314920"/>
                              </a:lnTo>
                              <a:lnTo>
                                <a:pt x="221651" y="325892"/>
                              </a:lnTo>
                              <a:lnTo>
                                <a:pt x="215616" y="328636"/>
                              </a:lnTo>
                              <a:lnTo>
                                <a:pt x="181600" y="362651"/>
                              </a:lnTo>
                              <a:lnTo>
                                <a:pt x="174468" y="364846"/>
                              </a:lnTo>
                              <a:lnTo>
                                <a:pt x="173370" y="391181"/>
                              </a:lnTo>
                              <a:lnTo>
                                <a:pt x="182697" y="398313"/>
                              </a:lnTo>
                              <a:lnTo>
                                <a:pt x="185440" y="402702"/>
                              </a:lnTo>
                              <a:lnTo>
                                <a:pt x="185989" y="408737"/>
                              </a:lnTo>
                              <a:lnTo>
                                <a:pt x="187086" y="409286"/>
                              </a:lnTo>
                              <a:lnTo>
                                <a:pt x="198059" y="455920"/>
                              </a:lnTo>
                              <a:lnTo>
                                <a:pt x="201900" y="452628"/>
                              </a:lnTo>
                              <a:lnTo>
                                <a:pt x="205192" y="454823"/>
                              </a:lnTo>
                              <a:lnTo>
                                <a:pt x="193670" y="527792"/>
                              </a:lnTo>
                              <a:lnTo>
                                <a:pt x="194767" y="535473"/>
                              </a:lnTo>
                              <a:lnTo>
                                <a:pt x="197510" y="529438"/>
                              </a:lnTo>
                              <a:lnTo>
                                <a:pt x="202448" y="522854"/>
                              </a:lnTo>
                              <a:lnTo>
                                <a:pt x="200254" y="534376"/>
                              </a:lnTo>
                              <a:lnTo>
                                <a:pt x="186538" y="554675"/>
                              </a:lnTo>
                              <a:lnTo>
                                <a:pt x="176662" y="562356"/>
                              </a:lnTo>
                              <a:lnTo>
                                <a:pt x="164044" y="567294"/>
                              </a:lnTo>
                              <a:lnTo>
                                <a:pt x="155814" y="567842"/>
                              </a:lnTo>
                              <a:lnTo>
                                <a:pt x="106985" y="590886"/>
                              </a:lnTo>
                              <a:lnTo>
                                <a:pt x="92720" y="611185"/>
                              </a:lnTo>
                              <a:lnTo>
                                <a:pt x="91623" y="611185"/>
                              </a:lnTo>
                              <a:lnTo>
                                <a:pt x="101498" y="622706"/>
                              </a:lnTo>
                              <a:lnTo>
                                <a:pt x="105339" y="619415"/>
                              </a:lnTo>
                              <a:lnTo>
                                <a:pt x="107533" y="615025"/>
                              </a:lnTo>
                              <a:lnTo>
                                <a:pt x="105339" y="640812"/>
                              </a:lnTo>
                              <a:lnTo>
                                <a:pt x="76810" y="640812"/>
                              </a:lnTo>
                              <a:lnTo>
                                <a:pt x="57059" y="471282"/>
                              </a:lnTo>
                              <a:lnTo>
                                <a:pt x="58156" y="470185"/>
                              </a:lnTo>
                              <a:lnTo>
                                <a:pt x="57607" y="460309"/>
                              </a:lnTo>
                              <a:lnTo>
                                <a:pt x="60350" y="452080"/>
                              </a:lnTo>
                              <a:lnTo>
                                <a:pt x="64740" y="445496"/>
                              </a:lnTo>
                              <a:lnTo>
                                <a:pt x="77358" y="435620"/>
                              </a:lnTo>
                              <a:lnTo>
                                <a:pt x="106985" y="365943"/>
                              </a:lnTo>
                              <a:lnTo>
                                <a:pt x="100401" y="326990"/>
                              </a:lnTo>
                              <a:lnTo>
                                <a:pt x="106985" y="314371"/>
                              </a:lnTo>
                              <a:lnTo>
                                <a:pt x="111374" y="266090"/>
                              </a:lnTo>
                              <a:lnTo>
                                <a:pt x="104790" y="234818"/>
                              </a:lnTo>
                              <a:lnTo>
                                <a:pt x="98755" y="228234"/>
                              </a:lnTo>
                              <a:lnTo>
                                <a:pt x="37308" y="207386"/>
                              </a:lnTo>
                              <a:lnTo>
                                <a:pt x="9876" y="207386"/>
                              </a:lnTo>
                              <a:lnTo>
                                <a:pt x="9876" y="194219"/>
                              </a:lnTo>
                              <a:lnTo>
                                <a:pt x="7132" y="192024"/>
                              </a:lnTo>
                              <a:lnTo>
                                <a:pt x="0" y="173370"/>
                              </a:lnTo>
                              <a:lnTo>
                                <a:pt x="119055" y="133320"/>
                              </a:lnTo>
                              <a:lnTo>
                                <a:pt x="119604" y="134966"/>
                              </a:lnTo>
                              <a:lnTo>
                                <a:pt x="123444" y="136612"/>
                              </a:lnTo>
                              <a:lnTo>
                                <a:pt x="129479" y="147584"/>
                              </a:lnTo>
                              <a:lnTo>
                                <a:pt x="136063" y="154168"/>
                              </a:lnTo>
                              <a:lnTo>
                                <a:pt x="138257" y="154717"/>
                              </a:lnTo>
                              <a:lnTo>
                                <a:pt x="164044" y="149779"/>
                              </a:lnTo>
                              <a:lnTo>
                                <a:pt x="166787" y="150876"/>
                              </a:lnTo>
                              <a:lnTo>
                                <a:pt x="169530" y="154717"/>
                              </a:lnTo>
                              <a:lnTo>
                                <a:pt x="173370" y="181600"/>
                              </a:lnTo>
                              <a:lnTo>
                                <a:pt x="171176" y="185989"/>
                              </a:lnTo>
                              <a:lnTo>
                                <a:pt x="167335" y="190927"/>
                              </a:lnTo>
                              <a:lnTo>
                                <a:pt x="167884" y="195865"/>
                              </a:lnTo>
                              <a:lnTo>
                                <a:pt x="164044" y="199157"/>
                              </a:lnTo>
                              <a:lnTo>
                                <a:pt x="161849" y="206289"/>
                              </a:lnTo>
                              <a:lnTo>
                                <a:pt x="164044" y="209032"/>
                              </a:lnTo>
                              <a:lnTo>
                                <a:pt x="167884" y="220005"/>
                              </a:lnTo>
                              <a:lnTo>
                                <a:pt x="170078" y="222199"/>
                              </a:lnTo>
                              <a:lnTo>
                                <a:pt x="172273" y="223297"/>
                              </a:lnTo>
                              <a:lnTo>
                                <a:pt x="183246" y="237561"/>
                              </a:lnTo>
                              <a:lnTo>
                                <a:pt x="190927" y="240853"/>
                              </a:lnTo>
                              <a:lnTo>
                                <a:pt x="193670" y="243596"/>
                              </a:lnTo>
                              <a:lnTo>
                                <a:pt x="193670" y="246340"/>
                              </a:lnTo>
                              <a:lnTo>
                                <a:pt x="190378" y="250180"/>
                              </a:lnTo>
                              <a:lnTo>
                                <a:pt x="190927" y="251826"/>
                              </a:lnTo>
                              <a:lnTo>
                                <a:pt x="199156" y="251826"/>
                              </a:lnTo>
                              <a:lnTo>
                                <a:pt x="200254" y="251277"/>
                              </a:lnTo>
                              <a:lnTo>
                                <a:pt x="200254" y="239756"/>
                              </a:lnTo>
                              <a:lnTo>
                                <a:pt x="198608" y="236464"/>
                              </a:lnTo>
                              <a:lnTo>
                                <a:pt x="196413" y="234818"/>
                              </a:lnTo>
                              <a:lnTo>
                                <a:pt x="195865" y="229880"/>
                              </a:lnTo>
                              <a:lnTo>
                                <a:pt x="198608" y="225491"/>
                              </a:lnTo>
                              <a:lnTo>
                                <a:pt x="198608" y="222748"/>
                              </a:lnTo>
                              <a:lnTo>
                                <a:pt x="199156" y="220005"/>
                              </a:lnTo>
                              <a:lnTo>
                                <a:pt x="216713" y="211775"/>
                              </a:lnTo>
                              <a:lnTo>
                                <a:pt x="218359" y="208483"/>
                              </a:lnTo>
                              <a:lnTo>
                                <a:pt x="219456" y="193670"/>
                              </a:lnTo>
                              <a:lnTo>
                                <a:pt x="221651" y="188732"/>
                              </a:lnTo>
                              <a:lnTo>
                                <a:pt x="218359" y="178857"/>
                              </a:lnTo>
                              <a:lnTo>
                                <a:pt x="222748" y="167335"/>
                              </a:lnTo>
                              <a:lnTo>
                                <a:pt x="221102" y="158009"/>
                              </a:lnTo>
                              <a:lnTo>
                                <a:pt x="183246" y="114117"/>
                              </a:lnTo>
                              <a:lnTo>
                                <a:pt x="182149" y="114117"/>
                              </a:lnTo>
                              <a:lnTo>
                                <a:pt x="178857" y="83393"/>
                              </a:lnTo>
                              <a:lnTo>
                                <a:pt x="177211" y="78456"/>
                              </a:lnTo>
                              <a:lnTo>
                                <a:pt x="176113" y="72969"/>
                              </a:lnTo>
                              <a:lnTo>
                                <a:pt x="187086" y="38954"/>
                              </a:lnTo>
                              <a:lnTo>
                                <a:pt x="217261" y="39502"/>
                              </a:lnTo>
                              <a:lnTo>
                                <a:pt x="221651" y="35662"/>
                              </a:lnTo>
                              <a:lnTo>
                                <a:pt x="226588" y="35662"/>
                              </a:lnTo>
                              <a:lnTo>
                                <a:pt x="231526" y="37308"/>
                              </a:lnTo>
                              <a:lnTo>
                                <a:pt x="238658" y="44440"/>
                              </a:lnTo>
                              <a:lnTo>
                                <a:pt x="241950" y="44989"/>
                              </a:lnTo>
                              <a:lnTo>
                                <a:pt x="247437" y="43343"/>
                              </a:lnTo>
                              <a:lnTo>
                                <a:pt x="252923" y="43343"/>
                              </a:lnTo>
                              <a:lnTo>
                                <a:pt x="260604" y="38405"/>
                              </a:lnTo>
                              <a:lnTo>
                                <a:pt x="289133" y="38405"/>
                              </a:lnTo>
                              <a:lnTo>
                                <a:pt x="298460" y="29078"/>
                              </a:lnTo>
                              <a:lnTo>
                                <a:pt x="307787" y="28529"/>
                              </a:lnTo>
                              <a:lnTo>
                                <a:pt x="314371" y="26335"/>
                              </a:lnTo>
                              <a:lnTo>
                                <a:pt x="323149" y="30724"/>
                              </a:lnTo>
                              <a:lnTo>
                                <a:pt x="336316" y="30175"/>
                              </a:lnTo>
                              <a:lnTo>
                                <a:pt x="371978" y="17557"/>
                              </a:lnTo>
                              <a:lnTo>
                                <a:pt x="397216" y="0"/>
                              </a:lnTo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235" name="Graphic 7">
                          <a:extLst>
                            <a:ext uri="{FF2B5EF4-FFF2-40B4-BE49-F238E27FC236}">
                              <a16:creationId xmlns:a16="http://schemas.microsoft.com/office/drawing/2014/main" id="{CDBF2E23-211B-E159-F178-87F8BA50210B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5507406" y="3444331"/>
                          <a:ext cx="465505" cy="446216"/>
                        </a:xfrm>
                        <a:custGeom>
                          <a:avLst/>
                          <a:gdLst>
                            <a:gd name="connsiteX0" fmla="*/ 96012 w 595823"/>
                            <a:gd name="connsiteY0" fmla="*/ 410383 h 571134"/>
                            <a:gd name="connsiteX1" fmla="*/ 79553 w 595823"/>
                            <a:gd name="connsiteY1" fmla="*/ 376367 h 571134"/>
                            <a:gd name="connsiteX2" fmla="*/ 59253 w 595823"/>
                            <a:gd name="connsiteY2" fmla="*/ 367040 h 571134"/>
                            <a:gd name="connsiteX3" fmla="*/ 39502 w 595823"/>
                            <a:gd name="connsiteY3" fmla="*/ 366491 h 571134"/>
                            <a:gd name="connsiteX4" fmla="*/ 29627 w 595823"/>
                            <a:gd name="connsiteY4" fmla="*/ 356067 h 571134"/>
                            <a:gd name="connsiteX5" fmla="*/ 26883 w 595823"/>
                            <a:gd name="connsiteY5" fmla="*/ 334670 h 571134"/>
                            <a:gd name="connsiteX6" fmla="*/ 7132 w 595823"/>
                            <a:gd name="connsiteY6" fmla="*/ 308884 h 571134"/>
                            <a:gd name="connsiteX7" fmla="*/ 3840 w 595823"/>
                            <a:gd name="connsiteY7" fmla="*/ 299557 h 571134"/>
                            <a:gd name="connsiteX8" fmla="*/ 4938 w 595823"/>
                            <a:gd name="connsiteY8" fmla="*/ 293522 h 571134"/>
                            <a:gd name="connsiteX9" fmla="*/ 18654 w 595823"/>
                            <a:gd name="connsiteY9" fmla="*/ 287487 h 571134"/>
                            <a:gd name="connsiteX10" fmla="*/ 15362 w 595823"/>
                            <a:gd name="connsiteY10" fmla="*/ 166786 h 571134"/>
                            <a:gd name="connsiteX11" fmla="*/ 0 w 595823"/>
                            <a:gd name="connsiteY11" fmla="*/ 142098 h 571134"/>
                            <a:gd name="connsiteX12" fmla="*/ 1097 w 595823"/>
                            <a:gd name="connsiteY12" fmla="*/ 131674 h 571134"/>
                            <a:gd name="connsiteX13" fmla="*/ 7681 w 595823"/>
                            <a:gd name="connsiteY13" fmla="*/ 126736 h 571134"/>
                            <a:gd name="connsiteX14" fmla="*/ 7681 w 595823"/>
                            <a:gd name="connsiteY14" fmla="*/ 124541 h 571134"/>
                            <a:gd name="connsiteX15" fmla="*/ 16459 w 595823"/>
                            <a:gd name="connsiteY15" fmla="*/ 123993 h 571134"/>
                            <a:gd name="connsiteX16" fmla="*/ 31272 w 595823"/>
                            <a:gd name="connsiteY16" fmla="*/ 112471 h 571134"/>
                            <a:gd name="connsiteX17" fmla="*/ 35662 w 595823"/>
                            <a:gd name="connsiteY17" fmla="*/ 105887 h 571134"/>
                            <a:gd name="connsiteX18" fmla="*/ 36210 w 595823"/>
                            <a:gd name="connsiteY18" fmla="*/ 99304 h 571134"/>
                            <a:gd name="connsiteX19" fmla="*/ 31821 w 595823"/>
                            <a:gd name="connsiteY19" fmla="*/ 79553 h 571134"/>
                            <a:gd name="connsiteX20" fmla="*/ 32918 w 595823"/>
                            <a:gd name="connsiteY20" fmla="*/ 74066 h 571134"/>
                            <a:gd name="connsiteX21" fmla="*/ 36210 w 595823"/>
                            <a:gd name="connsiteY21" fmla="*/ 67483 h 571134"/>
                            <a:gd name="connsiteX22" fmla="*/ 51023 w 595823"/>
                            <a:gd name="connsiteY22" fmla="*/ 59253 h 571134"/>
                            <a:gd name="connsiteX23" fmla="*/ 54315 w 595823"/>
                            <a:gd name="connsiteY23" fmla="*/ 52121 h 571134"/>
                            <a:gd name="connsiteX24" fmla="*/ 77907 w 595823"/>
                            <a:gd name="connsiteY24" fmla="*/ 34564 h 571134"/>
                            <a:gd name="connsiteX25" fmla="*/ 81747 w 595823"/>
                            <a:gd name="connsiteY25" fmla="*/ 27432 h 571134"/>
                            <a:gd name="connsiteX26" fmla="*/ 81199 w 595823"/>
                            <a:gd name="connsiteY26" fmla="*/ 0 h 571134"/>
                            <a:gd name="connsiteX27" fmla="*/ 115763 w 595823"/>
                            <a:gd name="connsiteY27" fmla="*/ 14813 h 571134"/>
                            <a:gd name="connsiteX28" fmla="*/ 130576 w 595823"/>
                            <a:gd name="connsiteY28" fmla="*/ 15910 h 571134"/>
                            <a:gd name="connsiteX29" fmla="*/ 144292 w 595823"/>
                            <a:gd name="connsiteY29" fmla="*/ 12070 h 571134"/>
                            <a:gd name="connsiteX30" fmla="*/ 154716 w 595823"/>
                            <a:gd name="connsiteY30" fmla="*/ 13167 h 571134"/>
                            <a:gd name="connsiteX31" fmla="*/ 162397 w 595823"/>
                            <a:gd name="connsiteY31" fmla="*/ 16459 h 571134"/>
                            <a:gd name="connsiteX32" fmla="*/ 171176 w 595823"/>
                            <a:gd name="connsiteY32" fmla="*/ 17008 h 571134"/>
                            <a:gd name="connsiteX33" fmla="*/ 221102 w 595823"/>
                            <a:gd name="connsiteY33" fmla="*/ 36759 h 571134"/>
                            <a:gd name="connsiteX34" fmla="*/ 225491 w 595823"/>
                            <a:gd name="connsiteY34" fmla="*/ 40599 h 571134"/>
                            <a:gd name="connsiteX35" fmla="*/ 228234 w 595823"/>
                            <a:gd name="connsiteY35" fmla="*/ 58156 h 571134"/>
                            <a:gd name="connsiteX36" fmla="*/ 245242 w 595823"/>
                            <a:gd name="connsiteY36" fmla="*/ 79553 h 571134"/>
                            <a:gd name="connsiteX37" fmla="*/ 335768 w 595823"/>
                            <a:gd name="connsiteY37" fmla="*/ 106436 h 571134"/>
                            <a:gd name="connsiteX38" fmla="*/ 351678 w 595823"/>
                            <a:gd name="connsiteY38" fmla="*/ 122895 h 571134"/>
                            <a:gd name="connsiteX39" fmla="*/ 362102 w 595823"/>
                            <a:gd name="connsiteY39" fmla="*/ 126736 h 571134"/>
                            <a:gd name="connsiteX40" fmla="*/ 371429 w 595823"/>
                            <a:gd name="connsiteY40" fmla="*/ 126736 h 571134"/>
                            <a:gd name="connsiteX41" fmla="*/ 390632 w 595823"/>
                            <a:gd name="connsiteY41" fmla="*/ 117409 h 571134"/>
                            <a:gd name="connsiteX42" fmla="*/ 405994 w 595823"/>
                            <a:gd name="connsiteY42" fmla="*/ 95463 h 571134"/>
                            <a:gd name="connsiteX43" fmla="*/ 406542 w 595823"/>
                            <a:gd name="connsiteY43" fmla="*/ 89977 h 571134"/>
                            <a:gd name="connsiteX44" fmla="*/ 403250 w 595823"/>
                            <a:gd name="connsiteY44" fmla="*/ 81747 h 571134"/>
                            <a:gd name="connsiteX45" fmla="*/ 402702 w 595823"/>
                            <a:gd name="connsiteY45" fmla="*/ 74615 h 571134"/>
                            <a:gd name="connsiteX46" fmla="*/ 398861 w 595823"/>
                            <a:gd name="connsiteY46" fmla="*/ 68031 h 571134"/>
                            <a:gd name="connsiteX47" fmla="*/ 398313 w 595823"/>
                            <a:gd name="connsiteY47" fmla="*/ 57058 h 571134"/>
                            <a:gd name="connsiteX48" fmla="*/ 400507 w 595823"/>
                            <a:gd name="connsiteY48" fmla="*/ 48280 h 571134"/>
                            <a:gd name="connsiteX49" fmla="*/ 439461 w 595823"/>
                            <a:gd name="connsiteY49" fmla="*/ 17008 h 571134"/>
                            <a:gd name="connsiteX50" fmla="*/ 479511 w 595823"/>
                            <a:gd name="connsiteY50" fmla="*/ 12070 h 571134"/>
                            <a:gd name="connsiteX51" fmla="*/ 504749 w 595823"/>
                            <a:gd name="connsiteY51" fmla="*/ 20848 h 571134"/>
                            <a:gd name="connsiteX52" fmla="*/ 510235 w 595823"/>
                            <a:gd name="connsiteY52" fmla="*/ 21397 h 571134"/>
                            <a:gd name="connsiteX53" fmla="*/ 516819 w 595823"/>
                            <a:gd name="connsiteY53" fmla="*/ 24689 h 571134"/>
                            <a:gd name="connsiteX54" fmla="*/ 517367 w 595823"/>
                            <a:gd name="connsiteY54" fmla="*/ 31273 h 571134"/>
                            <a:gd name="connsiteX55" fmla="*/ 516270 w 595823"/>
                            <a:gd name="connsiteY55" fmla="*/ 32918 h 571134"/>
                            <a:gd name="connsiteX56" fmla="*/ 514624 w 595823"/>
                            <a:gd name="connsiteY56" fmla="*/ 32370 h 571134"/>
                            <a:gd name="connsiteX57" fmla="*/ 515722 w 595823"/>
                            <a:gd name="connsiteY57" fmla="*/ 37307 h 571134"/>
                            <a:gd name="connsiteX58" fmla="*/ 522854 w 595823"/>
                            <a:gd name="connsiteY58" fmla="*/ 42794 h 571134"/>
                            <a:gd name="connsiteX59" fmla="*/ 525597 w 595823"/>
                            <a:gd name="connsiteY59" fmla="*/ 43891 h 571134"/>
                            <a:gd name="connsiteX60" fmla="*/ 529438 w 595823"/>
                            <a:gd name="connsiteY60" fmla="*/ 43342 h 571134"/>
                            <a:gd name="connsiteX61" fmla="*/ 586496 w 595823"/>
                            <a:gd name="connsiteY61" fmla="*/ 54315 h 571134"/>
                            <a:gd name="connsiteX62" fmla="*/ 591983 w 595823"/>
                            <a:gd name="connsiteY62" fmla="*/ 57607 h 571134"/>
                            <a:gd name="connsiteX63" fmla="*/ 594726 w 595823"/>
                            <a:gd name="connsiteY63" fmla="*/ 66385 h 571134"/>
                            <a:gd name="connsiteX64" fmla="*/ 595823 w 595823"/>
                            <a:gd name="connsiteY64" fmla="*/ 67483 h 571134"/>
                            <a:gd name="connsiteX65" fmla="*/ 591434 w 595823"/>
                            <a:gd name="connsiteY65" fmla="*/ 68580 h 571134"/>
                            <a:gd name="connsiteX66" fmla="*/ 589239 w 595823"/>
                            <a:gd name="connsiteY66" fmla="*/ 74615 h 571134"/>
                            <a:gd name="connsiteX67" fmla="*/ 583753 w 595823"/>
                            <a:gd name="connsiteY67" fmla="*/ 80650 h 571134"/>
                            <a:gd name="connsiteX68" fmla="*/ 583753 w 595823"/>
                            <a:gd name="connsiteY68" fmla="*/ 82296 h 571134"/>
                            <a:gd name="connsiteX69" fmla="*/ 585947 w 595823"/>
                            <a:gd name="connsiteY69" fmla="*/ 88331 h 571134"/>
                            <a:gd name="connsiteX70" fmla="*/ 587594 w 595823"/>
                            <a:gd name="connsiteY70" fmla="*/ 124541 h 571134"/>
                            <a:gd name="connsiteX71" fmla="*/ 587594 w 595823"/>
                            <a:gd name="connsiteY71" fmla="*/ 125638 h 571134"/>
                            <a:gd name="connsiteX72" fmla="*/ 581558 w 595823"/>
                            <a:gd name="connsiteY72" fmla="*/ 128930 h 571134"/>
                            <a:gd name="connsiteX73" fmla="*/ 578815 w 595823"/>
                            <a:gd name="connsiteY73" fmla="*/ 132222 h 571134"/>
                            <a:gd name="connsiteX74" fmla="*/ 578267 w 595823"/>
                            <a:gd name="connsiteY74" fmla="*/ 134965 h 571134"/>
                            <a:gd name="connsiteX75" fmla="*/ 579912 w 595823"/>
                            <a:gd name="connsiteY75" fmla="*/ 149230 h 571134"/>
                            <a:gd name="connsiteX76" fmla="*/ 585399 w 595823"/>
                            <a:gd name="connsiteY76" fmla="*/ 158557 h 571134"/>
                            <a:gd name="connsiteX77" fmla="*/ 583753 w 595823"/>
                            <a:gd name="connsiteY77" fmla="*/ 167335 h 571134"/>
                            <a:gd name="connsiteX78" fmla="*/ 595274 w 595823"/>
                            <a:gd name="connsiteY78" fmla="*/ 179405 h 571134"/>
                            <a:gd name="connsiteX79" fmla="*/ 595274 w 595823"/>
                            <a:gd name="connsiteY79" fmla="*/ 548091 h 571134"/>
                            <a:gd name="connsiteX80" fmla="*/ 559064 w 595823"/>
                            <a:gd name="connsiteY80" fmla="*/ 548091 h 571134"/>
                            <a:gd name="connsiteX81" fmla="*/ 559064 w 595823"/>
                            <a:gd name="connsiteY81" fmla="*/ 571134 h 571134"/>
                            <a:gd name="connsiteX82" fmla="*/ 553029 w 595823"/>
                            <a:gd name="connsiteY82" fmla="*/ 570037 h 571134"/>
                            <a:gd name="connsiteX83" fmla="*/ 257312 w 595823"/>
                            <a:gd name="connsiteY83" fmla="*/ 415321 h 571134"/>
                            <a:gd name="connsiteX84" fmla="*/ 207935 w 595823"/>
                            <a:gd name="connsiteY84" fmla="*/ 432328 h 571134"/>
                            <a:gd name="connsiteX85" fmla="*/ 200802 w 595823"/>
                            <a:gd name="connsiteY85" fmla="*/ 423001 h 571134"/>
                            <a:gd name="connsiteX86" fmla="*/ 190927 w 595823"/>
                            <a:gd name="connsiteY86" fmla="*/ 418064 h 571134"/>
                            <a:gd name="connsiteX87" fmla="*/ 188183 w 595823"/>
                            <a:gd name="connsiteY87" fmla="*/ 414772 h 571134"/>
                            <a:gd name="connsiteX88" fmla="*/ 184892 w 595823"/>
                            <a:gd name="connsiteY88" fmla="*/ 412577 h 571134"/>
                            <a:gd name="connsiteX89" fmla="*/ 98755 w 595823"/>
                            <a:gd name="connsiteY89" fmla="*/ 408188 h 571134"/>
                            <a:gd name="connsiteX90" fmla="*/ 96012 w 595823"/>
                            <a:gd name="connsiteY90" fmla="*/ 410383 h 571134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  <a:cxn ang="0">
                              <a:pos x="connsiteX11" y="connsiteY11"/>
                            </a:cxn>
                            <a:cxn ang="0">
                              <a:pos x="connsiteX12" y="connsiteY12"/>
                            </a:cxn>
                            <a:cxn ang="0">
                              <a:pos x="connsiteX13" y="connsiteY13"/>
                            </a:cxn>
                            <a:cxn ang="0">
                              <a:pos x="connsiteX14" y="connsiteY14"/>
                            </a:cxn>
                            <a:cxn ang="0">
                              <a:pos x="connsiteX15" y="connsiteY15"/>
                            </a:cxn>
                            <a:cxn ang="0">
                              <a:pos x="connsiteX16" y="connsiteY16"/>
                            </a:cxn>
                            <a:cxn ang="0">
                              <a:pos x="connsiteX17" y="connsiteY17"/>
                            </a:cxn>
                            <a:cxn ang="0">
                              <a:pos x="connsiteX18" y="connsiteY18"/>
                            </a:cxn>
                            <a:cxn ang="0">
                              <a:pos x="connsiteX19" y="connsiteY19"/>
                            </a:cxn>
                            <a:cxn ang="0">
                              <a:pos x="connsiteX20" y="connsiteY20"/>
                            </a:cxn>
                            <a:cxn ang="0">
                              <a:pos x="connsiteX21" y="connsiteY21"/>
                            </a:cxn>
                            <a:cxn ang="0">
                              <a:pos x="connsiteX22" y="connsiteY22"/>
                            </a:cxn>
                            <a:cxn ang="0">
                              <a:pos x="connsiteX23" y="connsiteY23"/>
                            </a:cxn>
                            <a:cxn ang="0">
                              <a:pos x="connsiteX24" y="connsiteY24"/>
                            </a:cxn>
                            <a:cxn ang="0">
                              <a:pos x="connsiteX25" y="connsiteY25"/>
                            </a:cxn>
                            <a:cxn ang="0">
                              <a:pos x="connsiteX26" y="connsiteY26"/>
                            </a:cxn>
                            <a:cxn ang="0">
                              <a:pos x="connsiteX27" y="connsiteY27"/>
                            </a:cxn>
                            <a:cxn ang="0">
                              <a:pos x="connsiteX28" y="connsiteY28"/>
                            </a:cxn>
                            <a:cxn ang="0">
                              <a:pos x="connsiteX29" y="connsiteY29"/>
                            </a:cxn>
                            <a:cxn ang="0">
                              <a:pos x="connsiteX30" y="connsiteY30"/>
                            </a:cxn>
                            <a:cxn ang="0">
                              <a:pos x="connsiteX31" y="connsiteY31"/>
                            </a:cxn>
                            <a:cxn ang="0">
                              <a:pos x="connsiteX32" y="connsiteY32"/>
                            </a:cxn>
                            <a:cxn ang="0">
                              <a:pos x="connsiteX33" y="connsiteY33"/>
                            </a:cxn>
                            <a:cxn ang="0">
                              <a:pos x="connsiteX34" y="connsiteY34"/>
                            </a:cxn>
                            <a:cxn ang="0">
                              <a:pos x="connsiteX35" y="connsiteY35"/>
                            </a:cxn>
                            <a:cxn ang="0">
                              <a:pos x="connsiteX36" y="connsiteY36"/>
                            </a:cxn>
                            <a:cxn ang="0">
                              <a:pos x="connsiteX37" y="connsiteY37"/>
                            </a:cxn>
                            <a:cxn ang="0">
                              <a:pos x="connsiteX38" y="connsiteY38"/>
                            </a:cxn>
                            <a:cxn ang="0">
                              <a:pos x="connsiteX39" y="connsiteY39"/>
                            </a:cxn>
                            <a:cxn ang="0">
                              <a:pos x="connsiteX40" y="connsiteY40"/>
                            </a:cxn>
                            <a:cxn ang="0">
                              <a:pos x="connsiteX41" y="connsiteY41"/>
                            </a:cxn>
                            <a:cxn ang="0">
                              <a:pos x="connsiteX42" y="connsiteY42"/>
                            </a:cxn>
                            <a:cxn ang="0">
                              <a:pos x="connsiteX43" y="connsiteY43"/>
                            </a:cxn>
                            <a:cxn ang="0">
                              <a:pos x="connsiteX44" y="connsiteY44"/>
                            </a:cxn>
                            <a:cxn ang="0">
                              <a:pos x="connsiteX45" y="connsiteY45"/>
                            </a:cxn>
                            <a:cxn ang="0">
                              <a:pos x="connsiteX46" y="connsiteY46"/>
                            </a:cxn>
                            <a:cxn ang="0">
                              <a:pos x="connsiteX47" y="connsiteY47"/>
                            </a:cxn>
                            <a:cxn ang="0">
                              <a:pos x="connsiteX48" y="connsiteY48"/>
                            </a:cxn>
                            <a:cxn ang="0">
                              <a:pos x="connsiteX49" y="connsiteY49"/>
                            </a:cxn>
                            <a:cxn ang="0">
                              <a:pos x="connsiteX50" y="connsiteY50"/>
                            </a:cxn>
                            <a:cxn ang="0">
                              <a:pos x="connsiteX51" y="connsiteY51"/>
                            </a:cxn>
                            <a:cxn ang="0">
                              <a:pos x="connsiteX52" y="connsiteY52"/>
                            </a:cxn>
                            <a:cxn ang="0">
                              <a:pos x="connsiteX53" y="connsiteY53"/>
                            </a:cxn>
                            <a:cxn ang="0">
                              <a:pos x="connsiteX54" y="connsiteY54"/>
                            </a:cxn>
                            <a:cxn ang="0">
                              <a:pos x="connsiteX55" y="connsiteY55"/>
                            </a:cxn>
                            <a:cxn ang="0">
                              <a:pos x="connsiteX56" y="connsiteY56"/>
                            </a:cxn>
                            <a:cxn ang="0">
                              <a:pos x="connsiteX57" y="connsiteY57"/>
                            </a:cxn>
                            <a:cxn ang="0">
                              <a:pos x="connsiteX58" y="connsiteY58"/>
                            </a:cxn>
                            <a:cxn ang="0">
                              <a:pos x="connsiteX59" y="connsiteY59"/>
                            </a:cxn>
                            <a:cxn ang="0">
                              <a:pos x="connsiteX60" y="connsiteY60"/>
                            </a:cxn>
                            <a:cxn ang="0">
                              <a:pos x="connsiteX61" y="connsiteY61"/>
                            </a:cxn>
                            <a:cxn ang="0">
                              <a:pos x="connsiteX62" y="connsiteY62"/>
                            </a:cxn>
                            <a:cxn ang="0">
                              <a:pos x="connsiteX63" y="connsiteY63"/>
                            </a:cxn>
                            <a:cxn ang="0">
                              <a:pos x="connsiteX64" y="connsiteY64"/>
                            </a:cxn>
                            <a:cxn ang="0">
                              <a:pos x="connsiteX65" y="connsiteY65"/>
                            </a:cxn>
                            <a:cxn ang="0">
                              <a:pos x="connsiteX66" y="connsiteY66"/>
                            </a:cxn>
                            <a:cxn ang="0">
                              <a:pos x="connsiteX67" y="connsiteY67"/>
                            </a:cxn>
                            <a:cxn ang="0">
                              <a:pos x="connsiteX68" y="connsiteY68"/>
                            </a:cxn>
                            <a:cxn ang="0">
                              <a:pos x="connsiteX69" y="connsiteY69"/>
                            </a:cxn>
                            <a:cxn ang="0">
                              <a:pos x="connsiteX70" y="connsiteY70"/>
                            </a:cxn>
                            <a:cxn ang="0">
                              <a:pos x="connsiteX71" y="connsiteY71"/>
                            </a:cxn>
                            <a:cxn ang="0">
                              <a:pos x="connsiteX72" y="connsiteY72"/>
                            </a:cxn>
                            <a:cxn ang="0">
                              <a:pos x="connsiteX73" y="connsiteY73"/>
                            </a:cxn>
                            <a:cxn ang="0">
                              <a:pos x="connsiteX74" y="connsiteY74"/>
                            </a:cxn>
                            <a:cxn ang="0">
                              <a:pos x="connsiteX75" y="connsiteY75"/>
                            </a:cxn>
                            <a:cxn ang="0">
                              <a:pos x="connsiteX76" y="connsiteY76"/>
                            </a:cxn>
                            <a:cxn ang="0">
                              <a:pos x="connsiteX77" y="connsiteY77"/>
                            </a:cxn>
                            <a:cxn ang="0">
                              <a:pos x="connsiteX78" y="connsiteY78"/>
                            </a:cxn>
                            <a:cxn ang="0">
                              <a:pos x="connsiteX79" y="connsiteY79"/>
                            </a:cxn>
                            <a:cxn ang="0">
                              <a:pos x="connsiteX80" y="connsiteY80"/>
                            </a:cxn>
                            <a:cxn ang="0">
                              <a:pos x="connsiteX81" y="connsiteY81"/>
                            </a:cxn>
                            <a:cxn ang="0">
                              <a:pos x="connsiteX82" y="connsiteY82"/>
                            </a:cxn>
                            <a:cxn ang="0">
                              <a:pos x="connsiteX83" y="connsiteY83"/>
                            </a:cxn>
                            <a:cxn ang="0">
                              <a:pos x="connsiteX84" y="connsiteY84"/>
                            </a:cxn>
                            <a:cxn ang="0">
                              <a:pos x="connsiteX85" y="connsiteY85"/>
                            </a:cxn>
                            <a:cxn ang="0">
                              <a:pos x="connsiteX86" y="connsiteY86"/>
                            </a:cxn>
                            <a:cxn ang="0">
                              <a:pos x="connsiteX87" y="connsiteY87"/>
                            </a:cxn>
                            <a:cxn ang="0">
                              <a:pos x="connsiteX88" y="connsiteY88"/>
                            </a:cxn>
                            <a:cxn ang="0">
                              <a:pos x="connsiteX89" y="connsiteY89"/>
                            </a:cxn>
                            <a:cxn ang="0">
                              <a:pos x="connsiteX90" y="connsiteY90"/>
                            </a:cxn>
                          </a:cxnLst>
                          <a:rect l="l" t="t" r="r" b="b"/>
                          <a:pathLst>
                            <a:path w="595823" h="571134">
                              <a:moveTo>
                                <a:pt x="96012" y="410383"/>
                              </a:moveTo>
                              <a:lnTo>
                                <a:pt x="79553" y="376367"/>
                              </a:lnTo>
                              <a:lnTo>
                                <a:pt x="59253" y="367040"/>
                              </a:lnTo>
                              <a:lnTo>
                                <a:pt x="39502" y="366491"/>
                              </a:lnTo>
                              <a:lnTo>
                                <a:pt x="29627" y="356067"/>
                              </a:lnTo>
                              <a:lnTo>
                                <a:pt x="26883" y="334670"/>
                              </a:lnTo>
                              <a:lnTo>
                                <a:pt x="7132" y="308884"/>
                              </a:lnTo>
                              <a:lnTo>
                                <a:pt x="3840" y="299557"/>
                              </a:lnTo>
                              <a:lnTo>
                                <a:pt x="4938" y="293522"/>
                              </a:lnTo>
                              <a:lnTo>
                                <a:pt x="18654" y="287487"/>
                              </a:lnTo>
                              <a:lnTo>
                                <a:pt x="15362" y="166786"/>
                              </a:lnTo>
                              <a:lnTo>
                                <a:pt x="0" y="142098"/>
                              </a:lnTo>
                              <a:lnTo>
                                <a:pt x="1097" y="131674"/>
                              </a:lnTo>
                              <a:lnTo>
                                <a:pt x="7681" y="126736"/>
                              </a:lnTo>
                              <a:lnTo>
                                <a:pt x="7681" y="124541"/>
                              </a:lnTo>
                              <a:lnTo>
                                <a:pt x="16459" y="123993"/>
                              </a:lnTo>
                              <a:lnTo>
                                <a:pt x="31272" y="112471"/>
                              </a:lnTo>
                              <a:lnTo>
                                <a:pt x="35662" y="105887"/>
                              </a:lnTo>
                              <a:lnTo>
                                <a:pt x="36210" y="99304"/>
                              </a:lnTo>
                              <a:lnTo>
                                <a:pt x="31821" y="79553"/>
                              </a:lnTo>
                              <a:lnTo>
                                <a:pt x="32918" y="74066"/>
                              </a:lnTo>
                              <a:lnTo>
                                <a:pt x="36210" y="67483"/>
                              </a:lnTo>
                              <a:lnTo>
                                <a:pt x="51023" y="59253"/>
                              </a:lnTo>
                              <a:lnTo>
                                <a:pt x="54315" y="52121"/>
                              </a:lnTo>
                              <a:lnTo>
                                <a:pt x="77907" y="34564"/>
                              </a:lnTo>
                              <a:lnTo>
                                <a:pt x="81747" y="27432"/>
                              </a:lnTo>
                              <a:lnTo>
                                <a:pt x="81199" y="0"/>
                              </a:lnTo>
                              <a:lnTo>
                                <a:pt x="115763" y="14813"/>
                              </a:lnTo>
                              <a:lnTo>
                                <a:pt x="130576" y="15910"/>
                              </a:lnTo>
                              <a:lnTo>
                                <a:pt x="144292" y="12070"/>
                              </a:lnTo>
                              <a:lnTo>
                                <a:pt x="154716" y="13167"/>
                              </a:lnTo>
                              <a:lnTo>
                                <a:pt x="162397" y="16459"/>
                              </a:lnTo>
                              <a:lnTo>
                                <a:pt x="171176" y="17008"/>
                              </a:lnTo>
                              <a:lnTo>
                                <a:pt x="221102" y="36759"/>
                              </a:lnTo>
                              <a:lnTo>
                                <a:pt x="225491" y="40599"/>
                              </a:lnTo>
                              <a:lnTo>
                                <a:pt x="228234" y="58156"/>
                              </a:lnTo>
                              <a:lnTo>
                                <a:pt x="245242" y="79553"/>
                              </a:lnTo>
                              <a:lnTo>
                                <a:pt x="335768" y="106436"/>
                              </a:lnTo>
                              <a:lnTo>
                                <a:pt x="351678" y="122895"/>
                              </a:lnTo>
                              <a:lnTo>
                                <a:pt x="362102" y="126736"/>
                              </a:lnTo>
                              <a:lnTo>
                                <a:pt x="371429" y="126736"/>
                              </a:lnTo>
                              <a:lnTo>
                                <a:pt x="390632" y="117409"/>
                              </a:lnTo>
                              <a:lnTo>
                                <a:pt x="405994" y="95463"/>
                              </a:lnTo>
                              <a:lnTo>
                                <a:pt x="406542" y="89977"/>
                              </a:lnTo>
                              <a:lnTo>
                                <a:pt x="403250" y="81747"/>
                              </a:lnTo>
                              <a:lnTo>
                                <a:pt x="402702" y="74615"/>
                              </a:lnTo>
                              <a:lnTo>
                                <a:pt x="398861" y="68031"/>
                              </a:lnTo>
                              <a:lnTo>
                                <a:pt x="398313" y="57058"/>
                              </a:lnTo>
                              <a:lnTo>
                                <a:pt x="400507" y="48280"/>
                              </a:lnTo>
                              <a:lnTo>
                                <a:pt x="439461" y="17008"/>
                              </a:lnTo>
                              <a:lnTo>
                                <a:pt x="479511" y="12070"/>
                              </a:lnTo>
                              <a:lnTo>
                                <a:pt x="504749" y="20848"/>
                              </a:lnTo>
                              <a:lnTo>
                                <a:pt x="510235" y="21397"/>
                              </a:lnTo>
                              <a:lnTo>
                                <a:pt x="516819" y="24689"/>
                              </a:lnTo>
                              <a:lnTo>
                                <a:pt x="517367" y="31273"/>
                              </a:lnTo>
                              <a:lnTo>
                                <a:pt x="516270" y="32918"/>
                              </a:lnTo>
                              <a:lnTo>
                                <a:pt x="514624" y="32370"/>
                              </a:lnTo>
                              <a:lnTo>
                                <a:pt x="515722" y="37307"/>
                              </a:lnTo>
                              <a:lnTo>
                                <a:pt x="522854" y="42794"/>
                              </a:lnTo>
                              <a:lnTo>
                                <a:pt x="525597" y="43891"/>
                              </a:lnTo>
                              <a:lnTo>
                                <a:pt x="529438" y="43342"/>
                              </a:lnTo>
                              <a:lnTo>
                                <a:pt x="586496" y="54315"/>
                              </a:lnTo>
                              <a:lnTo>
                                <a:pt x="591983" y="57607"/>
                              </a:lnTo>
                              <a:lnTo>
                                <a:pt x="594726" y="66385"/>
                              </a:lnTo>
                              <a:lnTo>
                                <a:pt x="595823" y="67483"/>
                              </a:lnTo>
                              <a:lnTo>
                                <a:pt x="591434" y="68580"/>
                              </a:lnTo>
                              <a:lnTo>
                                <a:pt x="589239" y="74615"/>
                              </a:lnTo>
                              <a:lnTo>
                                <a:pt x="583753" y="80650"/>
                              </a:lnTo>
                              <a:lnTo>
                                <a:pt x="583753" y="82296"/>
                              </a:lnTo>
                              <a:lnTo>
                                <a:pt x="585947" y="88331"/>
                              </a:lnTo>
                              <a:lnTo>
                                <a:pt x="587594" y="124541"/>
                              </a:lnTo>
                              <a:lnTo>
                                <a:pt x="587594" y="125638"/>
                              </a:lnTo>
                              <a:lnTo>
                                <a:pt x="581558" y="128930"/>
                              </a:lnTo>
                              <a:lnTo>
                                <a:pt x="578815" y="132222"/>
                              </a:lnTo>
                              <a:lnTo>
                                <a:pt x="578267" y="134965"/>
                              </a:lnTo>
                              <a:lnTo>
                                <a:pt x="579912" y="149230"/>
                              </a:lnTo>
                              <a:lnTo>
                                <a:pt x="585399" y="158557"/>
                              </a:lnTo>
                              <a:lnTo>
                                <a:pt x="583753" y="167335"/>
                              </a:lnTo>
                              <a:lnTo>
                                <a:pt x="595274" y="179405"/>
                              </a:lnTo>
                              <a:lnTo>
                                <a:pt x="595274" y="548091"/>
                              </a:lnTo>
                              <a:lnTo>
                                <a:pt x="559064" y="548091"/>
                              </a:lnTo>
                              <a:lnTo>
                                <a:pt x="559064" y="571134"/>
                              </a:lnTo>
                              <a:lnTo>
                                <a:pt x="553029" y="570037"/>
                              </a:lnTo>
                              <a:lnTo>
                                <a:pt x="257312" y="415321"/>
                              </a:lnTo>
                              <a:lnTo>
                                <a:pt x="207935" y="432328"/>
                              </a:lnTo>
                              <a:lnTo>
                                <a:pt x="200802" y="423001"/>
                              </a:lnTo>
                              <a:lnTo>
                                <a:pt x="190927" y="418064"/>
                              </a:lnTo>
                              <a:lnTo>
                                <a:pt x="188183" y="414772"/>
                              </a:lnTo>
                              <a:lnTo>
                                <a:pt x="184892" y="412577"/>
                              </a:lnTo>
                              <a:lnTo>
                                <a:pt x="98755" y="408188"/>
                              </a:lnTo>
                              <a:lnTo>
                                <a:pt x="96012" y="410383"/>
                              </a:lnTo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236" name="Graphic 7">
                          <a:extLst>
                            <a:ext uri="{FF2B5EF4-FFF2-40B4-BE49-F238E27FC236}">
                              <a16:creationId xmlns:a16="http://schemas.microsoft.com/office/drawing/2014/main" id="{1C4AF803-6522-14B8-575D-7EBE13E2A8A3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4883303" y="3716091"/>
                          <a:ext cx="477078" cy="455646"/>
                        </a:xfrm>
                        <a:custGeom>
                          <a:avLst/>
                          <a:gdLst>
                            <a:gd name="connsiteX0" fmla="*/ 315468 w 610636"/>
                            <a:gd name="connsiteY0" fmla="*/ 30175 h 583204"/>
                            <a:gd name="connsiteX1" fmla="*/ 495422 w 610636"/>
                            <a:gd name="connsiteY1" fmla="*/ 154717 h 583204"/>
                            <a:gd name="connsiteX2" fmla="*/ 495422 w 610636"/>
                            <a:gd name="connsiteY2" fmla="*/ 158009 h 583204"/>
                            <a:gd name="connsiteX3" fmla="*/ 498714 w 610636"/>
                            <a:gd name="connsiteY3" fmla="*/ 160752 h 583204"/>
                            <a:gd name="connsiteX4" fmla="*/ 497616 w 610636"/>
                            <a:gd name="connsiteY4" fmla="*/ 166238 h 583204"/>
                            <a:gd name="connsiteX5" fmla="*/ 498165 w 610636"/>
                            <a:gd name="connsiteY5" fmla="*/ 168981 h 583204"/>
                            <a:gd name="connsiteX6" fmla="*/ 515173 w 610636"/>
                            <a:gd name="connsiteY6" fmla="*/ 176662 h 583204"/>
                            <a:gd name="connsiteX7" fmla="*/ 516819 w 610636"/>
                            <a:gd name="connsiteY7" fmla="*/ 177760 h 583204"/>
                            <a:gd name="connsiteX8" fmla="*/ 517368 w 610636"/>
                            <a:gd name="connsiteY8" fmla="*/ 182149 h 583204"/>
                            <a:gd name="connsiteX9" fmla="*/ 518465 w 610636"/>
                            <a:gd name="connsiteY9" fmla="*/ 184892 h 583204"/>
                            <a:gd name="connsiteX10" fmla="*/ 527243 w 610636"/>
                            <a:gd name="connsiteY10" fmla="*/ 191476 h 583204"/>
                            <a:gd name="connsiteX11" fmla="*/ 533278 w 610636"/>
                            <a:gd name="connsiteY11" fmla="*/ 192573 h 583204"/>
                            <a:gd name="connsiteX12" fmla="*/ 539862 w 610636"/>
                            <a:gd name="connsiteY12" fmla="*/ 191476 h 583204"/>
                            <a:gd name="connsiteX13" fmla="*/ 541508 w 610636"/>
                            <a:gd name="connsiteY13" fmla="*/ 192573 h 583204"/>
                            <a:gd name="connsiteX14" fmla="*/ 543702 w 610636"/>
                            <a:gd name="connsiteY14" fmla="*/ 198059 h 583204"/>
                            <a:gd name="connsiteX15" fmla="*/ 546446 w 610636"/>
                            <a:gd name="connsiteY15" fmla="*/ 199705 h 583204"/>
                            <a:gd name="connsiteX16" fmla="*/ 553578 w 610636"/>
                            <a:gd name="connsiteY16" fmla="*/ 199705 h 583204"/>
                            <a:gd name="connsiteX17" fmla="*/ 556870 w 610636"/>
                            <a:gd name="connsiteY17" fmla="*/ 200802 h 583204"/>
                            <a:gd name="connsiteX18" fmla="*/ 559613 w 610636"/>
                            <a:gd name="connsiteY18" fmla="*/ 200802 h 583204"/>
                            <a:gd name="connsiteX19" fmla="*/ 565099 w 610636"/>
                            <a:gd name="connsiteY19" fmla="*/ 204643 h 583204"/>
                            <a:gd name="connsiteX20" fmla="*/ 571683 w 610636"/>
                            <a:gd name="connsiteY20" fmla="*/ 206289 h 583204"/>
                            <a:gd name="connsiteX21" fmla="*/ 573878 w 610636"/>
                            <a:gd name="connsiteY21" fmla="*/ 208483 h 583204"/>
                            <a:gd name="connsiteX22" fmla="*/ 574975 w 610636"/>
                            <a:gd name="connsiteY22" fmla="*/ 210129 h 583204"/>
                            <a:gd name="connsiteX23" fmla="*/ 576072 w 610636"/>
                            <a:gd name="connsiteY23" fmla="*/ 210678 h 583204"/>
                            <a:gd name="connsiteX24" fmla="*/ 576621 w 610636"/>
                            <a:gd name="connsiteY24" fmla="*/ 213970 h 583204"/>
                            <a:gd name="connsiteX25" fmla="*/ 575523 w 610636"/>
                            <a:gd name="connsiteY25" fmla="*/ 216164 h 583204"/>
                            <a:gd name="connsiteX26" fmla="*/ 575523 w 610636"/>
                            <a:gd name="connsiteY26" fmla="*/ 218908 h 583204"/>
                            <a:gd name="connsiteX27" fmla="*/ 577169 w 610636"/>
                            <a:gd name="connsiteY27" fmla="*/ 221651 h 583204"/>
                            <a:gd name="connsiteX28" fmla="*/ 577169 w 610636"/>
                            <a:gd name="connsiteY28" fmla="*/ 223297 h 583204"/>
                            <a:gd name="connsiteX29" fmla="*/ 574975 w 610636"/>
                            <a:gd name="connsiteY29" fmla="*/ 224942 h 583204"/>
                            <a:gd name="connsiteX30" fmla="*/ 574426 w 610636"/>
                            <a:gd name="connsiteY30" fmla="*/ 226040 h 583204"/>
                            <a:gd name="connsiteX31" fmla="*/ 574975 w 610636"/>
                            <a:gd name="connsiteY31" fmla="*/ 230429 h 583204"/>
                            <a:gd name="connsiteX32" fmla="*/ 573329 w 610636"/>
                            <a:gd name="connsiteY32" fmla="*/ 234269 h 583204"/>
                            <a:gd name="connsiteX33" fmla="*/ 573329 w 610636"/>
                            <a:gd name="connsiteY33" fmla="*/ 237013 h 583204"/>
                            <a:gd name="connsiteX34" fmla="*/ 578815 w 610636"/>
                            <a:gd name="connsiteY34" fmla="*/ 243048 h 583204"/>
                            <a:gd name="connsiteX35" fmla="*/ 587594 w 610636"/>
                            <a:gd name="connsiteY35" fmla="*/ 243596 h 583204"/>
                            <a:gd name="connsiteX36" fmla="*/ 593080 w 610636"/>
                            <a:gd name="connsiteY36" fmla="*/ 240853 h 583204"/>
                            <a:gd name="connsiteX37" fmla="*/ 599664 w 610636"/>
                            <a:gd name="connsiteY37" fmla="*/ 240305 h 583204"/>
                            <a:gd name="connsiteX38" fmla="*/ 609539 w 610636"/>
                            <a:gd name="connsiteY38" fmla="*/ 235915 h 583204"/>
                            <a:gd name="connsiteX39" fmla="*/ 609539 w 610636"/>
                            <a:gd name="connsiteY39" fmla="*/ 237561 h 583204"/>
                            <a:gd name="connsiteX40" fmla="*/ 610636 w 610636"/>
                            <a:gd name="connsiteY40" fmla="*/ 237561 h 583204"/>
                            <a:gd name="connsiteX41" fmla="*/ 610636 w 610636"/>
                            <a:gd name="connsiteY41" fmla="*/ 357713 h 583204"/>
                            <a:gd name="connsiteX42" fmla="*/ 607345 w 610636"/>
                            <a:gd name="connsiteY42" fmla="*/ 358811 h 583204"/>
                            <a:gd name="connsiteX43" fmla="*/ 600761 w 610636"/>
                            <a:gd name="connsiteY43" fmla="*/ 362651 h 583204"/>
                            <a:gd name="connsiteX44" fmla="*/ 598566 w 610636"/>
                            <a:gd name="connsiteY44" fmla="*/ 366492 h 583204"/>
                            <a:gd name="connsiteX45" fmla="*/ 597469 w 610636"/>
                            <a:gd name="connsiteY45" fmla="*/ 371978 h 583204"/>
                            <a:gd name="connsiteX46" fmla="*/ 588691 w 610636"/>
                            <a:gd name="connsiteY46" fmla="*/ 376367 h 583204"/>
                            <a:gd name="connsiteX47" fmla="*/ 584850 w 610636"/>
                            <a:gd name="connsiteY47" fmla="*/ 380756 h 583204"/>
                            <a:gd name="connsiteX48" fmla="*/ 584850 w 610636"/>
                            <a:gd name="connsiteY48" fmla="*/ 384597 h 583204"/>
                            <a:gd name="connsiteX49" fmla="*/ 567294 w 610636"/>
                            <a:gd name="connsiteY49" fmla="*/ 382951 h 583204"/>
                            <a:gd name="connsiteX50" fmla="*/ 567294 w 610636"/>
                            <a:gd name="connsiteY50" fmla="*/ 385694 h 583204"/>
                            <a:gd name="connsiteX51" fmla="*/ 564002 w 610636"/>
                            <a:gd name="connsiteY51" fmla="*/ 384048 h 583204"/>
                            <a:gd name="connsiteX52" fmla="*/ 503652 w 610636"/>
                            <a:gd name="connsiteY52" fmla="*/ 385694 h 583204"/>
                            <a:gd name="connsiteX53" fmla="*/ 486644 w 610636"/>
                            <a:gd name="connsiteY53" fmla="*/ 398861 h 583204"/>
                            <a:gd name="connsiteX54" fmla="*/ 438363 w 610636"/>
                            <a:gd name="connsiteY54" fmla="*/ 399959 h 583204"/>
                            <a:gd name="connsiteX55" fmla="*/ 384048 w 610636"/>
                            <a:gd name="connsiteY55" fmla="*/ 432877 h 583204"/>
                            <a:gd name="connsiteX56" fmla="*/ 375270 w 610636"/>
                            <a:gd name="connsiteY56" fmla="*/ 443301 h 583204"/>
                            <a:gd name="connsiteX57" fmla="*/ 362651 w 610636"/>
                            <a:gd name="connsiteY57" fmla="*/ 452628 h 583204"/>
                            <a:gd name="connsiteX58" fmla="*/ 315468 w 610636"/>
                            <a:gd name="connsiteY58" fmla="*/ 464698 h 583204"/>
                            <a:gd name="connsiteX59" fmla="*/ 309982 w 610636"/>
                            <a:gd name="connsiteY59" fmla="*/ 468539 h 583204"/>
                            <a:gd name="connsiteX60" fmla="*/ 290779 w 610636"/>
                            <a:gd name="connsiteY60" fmla="*/ 509687 h 583204"/>
                            <a:gd name="connsiteX61" fmla="*/ 269931 w 610636"/>
                            <a:gd name="connsiteY61" fmla="*/ 527243 h 583204"/>
                            <a:gd name="connsiteX62" fmla="*/ 260604 w 610636"/>
                            <a:gd name="connsiteY62" fmla="*/ 551932 h 583204"/>
                            <a:gd name="connsiteX63" fmla="*/ 260604 w 610636"/>
                            <a:gd name="connsiteY63" fmla="*/ 576621 h 583204"/>
                            <a:gd name="connsiteX64" fmla="*/ 252374 w 610636"/>
                            <a:gd name="connsiteY64" fmla="*/ 577718 h 583204"/>
                            <a:gd name="connsiteX65" fmla="*/ 250728 w 610636"/>
                            <a:gd name="connsiteY65" fmla="*/ 577169 h 583204"/>
                            <a:gd name="connsiteX66" fmla="*/ 248534 w 610636"/>
                            <a:gd name="connsiteY66" fmla="*/ 573329 h 583204"/>
                            <a:gd name="connsiteX67" fmla="*/ 246339 w 610636"/>
                            <a:gd name="connsiteY67" fmla="*/ 571683 h 583204"/>
                            <a:gd name="connsiteX68" fmla="*/ 239207 w 610636"/>
                            <a:gd name="connsiteY68" fmla="*/ 571683 h 583204"/>
                            <a:gd name="connsiteX69" fmla="*/ 237012 w 610636"/>
                            <a:gd name="connsiteY69" fmla="*/ 572232 h 583204"/>
                            <a:gd name="connsiteX70" fmla="*/ 234818 w 610636"/>
                            <a:gd name="connsiteY70" fmla="*/ 576621 h 583204"/>
                            <a:gd name="connsiteX71" fmla="*/ 232075 w 610636"/>
                            <a:gd name="connsiteY71" fmla="*/ 577169 h 583204"/>
                            <a:gd name="connsiteX72" fmla="*/ 229332 w 610636"/>
                            <a:gd name="connsiteY72" fmla="*/ 579913 h 583204"/>
                            <a:gd name="connsiteX73" fmla="*/ 223845 w 610636"/>
                            <a:gd name="connsiteY73" fmla="*/ 579364 h 583204"/>
                            <a:gd name="connsiteX74" fmla="*/ 224394 w 610636"/>
                            <a:gd name="connsiteY74" fmla="*/ 578267 h 583204"/>
                            <a:gd name="connsiteX75" fmla="*/ 223845 w 610636"/>
                            <a:gd name="connsiteY75" fmla="*/ 570037 h 583204"/>
                            <a:gd name="connsiteX76" fmla="*/ 222199 w 610636"/>
                            <a:gd name="connsiteY76" fmla="*/ 567842 h 583204"/>
                            <a:gd name="connsiteX77" fmla="*/ 222748 w 610636"/>
                            <a:gd name="connsiteY77" fmla="*/ 566745 h 583204"/>
                            <a:gd name="connsiteX78" fmla="*/ 222199 w 610636"/>
                            <a:gd name="connsiteY78" fmla="*/ 563453 h 583204"/>
                            <a:gd name="connsiteX79" fmla="*/ 221102 w 610636"/>
                            <a:gd name="connsiteY79" fmla="*/ 561259 h 583204"/>
                            <a:gd name="connsiteX80" fmla="*/ 218907 w 610636"/>
                            <a:gd name="connsiteY80" fmla="*/ 562356 h 583204"/>
                            <a:gd name="connsiteX81" fmla="*/ 215067 w 610636"/>
                            <a:gd name="connsiteY81" fmla="*/ 562356 h 583204"/>
                            <a:gd name="connsiteX82" fmla="*/ 212872 w 610636"/>
                            <a:gd name="connsiteY82" fmla="*/ 566745 h 583204"/>
                            <a:gd name="connsiteX83" fmla="*/ 211775 w 610636"/>
                            <a:gd name="connsiteY83" fmla="*/ 566745 h 583204"/>
                            <a:gd name="connsiteX84" fmla="*/ 208483 w 610636"/>
                            <a:gd name="connsiteY84" fmla="*/ 564551 h 583204"/>
                            <a:gd name="connsiteX85" fmla="*/ 206289 w 610636"/>
                            <a:gd name="connsiteY85" fmla="*/ 564551 h 583204"/>
                            <a:gd name="connsiteX86" fmla="*/ 204643 w 610636"/>
                            <a:gd name="connsiteY86" fmla="*/ 566745 h 583204"/>
                            <a:gd name="connsiteX87" fmla="*/ 204643 w 610636"/>
                            <a:gd name="connsiteY87" fmla="*/ 569489 h 583204"/>
                            <a:gd name="connsiteX88" fmla="*/ 206289 w 610636"/>
                            <a:gd name="connsiteY88" fmla="*/ 573878 h 583204"/>
                            <a:gd name="connsiteX89" fmla="*/ 204094 w 610636"/>
                            <a:gd name="connsiteY89" fmla="*/ 575524 h 583204"/>
                            <a:gd name="connsiteX90" fmla="*/ 196962 w 610636"/>
                            <a:gd name="connsiteY90" fmla="*/ 575524 h 583204"/>
                            <a:gd name="connsiteX91" fmla="*/ 193121 w 610636"/>
                            <a:gd name="connsiteY91" fmla="*/ 577169 h 583204"/>
                            <a:gd name="connsiteX92" fmla="*/ 192573 w 610636"/>
                            <a:gd name="connsiteY92" fmla="*/ 579913 h 583204"/>
                            <a:gd name="connsiteX93" fmla="*/ 190927 w 610636"/>
                            <a:gd name="connsiteY93" fmla="*/ 583205 h 583204"/>
                            <a:gd name="connsiteX94" fmla="*/ 188732 w 610636"/>
                            <a:gd name="connsiteY94" fmla="*/ 582656 h 583204"/>
                            <a:gd name="connsiteX95" fmla="*/ 185989 w 610636"/>
                            <a:gd name="connsiteY95" fmla="*/ 581010 h 583204"/>
                            <a:gd name="connsiteX96" fmla="*/ 183246 w 610636"/>
                            <a:gd name="connsiteY96" fmla="*/ 578267 h 583204"/>
                            <a:gd name="connsiteX97" fmla="*/ 182148 w 610636"/>
                            <a:gd name="connsiteY97" fmla="*/ 577718 h 583204"/>
                            <a:gd name="connsiteX98" fmla="*/ 179954 w 610636"/>
                            <a:gd name="connsiteY98" fmla="*/ 578815 h 583204"/>
                            <a:gd name="connsiteX99" fmla="*/ 179405 w 610636"/>
                            <a:gd name="connsiteY99" fmla="*/ 579913 h 583204"/>
                            <a:gd name="connsiteX100" fmla="*/ 178857 w 610636"/>
                            <a:gd name="connsiteY100" fmla="*/ 579913 h 583204"/>
                            <a:gd name="connsiteX101" fmla="*/ 177759 w 610636"/>
                            <a:gd name="connsiteY101" fmla="*/ 575524 h 583204"/>
                            <a:gd name="connsiteX102" fmla="*/ 175565 w 610636"/>
                            <a:gd name="connsiteY102" fmla="*/ 571683 h 583204"/>
                            <a:gd name="connsiteX103" fmla="*/ 172822 w 610636"/>
                            <a:gd name="connsiteY103" fmla="*/ 571134 h 583204"/>
                            <a:gd name="connsiteX104" fmla="*/ 170078 w 610636"/>
                            <a:gd name="connsiteY104" fmla="*/ 573878 h 583204"/>
                            <a:gd name="connsiteX105" fmla="*/ 166787 w 610636"/>
                            <a:gd name="connsiteY105" fmla="*/ 572780 h 583204"/>
                            <a:gd name="connsiteX106" fmla="*/ 165141 w 610636"/>
                            <a:gd name="connsiteY106" fmla="*/ 573878 h 583204"/>
                            <a:gd name="connsiteX107" fmla="*/ 163495 w 610636"/>
                            <a:gd name="connsiteY107" fmla="*/ 575524 h 583204"/>
                            <a:gd name="connsiteX108" fmla="*/ 162946 w 610636"/>
                            <a:gd name="connsiteY108" fmla="*/ 578267 h 583204"/>
                            <a:gd name="connsiteX109" fmla="*/ 160752 w 610636"/>
                            <a:gd name="connsiteY109" fmla="*/ 580461 h 583204"/>
                            <a:gd name="connsiteX110" fmla="*/ 156362 w 610636"/>
                            <a:gd name="connsiteY110" fmla="*/ 581558 h 583204"/>
                            <a:gd name="connsiteX111" fmla="*/ 156362 w 610636"/>
                            <a:gd name="connsiteY111" fmla="*/ 579364 h 583204"/>
                            <a:gd name="connsiteX112" fmla="*/ 155265 w 610636"/>
                            <a:gd name="connsiteY112" fmla="*/ 577169 h 583204"/>
                            <a:gd name="connsiteX113" fmla="*/ 151425 w 610636"/>
                            <a:gd name="connsiteY113" fmla="*/ 574975 h 583204"/>
                            <a:gd name="connsiteX114" fmla="*/ 150327 w 610636"/>
                            <a:gd name="connsiteY114" fmla="*/ 572232 h 583204"/>
                            <a:gd name="connsiteX115" fmla="*/ 146487 w 610636"/>
                            <a:gd name="connsiteY115" fmla="*/ 571683 h 583204"/>
                            <a:gd name="connsiteX116" fmla="*/ 144292 w 610636"/>
                            <a:gd name="connsiteY116" fmla="*/ 567842 h 583204"/>
                            <a:gd name="connsiteX117" fmla="*/ 142646 w 610636"/>
                            <a:gd name="connsiteY117" fmla="*/ 549189 h 583204"/>
                            <a:gd name="connsiteX118" fmla="*/ 139355 w 610636"/>
                            <a:gd name="connsiteY118" fmla="*/ 548092 h 583204"/>
                            <a:gd name="connsiteX119" fmla="*/ 136611 w 610636"/>
                            <a:gd name="connsiteY119" fmla="*/ 548640 h 583204"/>
                            <a:gd name="connsiteX120" fmla="*/ 132222 w 610636"/>
                            <a:gd name="connsiteY120" fmla="*/ 553578 h 583204"/>
                            <a:gd name="connsiteX121" fmla="*/ 130576 w 610636"/>
                            <a:gd name="connsiteY121" fmla="*/ 553578 h 583204"/>
                            <a:gd name="connsiteX122" fmla="*/ 130576 w 610636"/>
                            <a:gd name="connsiteY122" fmla="*/ 548092 h 583204"/>
                            <a:gd name="connsiteX123" fmla="*/ 131674 w 610636"/>
                            <a:gd name="connsiteY123" fmla="*/ 546994 h 583204"/>
                            <a:gd name="connsiteX124" fmla="*/ 134965 w 610636"/>
                            <a:gd name="connsiteY124" fmla="*/ 545897 h 583204"/>
                            <a:gd name="connsiteX125" fmla="*/ 134965 w 610636"/>
                            <a:gd name="connsiteY125" fmla="*/ 542605 h 583204"/>
                            <a:gd name="connsiteX126" fmla="*/ 137709 w 610636"/>
                            <a:gd name="connsiteY126" fmla="*/ 542605 h 583204"/>
                            <a:gd name="connsiteX127" fmla="*/ 138806 w 610636"/>
                            <a:gd name="connsiteY127" fmla="*/ 539862 h 583204"/>
                            <a:gd name="connsiteX128" fmla="*/ 142098 w 610636"/>
                            <a:gd name="connsiteY128" fmla="*/ 539862 h 583204"/>
                            <a:gd name="connsiteX129" fmla="*/ 141549 w 610636"/>
                            <a:gd name="connsiteY129" fmla="*/ 536021 h 583204"/>
                            <a:gd name="connsiteX130" fmla="*/ 141000 w 610636"/>
                            <a:gd name="connsiteY130" fmla="*/ 535473 h 583204"/>
                            <a:gd name="connsiteX131" fmla="*/ 137160 w 610636"/>
                            <a:gd name="connsiteY131" fmla="*/ 535473 h 583204"/>
                            <a:gd name="connsiteX132" fmla="*/ 134965 w 610636"/>
                            <a:gd name="connsiteY132" fmla="*/ 532730 h 583204"/>
                            <a:gd name="connsiteX133" fmla="*/ 132222 w 610636"/>
                            <a:gd name="connsiteY133" fmla="*/ 531632 h 583204"/>
                            <a:gd name="connsiteX134" fmla="*/ 128930 w 610636"/>
                            <a:gd name="connsiteY134" fmla="*/ 525049 h 583204"/>
                            <a:gd name="connsiteX135" fmla="*/ 126187 w 610636"/>
                            <a:gd name="connsiteY135" fmla="*/ 526694 h 583204"/>
                            <a:gd name="connsiteX136" fmla="*/ 125090 w 610636"/>
                            <a:gd name="connsiteY136" fmla="*/ 526146 h 583204"/>
                            <a:gd name="connsiteX137" fmla="*/ 125090 w 610636"/>
                            <a:gd name="connsiteY137" fmla="*/ 514076 h 583204"/>
                            <a:gd name="connsiteX138" fmla="*/ 123444 w 610636"/>
                            <a:gd name="connsiteY138" fmla="*/ 510784 h 583204"/>
                            <a:gd name="connsiteX139" fmla="*/ 121798 w 610636"/>
                            <a:gd name="connsiteY139" fmla="*/ 510235 h 583204"/>
                            <a:gd name="connsiteX140" fmla="*/ 122347 w 610636"/>
                            <a:gd name="connsiteY140" fmla="*/ 506395 h 583204"/>
                            <a:gd name="connsiteX141" fmla="*/ 121249 w 610636"/>
                            <a:gd name="connsiteY141" fmla="*/ 504749 h 583204"/>
                            <a:gd name="connsiteX142" fmla="*/ 119055 w 610636"/>
                            <a:gd name="connsiteY142" fmla="*/ 504749 h 583204"/>
                            <a:gd name="connsiteX143" fmla="*/ 117958 w 610636"/>
                            <a:gd name="connsiteY143" fmla="*/ 504200 h 583204"/>
                            <a:gd name="connsiteX144" fmla="*/ 119055 w 610636"/>
                            <a:gd name="connsiteY144" fmla="*/ 496519 h 583204"/>
                            <a:gd name="connsiteX145" fmla="*/ 118506 w 610636"/>
                            <a:gd name="connsiteY145" fmla="*/ 495422 h 583204"/>
                            <a:gd name="connsiteX146" fmla="*/ 116312 w 610636"/>
                            <a:gd name="connsiteY146" fmla="*/ 493776 h 583204"/>
                            <a:gd name="connsiteX147" fmla="*/ 114666 w 610636"/>
                            <a:gd name="connsiteY147" fmla="*/ 493776 h 583204"/>
                            <a:gd name="connsiteX148" fmla="*/ 112471 w 610636"/>
                            <a:gd name="connsiteY148" fmla="*/ 495971 h 583204"/>
                            <a:gd name="connsiteX149" fmla="*/ 110825 w 610636"/>
                            <a:gd name="connsiteY149" fmla="*/ 495971 h 583204"/>
                            <a:gd name="connsiteX150" fmla="*/ 106436 w 610636"/>
                            <a:gd name="connsiteY150" fmla="*/ 493228 h 583204"/>
                            <a:gd name="connsiteX151" fmla="*/ 104790 w 610636"/>
                            <a:gd name="connsiteY151" fmla="*/ 493228 h 583204"/>
                            <a:gd name="connsiteX152" fmla="*/ 104242 w 610636"/>
                            <a:gd name="connsiteY152" fmla="*/ 493776 h 583204"/>
                            <a:gd name="connsiteX153" fmla="*/ 104242 w 610636"/>
                            <a:gd name="connsiteY153" fmla="*/ 499811 h 583204"/>
                            <a:gd name="connsiteX154" fmla="*/ 102047 w 610636"/>
                            <a:gd name="connsiteY154" fmla="*/ 502006 h 583204"/>
                            <a:gd name="connsiteX155" fmla="*/ 92720 w 610636"/>
                            <a:gd name="connsiteY155" fmla="*/ 504749 h 583204"/>
                            <a:gd name="connsiteX156" fmla="*/ 92720 w 610636"/>
                            <a:gd name="connsiteY156" fmla="*/ 508589 h 583204"/>
                            <a:gd name="connsiteX157" fmla="*/ 91623 w 610636"/>
                            <a:gd name="connsiteY157" fmla="*/ 511881 h 583204"/>
                            <a:gd name="connsiteX158" fmla="*/ 81747 w 610636"/>
                            <a:gd name="connsiteY158" fmla="*/ 508589 h 583204"/>
                            <a:gd name="connsiteX159" fmla="*/ 75712 w 610636"/>
                            <a:gd name="connsiteY159" fmla="*/ 504749 h 583204"/>
                            <a:gd name="connsiteX160" fmla="*/ 69677 w 610636"/>
                            <a:gd name="connsiteY160" fmla="*/ 503652 h 583204"/>
                            <a:gd name="connsiteX161" fmla="*/ 67483 w 610636"/>
                            <a:gd name="connsiteY161" fmla="*/ 504200 h 583204"/>
                            <a:gd name="connsiteX162" fmla="*/ 64740 w 610636"/>
                            <a:gd name="connsiteY162" fmla="*/ 508041 h 583204"/>
                            <a:gd name="connsiteX163" fmla="*/ 61448 w 610636"/>
                            <a:gd name="connsiteY163" fmla="*/ 509138 h 583204"/>
                            <a:gd name="connsiteX164" fmla="*/ 59253 w 610636"/>
                            <a:gd name="connsiteY164" fmla="*/ 512978 h 583204"/>
                            <a:gd name="connsiteX165" fmla="*/ 57059 w 610636"/>
                            <a:gd name="connsiteY165" fmla="*/ 515173 h 583204"/>
                            <a:gd name="connsiteX166" fmla="*/ 52669 w 610636"/>
                            <a:gd name="connsiteY166" fmla="*/ 514076 h 583204"/>
                            <a:gd name="connsiteX167" fmla="*/ 46086 w 610636"/>
                            <a:gd name="connsiteY167" fmla="*/ 504200 h 583204"/>
                            <a:gd name="connsiteX168" fmla="*/ 42245 w 610636"/>
                            <a:gd name="connsiteY168" fmla="*/ 504749 h 583204"/>
                            <a:gd name="connsiteX169" fmla="*/ 38405 w 610636"/>
                            <a:gd name="connsiteY169" fmla="*/ 509687 h 583204"/>
                            <a:gd name="connsiteX170" fmla="*/ 35662 w 610636"/>
                            <a:gd name="connsiteY170" fmla="*/ 511333 h 583204"/>
                            <a:gd name="connsiteX171" fmla="*/ 32370 w 610636"/>
                            <a:gd name="connsiteY171" fmla="*/ 511881 h 583204"/>
                            <a:gd name="connsiteX172" fmla="*/ 29078 w 610636"/>
                            <a:gd name="connsiteY172" fmla="*/ 510235 h 583204"/>
                            <a:gd name="connsiteX173" fmla="*/ 25786 w 610636"/>
                            <a:gd name="connsiteY173" fmla="*/ 506944 h 583204"/>
                            <a:gd name="connsiteX174" fmla="*/ 26335 w 610636"/>
                            <a:gd name="connsiteY174" fmla="*/ 504200 h 583204"/>
                            <a:gd name="connsiteX175" fmla="*/ 29078 w 610636"/>
                            <a:gd name="connsiteY175" fmla="*/ 501457 h 583204"/>
                            <a:gd name="connsiteX176" fmla="*/ 29078 w 610636"/>
                            <a:gd name="connsiteY176" fmla="*/ 499262 h 583204"/>
                            <a:gd name="connsiteX177" fmla="*/ 32370 w 610636"/>
                            <a:gd name="connsiteY177" fmla="*/ 494873 h 583204"/>
                            <a:gd name="connsiteX178" fmla="*/ 32370 w 610636"/>
                            <a:gd name="connsiteY178" fmla="*/ 493776 h 583204"/>
                            <a:gd name="connsiteX179" fmla="*/ 29627 w 610636"/>
                            <a:gd name="connsiteY179" fmla="*/ 491582 h 583204"/>
                            <a:gd name="connsiteX180" fmla="*/ 29078 w 610636"/>
                            <a:gd name="connsiteY180" fmla="*/ 486095 h 583204"/>
                            <a:gd name="connsiteX181" fmla="*/ 31272 w 610636"/>
                            <a:gd name="connsiteY181" fmla="*/ 483901 h 583204"/>
                            <a:gd name="connsiteX182" fmla="*/ 31272 w 610636"/>
                            <a:gd name="connsiteY182" fmla="*/ 481157 h 583204"/>
                            <a:gd name="connsiteX183" fmla="*/ 30175 w 610636"/>
                            <a:gd name="connsiteY183" fmla="*/ 478963 h 583204"/>
                            <a:gd name="connsiteX184" fmla="*/ 30724 w 610636"/>
                            <a:gd name="connsiteY184" fmla="*/ 477866 h 583204"/>
                            <a:gd name="connsiteX185" fmla="*/ 31821 w 610636"/>
                            <a:gd name="connsiteY185" fmla="*/ 477317 h 583204"/>
                            <a:gd name="connsiteX186" fmla="*/ 30724 w 610636"/>
                            <a:gd name="connsiteY186" fmla="*/ 475122 h 583204"/>
                            <a:gd name="connsiteX187" fmla="*/ 27981 w 610636"/>
                            <a:gd name="connsiteY187" fmla="*/ 471830 h 583204"/>
                            <a:gd name="connsiteX188" fmla="*/ 26883 w 610636"/>
                            <a:gd name="connsiteY188" fmla="*/ 468539 h 583204"/>
                            <a:gd name="connsiteX189" fmla="*/ 24689 w 610636"/>
                            <a:gd name="connsiteY189" fmla="*/ 467441 h 583204"/>
                            <a:gd name="connsiteX190" fmla="*/ 24140 w 610636"/>
                            <a:gd name="connsiteY190" fmla="*/ 464150 h 583204"/>
                            <a:gd name="connsiteX191" fmla="*/ 21397 w 610636"/>
                            <a:gd name="connsiteY191" fmla="*/ 461955 h 583204"/>
                            <a:gd name="connsiteX192" fmla="*/ 20848 w 610636"/>
                            <a:gd name="connsiteY192" fmla="*/ 459761 h 583204"/>
                            <a:gd name="connsiteX193" fmla="*/ 18105 w 610636"/>
                            <a:gd name="connsiteY193" fmla="*/ 459212 h 583204"/>
                            <a:gd name="connsiteX194" fmla="*/ 15911 w 610636"/>
                            <a:gd name="connsiteY194" fmla="*/ 460858 h 583204"/>
                            <a:gd name="connsiteX195" fmla="*/ 13716 w 610636"/>
                            <a:gd name="connsiteY195" fmla="*/ 460858 h 583204"/>
                            <a:gd name="connsiteX196" fmla="*/ 12619 w 610636"/>
                            <a:gd name="connsiteY196" fmla="*/ 459761 h 583204"/>
                            <a:gd name="connsiteX197" fmla="*/ 11521 w 610636"/>
                            <a:gd name="connsiteY197" fmla="*/ 455371 h 583204"/>
                            <a:gd name="connsiteX198" fmla="*/ 5486 w 610636"/>
                            <a:gd name="connsiteY198" fmla="*/ 448788 h 583204"/>
                            <a:gd name="connsiteX199" fmla="*/ 6035 w 610636"/>
                            <a:gd name="connsiteY199" fmla="*/ 446593 h 583204"/>
                            <a:gd name="connsiteX200" fmla="*/ 9327 w 610636"/>
                            <a:gd name="connsiteY200" fmla="*/ 442204 h 583204"/>
                            <a:gd name="connsiteX201" fmla="*/ 8778 w 610636"/>
                            <a:gd name="connsiteY201" fmla="*/ 438912 h 583204"/>
                            <a:gd name="connsiteX202" fmla="*/ 7132 w 610636"/>
                            <a:gd name="connsiteY202" fmla="*/ 434523 h 583204"/>
                            <a:gd name="connsiteX203" fmla="*/ 6035 w 610636"/>
                            <a:gd name="connsiteY203" fmla="*/ 425745 h 583204"/>
                            <a:gd name="connsiteX204" fmla="*/ 3840 w 610636"/>
                            <a:gd name="connsiteY204" fmla="*/ 423550 h 583204"/>
                            <a:gd name="connsiteX205" fmla="*/ 2743 w 610636"/>
                            <a:gd name="connsiteY205" fmla="*/ 423550 h 583204"/>
                            <a:gd name="connsiteX206" fmla="*/ 1646 w 610636"/>
                            <a:gd name="connsiteY206" fmla="*/ 420807 h 583204"/>
                            <a:gd name="connsiteX207" fmla="*/ 549 w 610636"/>
                            <a:gd name="connsiteY207" fmla="*/ 420807 h 583204"/>
                            <a:gd name="connsiteX208" fmla="*/ 0 w 610636"/>
                            <a:gd name="connsiteY208" fmla="*/ 415869 h 583204"/>
                            <a:gd name="connsiteX209" fmla="*/ 1646 w 610636"/>
                            <a:gd name="connsiteY209" fmla="*/ 411480 h 583204"/>
                            <a:gd name="connsiteX210" fmla="*/ 1646 w 610636"/>
                            <a:gd name="connsiteY210" fmla="*/ 408737 h 583204"/>
                            <a:gd name="connsiteX211" fmla="*/ 0 w 610636"/>
                            <a:gd name="connsiteY211" fmla="*/ 407091 h 583204"/>
                            <a:gd name="connsiteX212" fmla="*/ 15362 w 610636"/>
                            <a:gd name="connsiteY212" fmla="*/ 391729 h 583204"/>
                            <a:gd name="connsiteX213" fmla="*/ 26883 w 610636"/>
                            <a:gd name="connsiteY213" fmla="*/ 364297 h 583204"/>
                            <a:gd name="connsiteX214" fmla="*/ 27981 w 610636"/>
                            <a:gd name="connsiteY214" fmla="*/ 363749 h 583204"/>
                            <a:gd name="connsiteX215" fmla="*/ 30175 w 610636"/>
                            <a:gd name="connsiteY215" fmla="*/ 363749 h 583204"/>
                            <a:gd name="connsiteX216" fmla="*/ 30724 w 610636"/>
                            <a:gd name="connsiteY216" fmla="*/ 364846 h 583204"/>
                            <a:gd name="connsiteX217" fmla="*/ 34564 w 610636"/>
                            <a:gd name="connsiteY217" fmla="*/ 365394 h 583204"/>
                            <a:gd name="connsiteX218" fmla="*/ 37308 w 610636"/>
                            <a:gd name="connsiteY218" fmla="*/ 367589 h 583204"/>
                            <a:gd name="connsiteX219" fmla="*/ 47183 w 610636"/>
                            <a:gd name="connsiteY219" fmla="*/ 389534 h 583204"/>
                            <a:gd name="connsiteX220" fmla="*/ 59253 w 610636"/>
                            <a:gd name="connsiteY220" fmla="*/ 391729 h 583204"/>
                            <a:gd name="connsiteX221" fmla="*/ 76810 w 610636"/>
                            <a:gd name="connsiteY221" fmla="*/ 376916 h 583204"/>
                            <a:gd name="connsiteX222" fmla="*/ 247985 w 610636"/>
                            <a:gd name="connsiteY222" fmla="*/ 380208 h 583204"/>
                            <a:gd name="connsiteX223" fmla="*/ 256215 w 610636"/>
                            <a:gd name="connsiteY223" fmla="*/ 347838 h 583204"/>
                            <a:gd name="connsiteX224" fmla="*/ 241402 w 610636"/>
                            <a:gd name="connsiteY224" fmla="*/ 343449 h 583204"/>
                            <a:gd name="connsiteX225" fmla="*/ 206289 w 610636"/>
                            <a:gd name="connsiteY225" fmla="*/ 0 h 583204"/>
                            <a:gd name="connsiteX226" fmla="*/ 272125 w 610636"/>
                            <a:gd name="connsiteY226" fmla="*/ 0 h 583204"/>
                            <a:gd name="connsiteX227" fmla="*/ 315468 w 610636"/>
                            <a:gd name="connsiteY227" fmla="*/ 30175 h 583204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  <a:cxn ang="0">
                              <a:pos x="connsiteX11" y="connsiteY11"/>
                            </a:cxn>
                            <a:cxn ang="0">
                              <a:pos x="connsiteX12" y="connsiteY12"/>
                            </a:cxn>
                            <a:cxn ang="0">
                              <a:pos x="connsiteX13" y="connsiteY13"/>
                            </a:cxn>
                            <a:cxn ang="0">
                              <a:pos x="connsiteX14" y="connsiteY14"/>
                            </a:cxn>
                            <a:cxn ang="0">
                              <a:pos x="connsiteX15" y="connsiteY15"/>
                            </a:cxn>
                            <a:cxn ang="0">
                              <a:pos x="connsiteX16" y="connsiteY16"/>
                            </a:cxn>
                            <a:cxn ang="0">
                              <a:pos x="connsiteX17" y="connsiteY17"/>
                            </a:cxn>
                            <a:cxn ang="0">
                              <a:pos x="connsiteX18" y="connsiteY18"/>
                            </a:cxn>
                            <a:cxn ang="0">
                              <a:pos x="connsiteX19" y="connsiteY19"/>
                            </a:cxn>
                            <a:cxn ang="0">
                              <a:pos x="connsiteX20" y="connsiteY20"/>
                            </a:cxn>
                            <a:cxn ang="0">
                              <a:pos x="connsiteX21" y="connsiteY21"/>
                            </a:cxn>
                            <a:cxn ang="0">
                              <a:pos x="connsiteX22" y="connsiteY22"/>
                            </a:cxn>
                            <a:cxn ang="0">
                              <a:pos x="connsiteX23" y="connsiteY23"/>
                            </a:cxn>
                            <a:cxn ang="0">
                              <a:pos x="connsiteX24" y="connsiteY24"/>
                            </a:cxn>
                            <a:cxn ang="0">
                              <a:pos x="connsiteX25" y="connsiteY25"/>
                            </a:cxn>
                            <a:cxn ang="0">
                              <a:pos x="connsiteX26" y="connsiteY26"/>
                            </a:cxn>
                            <a:cxn ang="0">
                              <a:pos x="connsiteX27" y="connsiteY27"/>
                            </a:cxn>
                            <a:cxn ang="0">
                              <a:pos x="connsiteX28" y="connsiteY28"/>
                            </a:cxn>
                            <a:cxn ang="0">
                              <a:pos x="connsiteX29" y="connsiteY29"/>
                            </a:cxn>
                            <a:cxn ang="0">
                              <a:pos x="connsiteX30" y="connsiteY30"/>
                            </a:cxn>
                            <a:cxn ang="0">
                              <a:pos x="connsiteX31" y="connsiteY31"/>
                            </a:cxn>
                            <a:cxn ang="0">
                              <a:pos x="connsiteX32" y="connsiteY32"/>
                            </a:cxn>
                            <a:cxn ang="0">
                              <a:pos x="connsiteX33" y="connsiteY33"/>
                            </a:cxn>
                            <a:cxn ang="0">
                              <a:pos x="connsiteX34" y="connsiteY34"/>
                            </a:cxn>
                            <a:cxn ang="0">
                              <a:pos x="connsiteX35" y="connsiteY35"/>
                            </a:cxn>
                            <a:cxn ang="0">
                              <a:pos x="connsiteX36" y="connsiteY36"/>
                            </a:cxn>
                            <a:cxn ang="0">
                              <a:pos x="connsiteX37" y="connsiteY37"/>
                            </a:cxn>
                            <a:cxn ang="0">
                              <a:pos x="connsiteX38" y="connsiteY38"/>
                            </a:cxn>
                            <a:cxn ang="0">
                              <a:pos x="connsiteX39" y="connsiteY39"/>
                            </a:cxn>
                            <a:cxn ang="0">
                              <a:pos x="connsiteX40" y="connsiteY40"/>
                            </a:cxn>
                            <a:cxn ang="0">
                              <a:pos x="connsiteX41" y="connsiteY41"/>
                            </a:cxn>
                            <a:cxn ang="0">
                              <a:pos x="connsiteX42" y="connsiteY42"/>
                            </a:cxn>
                            <a:cxn ang="0">
                              <a:pos x="connsiteX43" y="connsiteY43"/>
                            </a:cxn>
                            <a:cxn ang="0">
                              <a:pos x="connsiteX44" y="connsiteY44"/>
                            </a:cxn>
                            <a:cxn ang="0">
                              <a:pos x="connsiteX45" y="connsiteY45"/>
                            </a:cxn>
                            <a:cxn ang="0">
                              <a:pos x="connsiteX46" y="connsiteY46"/>
                            </a:cxn>
                            <a:cxn ang="0">
                              <a:pos x="connsiteX47" y="connsiteY47"/>
                            </a:cxn>
                            <a:cxn ang="0">
                              <a:pos x="connsiteX48" y="connsiteY48"/>
                            </a:cxn>
                            <a:cxn ang="0">
                              <a:pos x="connsiteX49" y="connsiteY49"/>
                            </a:cxn>
                            <a:cxn ang="0">
                              <a:pos x="connsiteX50" y="connsiteY50"/>
                            </a:cxn>
                            <a:cxn ang="0">
                              <a:pos x="connsiteX51" y="connsiteY51"/>
                            </a:cxn>
                            <a:cxn ang="0">
                              <a:pos x="connsiteX52" y="connsiteY52"/>
                            </a:cxn>
                            <a:cxn ang="0">
                              <a:pos x="connsiteX53" y="connsiteY53"/>
                            </a:cxn>
                            <a:cxn ang="0">
                              <a:pos x="connsiteX54" y="connsiteY54"/>
                            </a:cxn>
                            <a:cxn ang="0">
                              <a:pos x="connsiteX55" y="connsiteY55"/>
                            </a:cxn>
                            <a:cxn ang="0">
                              <a:pos x="connsiteX56" y="connsiteY56"/>
                            </a:cxn>
                            <a:cxn ang="0">
                              <a:pos x="connsiteX57" y="connsiteY57"/>
                            </a:cxn>
                            <a:cxn ang="0">
                              <a:pos x="connsiteX58" y="connsiteY58"/>
                            </a:cxn>
                            <a:cxn ang="0">
                              <a:pos x="connsiteX59" y="connsiteY59"/>
                            </a:cxn>
                            <a:cxn ang="0">
                              <a:pos x="connsiteX60" y="connsiteY60"/>
                            </a:cxn>
                            <a:cxn ang="0">
                              <a:pos x="connsiteX61" y="connsiteY61"/>
                            </a:cxn>
                            <a:cxn ang="0">
                              <a:pos x="connsiteX62" y="connsiteY62"/>
                            </a:cxn>
                            <a:cxn ang="0">
                              <a:pos x="connsiteX63" y="connsiteY63"/>
                            </a:cxn>
                            <a:cxn ang="0">
                              <a:pos x="connsiteX64" y="connsiteY64"/>
                            </a:cxn>
                            <a:cxn ang="0">
                              <a:pos x="connsiteX65" y="connsiteY65"/>
                            </a:cxn>
                            <a:cxn ang="0">
                              <a:pos x="connsiteX66" y="connsiteY66"/>
                            </a:cxn>
                            <a:cxn ang="0">
                              <a:pos x="connsiteX67" y="connsiteY67"/>
                            </a:cxn>
                            <a:cxn ang="0">
                              <a:pos x="connsiteX68" y="connsiteY68"/>
                            </a:cxn>
                            <a:cxn ang="0">
                              <a:pos x="connsiteX69" y="connsiteY69"/>
                            </a:cxn>
                            <a:cxn ang="0">
                              <a:pos x="connsiteX70" y="connsiteY70"/>
                            </a:cxn>
                            <a:cxn ang="0">
                              <a:pos x="connsiteX71" y="connsiteY71"/>
                            </a:cxn>
                            <a:cxn ang="0">
                              <a:pos x="connsiteX72" y="connsiteY72"/>
                            </a:cxn>
                            <a:cxn ang="0">
                              <a:pos x="connsiteX73" y="connsiteY73"/>
                            </a:cxn>
                            <a:cxn ang="0">
                              <a:pos x="connsiteX74" y="connsiteY74"/>
                            </a:cxn>
                            <a:cxn ang="0">
                              <a:pos x="connsiteX75" y="connsiteY75"/>
                            </a:cxn>
                            <a:cxn ang="0">
                              <a:pos x="connsiteX76" y="connsiteY76"/>
                            </a:cxn>
                            <a:cxn ang="0">
                              <a:pos x="connsiteX77" y="connsiteY77"/>
                            </a:cxn>
                            <a:cxn ang="0">
                              <a:pos x="connsiteX78" y="connsiteY78"/>
                            </a:cxn>
                            <a:cxn ang="0">
                              <a:pos x="connsiteX79" y="connsiteY79"/>
                            </a:cxn>
                            <a:cxn ang="0">
                              <a:pos x="connsiteX80" y="connsiteY80"/>
                            </a:cxn>
                            <a:cxn ang="0">
                              <a:pos x="connsiteX81" y="connsiteY81"/>
                            </a:cxn>
                            <a:cxn ang="0">
                              <a:pos x="connsiteX82" y="connsiteY82"/>
                            </a:cxn>
                            <a:cxn ang="0">
                              <a:pos x="connsiteX83" y="connsiteY83"/>
                            </a:cxn>
                            <a:cxn ang="0">
                              <a:pos x="connsiteX84" y="connsiteY84"/>
                            </a:cxn>
                            <a:cxn ang="0">
                              <a:pos x="connsiteX85" y="connsiteY85"/>
                            </a:cxn>
                            <a:cxn ang="0">
                              <a:pos x="connsiteX86" y="connsiteY86"/>
                            </a:cxn>
                            <a:cxn ang="0">
                              <a:pos x="connsiteX87" y="connsiteY87"/>
                            </a:cxn>
                            <a:cxn ang="0">
                              <a:pos x="connsiteX88" y="connsiteY88"/>
                            </a:cxn>
                            <a:cxn ang="0">
                              <a:pos x="connsiteX89" y="connsiteY89"/>
                            </a:cxn>
                            <a:cxn ang="0">
                              <a:pos x="connsiteX90" y="connsiteY90"/>
                            </a:cxn>
                            <a:cxn ang="0">
                              <a:pos x="connsiteX91" y="connsiteY91"/>
                            </a:cxn>
                            <a:cxn ang="0">
                              <a:pos x="connsiteX92" y="connsiteY92"/>
                            </a:cxn>
                            <a:cxn ang="0">
                              <a:pos x="connsiteX93" y="connsiteY93"/>
                            </a:cxn>
                            <a:cxn ang="0">
                              <a:pos x="connsiteX94" y="connsiteY94"/>
                            </a:cxn>
                            <a:cxn ang="0">
                              <a:pos x="connsiteX95" y="connsiteY95"/>
                            </a:cxn>
                            <a:cxn ang="0">
                              <a:pos x="connsiteX96" y="connsiteY96"/>
                            </a:cxn>
                            <a:cxn ang="0">
                              <a:pos x="connsiteX97" y="connsiteY97"/>
                            </a:cxn>
                            <a:cxn ang="0">
                              <a:pos x="connsiteX98" y="connsiteY98"/>
                            </a:cxn>
                            <a:cxn ang="0">
                              <a:pos x="connsiteX99" y="connsiteY99"/>
                            </a:cxn>
                            <a:cxn ang="0">
                              <a:pos x="connsiteX100" y="connsiteY100"/>
                            </a:cxn>
                            <a:cxn ang="0">
                              <a:pos x="connsiteX101" y="connsiteY101"/>
                            </a:cxn>
                            <a:cxn ang="0">
                              <a:pos x="connsiteX102" y="connsiteY102"/>
                            </a:cxn>
                            <a:cxn ang="0">
                              <a:pos x="connsiteX103" y="connsiteY103"/>
                            </a:cxn>
                            <a:cxn ang="0">
                              <a:pos x="connsiteX104" y="connsiteY104"/>
                            </a:cxn>
                            <a:cxn ang="0">
                              <a:pos x="connsiteX105" y="connsiteY105"/>
                            </a:cxn>
                            <a:cxn ang="0">
                              <a:pos x="connsiteX106" y="connsiteY106"/>
                            </a:cxn>
                            <a:cxn ang="0">
                              <a:pos x="connsiteX107" y="connsiteY107"/>
                            </a:cxn>
                            <a:cxn ang="0">
                              <a:pos x="connsiteX108" y="connsiteY108"/>
                            </a:cxn>
                            <a:cxn ang="0">
                              <a:pos x="connsiteX109" y="connsiteY109"/>
                            </a:cxn>
                            <a:cxn ang="0">
                              <a:pos x="connsiteX110" y="connsiteY110"/>
                            </a:cxn>
                            <a:cxn ang="0">
                              <a:pos x="connsiteX111" y="connsiteY111"/>
                            </a:cxn>
                            <a:cxn ang="0">
                              <a:pos x="connsiteX112" y="connsiteY112"/>
                            </a:cxn>
                            <a:cxn ang="0">
                              <a:pos x="connsiteX113" y="connsiteY113"/>
                            </a:cxn>
                            <a:cxn ang="0">
                              <a:pos x="connsiteX114" y="connsiteY114"/>
                            </a:cxn>
                            <a:cxn ang="0">
                              <a:pos x="connsiteX115" y="connsiteY115"/>
                            </a:cxn>
                            <a:cxn ang="0">
                              <a:pos x="connsiteX116" y="connsiteY116"/>
                            </a:cxn>
                            <a:cxn ang="0">
                              <a:pos x="connsiteX117" y="connsiteY117"/>
                            </a:cxn>
                            <a:cxn ang="0">
                              <a:pos x="connsiteX118" y="connsiteY118"/>
                            </a:cxn>
                            <a:cxn ang="0">
                              <a:pos x="connsiteX119" y="connsiteY119"/>
                            </a:cxn>
                            <a:cxn ang="0">
                              <a:pos x="connsiteX120" y="connsiteY120"/>
                            </a:cxn>
                            <a:cxn ang="0">
                              <a:pos x="connsiteX121" y="connsiteY121"/>
                            </a:cxn>
                            <a:cxn ang="0">
                              <a:pos x="connsiteX122" y="connsiteY122"/>
                            </a:cxn>
                            <a:cxn ang="0">
                              <a:pos x="connsiteX123" y="connsiteY123"/>
                            </a:cxn>
                            <a:cxn ang="0">
                              <a:pos x="connsiteX124" y="connsiteY124"/>
                            </a:cxn>
                            <a:cxn ang="0">
                              <a:pos x="connsiteX125" y="connsiteY125"/>
                            </a:cxn>
                            <a:cxn ang="0">
                              <a:pos x="connsiteX126" y="connsiteY126"/>
                            </a:cxn>
                            <a:cxn ang="0">
                              <a:pos x="connsiteX127" y="connsiteY127"/>
                            </a:cxn>
                            <a:cxn ang="0">
                              <a:pos x="connsiteX128" y="connsiteY128"/>
                            </a:cxn>
                            <a:cxn ang="0">
                              <a:pos x="connsiteX129" y="connsiteY129"/>
                            </a:cxn>
                            <a:cxn ang="0">
                              <a:pos x="connsiteX130" y="connsiteY130"/>
                            </a:cxn>
                            <a:cxn ang="0">
                              <a:pos x="connsiteX131" y="connsiteY131"/>
                            </a:cxn>
                            <a:cxn ang="0">
                              <a:pos x="connsiteX132" y="connsiteY132"/>
                            </a:cxn>
                            <a:cxn ang="0">
                              <a:pos x="connsiteX133" y="connsiteY133"/>
                            </a:cxn>
                            <a:cxn ang="0">
                              <a:pos x="connsiteX134" y="connsiteY134"/>
                            </a:cxn>
                            <a:cxn ang="0">
                              <a:pos x="connsiteX135" y="connsiteY135"/>
                            </a:cxn>
                            <a:cxn ang="0">
                              <a:pos x="connsiteX136" y="connsiteY136"/>
                            </a:cxn>
                            <a:cxn ang="0">
                              <a:pos x="connsiteX137" y="connsiteY137"/>
                            </a:cxn>
                            <a:cxn ang="0">
                              <a:pos x="connsiteX138" y="connsiteY138"/>
                            </a:cxn>
                            <a:cxn ang="0">
                              <a:pos x="connsiteX139" y="connsiteY139"/>
                            </a:cxn>
                            <a:cxn ang="0">
                              <a:pos x="connsiteX140" y="connsiteY140"/>
                            </a:cxn>
                            <a:cxn ang="0">
                              <a:pos x="connsiteX141" y="connsiteY141"/>
                            </a:cxn>
                            <a:cxn ang="0">
                              <a:pos x="connsiteX142" y="connsiteY142"/>
                            </a:cxn>
                            <a:cxn ang="0">
                              <a:pos x="connsiteX143" y="connsiteY143"/>
                            </a:cxn>
                            <a:cxn ang="0">
                              <a:pos x="connsiteX144" y="connsiteY144"/>
                            </a:cxn>
                            <a:cxn ang="0">
                              <a:pos x="connsiteX145" y="connsiteY145"/>
                            </a:cxn>
                            <a:cxn ang="0">
                              <a:pos x="connsiteX146" y="connsiteY146"/>
                            </a:cxn>
                            <a:cxn ang="0">
                              <a:pos x="connsiteX147" y="connsiteY147"/>
                            </a:cxn>
                            <a:cxn ang="0">
                              <a:pos x="connsiteX148" y="connsiteY148"/>
                            </a:cxn>
                            <a:cxn ang="0">
                              <a:pos x="connsiteX149" y="connsiteY149"/>
                            </a:cxn>
                            <a:cxn ang="0">
                              <a:pos x="connsiteX150" y="connsiteY150"/>
                            </a:cxn>
                            <a:cxn ang="0">
                              <a:pos x="connsiteX151" y="connsiteY151"/>
                            </a:cxn>
                            <a:cxn ang="0">
                              <a:pos x="connsiteX152" y="connsiteY152"/>
                            </a:cxn>
                            <a:cxn ang="0">
                              <a:pos x="connsiteX153" y="connsiteY153"/>
                            </a:cxn>
                            <a:cxn ang="0">
                              <a:pos x="connsiteX154" y="connsiteY154"/>
                            </a:cxn>
                            <a:cxn ang="0">
                              <a:pos x="connsiteX155" y="connsiteY155"/>
                            </a:cxn>
                            <a:cxn ang="0">
                              <a:pos x="connsiteX156" y="connsiteY156"/>
                            </a:cxn>
                            <a:cxn ang="0">
                              <a:pos x="connsiteX157" y="connsiteY157"/>
                            </a:cxn>
                            <a:cxn ang="0">
                              <a:pos x="connsiteX158" y="connsiteY158"/>
                            </a:cxn>
                            <a:cxn ang="0">
                              <a:pos x="connsiteX159" y="connsiteY159"/>
                            </a:cxn>
                            <a:cxn ang="0">
                              <a:pos x="connsiteX160" y="connsiteY160"/>
                            </a:cxn>
                            <a:cxn ang="0">
                              <a:pos x="connsiteX161" y="connsiteY161"/>
                            </a:cxn>
                            <a:cxn ang="0">
                              <a:pos x="connsiteX162" y="connsiteY162"/>
                            </a:cxn>
                            <a:cxn ang="0">
                              <a:pos x="connsiteX163" y="connsiteY163"/>
                            </a:cxn>
                            <a:cxn ang="0">
                              <a:pos x="connsiteX164" y="connsiteY164"/>
                            </a:cxn>
                            <a:cxn ang="0">
                              <a:pos x="connsiteX165" y="connsiteY165"/>
                            </a:cxn>
                            <a:cxn ang="0">
                              <a:pos x="connsiteX166" y="connsiteY166"/>
                            </a:cxn>
                            <a:cxn ang="0">
                              <a:pos x="connsiteX167" y="connsiteY167"/>
                            </a:cxn>
                            <a:cxn ang="0">
                              <a:pos x="connsiteX168" y="connsiteY168"/>
                            </a:cxn>
                            <a:cxn ang="0">
                              <a:pos x="connsiteX169" y="connsiteY169"/>
                            </a:cxn>
                            <a:cxn ang="0">
                              <a:pos x="connsiteX170" y="connsiteY170"/>
                            </a:cxn>
                            <a:cxn ang="0">
                              <a:pos x="connsiteX171" y="connsiteY171"/>
                            </a:cxn>
                            <a:cxn ang="0">
                              <a:pos x="connsiteX172" y="connsiteY172"/>
                            </a:cxn>
                            <a:cxn ang="0">
                              <a:pos x="connsiteX173" y="connsiteY173"/>
                            </a:cxn>
                            <a:cxn ang="0">
                              <a:pos x="connsiteX174" y="connsiteY174"/>
                            </a:cxn>
                            <a:cxn ang="0">
                              <a:pos x="connsiteX175" y="connsiteY175"/>
                            </a:cxn>
                            <a:cxn ang="0">
                              <a:pos x="connsiteX176" y="connsiteY176"/>
                            </a:cxn>
                            <a:cxn ang="0">
                              <a:pos x="connsiteX177" y="connsiteY177"/>
                            </a:cxn>
                            <a:cxn ang="0">
                              <a:pos x="connsiteX178" y="connsiteY178"/>
                            </a:cxn>
                            <a:cxn ang="0">
                              <a:pos x="connsiteX179" y="connsiteY179"/>
                            </a:cxn>
                            <a:cxn ang="0">
                              <a:pos x="connsiteX180" y="connsiteY180"/>
                            </a:cxn>
                            <a:cxn ang="0">
                              <a:pos x="connsiteX181" y="connsiteY181"/>
                            </a:cxn>
                            <a:cxn ang="0">
                              <a:pos x="connsiteX182" y="connsiteY182"/>
                            </a:cxn>
                            <a:cxn ang="0">
                              <a:pos x="connsiteX183" y="connsiteY183"/>
                            </a:cxn>
                            <a:cxn ang="0">
                              <a:pos x="connsiteX184" y="connsiteY184"/>
                            </a:cxn>
                            <a:cxn ang="0">
                              <a:pos x="connsiteX185" y="connsiteY185"/>
                            </a:cxn>
                            <a:cxn ang="0">
                              <a:pos x="connsiteX186" y="connsiteY186"/>
                            </a:cxn>
                            <a:cxn ang="0">
                              <a:pos x="connsiteX187" y="connsiteY187"/>
                            </a:cxn>
                            <a:cxn ang="0">
                              <a:pos x="connsiteX188" y="connsiteY188"/>
                            </a:cxn>
                            <a:cxn ang="0">
                              <a:pos x="connsiteX189" y="connsiteY189"/>
                            </a:cxn>
                            <a:cxn ang="0">
                              <a:pos x="connsiteX190" y="connsiteY190"/>
                            </a:cxn>
                            <a:cxn ang="0">
                              <a:pos x="connsiteX191" y="connsiteY191"/>
                            </a:cxn>
                            <a:cxn ang="0">
                              <a:pos x="connsiteX192" y="connsiteY192"/>
                            </a:cxn>
                            <a:cxn ang="0">
                              <a:pos x="connsiteX193" y="connsiteY193"/>
                            </a:cxn>
                            <a:cxn ang="0">
                              <a:pos x="connsiteX194" y="connsiteY194"/>
                            </a:cxn>
                            <a:cxn ang="0">
                              <a:pos x="connsiteX195" y="connsiteY195"/>
                            </a:cxn>
                            <a:cxn ang="0">
                              <a:pos x="connsiteX196" y="connsiteY196"/>
                            </a:cxn>
                            <a:cxn ang="0">
                              <a:pos x="connsiteX197" y="connsiteY197"/>
                            </a:cxn>
                            <a:cxn ang="0">
                              <a:pos x="connsiteX198" y="connsiteY198"/>
                            </a:cxn>
                            <a:cxn ang="0">
                              <a:pos x="connsiteX199" y="connsiteY199"/>
                            </a:cxn>
                            <a:cxn ang="0">
                              <a:pos x="connsiteX200" y="connsiteY200"/>
                            </a:cxn>
                            <a:cxn ang="0">
                              <a:pos x="connsiteX201" y="connsiteY201"/>
                            </a:cxn>
                            <a:cxn ang="0">
                              <a:pos x="connsiteX202" y="connsiteY202"/>
                            </a:cxn>
                            <a:cxn ang="0">
                              <a:pos x="connsiteX203" y="connsiteY203"/>
                            </a:cxn>
                            <a:cxn ang="0">
                              <a:pos x="connsiteX204" y="connsiteY204"/>
                            </a:cxn>
                            <a:cxn ang="0">
                              <a:pos x="connsiteX205" y="connsiteY205"/>
                            </a:cxn>
                            <a:cxn ang="0">
                              <a:pos x="connsiteX206" y="connsiteY206"/>
                            </a:cxn>
                            <a:cxn ang="0">
                              <a:pos x="connsiteX207" y="connsiteY207"/>
                            </a:cxn>
                            <a:cxn ang="0">
                              <a:pos x="connsiteX208" y="connsiteY208"/>
                            </a:cxn>
                            <a:cxn ang="0">
                              <a:pos x="connsiteX209" y="connsiteY209"/>
                            </a:cxn>
                            <a:cxn ang="0">
                              <a:pos x="connsiteX210" y="connsiteY210"/>
                            </a:cxn>
                            <a:cxn ang="0">
                              <a:pos x="connsiteX211" y="connsiteY211"/>
                            </a:cxn>
                            <a:cxn ang="0">
                              <a:pos x="connsiteX212" y="connsiteY212"/>
                            </a:cxn>
                            <a:cxn ang="0">
                              <a:pos x="connsiteX213" y="connsiteY213"/>
                            </a:cxn>
                            <a:cxn ang="0">
                              <a:pos x="connsiteX214" y="connsiteY214"/>
                            </a:cxn>
                            <a:cxn ang="0">
                              <a:pos x="connsiteX215" y="connsiteY215"/>
                            </a:cxn>
                            <a:cxn ang="0">
                              <a:pos x="connsiteX216" y="connsiteY216"/>
                            </a:cxn>
                            <a:cxn ang="0">
                              <a:pos x="connsiteX217" y="connsiteY217"/>
                            </a:cxn>
                            <a:cxn ang="0">
                              <a:pos x="connsiteX218" y="connsiteY218"/>
                            </a:cxn>
                            <a:cxn ang="0">
                              <a:pos x="connsiteX219" y="connsiteY219"/>
                            </a:cxn>
                            <a:cxn ang="0">
                              <a:pos x="connsiteX220" y="connsiteY220"/>
                            </a:cxn>
                            <a:cxn ang="0">
                              <a:pos x="connsiteX221" y="connsiteY221"/>
                            </a:cxn>
                            <a:cxn ang="0">
                              <a:pos x="connsiteX222" y="connsiteY222"/>
                            </a:cxn>
                            <a:cxn ang="0">
                              <a:pos x="connsiteX223" y="connsiteY223"/>
                            </a:cxn>
                            <a:cxn ang="0">
                              <a:pos x="connsiteX224" y="connsiteY224"/>
                            </a:cxn>
                            <a:cxn ang="0">
                              <a:pos x="connsiteX225" y="connsiteY225"/>
                            </a:cxn>
                            <a:cxn ang="0">
                              <a:pos x="connsiteX226" y="connsiteY226"/>
                            </a:cxn>
                            <a:cxn ang="0">
                              <a:pos x="connsiteX227" y="connsiteY227"/>
                            </a:cxn>
                          </a:cxnLst>
                          <a:rect l="l" t="t" r="r" b="b"/>
                          <a:pathLst>
                            <a:path w="610636" h="583204">
                              <a:moveTo>
                                <a:pt x="315468" y="30175"/>
                              </a:moveTo>
                              <a:lnTo>
                                <a:pt x="495422" y="154717"/>
                              </a:lnTo>
                              <a:lnTo>
                                <a:pt x="495422" y="158009"/>
                              </a:lnTo>
                              <a:lnTo>
                                <a:pt x="498714" y="160752"/>
                              </a:lnTo>
                              <a:lnTo>
                                <a:pt x="497616" y="166238"/>
                              </a:lnTo>
                              <a:lnTo>
                                <a:pt x="498165" y="168981"/>
                              </a:lnTo>
                              <a:lnTo>
                                <a:pt x="515173" y="176662"/>
                              </a:lnTo>
                              <a:lnTo>
                                <a:pt x="516819" y="177760"/>
                              </a:lnTo>
                              <a:lnTo>
                                <a:pt x="517368" y="182149"/>
                              </a:lnTo>
                              <a:lnTo>
                                <a:pt x="518465" y="184892"/>
                              </a:lnTo>
                              <a:lnTo>
                                <a:pt x="527243" y="191476"/>
                              </a:lnTo>
                              <a:lnTo>
                                <a:pt x="533278" y="192573"/>
                              </a:lnTo>
                              <a:lnTo>
                                <a:pt x="539862" y="191476"/>
                              </a:lnTo>
                              <a:lnTo>
                                <a:pt x="541508" y="192573"/>
                              </a:lnTo>
                              <a:lnTo>
                                <a:pt x="543702" y="198059"/>
                              </a:lnTo>
                              <a:lnTo>
                                <a:pt x="546446" y="199705"/>
                              </a:lnTo>
                              <a:lnTo>
                                <a:pt x="553578" y="199705"/>
                              </a:lnTo>
                              <a:lnTo>
                                <a:pt x="556870" y="200802"/>
                              </a:lnTo>
                              <a:lnTo>
                                <a:pt x="559613" y="200802"/>
                              </a:lnTo>
                              <a:lnTo>
                                <a:pt x="565099" y="204643"/>
                              </a:lnTo>
                              <a:lnTo>
                                <a:pt x="571683" y="206289"/>
                              </a:lnTo>
                              <a:lnTo>
                                <a:pt x="573878" y="208483"/>
                              </a:lnTo>
                              <a:lnTo>
                                <a:pt x="574975" y="210129"/>
                              </a:lnTo>
                              <a:lnTo>
                                <a:pt x="576072" y="210678"/>
                              </a:lnTo>
                              <a:lnTo>
                                <a:pt x="576621" y="213970"/>
                              </a:lnTo>
                              <a:lnTo>
                                <a:pt x="575523" y="216164"/>
                              </a:lnTo>
                              <a:lnTo>
                                <a:pt x="575523" y="218908"/>
                              </a:lnTo>
                              <a:lnTo>
                                <a:pt x="577169" y="221651"/>
                              </a:lnTo>
                              <a:lnTo>
                                <a:pt x="577169" y="223297"/>
                              </a:lnTo>
                              <a:lnTo>
                                <a:pt x="574975" y="224942"/>
                              </a:lnTo>
                              <a:lnTo>
                                <a:pt x="574426" y="226040"/>
                              </a:lnTo>
                              <a:lnTo>
                                <a:pt x="574975" y="230429"/>
                              </a:lnTo>
                              <a:lnTo>
                                <a:pt x="573329" y="234269"/>
                              </a:lnTo>
                              <a:lnTo>
                                <a:pt x="573329" y="237013"/>
                              </a:lnTo>
                              <a:lnTo>
                                <a:pt x="578815" y="243048"/>
                              </a:lnTo>
                              <a:lnTo>
                                <a:pt x="587594" y="243596"/>
                              </a:lnTo>
                              <a:lnTo>
                                <a:pt x="593080" y="240853"/>
                              </a:lnTo>
                              <a:lnTo>
                                <a:pt x="599664" y="240305"/>
                              </a:lnTo>
                              <a:lnTo>
                                <a:pt x="609539" y="235915"/>
                              </a:lnTo>
                              <a:lnTo>
                                <a:pt x="609539" y="237561"/>
                              </a:lnTo>
                              <a:lnTo>
                                <a:pt x="610636" y="237561"/>
                              </a:lnTo>
                              <a:lnTo>
                                <a:pt x="610636" y="357713"/>
                              </a:lnTo>
                              <a:lnTo>
                                <a:pt x="607345" y="358811"/>
                              </a:lnTo>
                              <a:lnTo>
                                <a:pt x="600761" y="362651"/>
                              </a:lnTo>
                              <a:lnTo>
                                <a:pt x="598566" y="366492"/>
                              </a:lnTo>
                              <a:lnTo>
                                <a:pt x="597469" y="371978"/>
                              </a:lnTo>
                              <a:lnTo>
                                <a:pt x="588691" y="376367"/>
                              </a:lnTo>
                              <a:lnTo>
                                <a:pt x="584850" y="380756"/>
                              </a:lnTo>
                              <a:lnTo>
                                <a:pt x="584850" y="384597"/>
                              </a:lnTo>
                              <a:lnTo>
                                <a:pt x="567294" y="382951"/>
                              </a:lnTo>
                              <a:lnTo>
                                <a:pt x="567294" y="385694"/>
                              </a:lnTo>
                              <a:lnTo>
                                <a:pt x="564002" y="384048"/>
                              </a:lnTo>
                              <a:lnTo>
                                <a:pt x="503652" y="385694"/>
                              </a:lnTo>
                              <a:lnTo>
                                <a:pt x="486644" y="398861"/>
                              </a:lnTo>
                              <a:lnTo>
                                <a:pt x="438363" y="399959"/>
                              </a:lnTo>
                              <a:lnTo>
                                <a:pt x="384048" y="432877"/>
                              </a:lnTo>
                              <a:lnTo>
                                <a:pt x="375270" y="443301"/>
                              </a:lnTo>
                              <a:lnTo>
                                <a:pt x="362651" y="452628"/>
                              </a:lnTo>
                              <a:lnTo>
                                <a:pt x="315468" y="464698"/>
                              </a:lnTo>
                              <a:lnTo>
                                <a:pt x="309982" y="468539"/>
                              </a:lnTo>
                              <a:lnTo>
                                <a:pt x="290779" y="509687"/>
                              </a:lnTo>
                              <a:lnTo>
                                <a:pt x="269931" y="527243"/>
                              </a:lnTo>
                              <a:lnTo>
                                <a:pt x="260604" y="551932"/>
                              </a:lnTo>
                              <a:lnTo>
                                <a:pt x="260604" y="576621"/>
                              </a:lnTo>
                              <a:lnTo>
                                <a:pt x="252374" y="577718"/>
                              </a:lnTo>
                              <a:lnTo>
                                <a:pt x="250728" y="577169"/>
                              </a:lnTo>
                              <a:lnTo>
                                <a:pt x="248534" y="573329"/>
                              </a:lnTo>
                              <a:lnTo>
                                <a:pt x="246339" y="571683"/>
                              </a:lnTo>
                              <a:lnTo>
                                <a:pt x="239207" y="571683"/>
                              </a:lnTo>
                              <a:lnTo>
                                <a:pt x="237012" y="572232"/>
                              </a:lnTo>
                              <a:lnTo>
                                <a:pt x="234818" y="576621"/>
                              </a:lnTo>
                              <a:lnTo>
                                <a:pt x="232075" y="577169"/>
                              </a:lnTo>
                              <a:lnTo>
                                <a:pt x="229332" y="579913"/>
                              </a:lnTo>
                              <a:lnTo>
                                <a:pt x="223845" y="579364"/>
                              </a:lnTo>
                              <a:lnTo>
                                <a:pt x="224394" y="578267"/>
                              </a:lnTo>
                              <a:lnTo>
                                <a:pt x="223845" y="570037"/>
                              </a:lnTo>
                              <a:lnTo>
                                <a:pt x="222199" y="567842"/>
                              </a:lnTo>
                              <a:lnTo>
                                <a:pt x="222748" y="566745"/>
                              </a:lnTo>
                              <a:lnTo>
                                <a:pt x="222199" y="563453"/>
                              </a:lnTo>
                              <a:lnTo>
                                <a:pt x="221102" y="561259"/>
                              </a:lnTo>
                              <a:lnTo>
                                <a:pt x="218907" y="562356"/>
                              </a:lnTo>
                              <a:lnTo>
                                <a:pt x="215067" y="562356"/>
                              </a:lnTo>
                              <a:lnTo>
                                <a:pt x="212872" y="566745"/>
                              </a:lnTo>
                              <a:lnTo>
                                <a:pt x="211775" y="566745"/>
                              </a:lnTo>
                              <a:lnTo>
                                <a:pt x="208483" y="564551"/>
                              </a:lnTo>
                              <a:lnTo>
                                <a:pt x="206289" y="564551"/>
                              </a:lnTo>
                              <a:lnTo>
                                <a:pt x="204643" y="566745"/>
                              </a:lnTo>
                              <a:lnTo>
                                <a:pt x="204643" y="569489"/>
                              </a:lnTo>
                              <a:lnTo>
                                <a:pt x="206289" y="573878"/>
                              </a:lnTo>
                              <a:lnTo>
                                <a:pt x="204094" y="575524"/>
                              </a:lnTo>
                              <a:lnTo>
                                <a:pt x="196962" y="575524"/>
                              </a:lnTo>
                              <a:lnTo>
                                <a:pt x="193121" y="577169"/>
                              </a:lnTo>
                              <a:lnTo>
                                <a:pt x="192573" y="579913"/>
                              </a:lnTo>
                              <a:lnTo>
                                <a:pt x="190927" y="583205"/>
                              </a:lnTo>
                              <a:lnTo>
                                <a:pt x="188732" y="582656"/>
                              </a:lnTo>
                              <a:lnTo>
                                <a:pt x="185989" y="581010"/>
                              </a:lnTo>
                              <a:lnTo>
                                <a:pt x="183246" y="578267"/>
                              </a:lnTo>
                              <a:lnTo>
                                <a:pt x="182148" y="577718"/>
                              </a:lnTo>
                              <a:lnTo>
                                <a:pt x="179954" y="578815"/>
                              </a:lnTo>
                              <a:lnTo>
                                <a:pt x="179405" y="579913"/>
                              </a:lnTo>
                              <a:lnTo>
                                <a:pt x="178857" y="579913"/>
                              </a:lnTo>
                              <a:lnTo>
                                <a:pt x="177759" y="575524"/>
                              </a:lnTo>
                              <a:lnTo>
                                <a:pt x="175565" y="571683"/>
                              </a:lnTo>
                              <a:lnTo>
                                <a:pt x="172822" y="571134"/>
                              </a:lnTo>
                              <a:lnTo>
                                <a:pt x="170078" y="573878"/>
                              </a:lnTo>
                              <a:lnTo>
                                <a:pt x="166787" y="572780"/>
                              </a:lnTo>
                              <a:lnTo>
                                <a:pt x="165141" y="573878"/>
                              </a:lnTo>
                              <a:lnTo>
                                <a:pt x="163495" y="575524"/>
                              </a:lnTo>
                              <a:lnTo>
                                <a:pt x="162946" y="578267"/>
                              </a:lnTo>
                              <a:lnTo>
                                <a:pt x="160752" y="580461"/>
                              </a:lnTo>
                              <a:lnTo>
                                <a:pt x="156362" y="581558"/>
                              </a:lnTo>
                              <a:lnTo>
                                <a:pt x="156362" y="579364"/>
                              </a:lnTo>
                              <a:lnTo>
                                <a:pt x="155265" y="577169"/>
                              </a:lnTo>
                              <a:lnTo>
                                <a:pt x="151425" y="574975"/>
                              </a:lnTo>
                              <a:lnTo>
                                <a:pt x="150327" y="572232"/>
                              </a:lnTo>
                              <a:lnTo>
                                <a:pt x="146487" y="571683"/>
                              </a:lnTo>
                              <a:lnTo>
                                <a:pt x="144292" y="567842"/>
                              </a:lnTo>
                              <a:lnTo>
                                <a:pt x="142646" y="549189"/>
                              </a:lnTo>
                              <a:lnTo>
                                <a:pt x="139355" y="548092"/>
                              </a:lnTo>
                              <a:lnTo>
                                <a:pt x="136611" y="548640"/>
                              </a:lnTo>
                              <a:lnTo>
                                <a:pt x="132222" y="553578"/>
                              </a:lnTo>
                              <a:lnTo>
                                <a:pt x="130576" y="553578"/>
                              </a:lnTo>
                              <a:lnTo>
                                <a:pt x="130576" y="548092"/>
                              </a:lnTo>
                              <a:lnTo>
                                <a:pt x="131674" y="546994"/>
                              </a:lnTo>
                              <a:lnTo>
                                <a:pt x="134965" y="545897"/>
                              </a:lnTo>
                              <a:lnTo>
                                <a:pt x="134965" y="542605"/>
                              </a:lnTo>
                              <a:lnTo>
                                <a:pt x="137709" y="542605"/>
                              </a:lnTo>
                              <a:lnTo>
                                <a:pt x="138806" y="539862"/>
                              </a:lnTo>
                              <a:lnTo>
                                <a:pt x="142098" y="539862"/>
                              </a:lnTo>
                              <a:lnTo>
                                <a:pt x="141549" y="536021"/>
                              </a:lnTo>
                              <a:lnTo>
                                <a:pt x="141000" y="535473"/>
                              </a:lnTo>
                              <a:lnTo>
                                <a:pt x="137160" y="535473"/>
                              </a:lnTo>
                              <a:lnTo>
                                <a:pt x="134965" y="532730"/>
                              </a:lnTo>
                              <a:lnTo>
                                <a:pt x="132222" y="531632"/>
                              </a:lnTo>
                              <a:lnTo>
                                <a:pt x="128930" y="525049"/>
                              </a:lnTo>
                              <a:lnTo>
                                <a:pt x="126187" y="526694"/>
                              </a:lnTo>
                              <a:lnTo>
                                <a:pt x="125090" y="526146"/>
                              </a:lnTo>
                              <a:lnTo>
                                <a:pt x="125090" y="514076"/>
                              </a:lnTo>
                              <a:lnTo>
                                <a:pt x="123444" y="510784"/>
                              </a:lnTo>
                              <a:lnTo>
                                <a:pt x="121798" y="510235"/>
                              </a:lnTo>
                              <a:lnTo>
                                <a:pt x="122347" y="506395"/>
                              </a:lnTo>
                              <a:lnTo>
                                <a:pt x="121249" y="504749"/>
                              </a:lnTo>
                              <a:lnTo>
                                <a:pt x="119055" y="504749"/>
                              </a:lnTo>
                              <a:lnTo>
                                <a:pt x="117958" y="504200"/>
                              </a:lnTo>
                              <a:lnTo>
                                <a:pt x="119055" y="496519"/>
                              </a:lnTo>
                              <a:lnTo>
                                <a:pt x="118506" y="495422"/>
                              </a:lnTo>
                              <a:lnTo>
                                <a:pt x="116312" y="493776"/>
                              </a:lnTo>
                              <a:lnTo>
                                <a:pt x="114666" y="493776"/>
                              </a:lnTo>
                              <a:lnTo>
                                <a:pt x="112471" y="495971"/>
                              </a:lnTo>
                              <a:lnTo>
                                <a:pt x="110825" y="495971"/>
                              </a:lnTo>
                              <a:lnTo>
                                <a:pt x="106436" y="493228"/>
                              </a:lnTo>
                              <a:lnTo>
                                <a:pt x="104790" y="493228"/>
                              </a:lnTo>
                              <a:lnTo>
                                <a:pt x="104242" y="493776"/>
                              </a:lnTo>
                              <a:lnTo>
                                <a:pt x="104242" y="499811"/>
                              </a:lnTo>
                              <a:lnTo>
                                <a:pt x="102047" y="502006"/>
                              </a:lnTo>
                              <a:lnTo>
                                <a:pt x="92720" y="504749"/>
                              </a:lnTo>
                              <a:lnTo>
                                <a:pt x="92720" y="508589"/>
                              </a:lnTo>
                              <a:lnTo>
                                <a:pt x="91623" y="511881"/>
                              </a:lnTo>
                              <a:lnTo>
                                <a:pt x="81747" y="508589"/>
                              </a:lnTo>
                              <a:lnTo>
                                <a:pt x="75712" y="504749"/>
                              </a:lnTo>
                              <a:lnTo>
                                <a:pt x="69677" y="503652"/>
                              </a:lnTo>
                              <a:lnTo>
                                <a:pt x="67483" y="504200"/>
                              </a:lnTo>
                              <a:lnTo>
                                <a:pt x="64740" y="508041"/>
                              </a:lnTo>
                              <a:lnTo>
                                <a:pt x="61448" y="509138"/>
                              </a:lnTo>
                              <a:lnTo>
                                <a:pt x="59253" y="512978"/>
                              </a:lnTo>
                              <a:lnTo>
                                <a:pt x="57059" y="515173"/>
                              </a:lnTo>
                              <a:lnTo>
                                <a:pt x="52669" y="514076"/>
                              </a:lnTo>
                              <a:lnTo>
                                <a:pt x="46086" y="504200"/>
                              </a:lnTo>
                              <a:lnTo>
                                <a:pt x="42245" y="504749"/>
                              </a:lnTo>
                              <a:lnTo>
                                <a:pt x="38405" y="509687"/>
                              </a:lnTo>
                              <a:lnTo>
                                <a:pt x="35662" y="511333"/>
                              </a:lnTo>
                              <a:lnTo>
                                <a:pt x="32370" y="511881"/>
                              </a:lnTo>
                              <a:lnTo>
                                <a:pt x="29078" y="510235"/>
                              </a:lnTo>
                              <a:lnTo>
                                <a:pt x="25786" y="506944"/>
                              </a:lnTo>
                              <a:lnTo>
                                <a:pt x="26335" y="504200"/>
                              </a:lnTo>
                              <a:lnTo>
                                <a:pt x="29078" y="501457"/>
                              </a:lnTo>
                              <a:lnTo>
                                <a:pt x="29078" y="499262"/>
                              </a:lnTo>
                              <a:lnTo>
                                <a:pt x="32370" y="494873"/>
                              </a:lnTo>
                              <a:lnTo>
                                <a:pt x="32370" y="493776"/>
                              </a:lnTo>
                              <a:lnTo>
                                <a:pt x="29627" y="491582"/>
                              </a:lnTo>
                              <a:lnTo>
                                <a:pt x="29078" y="486095"/>
                              </a:lnTo>
                              <a:lnTo>
                                <a:pt x="31272" y="483901"/>
                              </a:lnTo>
                              <a:lnTo>
                                <a:pt x="31272" y="481157"/>
                              </a:lnTo>
                              <a:lnTo>
                                <a:pt x="30175" y="478963"/>
                              </a:lnTo>
                              <a:lnTo>
                                <a:pt x="30724" y="477866"/>
                              </a:lnTo>
                              <a:lnTo>
                                <a:pt x="31821" y="477317"/>
                              </a:lnTo>
                              <a:lnTo>
                                <a:pt x="30724" y="475122"/>
                              </a:lnTo>
                              <a:lnTo>
                                <a:pt x="27981" y="471830"/>
                              </a:lnTo>
                              <a:lnTo>
                                <a:pt x="26883" y="468539"/>
                              </a:lnTo>
                              <a:lnTo>
                                <a:pt x="24689" y="467441"/>
                              </a:lnTo>
                              <a:lnTo>
                                <a:pt x="24140" y="464150"/>
                              </a:lnTo>
                              <a:lnTo>
                                <a:pt x="21397" y="461955"/>
                              </a:lnTo>
                              <a:lnTo>
                                <a:pt x="20848" y="459761"/>
                              </a:lnTo>
                              <a:lnTo>
                                <a:pt x="18105" y="459212"/>
                              </a:lnTo>
                              <a:lnTo>
                                <a:pt x="15911" y="460858"/>
                              </a:lnTo>
                              <a:lnTo>
                                <a:pt x="13716" y="460858"/>
                              </a:lnTo>
                              <a:lnTo>
                                <a:pt x="12619" y="459761"/>
                              </a:lnTo>
                              <a:lnTo>
                                <a:pt x="11521" y="455371"/>
                              </a:lnTo>
                              <a:lnTo>
                                <a:pt x="5486" y="448788"/>
                              </a:lnTo>
                              <a:lnTo>
                                <a:pt x="6035" y="446593"/>
                              </a:lnTo>
                              <a:lnTo>
                                <a:pt x="9327" y="442204"/>
                              </a:lnTo>
                              <a:lnTo>
                                <a:pt x="8778" y="438912"/>
                              </a:lnTo>
                              <a:lnTo>
                                <a:pt x="7132" y="434523"/>
                              </a:lnTo>
                              <a:lnTo>
                                <a:pt x="6035" y="425745"/>
                              </a:lnTo>
                              <a:lnTo>
                                <a:pt x="3840" y="423550"/>
                              </a:lnTo>
                              <a:lnTo>
                                <a:pt x="2743" y="423550"/>
                              </a:lnTo>
                              <a:lnTo>
                                <a:pt x="1646" y="420807"/>
                              </a:lnTo>
                              <a:lnTo>
                                <a:pt x="549" y="420807"/>
                              </a:lnTo>
                              <a:lnTo>
                                <a:pt x="0" y="415869"/>
                              </a:lnTo>
                              <a:lnTo>
                                <a:pt x="1646" y="411480"/>
                              </a:lnTo>
                              <a:lnTo>
                                <a:pt x="1646" y="408737"/>
                              </a:lnTo>
                              <a:lnTo>
                                <a:pt x="0" y="407091"/>
                              </a:lnTo>
                              <a:lnTo>
                                <a:pt x="15362" y="391729"/>
                              </a:lnTo>
                              <a:lnTo>
                                <a:pt x="26883" y="364297"/>
                              </a:lnTo>
                              <a:lnTo>
                                <a:pt x="27981" y="363749"/>
                              </a:lnTo>
                              <a:lnTo>
                                <a:pt x="30175" y="363749"/>
                              </a:lnTo>
                              <a:lnTo>
                                <a:pt x="30724" y="364846"/>
                              </a:lnTo>
                              <a:lnTo>
                                <a:pt x="34564" y="365394"/>
                              </a:lnTo>
                              <a:lnTo>
                                <a:pt x="37308" y="367589"/>
                              </a:lnTo>
                              <a:lnTo>
                                <a:pt x="47183" y="389534"/>
                              </a:lnTo>
                              <a:lnTo>
                                <a:pt x="59253" y="391729"/>
                              </a:lnTo>
                              <a:lnTo>
                                <a:pt x="76810" y="376916"/>
                              </a:lnTo>
                              <a:lnTo>
                                <a:pt x="247985" y="380208"/>
                              </a:lnTo>
                              <a:lnTo>
                                <a:pt x="256215" y="347838"/>
                              </a:lnTo>
                              <a:lnTo>
                                <a:pt x="241402" y="343449"/>
                              </a:lnTo>
                              <a:lnTo>
                                <a:pt x="206289" y="0"/>
                              </a:lnTo>
                              <a:lnTo>
                                <a:pt x="272125" y="0"/>
                              </a:lnTo>
                              <a:lnTo>
                                <a:pt x="315468" y="30175"/>
                              </a:lnTo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237" name="Graphic 7">
                          <a:extLst>
                            <a:ext uri="{FF2B5EF4-FFF2-40B4-BE49-F238E27FC236}">
                              <a16:creationId xmlns:a16="http://schemas.microsoft.com/office/drawing/2014/main" id="{875E5FDE-7B20-E826-7CDF-CDA9CAA2D09D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4742279" y="3628219"/>
                          <a:ext cx="245611" cy="213892"/>
                        </a:xfrm>
                        <a:custGeom>
                          <a:avLst/>
                          <a:gdLst>
                            <a:gd name="connsiteX0" fmla="*/ 134965 w 314370"/>
                            <a:gd name="connsiteY0" fmla="*/ 258410 h 273771"/>
                            <a:gd name="connsiteX1" fmla="*/ 10973 w 314370"/>
                            <a:gd name="connsiteY1" fmla="*/ 258410 h 273771"/>
                            <a:gd name="connsiteX2" fmla="*/ 9876 w 314370"/>
                            <a:gd name="connsiteY2" fmla="*/ 263347 h 273771"/>
                            <a:gd name="connsiteX3" fmla="*/ 1097 w 314370"/>
                            <a:gd name="connsiteY3" fmla="*/ 271577 h 273771"/>
                            <a:gd name="connsiteX4" fmla="*/ 3292 w 314370"/>
                            <a:gd name="connsiteY4" fmla="*/ 271028 h 273771"/>
                            <a:gd name="connsiteX5" fmla="*/ 0 w 314370"/>
                            <a:gd name="connsiteY5" fmla="*/ 273772 h 273771"/>
                            <a:gd name="connsiteX6" fmla="*/ 3292 w 314370"/>
                            <a:gd name="connsiteY6" fmla="*/ 243596 h 273771"/>
                            <a:gd name="connsiteX7" fmla="*/ 10973 w 314370"/>
                            <a:gd name="connsiteY7" fmla="*/ 225491 h 273771"/>
                            <a:gd name="connsiteX8" fmla="*/ 19202 w 314370"/>
                            <a:gd name="connsiteY8" fmla="*/ 221102 h 273771"/>
                            <a:gd name="connsiteX9" fmla="*/ 32918 w 314370"/>
                            <a:gd name="connsiteY9" fmla="*/ 194219 h 273771"/>
                            <a:gd name="connsiteX10" fmla="*/ 31272 w 314370"/>
                            <a:gd name="connsiteY10" fmla="*/ 188184 h 273771"/>
                            <a:gd name="connsiteX11" fmla="*/ 47183 w 314370"/>
                            <a:gd name="connsiteY11" fmla="*/ 163495 h 273771"/>
                            <a:gd name="connsiteX12" fmla="*/ 49378 w 314370"/>
                            <a:gd name="connsiteY12" fmla="*/ 155814 h 273771"/>
                            <a:gd name="connsiteX13" fmla="*/ 82845 w 314370"/>
                            <a:gd name="connsiteY13" fmla="*/ 111374 h 273771"/>
                            <a:gd name="connsiteX14" fmla="*/ 94915 w 314370"/>
                            <a:gd name="connsiteY14" fmla="*/ 68031 h 273771"/>
                            <a:gd name="connsiteX15" fmla="*/ 105339 w 314370"/>
                            <a:gd name="connsiteY15" fmla="*/ 54315 h 273771"/>
                            <a:gd name="connsiteX16" fmla="*/ 130576 w 314370"/>
                            <a:gd name="connsiteY16" fmla="*/ 38405 h 273771"/>
                            <a:gd name="connsiteX17" fmla="*/ 145938 w 314370"/>
                            <a:gd name="connsiteY17" fmla="*/ 3841 h 273771"/>
                            <a:gd name="connsiteX18" fmla="*/ 149779 w 314370"/>
                            <a:gd name="connsiteY18" fmla="*/ 0 h 273771"/>
                            <a:gd name="connsiteX19" fmla="*/ 314371 w 314370"/>
                            <a:gd name="connsiteY19" fmla="*/ 0 h 273771"/>
                            <a:gd name="connsiteX20" fmla="*/ 314371 w 314370"/>
                            <a:gd name="connsiteY20" fmla="*/ 69129 h 273771"/>
                            <a:gd name="connsiteX21" fmla="*/ 193121 w 314370"/>
                            <a:gd name="connsiteY21" fmla="*/ 69129 h 273771"/>
                            <a:gd name="connsiteX22" fmla="*/ 193121 w 314370"/>
                            <a:gd name="connsiteY22" fmla="*/ 173919 h 273771"/>
                            <a:gd name="connsiteX23" fmla="*/ 156362 w 314370"/>
                            <a:gd name="connsiteY23" fmla="*/ 183246 h 273771"/>
                            <a:gd name="connsiteX24" fmla="*/ 153071 w 314370"/>
                            <a:gd name="connsiteY24" fmla="*/ 185441 h 273771"/>
                            <a:gd name="connsiteX25" fmla="*/ 147036 w 314370"/>
                            <a:gd name="connsiteY25" fmla="*/ 196962 h 273771"/>
                            <a:gd name="connsiteX26" fmla="*/ 151973 w 314370"/>
                            <a:gd name="connsiteY26" fmla="*/ 258410 h 273771"/>
                            <a:gd name="connsiteX27" fmla="*/ 134965 w 314370"/>
                            <a:gd name="connsiteY27" fmla="*/ 258410 h 273771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  <a:cxn ang="0">
                              <a:pos x="connsiteX11" y="connsiteY11"/>
                            </a:cxn>
                            <a:cxn ang="0">
                              <a:pos x="connsiteX12" y="connsiteY12"/>
                            </a:cxn>
                            <a:cxn ang="0">
                              <a:pos x="connsiteX13" y="connsiteY13"/>
                            </a:cxn>
                            <a:cxn ang="0">
                              <a:pos x="connsiteX14" y="connsiteY14"/>
                            </a:cxn>
                            <a:cxn ang="0">
                              <a:pos x="connsiteX15" y="connsiteY15"/>
                            </a:cxn>
                            <a:cxn ang="0">
                              <a:pos x="connsiteX16" y="connsiteY16"/>
                            </a:cxn>
                            <a:cxn ang="0">
                              <a:pos x="connsiteX17" y="connsiteY17"/>
                            </a:cxn>
                            <a:cxn ang="0">
                              <a:pos x="connsiteX18" y="connsiteY18"/>
                            </a:cxn>
                            <a:cxn ang="0">
                              <a:pos x="connsiteX19" y="connsiteY19"/>
                            </a:cxn>
                            <a:cxn ang="0">
                              <a:pos x="connsiteX20" y="connsiteY20"/>
                            </a:cxn>
                            <a:cxn ang="0">
                              <a:pos x="connsiteX21" y="connsiteY21"/>
                            </a:cxn>
                            <a:cxn ang="0">
                              <a:pos x="connsiteX22" y="connsiteY22"/>
                            </a:cxn>
                            <a:cxn ang="0">
                              <a:pos x="connsiteX23" y="connsiteY23"/>
                            </a:cxn>
                            <a:cxn ang="0">
                              <a:pos x="connsiteX24" y="connsiteY24"/>
                            </a:cxn>
                            <a:cxn ang="0">
                              <a:pos x="connsiteX25" y="connsiteY25"/>
                            </a:cxn>
                            <a:cxn ang="0">
                              <a:pos x="connsiteX26" y="connsiteY26"/>
                            </a:cxn>
                            <a:cxn ang="0">
                              <a:pos x="connsiteX27" y="connsiteY27"/>
                            </a:cxn>
                          </a:cxnLst>
                          <a:rect l="l" t="t" r="r" b="b"/>
                          <a:pathLst>
                            <a:path w="314370" h="273771">
                              <a:moveTo>
                                <a:pt x="134965" y="258410"/>
                              </a:moveTo>
                              <a:lnTo>
                                <a:pt x="10973" y="258410"/>
                              </a:lnTo>
                              <a:lnTo>
                                <a:pt x="9876" y="263347"/>
                              </a:lnTo>
                              <a:lnTo>
                                <a:pt x="1097" y="271577"/>
                              </a:lnTo>
                              <a:lnTo>
                                <a:pt x="3292" y="271028"/>
                              </a:lnTo>
                              <a:lnTo>
                                <a:pt x="0" y="273772"/>
                              </a:lnTo>
                              <a:lnTo>
                                <a:pt x="3292" y="243596"/>
                              </a:lnTo>
                              <a:lnTo>
                                <a:pt x="10973" y="225491"/>
                              </a:lnTo>
                              <a:lnTo>
                                <a:pt x="19202" y="221102"/>
                              </a:lnTo>
                              <a:lnTo>
                                <a:pt x="32918" y="194219"/>
                              </a:lnTo>
                              <a:lnTo>
                                <a:pt x="31272" y="188184"/>
                              </a:lnTo>
                              <a:lnTo>
                                <a:pt x="47183" y="163495"/>
                              </a:lnTo>
                              <a:lnTo>
                                <a:pt x="49378" y="155814"/>
                              </a:lnTo>
                              <a:lnTo>
                                <a:pt x="82845" y="111374"/>
                              </a:lnTo>
                              <a:lnTo>
                                <a:pt x="94915" y="68031"/>
                              </a:lnTo>
                              <a:lnTo>
                                <a:pt x="105339" y="54315"/>
                              </a:lnTo>
                              <a:lnTo>
                                <a:pt x="130576" y="38405"/>
                              </a:lnTo>
                              <a:lnTo>
                                <a:pt x="145938" y="3841"/>
                              </a:lnTo>
                              <a:lnTo>
                                <a:pt x="149779" y="0"/>
                              </a:lnTo>
                              <a:lnTo>
                                <a:pt x="314371" y="0"/>
                              </a:lnTo>
                              <a:lnTo>
                                <a:pt x="314371" y="69129"/>
                              </a:lnTo>
                              <a:lnTo>
                                <a:pt x="193121" y="69129"/>
                              </a:lnTo>
                              <a:lnTo>
                                <a:pt x="193121" y="173919"/>
                              </a:lnTo>
                              <a:lnTo>
                                <a:pt x="156362" y="183246"/>
                              </a:lnTo>
                              <a:lnTo>
                                <a:pt x="153071" y="185441"/>
                              </a:lnTo>
                              <a:lnTo>
                                <a:pt x="147036" y="196962"/>
                              </a:lnTo>
                              <a:lnTo>
                                <a:pt x="151973" y="258410"/>
                              </a:lnTo>
                              <a:lnTo>
                                <a:pt x="134965" y="258410"/>
                              </a:lnTo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238" name="Graphic 7">
                          <a:extLst>
                            <a:ext uri="{FF2B5EF4-FFF2-40B4-BE49-F238E27FC236}">
                              <a16:creationId xmlns:a16="http://schemas.microsoft.com/office/drawing/2014/main" id="{A33E7DE6-F341-5224-FD59-0E1175C33F8B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5598706" y="4316620"/>
                          <a:ext cx="558521" cy="544375"/>
                        </a:xfrm>
                        <a:custGeom>
                          <a:avLst/>
                          <a:gdLst>
                            <a:gd name="connsiteX0" fmla="*/ 686349 w 714878"/>
                            <a:gd name="connsiteY0" fmla="*/ 502554 h 696772"/>
                            <a:gd name="connsiteX1" fmla="*/ 681411 w 714878"/>
                            <a:gd name="connsiteY1" fmla="*/ 478963 h 696772"/>
                            <a:gd name="connsiteX2" fmla="*/ 674827 w 714878"/>
                            <a:gd name="connsiteY2" fmla="*/ 470733 h 696772"/>
                            <a:gd name="connsiteX3" fmla="*/ 665500 w 714878"/>
                            <a:gd name="connsiteY3" fmla="*/ 467441 h 696772"/>
                            <a:gd name="connsiteX4" fmla="*/ 651236 w 714878"/>
                            <a:gd name="connsiteY4" fmla="*/ 452628 h 696772"/>
                            <a:gd name="connsiteX5" fmla="*/ 646847 w 714878"/>
                            <a:gd name="connsiteY5" fmla="*/ 441655 h 696772"/>
                            <a:gd name="connsiteX6" fmla="*/ 643555 w 714878"/>
                            <a:gd name="connsiteY6" fmla="*/ 436717 h 696772"/>
                            <a:gd name="connsiteX7" fmla="*/ 640812 w 714878"/>
                            <a:gd name="connsiteY7" fmla="*/ 425745 h 696772"/>
                            <a:gd name="connsiteX8" fmla="*/ 643006 w 714878"/>
                            <a:gd name="connsiteY8" fmla="*/ 408737 h 696772"/>
                            <a:gd name="connsiteX9" fmla="*/ 634228 w 714878"/>
                            <a:gd name="connsiteY9" fmla="*/ 386791 h 696772"/>
                            <a:gd name="connsiteX10" fmla="*/ 638617 w 714878"/>
                            <a:gd name="connsiteY10" fmla="*/ 361005 h 696772"/>
                            <a:gd name="connsiteX11" fmla="*/ 637520 w 714878"/>
                            <a:gd name="connsiteY11" fmla="*/ 353873 h 696772"/>
                            <a:gd name="connsiteX12" fmla="*/ 634777 w 714878"/>
                            <a:gd name="connsiteY12" fmla="*/ 355519 h 696772"/>
                            <a:gd name="connsiteX13" fmla="*/ 641360 w 714878"/>
                            <a:gd name="connsiteY13" fmla="*/ 321503 h 696772"/>
                            <a:gd name="connsiteX14" fmla="*/ 640263 w 714878"/>
                            <a:gd name="connsiteY14" fmla="*/ 305044 h 696772"/>
                            <a:gd name="connsiteX15" fmla="*/ 630387 w 714878"/>
                            <a:gd name="connsiteY15" fmla="*/ 291877 h 696772"/>
                            <a:gd name="connsiteX16" fmla="*/ 630387 w 714878"/>
                            <a:gd name="connsiteY16" fmla="*/ 284744 h 696772"/>
                            <a:gd name="connsiteX17" fmla="*/ 654528 w 714878"/>
                            <a:gd name="connsiteY17" fmla="*/ 245791 h 696772"/>
                            <a:gd name="connsiteX18" fmla="*/ 656174 w 714878"/>
                            <a:gd name="connsiteY18" fmla="*/ 244693 h 696772"/>
                            <a:gd name="connsiteX19" fmla="*/ 663854 w 714878"/>
                            <a:gd name="connsiteY19" fmla="*/ 180502 h 696772"/>
                            <a:gd name="connsiteX20" fmla="*/ 694578 w 714878"/>
                            <a:gd name="connsiteY20" fmla="*/ 137709 h 696772"/>
                            <a:gd name="connsiteX21" fmla="*/ 706648 w 714878"/>
                            <a:gd name="connsiteY21" fmla="*/ 130576 h 696772"/>
                            <a:gd name="connsiteX22" fmla="*/ 712135 w 714878"/>
                            <a:gd name="connsiteY22" fmla="*/ 124541 h 696772"/>
                            <a:gd name="connsiteX23" fmla="*/ 714878 w 714878"/>
                            <a:gd name="connsiteY23" fmla="*/ 118506 h 696772"/>
                            <a:gd name="connsiteX24" fmla="*/ 714329 w 714878"/>
                            <a:gd name="connsiteY24" fmla="*/ 114117 h 696772"/>
                            <a:gd name="connsiteX25" fmla="*/ 712135 w 714878"/>
                            <a:gd name="connsiteY25" fmla="*/ 110277 h 696772"/>
                            <a:gd name="connsiteX26" fmla="*/ 707197 w 714878"/>
                            <a:gd name="connsiteY26" fmla="*/ 109179 h 696772"/>
                            <a:gd name="connsiteX27" fmla="*/ 700065 w 714878"/>
                            <a:gd name="connsiteY27" fmla="*/ 103144 h 696772"/>
                            <a:gd name="connsiteX28" fmla="*/ 697870 w 714878"/>
                            <a:gd name="connsiteY28" fmla="*/ 96561 h 696772"/>
                            <a:gd name="connsiteX29" fmla="*/ 699516 w 714878"/>
                            <a:gd name="connsiteY29" fmla="*/ 69677 h 696772"/>
                            <a:gd name="connsiteX30" fmla="*/ 701711 w 714878"/>
                            <a:gd name="connsiteY30" fmla="*/ 63642 h 696772"/>
                            <a:gd name="connsiteX31" fmla="*/ 701711 w 714878"/>
                            <a:gd name="connsiteY31" fmla="*/ 60899 h 696772"/>
                            <a:gd name="connsiteX32" fmla="*/ 697322 w 714878"/>
                            <a:gd name="connsiteY32" fmla="*/ 60899 h 696772"/>
                            <a:gd name="connsiteX33" fmla="*/ 653979 w 714878"/>
                            <a:gd name="connsiteY33" fmla="*/ 23591 h 696772"/>
                            <a:gd name="connsiteX34" fmla="*/ 645201 w 714878"/>
                            <a:gd name="connsiteY34" fmla="*/ 30724 h 696772"/>
                            <a:gd name="connsiteX35" fmla="*/ 636971 w 714878"/>
                            <a:gd name="connsiteY35" fmla="*/ 31273 h 696772"/>
                            <a:gd name="connsiteX36" fmla="*/ 619415 w 714878"/>
                            <a:gd name="connsiteY36" fmla="*/ 27432 h 696772"/>
                            <a:gd name="connsiteX37" fmla="*/ 615026 w 714878"/>
                            <a:gd name="connsiteY37" fmla="*/ 32918 h 696772"/>
                            <a:gd name="connsiteX38" fmla="*/ 610088 w 714878"/>
                            <a:gd name="connsiteY38" fmla="*/ 35113 h 696772"/>
                            <a:gd name="connsiteX39" fmla="*/ 594726 w 714878"/>
                            <a:gd name="connsiteY39" fmla="*/ 29078 h 696772"/>
                            <a:gd name="connsiteX40" fmla="*/ 587045 w 714878"/>
                            <a:gd name="connsiteY40" fmla="*/ 16459 h 696772"/>
                            <a:gd name="connsiteX41" fmla="*/ 578815 w 714878"/>
                            <a:gd name="connsiteY41" fmla="*/ 10424 h 696772"/>
                            <a:gd name="connsiteX42" fmla="*/ 574426 w 714878"/>
                            <a:gd name="connsiteY42" fmla="*/ 2743 h 696772"/>
                            <a:gd name="connsiteX43" fmla="*/ 554675 w 714878"/>
                            <a:gd name="connsiteY43" fmla="*/ 2743 h 696772"/>
                            <a:gd name="connsiteX44" fmla="*/ 549737 w 714878"/>
                            <a:gd name="connsiteY44" fmla="*/ 9875 h 696772"/>
                            <a:gd name="connsiteX45" fmla="*/ 540959 w 714878"/>
                            <a:gd name="connsiteY45" fmla="*/ 4938 h 696772"/>
                            <a:gd name="connsiteX46" fmla="*/ 537119 w 714878"/>
                            <a:gd name="connsiteY46" fmla="*/ 9875 h 696772"/>
                            <a:gd name="connsiteX47" fmla="*/ 527792 w 714878"/>
                            <a:gd name="connsiteY47" fmla="*/ 0 h 696772"/>
                            <a:gd name="connsiteX48" fmla="*/ 501457 w 714878"/>
                            <a:gd name="connsiteY48" fmla="*/ 4938 h 696772"/>
                            <a:gd name="connsiteX49" fmla="*/ 487741 w 714878"/>
                            <a:gd name="connsiteY49" fmla="*/ 1646 h 696772"/>
                            <a:gd name="connsiteX50" fmla="*/ 485546 w 714878"/>
                            <a:gd name="connsiteY50" fmla="*/ 9875 h 696772"/>
                            <a:gd name="connsiteX51" fmla="*/ 477317 w 714878"/>
                            <a:gd name="connsiteY51" fmla="*/ 9875 h 696772"/>
                            <a:gd name="connsiteX52" fmla="*/ 471830 w 714878"/>
                            <a:gd name="connsiteY52" fmla="*/ 12070 h 696772"/>
                            <a:gd name="connsiteX53" fmla="*/ 466893 w 714878"/>
                            <a:gd name="connsiteY53" fmla="*/ 9875 h 696772"/>
                            <a:gd name="connsiteX54" fmla="*/ 467990 w 714878"/>
                            <a:gd name="connsiteY54" fmla="*/ 9875 h 696772"/>
                            <a:gd name="connsiteX55" fmla="*/ 466893 w 714878"/>
                            <a:gd name="connsiteY55" fmla="*/ 6035 h 696772"/>
                            <a:gd name="connsiteX56" fmla="*/ 462504 w 714878"/>
                            <a:gd name="connsiteY56" fmla="*/ 6035 h 696772"/>
                            <a:gd name="connsiteX57" fmla="*/ 417515 w 714878"/>
                            <a:gd name="connsiteY57" fmla="*/ 21946 h 696772"/>
                            <a:gd name="connsiteX58" fmla="*/ 411480 w 714878"/>
                            <a:gd name="connsiteY58" fmla="*/ 17557 h 696772"/>
                            <a:gd name="connsiteX59" fmla="*/ 398861 w 714878"/>
                            <a:gd name="connsiteY59" fmla="*/ 15362 h 696772"/>
                            <a:gd name="connsiteX60" fmla="*/ 388986 w 714878"/>
                            <a:gd name="connsiteY60" fmla="*/ 21946 h 696772"/>
                            <a:gd name="connsiteX61" fmla="*/ 387889 w 714878"/>
                            <a:gd name="connsiteY61" fmla="*/ 32918 h 696772"/>
                            <a:gd name="connsiteX62" fmla="*/ 382951 w 714878"/>
                            <a:gd name="connsiteY62" fmla="*/ 35113 h 696772"/>
                            <a:gd name="connsiteX63" fmla="*/ 347838 w 714878"/>
                            <a:gd name="connsiteY63" fmla="*/ 35113 h 696772"/>
                            <a:gd name="connsiteX64" fmla="*/ 332476 w 714878"/>
                            <a:gd name="connsiteY64" fmla="*/ 31273 h 696772"/>
                            <a:gd name="connsiteX65" fmla="*/ 323149 w 714878"/>
                            <a:gd name="connsiteY65" fmla="*/ 24689 h 696772"/>
                            <a:gd name="connsiteX66" fmla="*/ 317663 w 714878"/>
                            <a:gd name="connsiteY66" fmla="*/ 30175 h 696772"/>
                            <a:gd name="connsiteX67" fmla="*/ 312725 w 714878"/>
                            <a:gd name="connsiteY67" fmla="*/ 29078 h 696772"/>
                            <a:gd name="connsiteX68" fmla="*/ 299009 w 714878"/>
                            <a:gd name="connsiteY68" fmla="*/ 16459 h 696772"/>
                            <a:gd name="connsiteX69" fmla="*/ 296814 w 714878"/>
                            <a:gd name="connsiteY69" fmla="*/ 9875 h 696772"/>
                            <a:gd name="connsiteX70" fmla="*/ 291328 w 714878"/>
                            <a:gd name="connsiteY70" fmla="*/ 3841 h 696772"/>
                            <a:gd name="connsiteX71" fmla="*/ 271577 w 714878"/>
                            <a:gd name="connsiteY71" fmla="*/ 2743 h 696772"/>
                            <a:gd name="connsiteX72" fmla="*/ 257861 w 714878"/>
                            <a:gd name="connsiteY72" fmla="*/ 14265 h 696772"/>
                            <a:gd name="connsiteX73" fmla="*/ 253472 w 714878"/>
                            <a:gd name="connsiteY73" fmla="*/ 24689 h 696772"/>
                            <a:gd name="connsiteX74" fmla="*/ 248534 w 714878"/>
                            <a:gd name="connsiteY74" fmla="*/ 27981 h 696772"/>
                            <a:gd name="connsiteX75" fmla="*/ 245242 w 714878"/>
                            <a:gd name="connsiteY75" fmla="*/ 51023 h 696772"/>
                            <a:gd name="connsiteX76" fmla="*/ 247437 w 714878"/>
                            <a:gd name="connsiteY76" fmla="*/ 56510 h 696772"/>
                            <a:gd name="connsiteX77" fmla="*/ 238658 w 714878"/>
                            <a:gd name="connsiteY77" fmla="*/ 58156 h 696772"/>
                            <a:gd name="connsiteX78" fmla="*/ 240304 w 714878"/>
                            <a:gd name="connsiteY78" fmla="*/ 69677 h 696772"/>
                            <a:gd name="connsiteX79" fmla="*/ 216164 w 714878"/>
                            <a:gd name="connsiteY79" fmla="*/ 124541 h 696772"/>
                            <a:gd name="connsiteX80" fmla="*/ 203545 w 714878"/>
                            <a:gd name="connsiteY80" fmla="*/ 223297 h 696772"/>
                            <a:gd name="connsiteX81" fmla="*/ 180503 w 714878"/>
                            <a:gd name="connsiteY81" fmla="*/ 239207 h 696772"/>
                            <a:gd name="connsiteX82" fmla="*/ 152522 w 714878"/>
                            <a:gd name="connsiteY82" fmla="*/ 274869 h 696772"/>
                            <a:gd name="connsiteX83" fmla="*/ 143195 w 714878"/>
                            <a:gd name="connsiteY83" fmla="*/ 328087 h 696772"/>
                            <a:gd name="connsiteX84" fmla="*/ 123444 w 714878"/>
                            <a:gd name="connsiteY84" fmla="*/ 353324 h 696772"/>
                            <a:gd name="connsiteX85" fmla="*/ 98207 w 714878"/>
                            <a:gd name="connsiteY85" fmla="*/ 371429 h 696772"/>
                            <a:gd name="connsiteX86" fmla="*/ 84491 w 714878"/>
                            <a:gd name="connsiteY86" fmla="*/ 376916 h 696772"/>
                            <a:gd name="connsiteX87" fmla="*/ 76810 w 714878"/>
                            <a:gd name="connsiteY87" fmla="*/ 375270 h 696772"/>
                            <a:gd name="connsiteX88" fmla="*/ 76261 w 714878"/>
                            <a:gd name="connsiteY88" fmla="*/ 362651 h 696772"/>
                            <a:gd name="connsiteX89" fmla="*/ 74615 w 714878"/>
                            <a:gd name="connsiteY89" fmla="*/ 359908 h 696772"/>
                            <a:gd name="connsiteX90" fmla="*/ 56510 w 714878"/>
                            <a:gd name="connsiteY90" fmla="*/ 363748 h 696772"/>
                            <a:gd name="connsiteX91" fmla="*/ 51024 w 714878"/>
                            <a:gd name="connsiteY91" fmla="*/ 368137 h 696772"/>
                            <a:gd name="connsiteX92" fmla="*/ 46086 w 714878"/>
                            <a:gd name="connsiteY92" fmla="*/ 376367 h 696772"/>
                            <a:gd name="connsiteX93" fmla="*/ 37856 w 714878"/>
                            <a:gd name="connsiteY93" fmla="*/ 378562 h 696772"/>
                            <a:gd name="connsiteX94" fmla="*/ 26335 w 714878"/>
                            <a:gd name="connsiteY94" fmla="*/ 371429 h 696772"/>
                            <a:gd name="connsiteX95" fmla="*/ 24140 w 714878"/>
                            <a:gd name="connsiteY95" fmla="*/ 372526 h 696772"/>
                            <a:gd name="connsiteX96" fmla="*/ 12070 w 714878"/>
                            <a:gd name="connsiteY96" fmla="*/ 383499 h 696772"/>
                            <a:gd name="connsiteX97" fmla="*/ 7132 w 714878"/>
                            <a:gd name="connsiteY97" fmla="*/ 412577 h 696772"/>
                            <a:gd name="connsiteX98" fmla="*/ 549 w 714878"/>
                            <a:gd name="connsiteY98" fmla="*/ 415869 h 696772"/>
                            <a:gd name="connsiteX99" fmla="*/ 1646 w 714878"/>
                            <a:gd name="connsiteY99" fmla="*/ 423550 h 696772"/>
                            <a:gd name="connsiteX100" fmla="*/ 0 w 714878"/>
                            <a:gd name="connsiteY100" fmla="*/ 427390 h 696772"/>
                            <a:gd name="connsiteX101" fmla="*/ 1097 w 714878"/>
                            <a:gd name="connsiteY101" fmla="*/ 430682 h 696772"/>
                            <a:gd name="connsiteX102" fmla="*/ 1646 w 714878"/>
                            <a:gd name="connsiteY102" fmla="*/ 428488 h 696772"/>
                            <a:gd name="connsiteX103" fmla="*/ 37308 w 714878"/>
                            <a:gd name="connsiteY103" fmla="*/ 415321 h 696772"/>
                            <a:gd name="connsiteX104" fmla="*/ 79004 w 714878"/>
                            <a:gd name="connsiteY104" fmla="*/ 413674 h 696772"/>
                            <a:gd name="connsiteX105" fmla="*/ 83942 w 714878"/>
                            <a:gd name="connsiteY105" fmla="*/ 415321 h 696772"/>
                            <a:gd name="connsiteX106" fmla="*/ 148681 w 714878"/>
                            <a:gd name="connsiteY106" fmla="*/ 413674 h 696772"/>
                            <a:gd name="connsiteX107" fmla="*/ 150327 w 714878"/>
                            <a:gd name="connsiteY107" fmla="*/ 414223 h 696772"/>
                            <a:gd name="connsiteX108" fmla="*/ 153619 w 714878"/>
                            <a:gd name="connsiteY108" fmla="*/ 419710 h 696772"/>
                            <a:gd name="connsiteX109" fmla="*/ 156362 w 714878"/>
                            <a:gd name="connsiteY109" fmla="*/ 419710 h 696772"/>
                            <a:gd name="connsiteX110" fmla="*/ 159106 w 714878"/>
                            <a:gd name="connsiteY110" fmla="*/ 418612 h 696772"/>
                            <a:gd name="connsiteX111" fmla="*/ 175016 w 714878"/>
                            <a:gd name="connsiteY111" fmla="*/ 469636 h 696772"/>
                            <a:gd name="connsiteX112" fmla="*/ 197510 w 714878"/>
                            <a:gd name="connsiteY112" fmla="*/ 497617 h 696772"/>
                            <a:gd name="connsiteX113" fmla="*/ 206289 w 714878"/>
                            <a:gd name="connsiteY113" fmla="*/ 500908 h 696772"/>
                            <a:gd name="connsiteX114" fmla="*/ 215616 w 714878"/>
                            <a:gd name="connsiteY114" fmla="*/ 500908 h 696772"/>
                            <a:gd name="connsiteX115" fmla="*/ 238658 w 714878"/>
                            <a:gd name="connsiteY115" fmla="*/ 494325 h 696772"/>
                            <a:gd name="connsiteX116" fmla="*/ 263896 w 714878"/>
                            <a:gd name="connsiteY116" fmla="*/ 495422 h 696772"/>
                            <a:gd name="connsiteX117" fmla="*/ 266090 w 714878"/>
                            <a:gd name="connsiteY117" fmla="*/ 480060 h 696772"/>
                            <a:gd name="connsiteX118" fmla="*/ 268285 w 714878"/>
                            <a:gd name="connsiteY118" fmla="*/ 477317 h 696772"/>
                            <a:gd name="connsiteX119" fmla="*/ 272674 w 714878"/>
                            <a:gd name="connsiteY119" fmla="*/ 458114 h 696772"/>
                            <a:gd name="connsiteX120" fmla="*/ 302301 w 714878"/>
                            <a:gd name="connsiteY120" fmla="*/ 457566 h 696772"/>
                            <a:gd name="connsiteX121" fmla="*/ 303398 w 714878"/>
                            <a:gd name="connsiteY121" fmla="*/ 453725 h 696772"/>
                            <a:gd name="connsiteX122" fmla="*/ 319309 w 714878"/>
                            <a:gd name="connsiteY122" fmla="*/ 453725 h 696772"/>
                            <a:gd name="connsiteX123" fmla="*/ 318760 w 714878"/>
                            <a:gd name="connsiteY123" fmla="*/ 469087 h 696772"/>
                            <a:gd name="connsiteX124" fmla="*/ 352227 w 714878"/>
                            <a:gd name="connsiteY124" fmla="*/ 469636 h 696772"/>
                            <a:gd name="connsiteX125" fmla="*/ 356067 w 714878"/>
                            <a:gd name="connsiteY125" fmla="*/ 477865 h 696772"/>
                            <a:gd name="connsiteX126" fmla="*/ 360457 w 714878"/>
                            <a:gd name="connsiteY126" fmla="*/ 530535 h 696772"/>
                            <a:gd name="connsiteX127" fmla="*/ 358262 w 714878"/>
                            <a:gd name="connsiteY127" fmla="*/ 541508 h 696772"/>
                            <a:gd name="connsiteX128" fmla="*/ 359359 w 714878"/>
                            <a:gd name="connsiteY128" fmla="*/ 556870 h 696772"/>
                            <a:gd name="connsiteX129" fmla="*/ 374721 w 714878"/>
                            <a:gd name="connsiteY129" fmla="*/ 592531 h 696772"/>
                            <a:gd name="connsiteX130" fmla="*/ 373624 w 714878"/>
                            <a:gd name="connsiteY130" fmla="*/ 598018 h 696772"/>
                            <a:gd name="connsiteX131" fmla="*/ 363200 w 714878"/>
                            <a:gd name="connsiteY131" fmla="*/ 610088 h 696772"/>
                            <a:gd name="connsiteX132" fmla="*/ 362651 w 714878"/>
                            <a:gd name="connsiteY132" fmla="*/ 611734 h 696772"/>
                            <a:gd name="connsiteX133" fmla="*/ 363748 w 714878"/>
                            <a:gd name="connsiteY133" fmla="*/ 613928 h 696772"/>
                            <a:gd name="connsiteX134" fmla="*/ 364846 w 714878"/>
                            <a:gd name="connsiteY134" fmla="*/ 614477 h 696772"/>
                            <a:gd name="connsiteX135" fmla="*/ 367589 w 714878"/>
                            <a:gd name="connsiteY135" fmla="*/ 615025 h 696772"/>
                            <a:gd name="connsiteX136" fmla="*/ 371429 w 714878"/>
                            <a:gd name="connsiteY136" fmla="*/ 619963 h 696772"/>
                            <a:gd name="connsiteX137" fmla="*/ 375818 w 714878"/>
                            <a:gd name="connsiteY137" fmla="*/ 621061 h 696772"/>
                            <a:gd name="connsiteX138" fmla="*/ 377464 w 714878"/>
                            <a:gd name="connsiteY138" fmla="*/ 619963 h 696772"/>
                            <a:gd name="connsiteX139" fmla="*/ 380756 w 714878"/>
                            <a:gd name="connsiteY139" fmla="*/ 611185 h 696772"/>
                            <a:gd name="connsiteX140" fmla="*/ 384597 w 714878"/>
                            <a:gd name="connsiteY140" fmla="*/ 609539 h 696772"/>
                            <a:gd name="connsiteX141" fmla="*/ 419161 w 714878"/>
                            <a:gd name="connsiteY141" fmla="*/ 609539 h 696772"/>
                            <a:gd name="connsiteX142" fmla="*/ 426842 w 714878"/>
                            <a:gd name="connsiteY142" fmla="*/ 606247 h 696772"/>
                            <a:gd name="connsiteX143" fmla="*/ 431780 w 714878"/>
                            <a:gd name="connsiteY143" fmla="*/ 607893 h 696772"/>
                            <a:gd name="connsiteX144" fmla="*/ 433974 w 714878"/>
                            <a:gd name="connsiteY144" fmla="*/ 607893 h 696772"/>
                            <a:gd name="connsiteX145" fmla="*/ 440009 w 714878"/>
                            <a:gd name="connsiteY145" fmla="*/ 603504 h 696772"/>
                            <a:gd name="connsiteX146" fmla="*/ 441655 w 714878"/>
                            <a:gd name="connsiteY146" fmla="*/ 603504 h 696772"/>
                            <a:gd name="connsiteX147" fmla="*/ 450982 w 714878"/>
                            <a:gd name="connsiteY147" fmla="*/ 601309 h 696772"/>
                            <a:gd name="connsiteX148" fmla="*/ 452079 w 714878"/>
                            <a:gd name="connsiteY148" fmla="*/ 601858 h 696772"/>
                            <a:gd name="connsiteX149" fmla="*/ 456469 w 714878"/>
                            <a:gd name="connsiteY149" fmla="*/ 608990 h 696772"/>
                            <a:gd name="connsiteX150" fmla="*/ 456469 w 714878"/>
                            <a:gd name="connsiteY150" fmla="*/ 617769 h 696772"/>
                            <a:gd name="connsiteX151" fmla="*/ 457566 w 714878"/>
                            <a:gd name="connsiteY151" fmla="*/ 620512 h 696772"/>
                            <a:gd name="connsiteX152" fmla="*/ 459760 w 714878"/>
                            <a:gd name="connsiteY152" fmla="*/ 621061 h 696772"/>
                            <a:gd name="connsiteX153" fmla="*/ 472928 w 714878"/>
                            <a:gd name="connsiteY153" fmla="*/ 616123 h 696772"/>
                            <a:gd name="connsiteX154" fmla="*/ 476768 w 714878"/>
                            <a:gd name="connsiteY154" fmla="*/ 616123 h 696772"/>
                            <a:gd name="connsiteX155" fmla="*/ 484449 w 714878"/>
                            <a:gd name="connsiteY155" fmla="*/ 612831 h 696772"/>
                            <a:gd name="connsiteX156" fmla="*/ 488838 w 714878"/>
                            <a:gd name="connsiteY156" fmla="*/ 618866 h 696772"/>
                            <a:gd name="connsiteX157" fmla="*/ 491033 w 714878"/>
                            <a:gd name="connsiteY157" fmla="*/ 624352 h 696772"/>
                            <a:gd name="connsiteX158" fmla="*/ 494325 w 714878"/>
                            <a:gd name="connsiteY158" fmla="*/ 628741 h 696772"/>
                            <a:gd name="connsiteX159" fmla="*/ 524500 w 714878"/>
                            <a:gd name="connsiteY159" fmla="*/ 643006 h 696772"/>
                            <a:gd name="connsiteX160" fmla="*/ 532730 w 714878"/>
                            <a:gd name="connsiteY160" fmla="*/ 643555 h 696772"/>
                            <a:gd name="connsiteX161" fmla="*/ 553578 w 714878"/>
                            <a:gd name="connsiteY161" fmla="*/ 636971 h 696772"/>
                            <a:gd name="connsiteX162" fmla="*/ 556321 w 714878"/>
                            <a:gd name="connsiteY162" fmla="*/ 637520 h 696772"/>
                            <a:gd name="connsiteX163" fmla="*/ 570037 w 714878"/>
                            <a:gd name="connsiteY163" fmla="*/ 650138 h 696772"/>
                            <a:gd name="connsiteX164" fmla="*/ 587045 w 714878"/>
                            <a:gd name="connsiteY164" fmla="*/ 657271 h 696772"/>
                            <a:gd name="connsiteX165" fmla="*/ 594726 w 714878"/>
                            <a:gd name="connsiteY165" fmla="*/ 657819 h 696772"/>
                            <a:gd name="connsiteX166" fmla="*/ 599115 w 714878"/>
                            <a:gd name="connsiteY166" fmla="*/ 662757 h 696772"/>
                            <a:gd name="connsiteX167" fmla="*/ 605150 w 714878"/>
                            <a:gd name="connsiteY167" fmla="*/ 675376 h 696772"/>
                            <a:gd name="connsiteX168" fmla="*/ 624352 w 714878"/>
                            <a:gd name="connsiteY168" fmla="*/ 689092 h 696772"/>
                            <a:gd name="connsiteX169" fmla="*/ 637520 w 714878"/>
                            <a:gd name="connsiteY169" fmla="*/ 692932 h 696772"/>
                            <a:gd name="connsiteX170" fmla="*/ 640263 w 714878"/>
                            <a:gd name="connsiteY170" fmla="*/ 692932 h 696772"/>
                            <a:gd name="connsiteX171" fmla="*/ 644103 w 714878"/>
                            <a:gd name="connsiteY171" fmla="*/ 690189 h 696772"/>
                            <a:gd name="connsiteX172" fmla="*/ 647395 w 714878"/>
                            <a:gd name="connsiteY172" fmla="*/ 690189 h 696772"/>
                            <a:gd name="connsiteX173" fmla="*/ 650687 w 714878"/>
                            <a:gd name="connsiteY173" fmla="*/ 695675 h 696772"/>
                            <a:gd name="connsiteX174" fmla="*/ 653430 w 714878"/>
                            <a:gd name="connsiteY174" fmla="*/ 696773 h 696772"/>
                            <a:gd name="connsiteX175" fmla="*/ 656174 w 714878"/>
                            <a:gd name="connsiteY175" fmla="*/ 696773 h 696772"/>
                            <a:gd name="connsiteX176" fmla="*/ 657271 w 714878"/>
                            <a:gd name="connsiteY176" fmla="*/ 695127 h 696772"/>
                            <a:gd name="connsiteX177" fmla="*/ 655625 w 714878"/>
                            <a:gd name="connsiteY177" fmla="*/ 661111 h 696772"/>
                            <a:gd name="connsiteX178" fmla="*/ 653979 w 714878"/>
                            <a:gd name="connsiteY178" fmla="*/ 655625 h 696772"/>
                            <a:gd name="connsiteX179" fmla="*/ 650138 w 714878"/>
                            <a:gd name="connsiteY179" fmla="*/ 654527 h 696772"/>
                            <a:gd name="connsiteX180" fmla="*/ 644103 w 714878"/>
                            <a:gd name="connsiteY180" fmla="*/ 658368 h 696772"/>
                            <a:gd name="connsiteX181" fmla="*/ 628193 w 714878"/>
                            <a:gd name="connsiteY181" fmla="*/ 656173 h 696772"/>
                            <a:gd name="connsiteX182" fmla="*/ 623255 w 714878"/>
                            <a:gd name="connsiteY182" fmla="*/ 653430 h 696772"/>
                            <a:gd name="connsiteX183" fmla="*/ 611185 w 714878"/>
                            <a:gd name="connsiteY183" fmla="*/ 638068 h 696772"/>
                            <a:gd name="connsiteX184" fmla="*/ 610636 w 714878"/>
                            <a:gd name="connsiteY184" fmla="*/ 632033 h 696772"/>
                            <a:gd name="connsiteX185" fmla="*/ 625450 w 714878"/>
                            <a:gd name="connsiteY185" fmla="*/ 570586 h 696772"/>
                            <a:gd name="connsiteX186" fmla="*/ 618866 w 714878"/>
                            <a:gd name="connsiteY186" fmla="*/ 540959 h 696772"/>
                            <a:gd name="connsiteX187" fmla="*/ 632033 w 714878"/>
                            <a:gd name="connsiteY187" fmla="*/ 516270 h 696772"/>
                            <a:gd name="connsiteX188" fmla="*/ 635325 w 714878"/>
                            <a:gd name="connsiteY188" fmla="*/ 514076 h 696772"/>
                            <a:gd name="connsiteX189" fmla="*/ 686349 w 714878"/>
                            <a:gd name="connsiteY189" fmla="*/ 502554 h 696772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  <a:cxn ang="0">
                              <a:pos x="connsiteX11" y="connsiteY11"/>
                            </a:cxn>
                            <a:cxn ang="0">
                              <a:pos x="connsiteX12" y="connsiteY12"/>
                            </a:cxn>
                            <a:cxn ang="0">
                              <a:pos x="connsiteX13" y="connsiteY13"/>
                            </a:cxn>
                            <a:cxn ang="0">
                              <a:pos x="connsiteX14" y="connsiteY14"/>
                            </a:cxn>
                            <a:cxn ang="0">
                              <a:pos x="connsiteX15" y="connsiteY15"/>
                            </a:cxn>
                            <a:cxn ang="0">
                              <a:pos x="connsiteX16" y="connsiteY16"/>
                            </a:cxn>
                            <a:cxn ang="0">
                              <a:pos x="connsiteX17" y="connsiteY17"/>
                            </a:cxn>
                            <a:cxn ang="0">
                              <a:pos x="connsiteX18" y="connsiteY18"/>
                            </a:cxn>
                            <a:cxn ang="0">
                              <a:pos x="connsiteX19" y="connsiteY19"/>
                            </a:cxn>
                            <a:cxn ang="0">
                              <a:pos x="connsiteX20" y="connsiteY20"/>
                            </a:cxn>
                            <a:cxn ang="0">
                              <a:pos x="connsiteX21" y="connsiteY21"/>
                            </a:cxn>
                            <a:cxn ang="0">
                              <a:pos x="connsiteX22" y="connsiteY22"/>
                            </a:cxn>
                            <a:cxn ang="0">
                              <a:pos x="connsiteX23" y="connsiteY23"/>
                            </a:cxn>
                            <a:cxn ang="0">
                              <a:pos x="connsiteX24" y="connsiteY24"/>
                            </a:cxn>
                            <a:cxn ang="0">
                              <a:pos x="connsiteX25" y="connsiteY25"/>
                            </a:cxn>
                            <a:cxn ang="0">
                              <a:pos x="connsiteX26" y="connsiteY26"/>
                            </a:cxn>
                            <a:cxn ang="0">
                              <a:pos x="connsiteX27" y="connsiteY27"/>
                            </a:cxn>
                            <a:cxn ang="0">
                              <a:pos x="connsiteX28" y="connsiteY28"/>
                            </a:cxn>
                            <a:cxn ang="0">
                              <a:pos x="connsiteX29" y="connsiteY29"/>
                            </a:cxn>
                            <a:cxn ang="0">
                              <a:pos x="connsiteX30" y="connsiteY30"/>
                            </a:cxn>
                            <a:cxn ang="0">
                              <a:pos x="connsiteX31" y="connsiteY31"/>
                            </a:cxn>
                            <a:cxn ang="0">
                              <a:pos x="connsiteX32" y="connsiteY32"/>
                            </a:cxn>
                            <a:cxn ang="0">
                              <a:pos x="connsiteX33" y="connsiteY33"/>
                            </a:cxn>
                            <a:cxn ang="0">
                              <a:pos x="connsiteX34" y="connsiteY34"/>
                            </a:cxn>
                            <a:cxn ang="0">
                              <a:pos x="connsiteX35" y="connsiteY35"/>
                            </a:cxn>
                            <a:cxn ang="0">
                              <a:pos x="connsiteX36" y="connsiteY36"/>
                            </a:cxn>
                            <a:cxn ang="0">
                              <a:pos x="connsiteX37" y="connsiteY37"/>
                            </a:cxn>
                            <a:cxn ang="0">
                              <a:pos x="connsiteX38" y="connsiteY38"/>
                            </a:cxn>
                            <a:cxn ang="0">
                              <a:pos x="connsiteX39" y="connsiteY39"/>
                            </a:cxn>
                            <a:cxn ang="0">
                              <a:pos x="connsiteX40" y="connsiteY40"/>
                            </a:cxn>
                            <a:cxn ang="0">
                              <a:pos x="connsiteX41" y="connsiteY41"/>
                            </a:cxn>
                            <a:cxn ang="0">
                              <a:pos x="connsiteX42" y="connsiteY42"/>
                            </a:cxn>
                            <a:cxn ang="0">
                              <a:pos x="connsiteX43" y="connsiteY43"/>
                            </a:cxn>
                            <a:cxn ang="0">
                              <a:pos x="connsiteX44" y="connsiteY44"/>
                            </a:cxn>
                            <a:cxn ang="0">
                              <a:pos x="connsiteX45" y="connsiteY45"/>
                            </a:cxn>
                            <a:cxn ang="0">
                              <a:pos x="connsiteX46" y="connsiteY46"/>
                            </a:cxn>
                            <a:cxn ang="0">
                              <a:pos x="connsiteX47" y="connsiteY47"/>
                            </a:cxn>
                            <a:cxn ang="0">
                              <a:pos x="connsiteX48" y="connsiteY48"/>
                            </a:cxn>
                            <a:cxn ang="0">
                              <a:pos x="connsiteX49" y="connsiteY49"/>
                            </a:cxn>
                            <a:cxn ang="0">
                              <a:pos x="connsiteX50" y="connsiteY50"/>
                            </a:cxn>
                            <a:cxn ang="0">
                              <a:pos x="connsiteX51" y="connsiteY51"/>
                            </a:cxn>
                            <a:cxn ang="0">
                              <a:pos x="connsiteX52" y="connsiteY52"/>
                            </a:cxn>
                            <a:cxn ang="0">
                              <a:pos x="connsiteX53" y="connsiteY53"/>
                            </a:cxn>
                            <a:cxn ang="0">
                              <a:pos x="connsiteX54" y="connsiteY54"/>
                            </a:cxn>
                            <a:cxn ang="0">
                              <a:pos x="connsiteX55" y="connsiteY55"/>
                            </a:cxn>
                            <a:cxn ang="0">
                              <a:pos x="connsiteX56" y="connsiteY56"/>
                            </a:cxn>
                            <a:cxn ang="0">
                              <a:pos x="connsiteX57" y="connsiteY57"/>
                            </a:cxn>
                            <a:cxn ang="0">
                              <a:pos x="connsiteX58" y="connsiteY58"/>
                            </a:cxn>
                            <a:cxn ang="0">
                              <a:pos x="connsiteX59" y="connsiteY59"/>
                            </a:cxn>
                            <a:cxn ang="0">
                              <a:pos x="connsiteX60" y="connsiteY60"/>
                            </a:cxn>
                            <a:cxn ang="0">
                              <a:pos x="connsiteX61" y="connsiteY61"/>
                            </a:cxn>
                            <a:cxn ang="0">
                              <a:pos x="connsiteX62" y="connsiteY62"/>
                            </a:cxn>
                            <a:cxn ang="0">
                              <a:pos x="connsiteX63" y="connsiteY63"/>
                            </a:cxn>
                            <a:cxn ang="0">
                              <a:pos x="connsiteX64" y="connsiteY64"/>
                            </a:cxn>
                            <a:cxn ang="0">
                              <a:pos x="connsiteX65" y="connsiteY65"/>
                            </a:cxn>
                            <a:cxn ang="0">
                              <a:pos x="connsiteX66" y="connsiteY66"/>
                            </a:cxn>
                            <a:cxn ang="0">
                              <a:pos x="connsiteX67" y="connsiteY67"/>
                            </a:cxn>
                            <a:cxn ang="0">
                              <a:pos x="connsiteX68" y="connsiteY68"/>
                            </a:cxn>
                            <a:cxn ang="0">
                              <a:pos x="connsiteX69" y="connsiteY69"/>
                            </a:cxn>
                            <a:cxn ang="0">
                              <a:pos x="connsiteX70" y="connsiteY70"/>
                            </a:cxn>
                            <a:cxn ang="0">
                              <a:pos x="connsiteX71" y="connsiteY71"/>
                            </a:cxn>
                            <a:cxn ang="0">
                              <a:pos x="connsiteX72" y="connsiteY72"/>
                            </a:cxn>
                            <a:cxn ang="0">
                              <a:pos x="connsiteX73" y="connsiteY73"/>
                            </a:cxn>
                            <a:cxn ang="0">
                              <a:pos x="connsiteX74" y="connsiteY74"/>
                            </a:cxn>
                            <a:cxn ang="0">
                              <a:pos x="connsiteX75" y="connsiteY75"/>
                            </a:cxn>
                            <a:cxn ang="0">
                              <a:pos x="connsiteX76" y="connsiteY76"/>
                            </a:cxn>
                            <a:cxn ang="0">
                              <a:pos x="connsiteX77" y="connsiteY77"/>
                            </a:cxn>
                            <a:cxn ang="0">
                              <a:pos x="connsiteX78" y="connsiteY78"/>
                            </a:cxn>
                            <a:cxn ang="0">
                              <a:pos x="connsiteX79" y="connsiteY79"/>
                            </a:cxn>
                            <a:cxn ang="0">
                              <a:pos x="connsiteX80" y="connsiteY80"/>
                            </a:cxn>
                            <a:cxn ang="0">
                              <a:pos x="connsiteX81" y="connsiteY81"/>
                            </a:cxn>
                            <a:cxn ang="0">
                              <a:pos x="connsiteX82" y="connsiteY82"/>
                            </a:cxn>
                            <a:cxn ang="0">
                              <a:pos x="connsiteX83" y="connsiteY83"/>
                            </a:cxn>
                            <a:cxn ang="0">
                              <a:pos x="connsiteX84" y="connsiteY84"/>
                            </a:cxn>
                            <a:cxn ang="0">
                              <a:pos x="connsiteX85" y="connsiteY85"/>
                            </a:cxn>
                            <a:cxn ang="0">
                              <a:pos x="connsiteX86" y="connsiteY86"/>
                            </a:cxn>
                            <a:cxn ang="0">
                              <a:pos x="connsiteX87" y="connsiteY87"/>
                            </a:cxn>
                            <a:cxn ang="0">
                              <a:pos x="connsiteX88" y="connsiteY88"/>
                            </a:cxn>
                            <a:cxn ang="0">
                              <a:pos x="connsiteX89" y="connsiteY89"/>
                            </a:cxn>
                            <a:cxn ang="0">
                              <a:pos x="connsiteX90" y="connsiteY90"/>
                            </a:cxn>
                            <a:cxn ang="0">
                              <a:pos x="connsiteX91" y="connsiteY91"/>
                            </a:cxn>
                            <a:cxn ang="0">
                              <a:pos x="connsiteX92" y="connsiteY92"/>
                            </a:cxn>
                            <a:cxn ang="0">
                              <a:pos x="connsiteX93" y="connsiteY93"/>
                            </a:cxn>
                            <a:cxn ang="0">
                              <a:pos x="connsiteX94" y="connsiteY94"/>
                            </a:cxn>
                            <a:cxn ang="0">
                              <a:pos x="connsiteX95" y="connsiteY95"/>
                            </a:cxn>
                            <a:cxn ang="0">
                              <a:pos x="connsiteX96" y="connsiteY96"/>
                            </a:cxn>
                            <a:cxn ang="0">
                              <a:pos x="connsiteX97" y="connsiteY97"/>
                            </a:cxn>
                            <a:cxn ang="0">
                              <a:pos x="connsiteX98" y="connsiteY98"/>
                            </a:cxn>
                            <a:cxn ang="0">
                              <a:pos x="connsiteX99" y="connsiteY99"/>
                            </a:cxn>
                            <a:cxn ang="0">
                              <a:pos x="connsiteX100" y="connsiteY100"/>
                            </a:cxn>
                            <a:cxn ang="0">
                              <a:pos x="connsiteX101" y="connsiteY101"/>
                            </a:cxn>
                            <a:cxn ang="0">
                              <a:pos x="connsiteX102" y="connsiteY102"/>
                            </a:cxn>
                            <a:cxn ang="0">
                              <a:pos x="connsiteX103" y="connsiteY103"/>
                            </a:cxn>
                            <a:cxn ang="0">
                              <a:pos x="connsiteX104" y="connsiteY104"/>
                            </a:cxn>
                            <a:cxn ang="0">
                              <a:pos x="connsiteX105" y="connsiteY105"/>
                            </a:cxn>
                            <a:cxn ang="0">
                              <a:pos x="connsiteX106" y="connsiteY106"/>
                            </a:cxn>
                            <a:cxn ang="0">
                              <a:pos x="connsiteX107" y="connsiteY107"/>
                            </a:cxn>
                            <a:cxn ang="0">
                              <a:pos x="connsiteX108" y="connsiteY108"/>
                            </a:cxn>
                            <a:cxn ang="0">
                              <a:pos x="connsiteX109" y="connsiteY109"/>
                            </a:cxn>
                            <a:cxn ang="0">
                              <a:pos x="connsiteX110" y="connsiteY110"/>
                            </a:cxn>
                            <a:cxn ang="0">
                              <a:pos x="connsiteX111" y="connsiteY111"/>
                            </a:cxn>
                            <a:cxn ang="0">
                              <a:pos x="connsiteX112" y="connsiteY112"/>
                            </a:cxn>
                            <a:cxn ang="0">
                              <a:pos x="connsiteX113" y="connsiteY113"/>
                            </a:cxn>
                            <a:cxn ang="0">
                              <a:pos x="connsiteX114" y="connsiteY114"/>
                            </a:cxn>
                            <a:cxn ang="0">
                              <a:pos x="connsiteX115" y="connsiteY115"/>
                            </a:cxn>
                            <a:cxn ang="0">
                              <a:pos x="connsiteX116" y="connsiteY116"/>
                            </a:cxn>
                            <a:cxn ang="0">
                              <a:pos x="connsiteX117" y="connsiteY117"/>
                            </a:cxn>
                            <a:cxn ang="0">
                              <a:pos x="connsiteX118" y="connsiteY118"/>
                            </a:cxn>
                            <a:cxn ang="0">
                              <a:pos x="connsiteX119" y="connsiteY119"/>
                            </a:cxn>
                            <a:cxn ang="0">
                              <a:pos x="connsiteX120" y="connsiteY120"/>
                            </a:cxn>
                            <a:cxn ang="0">
                              <a:pos x="connsiteX121" y="connsiteY121"/>
                            </a:cxn>
                            <a:cxn ang="0">
                              <a:pos x="connsiteX122" y="connsiteY122"/>
                            </a:cxn>
                            <a:cxn ang="0">
                              <a:pos x="connsiteX123" y="connsiteY123"/>
                            </a:cxn>
                            <a:cxn ang="0">
                              <a:pos x="connsiteX124" y="connsiteY124"/>
                            </a:cxn>
                            <a:cxn ang="0">
                              <a:pos x="connsiteX125" y="connsiteY125"/>
                            </a:cxn>
                            <a:cxn ang="0">
                              <a:pos x="connsiteX126" y="connsiteY126"/>
                            </a:cxn>
                            <a:cxn ang="0">
                              <a:pos x="connsiteX127" y="connsiteY127"/>
                            </a:cxn>
                            <a:cxn ang="0">
                              <a:pos x="connsiteX128" y="connsiteY128"/>
                            </a:cxn>
                            <a:cxn ang="0">
                              <a:pos x="connsiteX129" y="connsiteY129"/>
                            </a:cxn>
                            <a:cxn ang="0">
                              <a:pos x="connsiteX130" y="connsiteY130"/>
                            </a:cxn>
                            <a:cxn ang="0">
                              <a:pos x="connsiteX131" y="connsiteY131"/>
                            </a:cxn>
                            <a:cxn ang="0">
                              <a:pos x="connsiteX132" y="connsiteY132"/>
                            </a:cxn>
                            <a:cxn ang="0">
                              <a:pos x="connsiteX133" y="connsiteY133"/>
                            </a:cxn>
                            <a:cxn ang="0">
                              <a:pos x="connsiteX134" y="connsiteY134"/>
                            </a:cxn>
                            <a:cxn ang="0">
                              <a:pos x="connsiteX135" y="connsiteY135"/>
                            </a:cxn>
                            <a:cxn ang="0">
                              <a:pos x="connsiteX136" y="connsiteY136"/>
                            </a:cxn>
                            <a:cxn ang="0">
                              <a:pos x="connsiteX137" y="connsiteY137"/>
                            </a:cxn>
                            <a:cxn ang="0">
                              <a:pos x="connsiteX138" y="connsiteY138"/>
                            </a:cxn>
                            <a:cxn ang="0">
                              <a:pos x="connsiteX139" y="connsiteY139"/>
                            </a:cxn>
                            <a:cxn ang="0">
                              <a:pos x="connsiteX140" y="connsiteY140"/>
                            </a:cxn>
                            <a:cxn ang="0">
                              <a:pos x="connsiteX141" y="connsiteY141"/>
                            </a:cxn>
                            <a:cxn ang="0">
                              <a:pos x="connsiteX142" y="connsiteY142"/>
                            </a:cxn>
                            <a:cxn ang="0">
                              <a:pos x="connsiteX143" y="connsiteY143"/>
                            </a:cxn>
                            <a:cxn ang="0">
                              <a:pos x="connsiteX144" y="connsiteY144"/>
                            </a:cxn>
                            <a:cxn ang="0">
                              <a:pos x="connsiteX145" y="connsiteY145"/>
                            </a:cxn>
                            <a:cxn ang="0">
                              <a:pos x="connsiteX146" y="connsiteY146"/>
                            </a:cxn>
                            <a:cxn ang="0">
                              <a:pos x="connsiteX147" y="connsiteY147"/>
                            </a:cxn>
                            <a:cxn ang="0">
                              <a:pos x="connsiteX148" y="connsiteY148"/>
                            </a:cxn>
                            <a:cxn ang="0">
                              <a:pos x="connsiteX149" y="connsiteY149"/>
                            </a:cxn>
                            <a:cxn ang="0">
                              <a:pos x="connsiteX150" y="connsiteY150"/>
                            </a:cxn>
                            <a:cxn ang="0">
                              <a:pos x="connsiteX151" y="connsiteY151"/>
                            </a:cxn>
                            <a:cxn ang="0">
                              <a:pos x="connsiteX152" y="connsiteY152"/>
                            </a:cxn>
                            <a:cxn ang="0">
                              <a:pos x="connsiteX153" y="connsiteY153"/>
                            </a:cxn>
                            <a:cxn ang="0">
                              <a:pos x="connsiteX154" y="connsiteY154"/>
                            </a:cxn>
                            <a:cxn ang="0">
                              <a:pos x="connsiteX155" y="connsiteY155"/>
                            </a:cxn>
                            <a:cxn ang="0">
                              <a:pos x="connsiteX156" y="connsiteY156"/>
                            </a:cxn>
                            <a:cxn ang="0">
                              <a:pos x="connsiteX157" y="connsiteY157"/>
                            </a:cxn>
                            <a:cxn ang="0">
                              <a:pos x="connsiteX158" y="connsiteY158"/>
                            </a:cxn>
                            <a:cxn ang="0">
                              <a:pos x="connsiteX159" y="connsiteY159"/>
                            </a:cxn>
                            <a:cxn ang="0">
                              <a:pos x="connsiteX160" y="connsiteY160"/>
                            </a:cxn>
                            <a:cxn ang="0">
                              <a:pos x="connsiteX161" y="connsiteY161"/>
                            </a:cxn>
                            <a:cxn ang="0">
                              <a:pos x="connsiteX162" y="connsiteY162"/>
                            </a:cxn>
                            <a:cxn ang="0">
                              <a:pos x="connsiteX163" y="connsiteY163"/>
                            </a:cxn>
                            <a:cxn ang="0">
                              <a:pos x="connsiteX164" y="connsiteY164"/>
                            </a:cxn>
                            <a:cxn ang="0">
                              <a:pos x="connsiteX165" y="connsiteY165"/>
                            </a:cxn>
                            <a:cxn ang="0">
                              <a:pos x="connsiteX166" y="connsiteY166"/>
                            </a:cxn>
                            <a:cxn ang="0">
                              <a:pos x="connsiteX167" y="connsiteY167"/>
                            </a:cxn>
                            <a:cxn ang="0">
                              <a:pos x="connsiteX168" y="connsiteY168"/>
                            </a:cxn>
                            <a:cxn ang="0">
                              <a:pos x="connsiteX169" y="connsiteY169"/>
                            </a:cxn>
                            <a:cxn ang="0">
                              <a:pos x="connsiteX170" y="connsiteY170"/>
                            </a:cxn>
                            <a:cxn ang="0">
                              <a:pos x="connsiteX171" y="connsiteY171"/>
                            </a:cxn>
                            <a:cxn ang="0">
                              <a:pos x="connsiteX172" y="connsiteY172"/>
                            </a:cxn>
                            <a:cxn ang="0">
                              <a:pos x="connsiteX173" y="connsiteY173"/>
                            </a:cxn>
                            <a:cxn ang="0">
                              <a:pos x="connsiteX174" y="connsiteY174"/>
                            </a:cxn>
                            <a:cxn ang="0">
                              <a:pos x="connsiteX175" y="connsiteY175"/>
                            </a:cxn>
                            <a:cxn ang="0">
                              <a:pos x="connsiteX176" y="connsiteY176"/>
                            </a:cxn>
                            <a:cxn ang="0">
                              <a:pos x="connsiteX177" y="connsiteY177"/>
                            </a:cxn>
                            <a:cxn ang="0">
                              <a:pos x="connsiteX178" y="connsiteY178"/>
                            </a:cxn>
                            <a:cxn ang="0">
                              <a:pos x="connsiteX179" y="connsiteY179"/>
                            </a:cxn>
                            <a:cxn ang="0">
                              <a:pos x="connsiteX180" y="connsiteY180"/>
                            </a:cxn>
                            <a:cxn ang="0">
                              <a:pos x="connsiteX181" y="connsiteY181"/>
                            </a:cxn>
                            <a:cxn ang="0">
                              <a:pos x="connsiteX182" y="connsiteY182"/>
                            </a:cxn>
                            <a:cxn ang="0">
                              <a:pos x="connsiteX183" y="connsiteY183"/>
                            </a:cxn>
                            <a:cxn ang="0">
                              <a:pos x="connsiteX184" y="connsiteY184"/>
                            </a:cxn>
                            <a:cxn ang="0">
                              <a:pos x="connsiteX185" y="connsiteY185"/>
                            </a:cxn>
                            <a:cxn ang="0">
                              <a:pos x="connsiteX186" y="connsiteY186"/>
                            </a:cxn>
                            <a:cxn ang="0">
                              <a:pos x="connsiteX187" y="connsiteY187"/>
                            </a:cxn>
                            <a:cxn ang="0">
                              <a:pos x="connsiteX188" y="connsiteY188"/>
                            </a:cxn>
                            <a:cxn ang="0">
                              <a:pos x="connsiteX189" y="connsiteY189"/>
                            </a:cxn>
                          </a:cxnLst>
                          <a:rect l="l" t="t" r="r" b="b"/>
                          <a:pathLst>
                            <a:path w="714878" h="696772">
                              <a:moveTo>
                                <a:pt x="686349" y="502554"/>
                              </a:moveTo>
                              <a:lnTo>
                                <a:pt x="681411" y="478963"/>
                              </a:lnTo>
                              <a:lnTo>
                                <a:pt x="674827" y="470733"/>
                              </a:lnTo>
                              <a:lnTo>
                                <a:pt x="665500" y="467441"/>
                              </a:lnTo>
                              <a:lnTo>
                                <a:pt x="651236" y="452628"/>
                              </a:lnTo>
                              <a:lnTo>
                                <a:pt x="646847" y="441655"/>
                              </a:lnTo>
                              <a:lnTo>
                                <a:pt x="643555" y="436717"/>
                              </a:lnTo>
                              <a:lnTo>
                                <a:pt x="640812" y="425745"/>
                              </a:lnTo>
                              <a:lnTo>
                                <a:pt x="643006" y="408737"/>
                              </a:lnTo>
                              <a:lnTo>
                                <a:pt x="634228" y="386791"/>
                              </a:lnTo>
                              <a:lnTo>
                                <a:pt x="638617" y="361005"/>
                              </a:lnTo>
                              <a:lnTo>
                                <a:pt x="637520" y="353873"/>
                              </a:lnTo>
                              <a:lnTo>
                                <a:pt x="634777" y="355519"/>
                              </a:lnTo>
                              <a:lnTo>
                                <a:pt x="641360" y="321503"/>
                              </a:lnTo>
                              <a:lnTo>
                                <a:pt x="640263" y="305044"/>
                              </a:lnTo>
                              <a:lnTo>
                                <a:pt x="630387" y="291877"/>
                              </a:lnTo>
                              <a:lnTo>
                                <a:pt x="630387" y="284744"/>
                              </a:lnTo>
                              <a:lnTo>
                                <a:pt x="654528" y="245791"/>
                              </a:lnTo>
                              <a:lnTo>
                                <a:pt x="656174" y="244693"/>
                              </a:lnTo>
                              <a:lnTo>
                                <a:pt x="663854" y="180502"/>
                              </a:lnTo>
                              <a:lnTo>
                                <a:pt x="694578" y="137709"/>
                              </a:lnTo>
                              <a:lnTo>
                                <a:pt x="706648" y="130576"/>
                              </a:lnTo>
                              <a:lnTo>
                                <a:pt x="712135" y="124541"/>
                              </a:lnTo>
                              <a:lnTo>
                                <a:pt x="714878" y="118506"/>
                              </a:lnTo>
                              <a:lnTo>
                                <a:pt x="714329" y="114117"/>
                              </a:lnTo>
                              <a:lnTo>
                                <a:pt x="712135" y="110277"/>
                              </a:lnTo>
                              <a:lnTo>
                                <a:pt x="707197" y="109179"/>
                              </a:lnTo>
                              <a:lnTo>
                                <a:pt x="700065" y="103144"/>
                              </a:lnTo>
                              <a:lnTo>
                                <a:pt x="697870" y="96561"/>
                              </a:lnTo>
                              <a:lnTo>
                                <a:pt x="699516" y="69677"/>
                              </a:lnTo>
                              <a:lnTo>
                                <a:pt x="701711" y="63642"/>
                              </a:lnTo>
                              <a:lnTo>
                                <a:pt x="701711" y="60899"/>
                              </a:lnTo>
                              <a:lnTo>
                                <a:pt x="697322" y="60899"/>
                              </a:lnTo>
                              <a:lnTo>
                                <a:pt x="653979" y="23591"/>
                              </a:lnTo>
                              <a:lnTo>
                                <a:pt x="645201" y="30724"/>
                              </a:lnTo>
                              <a:lnTo>
                                <a:pt x="636971" y="31273"/>
                              </a:lnTo>
                              <a:lnTo>
                                <a:pt x="619415" y="27432"/>
                              </a:lnTo>
                              <a:lnTo>
                                <a:pt x="615026" y="32918"/>
                              </a:lnTo>
                              <a:lnTo>
                                <a:pt x="610088" y="35113"/>
                              </a:lnTo>
                              <a:lnTo>
                                <a:pt x="594726" y="29078"/>
                              </a:lnTo>
                              <a:lnTo>
                                <a:pt x="587045" y="16459"/>
                              </a:lnTo>
                              <a:lnTo>
                                <a:pt x="578815" y="10424"/>
                              </a:lnTo>
                              <a:lnTo>
                                <a:pt x="574426" y="2743"/>
                              </a:lnTo>
                              <a:lnTo>
                                <a:pt x="554675" y="2743"/>
                              </a:lnTo>
                              <a:lnTo>
                                <a:pt x="549737" y="9875"/>
                              </a:lnTo>
                              <a:lnTo>
                                <a:pt x="540959" y="4938"/>
                              </a:lnTo>
                              <a:lnTo>
                                <a:pt x="537119" y="9875"/>
                              </a:lnTo>
                              <a:lnTo>
                                <a:pt x="527792" y="0"/>
                              </a:lnTo>
                              <a:lnTo>
                                <a:pt x="501457" y="4938"/>
                              </a:lnTo>
                              <a:lnTo>
                                <a:pt x="487741" y="1646"/>
                              </a:lnTo>
                              <a:lnTo>
                                <a:pt x="485546" y="9875"/>
                              </a:lnTo>
                              <a:lnTo>
                                <a:pt x="477317" y="9875"/>
                              </a:lnTo>
                              <a:lnTo>
                                <a:pt x="471830" y="12070"/>
                              </a:lnTo>
                              <a:lnTo>
                                <a:pt x="466893" y="9875"/>
                              </a:lnTo>
                              <a:lnTo>
                                <a:pt x="467990" y="9875"/>
                              </a:lnTo>
                              <a:lnTo>
                                <a:pt x="466893" y="6035"/>
                              </a:lnTo>
                              <a:lnTo>
                                <a:pt x="462504" y="6035"/>
                              </a:lnTo>
                              <a:lnTo>
                                <a:pt x="417515" y="21946"/>
                              </a:lnTo>
                              <a:lnTo>
                                <a:pt x="411480" y="17557"/>
                              </a:lnTo>
                              <a:lnTo>
                                <a:pt x="398861" y="15362"/>
                              </a:lnTo>
                              <a:lnTo>
                                <a:pt x="388986" y="21946"/>
                              </a:lnTo>
                              <a:lnTo>
                                <a:pt x="387889" y="32918"/>
                              </a:lnTo>
                              <a:lnTo>
                                <a:pt x="382951" y="35113"/>
                              </a:lnTo>
                              <a:lnTo>
                                <a:pt x="347838" y="35113"/>
                              </a:lnTo>
                              <a:lnTo>
                                <a:pt x="332476" y="31273"/>
                              </a:lnTo>
                              <a:lnTo>
                                <a:pt x="323149" y="24689"/>
                              </a:lnTo>
                              <a:lnTo>
                                <a:pt x="317663" y="30175"/>
                              </a:lnTo>
                              <a:lnTo>
                                <a:pt x="312725" y="29078"/>
                              </a:lnTo>
                              <a:lnTo>
                                <a:pt x="299009" y="16459"/>
                              </a:lnTo>
                              <a:lnTo>
                                <a:pt x="296814" y="9875"/>
                              </a:lnTo>
                              <a:lnTo>
                                <a:pt x="291328" y="3841"/>
                              </a:lnTo>
                              <a:lnTo>
                                <a:pt x="271577" y="2743"/>
                              </a:lnTo>
                              <a:lnTo>
                                <a:pt x="257861" y="14265"/>
                              </a:lnTo>
                              <a:lnTo>
                                <a:pt x="253472" y="24689"/>
                              </a:lnTo>
                              <a:lnTo>
                                <a:pt x="248534" y="27981"/>
                              </a:lnTo>
                              <a:lnTo>
                                <a:pt x="245242" y="51023"/>
                              </a:lnTo>
                              <a:lnTo>
                                <a:pt x="247437" y="56510"/>
                              </a:lnTo>
                              <a:lnTo>
                                <a:pt x="238658" y="58156"/>
                              </a:lnTo>
                              <a:lnTo>
                                <a:pt x="240304" y="69677"/>
                              </a:lnTo>
                              <a:lnTo>
                                <a:pt x="216164" y="124541"/>
                              </a:lnTo>
                              <a:lnTo>
                                <a:pt x="203545" y="223297"/>
                              </a:lnTo>
                              <a:lnTo>
                                <a:pt x="180503" y="239207"/>
                              </a:lnTo>
                              <a:lnTo>
                                <a:pt x="152522" y="274869"/>
                              </a:lnTo>
                              <a:lnTo>
                                <a:pt x="143195" y="328087"/>
                              </a:lnTo>
                              <a:lnTo>
                                <a:pt x="123444" y="353324"/>
                              </a:lnTo>
                              <a:lnTo>
                                <a:pt x="98207" y="371429"/>
                              </a:lnTo>
                              <a:lnTo>
                                <a:pt x="84491" y="376916"/>
                              </a:lnTo>
                              <a:lnTo>
                                <a:pt x="76810" y="375270"/>
                              </a:lnTo>
                              <a:lnTo>
                                <a:pt x="76261" y="362651"/>
                              </a:lnTo>
                              <a:lnTo>
                                <a:pt x="74615" y="359908"/>
                              </a:lnTo>
                              <a:lnTo>
                                <a:pt x="56510" y="363748"/>
                              </a:lnTo>
                              <a:lnTo>
                                <a:pt x="51024" y="368137"/>
                              </a:lnTo>
                              <a:lnTo>
                                <a:pt x="46086" y="376367"/>
                              </a:lnTo>
                              <a:lnTo>
                                <a:pt x="37856" y="378562"/>
                              </a:lnTo>
                              <a:lnTo>
                                <a:pt x="26335" y="371429"/>
                              </a:lnTo>
                              <a:lnTo>
                                <a:pt x="24140" y="372526"/>
                              </a:lnTo>
                              <a:lnTo>
                                <a:pt x="12070" y="383499"/>
                              </a:lnTo>
                              <a:lnTo>
                                <a:pt x="7132" y="412577"/>
                              </a:lnTo>
                              <a:lnTo>
                                <a:pt x="549" y="415869"/>
                              </a:lnTo>
                              <a:lnTo>
                                <a:pt x="1646" y="423550"/>
                              </a:lnTo>
                              <a:lnTo>
                                <a:pt x="0" y="427390"/>
                              </a:lnTo>
                              <a:lnTo>
                                <a:pt x="1097" y="430682"/>
                              </a:lnTo>
                              <a:lnTo>
                                <a:pt x="1646" y="428488"/>
                              </a:lnTo>
                              <a:lnTo>
                                <a:pt x="37308" y="415321"/>
                              </a:lnTo>
                              <a:lnTo>
                                <a:pt x="79004" y="413674"/>
                              </a:lnTo>
                              <a:lnTo>
                                <a:pt x="83942" y="415321"/>
                              </a:lnTo>
                              <a:lnTo>
                                <a:pt x="148681" y="413674"/>
                              </a:lnTo>
                              <a:lnTo>
                                <a:pt x="150327" y="414223"/>
                              </a:lnTo>
                              <a:lnTo>
                                <a:pt x="153619" y="419710"/>
                              </a:lnTo>
                              <a:lnTo>
                                <a:pt x="156362" y="419710"/>
                              </a:lnTo>
                              <a:lnTo>
                                <a:pt x="159106" y="418612"/>
                              </a:lnTo>
                              <a:lnTo>
                                <a:pt x="175016" y="469636"/>
                              </a:lnTo>
                              <a:lnTo>
                                <a:pt x="197510" y="497617"/>
                              </a:lnTo>
                              <a:lnTo>
                                <a:pt x="206289" y="500908"/>
                              </a:lnTo>
                              <a:lnTo>
                                <a:pt x="215616" y="500908"/>
                              </a:lnTo>
                              <a:lnTo>
                                <a:pt x="238658" y="494325"/>
                              </a:lnTo>
                              <a:lnTo>
                                <a:pt x="263896" y="495422"/>
                              </a:lnTo>
                              <a:lnTo>
                                <a:pt x="266090" y="480060"/>
                              </a:lnTo>
                              <a:lnTo>
                                <a:pt x="268285" y="477317"/>
                              </a:lnTo>
                              <a:lnTo>
                                <a:pt x="272674" y="458114"/>
                              </a:lnTo>
                              <a:lnTo>
                                <a:pt x="302301" y="457566"/>
                              </a:lnTo>
                              <a:lnTo>
                                <a:pt x="303398" y="453725"/>
                              </a:lnTo>
                              <a:lnTo>
                                <a:pt x="319309" y="453725"/>
                              </a:lnTo>
                              <a:lnTo>
                                <a:pt x="318760" y="469087"/>
                              </a:lnTo>
                              <a:lnTo>
                                <a:pt x="352227" y="469636"/>
                              </a:lnTo>
                              <a:lnTo>
                                <a:pt x="356067" y="477865"/>
                              </a:lnTo>
                              <a:lnTo>
                                <a:pt x="360457" y="530535"/>
                              </a:lnTo>
                              <a:lnTo>
                                <a:pt x="358262" y="541508"/>
                              </a:lnTo>
                              <a:lnTo>
                                <a:pt x="359359" y="556870"/>
                              </a:lnTo>
                              <a:lnTo>
                                <a:pt x="374721" y="592531"/>
                              </a:lnTo>
                              <a:lnTo>
                                <a:pt x="373624" y="598018"/>
                              </a:lnTo>
                              <a:lnTo>
                                <a:pt x="363200" y="610088"/>
                              </a:lnTo>
                              <a:lnTo>
                                <a:pt x="362651" y="611734"/>
                              </a:lnTo>
                              <a:lnTo>
                                <a:pt x="363748" y="613928"/>
                              </a:lnTo>
                              <a:lnTo>
                                <a:pt x="364846" y="614477"/>
                              </a:lnTo>
                              <a:lnTo>
                                <a:pt x="367589" y="615025"/>
                              </a:lnTo>
                              <a:lnTo>
                                <a:pt x="371429" y="619963"/>
                              </a:lnTo>
                              <a:lnTo>
                                <a:pt x="375818" y="621061"/>
                              </a:lnTo>
                              <a:lnTo>
                                <a:pt x="377464" y="619963"/>
                              </a:lnTo>
                              <a:lnTo>
                                <a:pt x="380756" y="611185"/>
                              </a:lnTo>
                              <a:lnTo>
                                <a:pt x="384597" y="609539"/>
                              </a:lnTo>
                              <a:lnTo>
                                <a:pt x="419161" y="609539"/>
                              </a:lnTo>
                              <a:lnTo>
                                <a:pt x="426842" y="606247"/>
                              </a:lnTo>
                              <a:lnTo>
                                <a:pt x="431780" y="607893"/>
                              </a:lnTo>
                              <a:lnTo>
                                <a:pt x="433974" y="607893"/>
                              </a:lnTo>
                              <a:lnTo>
                                <a:pt x="440009" y="603504"/>
                              </a:lnTo>
                              <a:lnTo>
                                <a:pt x="441655" y="603504"/>
                              </a:lnTo>
                              <a:lnTo>
                                <a:pt x="450982" y="601309"/>
                              </a:lnTo>
                              <a:lnTo>
                                <a:pt x="452079" y="601858"/>
                              </a:lnTo>
                              <a:lnTo>
                                <a:pt x="456469" y="608990"/>
                              </a:lnTo>
                              <a:lnTo>
                                <a:pt x="456469" y="617769"/>
                              </a:lnTo>
                              <a:lnTo>
                                <a:pt x="457566" y="620512"/>
                              </a:lnTo>
                              <a:lnTo>
                                <a:pt x="459760" y="621061"/>
                              </a:lnTo>
                              <a:lnTo>
                                <a:pt x="472928" y="616123"/>
                              </a:lnTo>
                              <a:lnTo>
                                <a:pt x="476768" y="616123"/>
                              </a:lnTo>
                              <a:lnTo>
                                <a:pt x="484449" y="612831"/>
                              </a:lnTo>
                              <a:lnTo>
                                <a:pt x="488838" y="618866"/>
                              </a:lnTo>
                              <a:lnTo>
                                <a:pt x="491033" y="624352"/>
                              </a:lnTo>
                              <a:lnTo>
                                <a:pt x="494325" y="628741"/>
                              </a:lnTo>
                              <a:lnTo>
                                <a:pt x="524500" y="643006"/>
                              </a:lnTo>
                              <a:lnTo>
                                <a:pt x="532730" y="643555"/>
                              </a:lnTo>
                              <a:lnTo>
                                <a:pt x="553578" y="636971"/>
                              </a:lnTo>
                              <a:lnTo>
                                <a:pt x="556321" y="637520"/>
                              </a:lnTo>
                              <a:lnTo>
                                <a:pt x="570037" y="650138"/>
                              </a:lnTo>
                              <a:lnTo>
                                <a:pt x="587045" y="657271"/>
                              </a:lnTo>
                              <a:lnTo>
                                <a:pt x="594726" y="657819"/>
                              </a:lnTo>
                              <a:lnTo>
                                <a:pt x="599115" y="662757"/>
                              </a:lnTo>
                              <a:lnTo>
                                <a:pt x="605150" y="675376"/>
                              </a:lnTo>
                              <a:lnTo>
                                <a:pt x="624352" y="689092"/>
                              </a:lnTo>
                              <a:lnTo>
                                <a:pt x="637520" y="692932"/>
                              </a:lnTo>
                              <a:lnTo>
                                <a:pt x="640263" y="692932"/>
                              </a:lnTo>
                              <a:lnTo>
                                <a:pt x="644103" y="690189"/>
                              </a:lnTo>
                              <a:lnTo>
                                <a:pt x="647395" y="690189"/>
                              </a:lnTo>
                              <a:lnTo>
                                <a:pt x="650687" y="695675"/>
                              </a:lnTo>
                              <a:lnTo>
                                <a:pt x="653430" y="696773"/>
                              </a:lnTo>
                              <a:lnTo>
                                <a:pt x="656174" y="696773"/>
                              </a:lnTo>
                              <a:lnTo>
                                <a:pt x="657271" y="695127"/>
                              </a:lnTo>
                              <a:lnTo>
                                <a:pt x="655625" y="661111"/>
                              </a:lnTo>
                              <a:lnTo>
                                <a:pt x="653979" y="655625"/>
                              </a:lnTo>
                              <a:lnTo>
                                <a:pt x="650138" y="654527"/>
                              </a:lnTo>
                              <a:lnTo>
                                <a:pt x="644103" y="658368"/>
                              </a:lnTo>
                              <a:lnTo>
                                <a:pt x="628193" y="656173"/>
                              </a:lnTo>
                              <a:lnTo>
                                <a:pt x="623255" y="653430"/>
                              </a:lnTo>
                              <a:lnTo>
                                <a:pt x="611185" y="638068"/>
                              </a:lnTo>
                              <a:lnTo>
                                <a:pt x="610636" y="632033"/>
                              </a:lnTo>
                              <a:lnTo>
                                <a:pt x="625450" y="570586"/>
                              </a:lnTo>
                              <a:lnTo>
                                <a:pt x="618866" y="540959"/>
                              </a:lnTo>
                              <a:lnTo>
                                <a:pt x="632033" y="516270"/>
                              </a:lnTo>
                              <a:lnTo>
                                <a:pt x="635325" y="514076"/>
                              </a:lnTo>
                              <a:lnTo>
                                <a:pt x="686349" y="502554"/>
                              </a:lnTo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  <p:sp>
                      <p:nvSpPr>
                        <p:cNvPr id="239" name="Graphic 7">
                          <a:extLst>
                            <a:ext uri="{FF2B5EF4-FFF2-40B4-BE49-F238E27FC236}">
                              <a16:creationId xmlns:a16="http://schemas.microsoft.com/office/drawing/2014/main" id="{3FB36D17-6529-A8A0-066F-CFA5ACEC5605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6291822" y="4338479"/>
                          <a:ext cx="25289" cy="63438"/>
                        </a:xfrm>
                        <a:custGeom>
                          <a:avLst/>
                          <a:gdLst>
                            <a:gd name="connsiteX0" fmla="*/ 7681 w 32369"/>
                            <a:gd name="connsiteY0" fmla="*/ 0 h 81198"/>
                            <a:gd name="connsiteX1" fmla="*/ 15362 w 32369"/>
                            <a:gd name="connsiteY1" fmla="*/ 13167 h 81198"/>
                            <a:gd name="connsiteX2" fmla="*/ 15362 w 32369"/>
                            <a:gd name="connsiteY2" fmla="*/ 21946 h 81198"/>
                            <a:gd name="connsiteX3" fmla="*/ 17556 w 32369"/>
                            <a:gd name="connsiteY3" fmla="*/ 29627 h 81198"/>
                            <a:gd name="connsiteX4" fmla="*/ 14813 w 32369"/>
                            <a:gd name="connsiteY4" fmla="*/ 32918 h 81198"/>
                            <a:gd name="connsiteX5" fmla="*/ 18105 w 32369"/>
                            <a:gd name="connsiteY5" fmla="*/ 53767 h 81198"/>
                            <a:gd name="connsiteX6" fmla="*/ 30724 w 32369"/>
                            <a:gd name="connsiteY6" fmla="*/ 69129 h 81198"/>
                            <a:gd name="connsiteX7" fmla="*/ 32370 w 32369"/>
                            <a:gd name="connsiteY7" fmla="*/ 81199 h 81198"/>
                            <a:gd name="connsiteX8" fmla="*/ 29078 w 32369"/>
                            <a:gd name="connsiteY8" fmla="*/ 80650 h 81198"/>
                            <a:gd name="connsiteX9" fmla="*/ 25237 w 32369"/>
                            <a:gd name="connsiteY9" fmla="*/ 67483 h 81198"/>
                            <a:gd name="connsiteX10" fmla="*/ 8230 w 32369"/>
                            <a:gd name="connsiteY10" fmla="*/ 53767 h 81198"/>
                            <a:gd name="connsiteX11" fmla="*/ 0 w 32369"/>
                            <a:gd name="connsiteY11" fmla="*/ 23591 h 81198"/>
                            <a:gd name="connsiteX12" fmla="*/ 2195 w 32369"/>
                            <a:gd name="connsiteY12" fmla="*/ 4938 h 81198"/>
                            <a:gd name="connsiteX13" fmla="*/ 7681 w 32369"/>
                            <a:gd name="connsiteY13" fmla="*/ 0 h 81198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  <a:cxn ang="0">
                              <a:pos x="connsiteX7" y="connsiteY7"/>
                            </a:cxn>
                            <a:cxn ang="0">
                              <a:pos x="connsiteX8" y="connsiteY8"/>
                            </a:cxn>
                            <a:cxn ang="0">
                              <a:pos x="connsiteX9" y="connsiteY9"/>
                            </a:cxn>
                            <a:cxn ang="0">
                              <a:pos x="connsiteX10" y="connsiteY10"/>
                            </a:cxn>
                            <a:cxn ang="0">
                              <a:pos x="connsiteX11" y="connsiteY11"/>
                            </a:cxn>
                            <a:cxn ang="0">
                              <a:pos x="connsiteX12" y="connsiteY12"/>
                            </a:cxn>
                            <a:cxn ang="0">
                              <a:pos x="connsiteX13" y="connsiteY13"/>
                            </a:cxn>
                          </a:cxnLst>
                          <a:rect l="l" t="t" r="r" b="b"/>
                          <a:pathLst>
                            <a:path w="32369" h="81198">
                              <a:moveTo>
                                <a:pt x="7681" y="0"/>
                              </a:moveTo>
                              <a:lnTo>
                                <a:pt x="15362" y="13167"/>
                              </a:lnTo>
                              <a:lnTo>
                                <a:pt x="15362" y="21946"/>
                              </a:lnTo>
                              <a:lnTo>
                                <a:pt x="17556" y="29627"/>
                              </a:lnTo>
                              <a:lnTo>
                                <a:pt x="14813" y="32918"/>
                              </a:lnTo>
                              <a:lnTo>
                                <a:pt x="18105" y="53767"/>
                              </a:lnTo>
                              <a:lnTo>
                                <a:pt x="30724" y="69129"/>
                              </a:lnTo>
                              <a:lnTo>
                                <a:pt x="32370" y="81199"/>
                              </a:lnTo>
                              <a:lnTo>
                                <a:pt x="29078" y="80650"/>
                              </a:lnTo>
                              <a:lnTo>
                                <a:pt x="25237" y="67483"/>
                              </a:lnTo>
                              <a:lnTo>
                                <a:pt x="8230" y="53767"/>
                              </a:lnTo>
                              <a:lnTo>
                                <a:pt x="0" y="23591"/>
                              </a:lnTo>
                              <a:lnTo>
                                <a:pt x="2195" y="4938"/>
                              </a:lnTo>
                              <a:lnTo>
                                <a:pt x="7681" y="0"/>
                              </a:lnTo>
                            </a:path>
                          </a:pathLst>
                        </a:custGeom>
                        <a:grpFill/>
                        <a:ln w="12700" cap="flat">
                          <a:noFill/>
                          <a:prstDash val="solid"/>
                          <a:miter/>
                        </a:ln>
                      </p:spPr>
                      <p:txBody>
                        <a:bodyPr rtlCol="0" anchor="ctr"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en-US" sz="1800" b="0" i="0" u="none" strike="noStrike" kern="1200" cap="none" spc="0" normalizeH="0" baseline="0" noProof="0">
                            <a:ln>
                              <a:noFill/>
                            </a:ln>
                            <a:solidFill>
                              <a:srgbClr val="000000"/>
                            </a:solidFill>
                            <a:effectLst/>
                            <a:uLnTx/>
                            <a:uFillTx/>
                            <a:latin typeface="Arial" panose="020B0604020202020204"/>
                            <a:ea typeface="+mn-ea"/>
                            <a:cs typeface="+mn-cs"/>
                          </a:endParaRPr>
                        </a:p>
                      </p:txBody>
                    </p:sp>
                  </p:grpSp>
                </p:grpSp>
                <p:sp>
                  <p:nvSpPr>
                    <p:cNvPr id="174" name="Graphic 7">
                      <a:extLst>
                        <a:ext uri="{FF2B5EF4-FFF2-40B4-BE49-F238E27FC236}">
                          <a16:creationId xmlns:a16="http://schemas.microsoft.com/office/drawing/2014/main" id="{E0D92BBC-4287-8C44-7267-43FCAF78492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029064" y="4958723"/>
                      <a:ext cx="56151" cy="40720"/>
                    </a:xfrm>
                    <a:custGeom>
                      <a:avLst/>
                      <a:gdLst>
                        <a:gd name="connsiteX0" fmla="*/ 68031 w 71871"/>
                        <a:gd name="connsiteY0" fmla="*/ 9875 h 52120"/>
                        <a:gd name="connsiteX1" fmla="*/ 66385 w 71871"/>
                        <a:gd name="connsiteY1" fmla="*/ 12070 h 52120"/>
                        <a:gd name="connsiteX2" fmla="*/ 64191 w 71871"/>
                        <a:gd name="connsiteY2" fmla="*/ 12070 h 52120"/>
                        <a:gd name="connsiteX3" fmla="*/ 58705 w 71871"/>
                        <a:gd name="connsiteY3" fmla="*/ 9327 h 52120"/>
                        <a:gd name="connsiteX4" fmla="*/ 55413 w 71871"/>
                        <a:gd name="connsiteY4" fmla="*/ 9327 h 52120"/>
                        <a:gd name="connsiteX5" fmla="*/ 53767 w 71871"/>
                        <a:gd name="connsiteY5" fmla="*/ 10973 h 52120"/>
                        <a:gd name="connsiteX6" fmla="*/ 52669 w 71871"/>
                        <a:gd name="connsiteY6" fmla="*/ 12619 h 52120"/>
                        <a:gd name="connsiteX7" fmla="*/ 50475 w 71871"/>
                        <a:gd name="connsiteY7" fmla="*/ 13716 h 52120"/>
                        <a:gd name="connsiteX8" fmla="*/ 48829 w 71871"/>
                        <a:gd name="connsiteY8" fmla="*/ 12070 h 52120"/>
                        <a:gd name="connsiteX9" fmla="*/ 47183 w 71871"/>
                        <a:gd name="connsiteY9" fmla="*/ 12070 h 52120"/>
                        <a:gd name="connsiteX10" fmla="*/ 45537 w 71871"/>
                        <a:gd name="connsiteY10" fmla="*/ 13716 h 52120"/>
                        <a:gd name="connsiteX11" fmla="*/ 41697 w 71871"/>
                        <a:gd name="connsiteY11" fmla="*/ 15362 h 52120"/>
                        <a:gd name="connsiteX12" fmla="*/ 39502 w 71871"/>
                        <a:gd name="connsiteY12" fmla="*/ 17557 h 52120"/>
                        <a:gd name="connsiteX13" fmla="*/ 38953 w 71871"/>
                        <a:gd name="connsiteY13" fmla="*/ 19202 h 52120"/>
                        <a:gd name="connsiteX14" fmla="*/ 39502 w 71871"/>
                        <a:gd name="connsiteY14" fmla="*/ 21397 h 52120"/>
                        <a:gd name="connsiteX15" fmla="*/ 38953 w 71871"/>
                        <a:gd name="connsiteY15" fmla="*/ 21946 h 52120"/>
                        <a:gd name="connsiteX16" fmla="*/ 38405 w 71871"/>
                        <a:gd name="connsiteY16" fmla="*/ 22494 h 52120"/>
                        <a:gd name="connsiteX17" fmla="*/ 36759 w 71871"/>
                        <a:gd name="connsiteY17" fmla="*/ 21397 h 52120"/>
                        <a:gd name="connsiteX18" fmla="*/ 30724 w 71871"/>
                        <a:gd name="connsiteY18" fmla="*/ 24140 h 52120"/>
                        <a:gd name="connsiteX19" fmla="*/ 29078 w 71871"/>
                        <a:gd name="connsiteY19" fmla="*/ 26335 h 52120"/>
                        <a:gd name="connsiteX20" fmla="*/ 28529 w 71871"/>
                        <a:gd name="connsiteY20" fmla="*/ 27981 h 52120"/>
                        <a:gd name="connsiteX21" fmla="*/ 25237 w 71871"/>
                        <a:gd name="connsiteY21" fmla="*/ 29627 h 52120"/>
                        <a:gd name="connsiteX22" fmla="*/ 19751 w 71871"/>
                        <a:gd name="connsiteY22" fmla="*/ 36759 h 52120"/>
                        <a:gd name="connsiteX23" fmla="*/ 16459 w 71871"/>
                        <a:gd name="connsiteY23" fmla="*/ 39502 h 52120"/>
                        <a:gd name="connsiteX24" fmla="*/ 15362 w 71871"/>
                        <a:gd name="connsiteY24" fmla="*/ 41148 h 52120"/>
                        <a:gd name="connsiteX25" fmla="*/ 12070 w 71871"/>
                        <a:gd name="connsiteY25" fmla="*/ 42245 h 52120"/>
                        <a:gd name="connsiteX26" fmla="*/ 8778 w 71871"/>
                        <a:gd name="connsiteY26" fmla="*/ 48280 h 52120"/>
                        <a:gd name="connsiteX27" fmla="*/ 3841 w 71871"/>
                        <a:gd name="connsiteY27" fmla="*/ 52121 h 52120"/>
                        <a:gd name="connsiteX28" fmla="*/ 0 w 71871"/>
                        <a:gd name="connsiteY28" fmla="*/ 51572 h 52120"/>
                        <a:gd name="connsiteX29" fmla="*/ 9876 w 71871"/>
                        <a:gd name="connsiteY29" fmla="*/ 39502 h 52120"/>
                        <a:gd name="connsiteX30" fmla="*/ 9876 w 71871"/>
                        <a:gd name="connsiteY30" fmla="*/ 35113 h 52120"/>
                        <a:gd name="connsiteX31" fmla="*/ 11521 w 71871"/>
                        <a:gd name="connsiteY31" fmla="*/ 32370 h 52120"/>
                        <a:gd name="connsiteX32" fmla="*/ 18105 w 71871"/>
                        <a:gd name="connsiteY32" fmla="*/ 25237 h 52120"/>
                        <a:gd name="connsiteX33" fmla="*/ 22494 w 71871"/>
                        <a:gd name="connsiteY33" fmla="*/ 17008 h 52120"/>
                        <a:gd name="connsiteX34" fmla="*/ 25237 w 71871"/>
                        <a:gd name="connsiteY34" fmla="*/ 15911 h 52120"/>
                        <a:gd name="connsiteX35" fmla="*/ 26883 w 71871"/>
                        <a:gd name="connsiteY35" fmla="*/ 12619 h 52120"/>
                        <a:gd name="connsiteX36" fmla="*/ 28529 w 71871"/>
                        <a:gd name="connsiteY36" fmla="*/ 11521 h 52120"/>
                        <a:gd name="connsiteX37" fmla="*/ 31821 w 71871"/>
                        <a:gd name="connsiteY37" fmla="*/ 10424 h 52120"/>
                        <a:gd name="connsiteX38" fmla="*/ 36759 w 71871"/>
                        <a:gd name="connsiteY38" fmla="*/ 10973 h 52120"/>
                        <a:gd name="connsiteX39" fmla="*/ 41697 w 71871"/>
                        <a:gd name="connsiteY39" fmla="*/ 4389 h 52120"/>
                        <a:gd name="connsiteX40" fmla="*/ 43891 w 71871"/>
                        <a:gd name="connsiteY40" fmla="*/ 3841 h 52120"/>
                        <a:gd name="connsiteX41" fmla="*/ 44989 w 71871"/>
                        <a:gd name="connsiteY41" fmla="*/ 2195 h 52120"/>
                        <a:gd name="connsiteX42" fmla="*/ 49378 w 71871"/>
                        <a:gd name="connsiteY42" fmla="*/ 0 h 52120"/>
                        <a:gd name="connsiteX43" fmla="*/ 63642 w 71871"/>
                        <a:gd name="connsiteY43" fmla="*/ 1097 h 52120"/>
                        <a:gd name="connsiteX44" fmla="*/ 71323 w 71871"/>
                        <a:gd name="connsiteY44" fmla="*/ 5486 h 52120"/>
                        <a:gd name="connsiteX45" fmla="*/ 71872 w 71871"/>
                        <a:gd name="connsiteY45" fmla="*/ 8230 h 52120"/>
                        <a:gd name="connsiteX46" fmla="*/ 68031 w 71871"/>
                        <a:gd name="connsiteY46" fmla="*/ 9875 h 5212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  <a:cxn ang="0">
                          <a:pos x="connsiteX45" y="connsiteY45"/>
                        </a:cxn>
                        <a:cxn ang="0">
                          <a:pos x="connsiteX46" y="connsiteY46"/>
                        </a:cxn>
                      </a:cxnLst>
                      <a:rect l="l" t="t" r="r" b="b"/>
                      <a:pathLst>
                        <a:path w="71871" h="52120">
                          <a:moveTo>
                            <a:pt x="68031" y="9875"/>
                          </a:moveTo>
                          <a:lnTo>
                            <a:pt x="66385" y="12070"/>
                          </a:lnTo>
                          <a:lnTo>
                            <a:pt x="64191" y="12070"/>
                          </a:lnTo>
                          <a:lnTo>
                            <a:pt x="58705" y="9327"/>
                          </a:lnTo>
                          <a:lnTo>
                            <a:pt x="55413" y="9327"/>
                          </a:lnTo>
                          <a:lnTo>
                            <a:pt x="53767" y="10973"/>
                          </a:lnTo>
                          <a:lnTo>
                            <a:pt x="52669" y="12619"/>
                          </a:lnTo>
                          <a:lnTo>
                            <a:pt x="50475" y="13716"/>
                          </a:lnTo>
                          <a:lnTo>
                            <a:pt x="48829" y="12070"/>
                          </a:lnTo>
                          <a:lnTo>
                            <a:pt x="47183" y="12070"/>
                          </a:lnTo>
                          <a:lnTo>
                            <a:pt x="45537" y="13716"/>
                          </a:lnTo>
                          <a:lnTo>
                            <a:pt x="41697" y="15362"/>
                          </a:lnTo>
                          <a:lnTo>
                            <a:pt x="39502" y="17557"/>
                          </a:lnTo>
                          <a:lnTo>
                            <a:pt x="38953" y="19202"/>
                          </a:lnTo>
                          <a:lnTo>
                            <a:pt x="39502" y="21397"/>
                          </a:lnTo>
                          <a:lnTo>
                            <a:pt x="38953" y="21946"/>
                          </a:lnTo>
                          <a:lnTo>
                            <a:pt x="38405" y="22494"/>
                          </a:lnTo>
                          <a:lnTo>
                            <a:pt x="36759" y="21397"/>
                          </a:lnTo>
                          <a:lnTo>
                            <a:pt x="30724" y="24140"/>
                          </a:lnTo>
                          <a:lnTo>
                            <a:pt x="29078" y="26335"/>
                          </a:lnTo>
                          <a:lnTo>
                            <a:pt x="28529" y="27981"/>
                          </a:lnTo>
                          <a:lnTo>
                            <a:pt x="25237" y="29627"/>
                          </a:lnTo>
                          <a:lnTo>
                            <a:pt x="19751" y="36759"/>
                          </a:lnTo>
                          <a:lnTo>
                            <a:pt x="16459" y="39502"/>
                          </a:lnTo>
                          <a:lnTo>
                            <a:pt x="15362" y="41148"/>
                          </a:lnTo>
                          <a:lnTo>
                            <a:pt x="12070" y="42245"/>
                          </a:lnTo>
                          <a:lnTo>
                            <a:pt x="8778" y="48280"/>
                          </a:lnTo>
                          <a:lnTo>
                            <a:pt x="3841" y="52121"/>
                          </a:lnTo>
                          <a:lnTo>
                            <a:pt x="0" y="51572"/>
                          </a:lnTo>
                          <a:lnTo>
                            <a:pt x="9876" y="39502"/>
                          </a:lnTo>
                          <a:lnTo>
                            <a:pt x="9876" y="35113"/>
                          </a:lnTo>
                          <a:lnTo>
                            <a:pt x="11521" y="32370"/>
                          </a:lnTo>
                          <a:lnTo>
                            <a:pt x="18105" y="25237"/>
                          </a:lnTo>
                          <a:lnTo>
                            <a:pt x="22494" y="17008"/>
                          </a:lnTo>
                          <a:lnTo>
                            <a:pt x="25237" y="15911"/>
                          </a:lnTo>
                          <a:lnTo>
                            <a:pt x="26883" y="12619"/>
                          </a:lnTo>
                          <a:lnTo>
                            <a:pt x="28529" y="11521"/>
                          </a:lnTo>
                          <a:lnTo>
                            <a:pt x="31821" y="10424"/>
                          </a:lnTo>
                          <a:lnTo>
                            <a:pt x="36759" y="10973"/>
                          </a:lnTo>
                          <a:lnTo>
                            <a:pt x="41697" y="4389"/>
                          </a:lnTo>
                          <a:lnTo>
                            <a:pt x="43891" y="3841"/>
                          </a:lnTo>
                          <a:lnTo>
                            <a:pt x="44989" y="2195"/>
                          </a:lnTo>
                          <a:lnTo>
                            <a:pt x="49378" y="0"/>
                          </a:lnTo>
                          <a:lnTo>
                            <a:pt x="63642" y="1097"/>
                          </a:lnTo>
                          <a:lnTo>
                            <a:pt x="71323" y="5486"/>
                          </a:lnTo>
                          <a:lnTo>
                            <a:pt x="71872" y="8230"/>
                          </a:lnTo>
                          <a:lnTo>
                            <a:pt x="68031" y="9875"/>
                          </a:lnTo>
                        </a:path>
                      </a:pathLst>
                    </a:custGeom>
                    <a:grpFill/>
                    <a:ln w="1270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p:txBody>
                </p:sp>
              </p:grpSp>
            </p:grpSp>
          </p:grpSp>
        </p:grpSp>
        <p:grpSp>
          <p:nvGrpSpPr>
            <p:cNvPr id="16" name="Group 275">
              <a:extLst>
                <a:ext uri="{FF2B5EF4-FFF2-40B4-BE49-F238E27FC236}">
                  <a16:creationId xmlns:a16="http://schemas.microsoft.com/office/drawing/2014/main" id="{0346E0D0-9AED-9356-19C9-B1CE866F6C1F}"/>
                </a:ext>
              </a:extLst>
            </p:cNvPr>
            <p:cNvGrpSpPr/>
            <p:nvPr/>
          </p:nvGrpSpPr>
          <p:grpSpPr>
            <a:xfrm>
              <a:off x="4518958" y="1466148"/>
              <a:ext cx="2196361" cy="2134638"/>
              <a:chOff x="4518958" y="1466148"/>
              <a:chExt cx="2196361" cy="2134638"/>
            </a:xfrm>
            <a:grpFill/>
          </p:grpSpPr>
          <p:sp>
            <p:nvSpPr>
              <p:cNvPr id="40" name="Graphic 7">
                <a:extLst>
                  <a:ext uri="{FF2B5EF4-FFF2-40B4-BE49-F238E27FC236}">
                    <a16:creationId xmlns:a16="http://schemas.microsoft.com/office/drawing/2014/main" id="{ED542E47-30C0-96F7-8082-2A101FC38FC2}"/>
                  </a:ext>
                </a:extLst>
              </p:cNvPr>
              <p:cNvSpPr/>
              <p:nvPr/>
            </p:nvSpPr>
            <p:spPr>
              <a:xfrm>
                <a:off x="6259674" y="3465763"/>
                <a:ext cx="19717" cy="42435"/>
              </a:xfrm>
              <a:custGeom>
                <a:avLst/>
                <a:gdLst>
                  <a:gd name="connsiteX0" fmla="*/ 20300 w 25237"/>
                  <a:gd name="connsiteY0" fmla="*/ 45537 h 54315"/>
                  <a:gd name="connsiteX1" fmla="*/ 21946 w 25237"/>
                  <a:gd name="connsiteY1" fmla="*/ 43342 h 54315"/>
                  <a:gd name="connsiteX2" fmla="*/ 24140 w 25237"/>
                  <a:gd name="connsiteY2" fmla="*/ 34016 h 54315"/>
                  <a:gd name="connsiteX3" fmla="*/ 22494 w 25237"/>
                  <a:gd name="connsiteY3" fmla="*/ 27432 h 54315"/>
                  <a:gd name="connsiteX4" fmla="*/ 25237 w 25237"/>
                  <a:gd name="connsiteY4" fmla="*/ 6584 h 54315"/>
                  <a:gd name="connsiteX5" fmla="*/ 25237 w 25237"/>
                  <a:gd name="connsiteY5" fmla="*/ 6584 h 54315"/>
                  <a:gd name="connsiteX6" fmla="*/ 23043 w 25237"/>
                  <a:gd name="connsiteY6" fmla="*/ 6584 h 54315"/>
                  <a:gd name="connsiteX7" fmla="*/ 20300 w 25237"/>
                  <a:gd name="connsiteY7" fmla="*/ 4389 h 54315"/>
                  <a:gd name="connsiteX8" fmla="*/ 19751 w 25237"/>
                  <a:gd name="connsiteY8" fmla="*/ 549 h 54315"/>
                  <a:gd name="connsiteX9" fmla="*/ 15911 w 25237"/>
                  <a:gd name="connsiteY9" fmla="*/ 1097 h 54315"/>
                  <a:gd name="connsiteX10" fmla="*/ 10973 w 25237"/>
                  <a:gd name="connsiteY10" fmla="*/ 0 h 54315"/>
                  <a:gd name="connsiteX11" fmla="*/ 8778 w 25237"/>
                  <a:gd name="connsiteY11" fmla="*/ 1097 h 54315"/>
                  <a:gd name="connsiteX12" fmla="*/ 7132 w 25237"/>
                  <a:gd name="connsiteY12" fmla="*/ 2743 h 54315"/>
                  <a:gd name="connsiteX13" fmla="*/ 6584 w 25237"/>
                  <a:gd name="connsiteY13" fmla="*/ 9327 h 54315"/>
                  <a:gd name="connsiteX14" fmla="*/ 2743 w 25237"/>
                  <a:gd name="connsiteY14" fmla="*/ 13716 h 54315"/>
                  <a:gd name="connsiteX15" fmla="*/ 2743 w 25237"/>
                  <a:gd name="connsiteY15" fmla="*/ 23591 h 54315"/>
                  <a:gd name="connsiteX16" fmla="*/ 4389 w 25237"/>
                  <a:gd name="connsiteY16" fmla="*/ 26883 h 54315"/>
                  <a:gd name="connsiteX17" fmla="*/ 3292 w 25237"/>
                  <a:gd name="connsiteY17" fmla="*/ 30724 h 54315"/>
                  <a:gd name="connsiteX18" fmla="*/ 10424 w 25237"/>
                  <a:gd name="connsiteY18" fmla="*/ 30175 h 54315"/>
                  <a:gd name="connsiteX19" fmla="*/ 12619 w 25237"/>
                  <a:gd name="connsiteY19" fmla="*/ 31273 h 54315"/>
                  <a:gd name="connsiteX20" fmla="*/ 13167 w 25237"/>
                  <a:gd name="connsiteY20" fmla="*/ 32918 h 54315"/>
                  <a:gd name="connsiteX21" fmla="*/ 12070 w 25237"/>
                  <a:gd name="connsiteY21" fmla="*/ 34016 h 54315"/>
                  <a:gd name="connsiteX22" fmla="*/ 8230 w 25237"/>
                  <a:gd name="connsiteY22" fmla="*/ 34564 h 54315"/>
                  <a:gd name="connsiteX23" fmla="*/ 4938 w 25237"/>
                  <a:gd name="connsiteY23" fmla="*/ 36210 h 54315"/>
                  <a:gd name="connsiteX24" fmla="*/ 2743 w 25237"/>
                  <a:gd name="connsiteY24" fmla="*/ 44440 h 54315"/>
                  <a:gd name="connsiteX25" fmla="*/ 549 w 25237"/>
                  <a:gd name="connsiteY25" fmla="*/ 47183 h 54315"/>
                  <a:gd name="connsiteX26" fmla="*/ 0 w 25237"/>
                  <a:gd name="connsiteY26" fmla="*/ 51023 h 54315"/>
                  <a:gd name="connsiteX27" fmla="*/ 2195 w 25237"/>
                  <a:gd name="connsiteY27" fmla="*/ 54315 h 54315"/>
                  <a:gd name="connsiteX28" fmla="*/ 3292 w 25237"/>
                  <a:gd name="connsiteY28" fmla="*/ 52121 h 54315"/>
                  <a:gd name="connsiteX29" fmla="*/ 10973 w 25237"/>
                  <a:gd name="connsiteY29" fmla="*/ 51023 h 54315"/>
                  <a:gd name="connsiteX30" fmla="*/ 18105 w 25237"/>
                  <a:gd name="connsiteY30" fmla="*/ 45537 h 54315"/>
                  <a:gd name="connsiteX31" fmla="*/ 20300 w 25237"/>
                  <a:gd name="connsiteY31" fmla="*/ 45537 h 543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25237" h="54315">
                    <a:moveTo>
                      <a:pt x="20300" y="45537"/>
                    </a:moveTo>
                    <a:lnTo>
                      <a:pt x="21946" y="43342"/>
                    </a:lnTo>
                    <a:lnTo>
                      <a:pt x="24140" y="34016"/>
                    </a:lnTo>
                    <a:lnTo>
                      <a:pt x="22494" y="27432"/>
                    </a:lnTo>
                    <a:lnTo>
                      <a:pt x="25237" y="6584"/>
                    </a:lnTo>
                    <a:lnTo>
                      <a:pt x="25237" y="6584"/>
                    </a:lnTo>
                    <a:lnTo>
                      <a:pt x="23043" y="6584"/>
                    </a:lnTo>
                    <a:lnTo>
                      <a:pt x="20300" y="4389"/>
                    </a:lnTo>
                    <a:lnTo>
                      <a:pt x="19751" y="549"/>
                    </a:lnTo>
                    <a:lnTo>
                      <a:pt x="15911" y="1097"/>
                    </a:lnTo>
                    <a:lnTo>
                      <a:pt x="10973" y="0"/>
                    </a:lnTo>
                    <a:lnTo>
                      <a:pt x="8778" y="1097"/>
                    </a:lnTo>
                    <a:lnTo>
                      <a:pt x="7132" y="2743"/>
                    </a:lnTo>
                    <a:lnTo>
                      <a:pt x="6584" y="9327"/>
                    </a:lnTo>
                    <a:lnTo>
                      <a:pt x="2743" y="13716"/>
                    </a:lnTo>
                    <a:lnTo>
                      <a:pt x="2743" y="23591"/>
                    </a:lnTo>
                    <a:lnTo>
                      <a:pt x="4389" y="26883"/>
                    </a:lnTo>
                    <a:lnTo>
                      <a:pt x="3292" y="30724"/>
                    </a:lnTo>
                    <a:lnTo>
                      <a:pt x="10424" y="30175"/>
                    </a:lnTo>
                    <a:lnTo>
                      <a:pt x="12619" y="31273"/>
                    </a:lnTo>
                    <a:lnTo>
                      <a:pt x="13167" y="32918"/>
                    </a:lnTo>
                    <a:lnTo>
                      <a:pt x="12070" y="34016"/>
                    </a:lnTo>
                    <a:lnTo>
                      <a:pt x="8230" y="34564"/>
                    </a:lnTo>
                    <a:lnTo>
                      <a:pt x="4938" y="36210"/>
                    </a:lnTo>
                    <a:lnTo>
                      <a:pt x="2743" y="44440"/>
                    </a:lnTo>
                    <a:lnTo>
                      <a:pt x="549" y="47183"/>
                    </a:lnTo>
                    <a:lnTo>
                      <a:pt x="0" y="51023"/>
                    </a:lnTo>
                    <a:lnTo>
                      <a:pt x="2195" y="54315"/>
                    </a:lnTo>
                    <a:lnTo>
                      <a:pt x="3292" y="52121"/>
                    </a:lnTo>
                    <a:lnTo>
                      <a:pt x="10973" y="51023"/>
                    </a:lnTo>
                    <a:lnTo>
                      <a:pt x="18105" y="45537"/>
                    </a:lnTo>
                    <a:lnTo>
                      <a:pt x="20300" y="45537"/>
                    </a:lnTo>
                  </a:path>
                </a:pathLst>
              </a:custGeom>
              <a:grpFill/>
              <a:ln w="127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1" name="Graphic 7">
                <a:extLst>
                  <a:ext uri="{FF2B5EF4-FFF2-40B4-BE49-F238E27FC236}">
                    <a16:creationId xmlns:a16="http://schemas.microsoft.com/office/drawing/2014/main" id="{FD90BDC5-1067-27E7-379D-3409566AD7BC}"/>
                  </a:ext>
                </a:extLst>
              </p:cNvPr>
              <p:cNvSpPr/>
              <p:nvPr/>
            </p:nvSpPr>
            <p:spPr>
              <a:xfrm>
                <a:off x="6237813" y="3500055"/>
                <a:ext cx="10287" cy="12859"/>
              </a:xfrm>
              <a:custGeom>
                <a:avLst/>
                <a:gdLst>
                  <a:gd name="connsiteX0" fmla="*/ 1646 w 13167"/>
                  <a:gd name="connsiteY0" fmla="*/ 16459 h 16459"/>
                  <a:gd name="connsiteX1" fmla="*/ 6035 w 13167"/>
                  <a:gd name="connsiteY1" fmla="*/ 14265 h 16459"/>
                  <a:gd name="connsiteX2" fmla="*/ 6035 w 13167"/>
                  <a:gd name="connsiteY2" fmla="*/ 10973 h 16459"/>
                  <a:gd name="connsiteX3" fmla="*/ 13167 w 13167"/>
                  <a:gd name="connsiteY3" fmla="*/ 3292 h 16459"/>
                  <a:gd name="connsiteX4" fmla="*/ 10424 w 13167"/>
                  <a:gd name="connsiteY4" fmla="*/ 0 h 16459"/>
                  <a:gd name="connsiteX5" fmla="*/ 0 w 13167"/>
                  <a:gd name="connsiteY5" fmla="*/ 10424 h 16459"/>
                  <a:gd name="connsiteX6" fmla="*/ 1646 w 13167"/>
                  <a:gd name="connsiteY6" fmla="*/ 16459 h 16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167" h="16459">
                    <a:moveTo>
                      <a:pt x="1646" y="16459"/>
                    </a:moveTo>
                    <a:lnTo>
                      <a:pt x="6035" y="14265"/>
                    </a:lnTo>
                    <a:lnTo>
                      <a:pt x="6035" y="10973"/>
                    </a:lnTo>
                    <a:lnTo>
                      <a:pt x="13167" y="3292"/>
                    </a:lnTo>
                    <a:lnTo>
                      <a:pt x="10424" y="0"/>
                    </a:lnTo>
                    <a:lnTo>
                      <a:pt x="0" y="10424"/>
                    </a:lnTo>
                    <a:lnTo>
                      <a:pt x="1646" y="16459"/>
                    </a:lnTo>
                  </a:path>
                </a:pathLst>
              </a:custGeom>
              <a:grpFill/>
              <a:ln w="127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2" name="Graphic 7">
                <a:extLst>
                  <a:ext uri="{FF2B5EF4-FFF2-40B4-BE49-F238E27FC236}">
                    <a16:creationId xmlns:a16="http://schemas.microsoft.com/office/drawing/2014/main" id="{6DDC8A45-4AF9-D483-E0F3-64AA881AC854}"/>
                  </a:ext>
                </a:extLst>
              </p:cNvPr>
              <p:cNvSpPr/>
              <p:nvPr/>
            </p:nvSpPr>
            <p:spPr>
              <a:xfrm>
                <a:off x="6264817" y="3386894"/>
                <a:ext cx="50579" cy="61724"/>
              </a:xfrm>
              <a:custGeom>
                <a:avLst/>
                <a:gdLst>
                  <a:gd name="connsiteX0" fmla="*/ 21946 w 64739"/>
                  <a:gd name="connsiteY0" fmla="*/ 70226 h 79004"/>
                  <a:gd name="connsiteX1" fmla="*/ 27432 w 64739"/>
                  <a:gd name="connsiteY1" fmla="*/ 65288 h 79004"/>
                  <a:gd name="connsiteX2" fmla="*/ 30175 w 64739"/>
                  <a:gd name="connsiteY2" fmla="*/ 65288 h 79004"/>
                  <a:gd name="connsiteX3" fmla="*/ 31273 w 64739"/>
                  <a:gd name="connsiteY3" fmla="*/ 63094 h 79004"/>
                  <a:gd name="connsiteX4" fmla="*/ 38405 w 64739"/>
                  <a:gd name="connsiteY4" fmla="*/ 56510 h 79004"/>
                  <a:gd name="connsiteX5" fmla="*/ 40051 w 64739"/>
                  <a:gd name="connsiteY5" fmla="*/ 55961 h 79004"/>
                  <a:gd name="connsiteX6" fmla="*/ 40051 w 64739"/>
                  <a:gd name="connsiteY6" fmla="*/ 52670 h 79004"/>
                  <a:gd name="connsiteX7" fmla="*/ 36210 w 64739"/>
                  <a:gd name="connsiteY7" fmla="*/ 51572 h 79004"/>
                  <a:gd name="connsiteX8" fmla="*/ 36210 w 64739"/>
                  <a:gd name="connsiteY8" fmla="*/ 51023 h 79004"/>
                  <a:gd name="connsiteX9" fmla="*/ 37856 w 64739"/>
                  <a:gd name="connsiteY9" fmla="*/ 47183 h 79004"/>
                  <a:gd name="connsiteX10" fmla="*/ 39502 w 64739"/>
                  <a:gd name="connsiteY10" fmla="*/ 45537 h 79004"/>
                  <a:gd name="connsiteX11" fmla="*/ 40599 w 64739"/>
                  <a:gd name="connsiteY11" fmla="*/ 42794 h 79004"/>
                  <a:gd name="connsiteX12" fmla="*/ 50475 w 64739"/>
                  <a:gd name="connsiteY12" fmla="*/ 41697 h 79004"/>
                  <a:gd name="connsiteX13" fmla="*/ 53218 w 64739"/>
                  <a:gd name="connsiteY13" fmla="*/ 42794 h 79004"/>
                  <a:gd name="connsiteX14" fmla="*/ 54315 w 64739"/>
                  <a:gd name="connsiteY14" fmla="*/ 42245 h 79004"/>
                  <a:gd name="connsiteX15" fmla="*/ 54315 w 64739"/>
                  <a:gd name="connsiteY15" fmla="*/ 41697 h 79004"/>
                  <a:gd name="connsiteX16" fmla="*/ 53218 w 64739"/>
                  <a:gd name="connsiteY16" fmla="*/ 40051 h 79004"/>
                  <a:gd name="connsiteX17" fmla="*/ 49926 w 64739"/>
                  <a:gd name="connsiteY17" fmla="*/ 38405 h 79004"/>
                  <a:gd name="connsiteX18" fmla="*/ 50475 w 64739"/>
                  <a:gd name="connsiteY18" fmla="*/ 36210 h 79004"/>
                  <a:gd name="connsiteX19" fmla="*/ 53218 w 64739"/>
                  <a:gd name="connsiteY19" fmla="*/ 34564 h 79004"/>
                  <a:gd name="connsiteX20" fmla="*/ 53218 w 64739"/>
                  <a:gd name="connsiteY20" fmla="*/ 32370 h 79004"/>
                  <a:gd name="connsiteX21" fmla="*/ 56510 w 64739"/>
                  <a:gd name="connsiteY21" fmla="*/ 31821 h 79004"/>
                  <a:gd name="connsiteX22" fmla="*/ 60350 w 64739"/>
                  <a:gd name="connsiteY22" fmla="*/ 29078 h 79004"/>
                  <a:gd name="connsiteX23" fmla="*/ 61996 w 64739"/>
                  <a:gd name="connsiteY23" fmla="*/ 29078 h 79004"/>
                  <a:gd name="connsiteX24" fmla="*/ 63094 w 64739"/>
                  <a:gd name="connsiteY24" fmla="*/ 25786 h 79004"/>
                  <a:gd name="connsiteX25" fmla="*/ 64740 w 64739"/>
                  <a:gd name="connsiteY25" fmla="*/ 24689 h 79004"/>
                  <a:gd name="connsiteX26" fmla="*/ 62545 w 64739"/>
                  <a:gd name="connsiteY26" fmla="*/ 23043 h 79004"/>
                  <a:gd name="connsiteX27" fmla="*/ 63642 w 64739"/>
                  <a:gd name="connsiteY27" fmla="*/ 19751 h 79004"/>
                  <a:gd name="connsiteX28" fmla="*/ 60899 w 64739"/>
                  <a:gd name="connsiteY28" fmla="*/ 17008 h 79004"/>
                  <a:gd name="connsiteX29" fmla="*/ 61996 w 64739"/>
                  <a:gd name="connsiteY29" fmla="*/ 14265 h 79004"/>
                  <a:gd name="connsiteX30" fmla="*/ 58156 w 64739"/>
                  <a:gd name="connsiteY30" fmla="*/ 13167 h 79004"/>
                  <a:gd name="connsiteX31" fmla="*/ 57607 w 64739"/>
                  <a:gd name="connsiteY31" fmla="*/ 9327 h 79004"/>
                  <a:gd name="connsiteX32" fmla="*/ 53218 w 64739"/>
                  <a:gd name="connsiteY32" fmla="*/ 9327 h 79004"/>
                  <a:gd name="connsiteX33" fmla="*/ 53767 w 64739"/>
                  <a:gd name="connsiteY33" fmla="*/ 8778 h 79004"/>
                  <a:gd name="connsiteX34" fmla="*/ 55413 w 64739"/>
                  <a:gd name="connsiteY34" fmla="*/ 7132 h 79004"/>
                  <a:gd name="connsiteX35" fmla="*/ 55413 w 64739"/>
                  <a:gd name="connsiteY35" fmla="*/ 5486 h 79004"/>
                  <a:gd name="connsiteX36" fmla="*/ 58705 w 64739"/>
                  <a:gd name="connsiteY36" fmla="*/ 5486 h 79004"/>
                  <a:gd name="connsiteX37" fmla="*/ 58705 w 64739"/>
                  <a:gd name="connsiteY37" fmla="*/ 3841 h 79004"/>
                  <a:gd name="connsiteX38" fmla="*/ 57607 w 64739"/>
                  <a:gd name="connsiteY38" fmla="*/ 2743 h 79004"/>
                  <a:gd name="connsiteX39" fmla="*/ 54315 w 64739"/>
                  <a:gd name="connsiteY39" fmla="*/ 2743 h 79004"/>
                  <a:gd name="connsiteX40" fmla="*/ 53218 w 64739"/>
                  <a:gd name="connsiteY40" fmla="*/ 0 h 79004"/>
                  <a:gd name="connsiteX41" fmla="*/ 51572 w 64739"/>
                  <a:gd name="connsiteY41" fmla="*/ 0 h 79004"/>
                  <a:gd name="connsiteX42" fmla="*/ 49926 w 64739"/>
                  <a:gd name="connsiteY42" fmla="*/ 2743 h 79004"/>
                  <a:gd name="connsiteX43" fmla="*/ 37856 w 64739"/>
                  <a:gd name="connsiteY43" fmla="*/ 2743 h 79004"/>
                  <a:gd name="connsiteX44" fmla="*/ 39502 w 64739"/>
                  <a:gd name="connsiteY44" fmla="*/ 9327 h 79004"/>
                  <a:gd name="connsiteX45" fmla="*/ 27981 w 64739"/>
                  <a:gd name="connsiteY45" fmla="*/ 19202 h 79004"/>
                  <a:gd name="connsiteX46" fmla="*/ 23043 w 64739"/>
                  <a:gd name="connsiteY46" fmla="*/ 35662 h 79004"/>
                  <a:gd name="connsiteX47" fmla="*/ 18654 w 64739"/>
                  <a:gd name="connsiteY47" fmla="*/ 37307 h 79004"/>
                  <a:gd name="connsiteX48" fmla="*/ 18654 w 64739"/>
                  <a:gd name="connsiteY48" fmla="*/ 39502 h 79004"/>
                  <a:gd name="connsiteX49" fmla="*/ 17557 w 64739"/>
                  <a:gd name="connsiteY49" fmla="*/ 40051 h 79004"/>
                  <a:gd name="connsiteX50" fmla="*/ 0 w 64739"/>
                  <a:gd name="connsiteY50" fmla="*/ 75712 h 79004"/>
                  <a:gd name="connsiteX51" fmla="*/ 2195 w 64739"/>
                  <a:gd name="connsiteY51" fmla="*/ 77358 h 79004"/>
                  <a:gd name="connsiteX52" fmla="*/ 9327 w 64739"/>
                  <a:gd name="connsiteY52" fmla="*/ 76810 h 79004"/>
                  <a:gd name="connsiteX53" fmla="*/ 11521 w 64739"/>
                  <a:gd name="connsiteY53" fmla="*/ 79004 h 79004"/>
                  <a:gd name="connsiteX54" fmla="*/ 12619 w 64739"/>
                  <a:gd name="connsiteY54" fmla="*/ 79004 h 79004"/>
                  <a:gd name="connsiteX55" fmla="*/ 14813 w 64739"/>
                  <a:gd name="connsiteY55" fmla="*/ 77358 h 79004"/>
                  <a:gd name="connsiteX56" fmla="*/ 18105 w 64739"/>
                  <a:gd name="connsiteY56" fmla="*/ 77907 h 79004"/>
                  <a:gd name="connsiteX57" fmla="*/ 18654 w 64739"/>
                  <a:gd name="connsiteY57" fmla="*/ 68580 h 79004"/>
                  <a:gd name="connsiteX58" fmla="*/ 20848 w 64739"/>
                  <a:gd name="connsiteY58" fmla="*/ 67483 h 79004"/>
                  <a:gd name="connsiteX59" fmla="*/ 21946 w 64739"/>
                  <a:gd name="connsiteY59" fmla="*/ 68031 h 79004"/>
                  <a:gd name="connsiteX60" fmla="*/ 21946 w 64739"/>
                  <a:gd name="connsiteY60" fmla="*/ 70226 h 790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64739" h="79004">
                    <a:moveTo>
                      <a:pt x="21946" y="70226"/>
                    </a:moveTo>
                    <a:lnTo>
                      <a:pt x="27432" y="65288"/>
                    </a:lnTo>
                    <a:lnTo>
                      <a:pt x="30175" y="65288"/>
                    </a:lnTo>
                    <a:lnTo>
                      <a:pt x="31273" y="63094"/>
                    </a:lnTo>
                    <a:lnTo>
                      <a:pt x="38405" y="56510"/>
                    </a:lnTo>
                    <a:lnTo>
                      <a:pt x="40051" y="55961"/>
                    </a:lnTo>
                    <a:lnTo>
                      <a:pt x="40051" y="52670"/>
                    </a:lnTo>
                    <a:lnTo>
                      <a:pt x="36210" y="51572"/>
                    </a:lnTo>
                    <a:lnTo>
                      <a:pt x="36210" y="51023"/>
                    </a:lnTo>
                    <a:lnTo>
                      <a:pt x="37856" y="47183"/>
                    </a:lnTo>
                    <a:lnTo>
                      <a:pt x="39502" y="45537"/>
                    </a:lnTo>
                    <a:lnTo>
                      <a:pt x="40599" y="42794"/>
                    </a:lnTo>
                    <a:lnTo>
                      <a:pt x="50475" y="41697"/>
                    </a:lnTo>
                    <a:lnTo>
                      <a:pt x="53218" y="42794"/>
                    </a:lnTo>
                    <a:lnTo>
                      <a:pt x="54315" y="42245"/>
                    </a:lnTo>
                    <a:lnTo>
                      <a:pt x="54315" y="41697"/>
                    </a:lnTo>
                    <a:lnTo>
                      <a:pt x="53218" y="40051"/>
                    </a:lnTo>
                    <a:lnTo>
                      <a:pt x="49926" y="38405"/>
                    </a:lnTo>
                    <a:lnTo>
                      <a:pt x="50475" y="36210"/>
                    </a:lnTo>
                    <a:lnTo>
                      <a:pt x="53218" y="34564"/>
                    </a:lnTo>
                    <a:lnTo>
                      <a:pt x="53218" y="32370"/>
                    </a:lnTo>
                    <a:lnTo>
                      <a:pt x="56510" y="31821"/>
                    </a:lnTo>
                    <a:lnTo>
                      <a:pt x="60350" y="29078"/>
                    </a:lnTo>
                    <a:lnTo>
                      <a:pt x="61996" y="29078"/>
                    </a:lnTo>
                    <a:lnTo>
                      <a:pt x="63094" y="25786"/>
                    </a:lnTo>
                    <a:lnTo>
                      <a:pt x="64740" y="24689"/>
                    </a:lnTo>
                    <a:lnTo>
                      <a:pt x="62545" y="23043"/>
                    </a:lnTo>
                    <a:lnTo>
                      <a:pt x="63642" y="19751"/>
                    </a:lnTo>
                    <a:lnTo>
                      <a:pt x="60899" y="17008"/>
                    </a:lnTo>
                    <a:lnTo>
                      <a:pt x="61996" y="14265"/>
                    </a:lnTo>
                    <a:lnTo>
                      <a:pt x="58156" y="13167"/>
                    </a:lnTo>
                    <a:lnTo>
                      <a:pt x="57607" y="9327"/>
                    </a:lnTo>
                    <a:lnTo>
                      <a:pt x="53218" y="9327"/>
                    </a:lnTo>
                    <a:lnTo>
                      <a:pt x="53767" y="8778"/>
                    </a:lnTo>
                    <a:lnTo>
                      <a:pt x="55413" y="7132"/>
                    </a:lnTo>
                    <a:lnTo>
                      <a:pt x="55413" y="5486"/>
                    </a:lnTo>
                    <a:lnTo>
                      <a:pt x="58705" y="5486"/>
                    </a:lnTo>
                    <a:lnTo>
                      <a:pt x="58705" y="3841"/>
                    </a:lnTo>
                    <a:lnTo>
                      <a:pt x="57607" y="2743"/>
                    </a:lnTo>
                    <a:lnTo>
                      <a:pt x="54315" y="2743"/>
                    </a:lnTo>
                    <a:lnTo>
                      <a:pt x="53218" y="0"/>
                    </a:lnTo>
                    <a:lnTo>
                      <a:pt x="51572" y="0"/>
                    </a:lnTo>
                    <a:lnTo>
                      <a:pt x="49926" y="2743"/>
                    </a:lnTo>
                    <a:lnTo>
                      <a:pt x="37856" y="2743"/>
                    </a:lnTo>
                    <a:lnTo>
                      <a:pt x="39502" y="9327"/>
                    </a:lnTo>
                    <a:lnTo>
                      <a:pt x="27981" y="19202"/>
                    </a:lnTo>
                    <a:lnTo>
                      <a:pt x="23043" y="35662"/>
                    </a:lnTo>
                    <a:lnTo>
                      <a:pt x="18654" y="37307"/>
                    </a:lnTo>
                    <a:lnTo>
                      <a:pt x="18654" y="39502"/>
                    </a:lnTo>
                    <a:lnTo>
                      <a:pt x="17557" y="40051"/>
                    </a:lnTo>
                    <a:lnTo>
                      <a:pt x="0" y="75712"/>
                    </a:lnTo>
                    <a:lnTo>
                      <a:pt x="2195" y="77358"/>
                    </a:lnTo>
                    <a:lnTo>
                      <a:pt x="9327" y="76810"/>
                    </a:lnTo>
                    <a:lnTo>
                      <a:pt x="11521" y="79004"/>
                    </a:lnTo>
                    <a:lnTo>
                      <a:pt x="12619" y="79004"/>
                    </a:lnTo>
                    <a:lnTo>
                      <a:pt x="14813" y="77358"/>
                    </a:lnTo>
                    <a:lnTo>
                      <a:pt x="18105" y="77907"/>
                    </a:lnTo>
                    <a:lnTo>
                      <a:pt x="18654" y="68580"/>
                    </a:lnTo>
                    <a:lnTo>
                      <a:pt x="20848" y="67483"/>
                    </a:lnTo>
                    <a:lnTo>
                      <a:pt x="21946" y="68031"/>
                    </a:lnTo>
                    <a:lnTo>
                      <a:pt x="21946" y="70226"/>
                    </a:lnTo>
                  </a:path>
                </a:pathLst>
              </a:custGeom>
              <a:grpFill/>
              <a:ln w="127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3" name="Graphic 7">
                <a:extLst>
                  <a:ext uri="{FF2B5EF4-FFF2-40B4-BE49-F238E27FC236}">
                    <a16:creationId xmlns:a16="http://schemas.microsoft.com/office/drawing/2014/main" id="{A04B7118-3FD4-98D8-6C71-63A34414BF73}"/>
                  </a:ext>
                </a:extLst>
              </p:cNvPr>
              <p:cNvSpPr/>
              <p:nvPr/>
            </p:nvSpPr>
            <p:spPr>
              <a:xfrm>
                <a:off x="6409699" y="3052981"/>
                <a:ext cx="196746" cy="97302"/>
              </a:xfrm>
              <a:custGeom>
                <a:avLst/>
                <a:gdLst>
                  <a:gd name="connsiteX0" fmla="*/ 59802 w 251825"/>
                  <a:gd name="connsiteY0" fmla="*/ 100950 h 124541"/>
                  <a:gd name="connsiteX1" fmla="*/ 63642 w 251825"/>
                  <a:gd name="connsiteY1" fmla="*/ 105339 h 124541"/>
                  <a:gd name="connsiteX2" fmla="*/ 70226 w 251825"/>
                  <a:gd name="connsiteY2" fmla="*/ 105339 h 124541"/>
                  <a:gd name="connsiteX3" fmla="*/ 78455 w 251825"/>
                  <a:gd name="connsiteY3" fmla="*/ 102595 h 124541"/>
                  <a:gd name="connsiteX4" fmla="*/ 91623 w 251825"/>
                  <a:gd name="connsiteY4" fmla="*/ 106985 h 124541"/>
                  <a:gd name="connsiteX5" fmla="*/ 96012 w 251825"/>
                  <a:gd name="connsiteY5" fmla="*/ 106985 h 124541"/>
                  <a:gd name="connsiteX6" fmla="*/ 99304 w 251825"/>
                  <a:gd name="connsiteY6" fmla="*/ 101498 h 124541"/>
                  <a:gd name="connsiteX7" fmla="*/ 102596 w 251825"/>
                  <a:gd name="connsiteY7" fmla="*/ 99304 h 124541"/>
                  <a:gd name="connsiteX8" fmla="*/ 108082 w 251825"/>
                  <a:gd name="connsiteY8" fmla="*/ 101498 h 124541"/>
                  <a:gd name="connsiteX9" fmla="*/ 121249 w 251825"/>
                  <a:gd name="connsiteY9" fmla="*/ 116860 h 124541"/>
                  <a:gd name="connsiteX10" fmla="*/ 125090 w 251825"/>
                  <a:gd name="connsiteY10" fmla="*/ 117409 h 124541"/>
                  <a:gd name="connsiteX11" fmla="*/ 130576 w 251825"/>
                  <a:gd name="connsiteY11" fmla="*/ 124541 h 124541"/>
                  <a:gd name="connsiteX12" fmla="*/ 144841 w 251825"/>
                  <a:gd name="connsiteY12" fmla="*/ 123444 h 124541"/>
                  <a:gd name="connsiteX13" fmla="*/ 149230 w 251825"/>
                  <a:gd name="connsiteY13" fmla="*/ 120152 h 124541"/>
                  <a:gd name="connsiteX14" fmla="*/ 160751 w 251825"/>
                  <a:gd name="connsiteY14" fmla="*/ 119603 h 124541"/>
                  <a:gd name="connsiteX15" fmla="*/ 165141 w 251825"/>
                  <a:gd name="connsiteY15" fmla="*/ 116860 h 124541"/>
                  <a:gd name="connsiteX16" fmla="*/ 176662 w 251825"/>
                  <a:gd name="connsiteY16" fmla="*/ 119055 h 124541"/>
                  <a:gd name="connsiteX17" fmla="*/ 202448 w 251825"/>
                  <a:gd name="connsiteY17" fmla="*/ 106985 h 124541"/>
                  <a:gd name="connsiteX18" fmla="*/ 213421 w 251825"/>
                  <a:gd name="connsiteY18" fmla="*/ 109179 h 124541"/>
                  <a:gd name="connsiteX19" fmla="*/ 217261 w 251825"/>
                  <a:gd name="connsiteY19" fmla="*/ 113568 h 124541"/>
                  <a:gd name="connsiteX20" fmla="*/ 227137 w 251825"/>
                  <a:gd name="connsiteY20" fmla="*/ 118506 h 124541"/>
                  <a:gd name="connsiteX21" fmla="*/ 232623 w 251825"/>
                  <a:gd name="connsiteY21" fmla="*/ 117409 h 124541"/>
                  <a:gd name="connsiteX22" fmla="*/ 248534 w 251825"/>
                  <a:gd name="connsiteY22" fmla="*/ 122895 h 124541"/>
                  <a:gd name="connsiteX23" fmla="*/ 251826 w 251825"/>
                  <a:gd name="connsiteY23" fmla="*/ 118506 h 124541"/>
                  <a:gd name="connsiteX24" fmla="*/ 249631 w 251825"/>
                  <a:gd name="connsiteY24" fmla="*/ 113568 h 124541"/>
                  <a:gd name="connsiteX25" fmla="*/ 240853 w 251825"/>
                  <a:gd name="connsiteY25" fmla="*/ 106436 h 124541"/>
                  <a:gd name="connsiteX26" fmla="*/ 238658 w 251825"/>
                  <a:gd name="connsiteY26" fmla="*/ 101498 h 124541"/>
                  <a:gd name="connsiteX27" fmla="*/ 234818 w 251825"/>
                  <a:gd name="connsiteY27" fmla="*/ 97658 h 124541"/>
                  <a:gd name="connsiteX28" fmla="*/ 235915 w 251825"/>
                  <a:gd name="connsiteY28" fmla="*/ 91623 h 124541"/>
                  <a:gd name="connsiteX29" fmla="*/ 244145 w 251825"/>
                  <a:gd name="connsiteY29" fmla="*/ 85039 h 124541"/>
                  <a:gd name="connsiteX30" fmla="*/ 235915 w 251825"/>
                  <a:gd name="connsiteY30" fmla="*/ 79004 h 124541"/>
                  <a:gd name="connsiteX31" fmla="*/ 225491 w 251825"/>
                  <a:gd name="connsiteY31" fmla="*/ 75712 h 124541"/>
                  <a:gd name="connsiteX32" fmla="*/ 216713 w 251825"/>
                  <a:gd name="connsiteY32" fmla="*/ 69129 h 124541"/>
                  <a:gd name="connsiteX33" fmla="*/ 219456 w 251825"/>
                  <a:gd name="connsiteY33" fmla="*/ 58704 h 124541"/>
                  <a:gd name="connsiteX34" fmla="*/ 217261 w 251825"/>
                  <a:gd name="connsiteY34" fmla="*/ 53218 h 124541"/>
                  <a:gd name="connsiteX35" fmla="*/ 212324 w 251825"/>
                  <a:gd name="connsiteY35" fmla="*/ 51023 h 124541"/>
                  <a:gd name="connsiteX36" fmla="*/ 206837 w 251825"/>
                  <a:gd name="connsiteY36" fmla="*/ 51023 h 124541"/>
                  <a:gd name="connsiteX37" fmla="*/ 201351 w 251825"/>
                  <a:gd name="connsiteY37" fmla="*/ 49378 h 124541"/>
                  <a:gd name="connsiteX38" fmla="*/ 198608 w 251825"/>
                  <a:gd name="connsiteY38" fmla="*/ 43891 h 124541"/>
                  <a:gd name="connsiteX39" fmla="*/ 187635 w 251825"/>
                  <a:gd name="connsiteY39" fmla="*/ 42245 h 124541"/>
                  <a:gd name="connsiteX40" fmla="*/ 182148 w 251825"/>
                  <a:gd name="connsiteY40" fmla="*/ 43891 h 124541"/>
                  <a:gd name="connsiteX41" fmla="*/ 178308 w 251825"/>
                  <a:gd name="connsiteY41" fmla="*/ 40051 h 124541"/>
                  <a:gd name="connsiteX42" fmla="*/ 172822 w 251825"/>
                  <a:gd name="connsiteY42" fmla="*/ 40599 h 124541"/>
                  <a:gd name="connsiteX43" fmla="*/ 152522 w 251825"/>
                  <a:gd name="connsiteY43" fmla="*/ 49378 h 124541"/>
                  <a:gd name="connsiteX44" fmla="*/ 147584 w 251825"/>
                  <a:gd name="connsiteY44" fmla="*/ 46634 h 124541"/>
                  <a:gd name="connsiteX45" fmla="*/ 145390 w 251825"/>
                  <a:gd name="connsiteY45" fmla="*/ 41697 h 124541"/>
                  <a:gd name="connsiteX46" fmla="*/ 112471 w 251825"/>
                  <a:gd name="connsiteY46" fmla="*/ 19202 h 124541"/>
                  <a:gd name="connsiteX47" fmla="*/ 100950 w 251825"/>
                  <a:gd name="connsiteY47" fmla="*/ 19202 h 124541"/>
                  <a:gd name="connsiteX48" fmla="*/ 89977 w 251825"/>
                  <a:gd name="connsiteY48" fmla="*/ 15910 h 124541"/>
                  <a:gd name="connsiteX49" fmla="*/ 67483 w 251825"/>
                  <a:gd name="connsiteY49" fmla="*/ 17008 h 124541"/>
                  <a:gd name="connsiteX50" fmla="*/ 41697 w 251825"/>
                  <a:gd name="connsiteY50" fmla="*/ 8230 h 124541"/>
                  <a:gd name="connsiteX51" fmla="*/ 37307 w 251825"/>
                  <a:gd name="connsiteY51" fmla="*/ 4389 h 124541"/>
                  <a:gd name="connsiteX52" fmla="*/ 26883 w 251825"/>
                  <a:gd name="connsiteY52" fmla="*/ 1097 h 124541"/>
                  <a:gd name="connsiteX53" fmla="*/ 21397 w 251825"/>
                  <a:gd name="connsiteY53" fmla="*/ 1646 h 124541"/>
                  <a:gd name="connsiteX54" fmla="*/ 15911 w 251825"/>
                  <a:gd name="connsiteY54" fmla="*/ 0 h 124541"/>
                  <a:gd name="connsiteX55" fmla="*/ 0 w 251825"/>
                  <a:gd name="connsiteY55" fmla="*/ 3840 h 124541"/>
                  <a:gd name="connsiteX56" fmla="*/ 14265 w 251825"/>
                  <a:gd name="connsiteY56" fmla="*/ 18654 h 124541"/>
                  <a:gd name="connsiteX57" fmla="*/ 37307 w 251825"/>
                  <a:gd name="connsiteY57" fmla="*/ 26335 h 124541"/>
                  <a:gd name="connsiteX58" fmla="*/ 52669 w 251825"/>
                  <a:gd name="connsiteY58" fmla="*/ 38953 h 124541"/>
                  <a:gd name="connsiteX59" fmla="*/ 57607 w 251825"/>
                  <a:gd name="connsiteY59" fmla="*/ 46086 h 124541"/>
                  <a:gd name="connsiteX60" fmla="*/ 62545 w 251825"/>
                  <a:gd name="connsiteY60" fmla="*/ 70226 h 124541"/>
                  <a:gd name="connsiteX61" fmla="*/ 68031 w 251825"/>
                  <a:gd name="connsiteY61" fmla="*/ 77358 h 124541"/>
                  <a:gd name="connsiteX62" fmla="*/ 66934 w 251825"/>
                  <a:gd name="connsiteY62" fmla="*/ 94366 h 124541"/>
                  <a:gd name="connsiteX63" fmla="*/ 63094 w 251825"/>
                  <a:gd name="connsiteY63" fmla="*/ 99304 h 124541"/>
                  <a:gd name="connsiteX64" fmla="*/ 59802 w 251825"/>
                  <a:gd name="connsiteY64" fmla="*/ 100950 h 124541"/>
                  <a:gd name="connsiteX65" fmla="*/ 59802 w 251825"/>
                  <a:gd name="connsiteY65" fmla="*/ 100950 h 1245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</a:cxnLst>
                <a:rect l="l" t="t" r="r" b="b"/>
                <a:pathLst>
                  <a:path w="251825" h="124541">
                    <a:moveTo>
                      <a:pt x="59802" y="100950"/>
                    </a:moveTo>
                    <a:lnTo>
                      <a:pt x="63642" y="105339"/>
                    </a:lnTo>
                    <a:lnTo>
                      <a:pt x="70226" y="105339"/>
                    </a:lnTo>
                    <a:lnTo>
                      <a:pt x="78455" y="102595"/>
                    </a:lnTo>
                    <a:lnTo>
                      <a:pt x="91623" y="106985"/>
                    </a:lnTo>
                    <a:lnTo>
                      <a:pt x="96012" y="106985"/>
                    </a:lnTo>
                    <a:lnTo>
                      <a:pt x="99304" y="101498"/>
                    </a:lnTo>
                    <a:lnTo>
                      <a:pt x="102596" y="99304"/>
                    </a:lnTo>
                    <a:lnTo>
                      <a:pt x="108082" y="101498"/>
                    </a:lnTo>
                    <a:lnTo>
                      <a:pt x="121249" y="116860"/>
                    </a:lnTo>
                    <a:lnTo>
                      <a:pt x="125090" y="117409"/>
                    </a:lnTo>
                    <a:lnTo>
                      <a:pt x="130576" y="124541"/>
                    </a:lnTo>
                    <a:lnTo>
                      <a:pt x="144841" y="123444"/>
                    </a:lnTo>
                    <a:lnTo>
                      <a:pt x="149230" y="120152"/>
                    </a:lnTo>
                    <a:lnTo>
                      <a:pt x="160751" y="119603"/>
                    </a:lnTo>
                    <a:lnTo>
                      <a:pt x="165141" y="116860"/>
                    </a:lnTo>
                    <a:lnTo>
                      <a:pt x="176662" y="119055"/>
                    </a:lnTo>
                    <a:lnTo>
                      <a:pt x="202448" y="106985"/>
                    </a:lnTo>
                    <a:lnTo>
                      <a:pt x="213421" y="109179"/>
                    </a:lnTo>
                    <a:lnTo>
                      <a:pt x="217261" y="113568"/>
                    </a:lnTo>
                    <a:lnTo>
                      <a:pt x="227137" y="118506"/>
                    </a:lnTo>
                    <a:lnTo>
                      <a:pt x="232623" y="117409"/>
                    </a:lnTo>
                    <a:lnTo>
                      <a:pt x="248534" y="122895"/>
                    </a:lnTo>
                    <a:lnTo>
                      <a:pt x="251826" y="118506"/>
                    </a:lnTo>
                    <a:lnTo>
                      <a:pt x="249631" y="113568"/>
                    </a:lnTo>
                    <a:lnTo>
                      <a:pt x="240853" y="106436"/>
                    </a:lnTo>
                    <a:lnTo>
                      <a:pt x="238658" y="101498"/>
                    </a:lnTo>
                    <a:lnTo>
                      <a:pt x="234818" y="97658"/>
                    </a:lnTo>
                    <a:lnTo>
                      <a:pt x="235915" y="91623"/>
                    </a:lnTo>
                    <a:lnTo>
                      <a:pt x="244145" y="85039"/>
                    </a:lnTo>
                    <a:lnTo>
                      <a:pt x="235915" y="79004"/>
                    </a:lnTo>
                    <a:lnTo>
                      <a:pt x="225491" y="75712"/>
                    </a:lnTo>
                    <a:lnTo>
                      <a:pt x="216713" y="69129"/>
                    </a:lnTo>
                    <a:lnTo>
                      <a:pt x="219456" y="58704"/>
                    </a:lnTo>
                    <a:lnTo>
                      <a:pt x="217261" y="53218"/>
                    </a:lnTo>
                    <a:lnTo>
                      <a:pt x="212324" y="51023"/>
                    </a:lnTo>
                    <a:lnTo>
                      <a:pt x="206837" y="51023"/>
                    </a:lnTo>
                    <a:lnTo>
                      <a:pt x="201351" y="49378"/>
                    </a:lnTo>
                    <a:lnTo>
                      <a:pt x="198608" y="43891"/>
                    </a:lnTo>
                    <a:lnTo>
                      <a:pt x="187635" y="42245"/>
                    </a:lnTo>
                    <a:lnTo>
                      <a:pt x="182148" y="43891"/>
                    </a:lnTo>
                    <a:lnTo>
                      <a:pt x="178308" y="40051"/>
                    </a:lnTo>
                    <a:lnTo>
                      <a:pt x="172822" y="40599"/>
                    </a:lnTo>
                    <a:lnTo>
                      <a:pt x="152522" y="49378"/>
                    </a:lnTo>
                    <a:lnTo>
                      <a:pt x="147584" y="46634"/>
                    </a:lnTo>
                    <a:lnTo>
                      <a:pt x="145390" y="41697"/>
                    </a:lnTo>
                    <a:lnTo>
                      <a:pt x="112471" y="19202"/>
                    </a:lnTo>
                    <a:lnTo>
                      <a:pt x="100950" y="19202"/>
                    </a:lnTo>
                    <a:lnTo>
                      <a:pt x="89977" y="15910"/>
                    </a:lnTo>
                    <a:lnTo>
                      <a:pt x="67483" y="17008"/>
                    </a:lnTo>
                    <a:lnTo>
                      <a:pt x="41697" y="8230"/>
                    </a:lnTo>
                    <a:lnTo>
                      <a:pt x="37307" y="4389"/>
                    </a:lnTo>
                    <a:lnTo>
                      <a:pt x="26883" y="1097"/>
                    </a:lnTo>
                    <a:lnTo>
                      <a:pt x="21397" y="1646"/>
                    </a:lnTo>
                    <a:lnTo>
                      <a:pt x="15911" y="0"/>
                    </a:lnTo>
                    <a:lnTo>
                      <a:pt x="0" y="3840"/>
                    </a:lnTo>
                    <a:lnTo>
                      <a:pt x="14265" y="18654"/>
                    </a:lnTo>
                    <a:lnTo>
                      <a:pt x="37307" y="26335"/>
                    </a:lnTo>
                    <a:lnTo>
                      <a:pt x="52669" y="38953"/>
                    </a:lnTo>
                    <a:lnTo>
                      <a:pt x="57607" y="46086"/>
                    </a:lnTo>
                    <a:lnTo>
                      <a:pt x="62545" y="70226"/>
                    </a:lnTo>
                    <a:lnTo>
                      <a:pt x="68031" y="77358"/>
                    </a:lnTo>
                    <a:lnTo>
                      <a:pt x="66934" y="94366"/>
                    </a:lnTo>
                    <a:lnTo>
                      <a:pt x="63094" y="99304"/>
                    </a:lnTo>
                    <a:lnTo>
                      <a:pt x="59802" y="100950"/>
                    </a:lnTo>
                    <a:lnTo>
                      <a:pt x="59802" y="100950"/>
                    </a:lnTo>
                  </a:path>
                </a:pathLst>
              </a:custGeom>
              <a:grpFill/>
              <a:ln w="127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4" name="Graphic 7">
                <a:extLst>
                  <a:ext uri="{FF2B5EF4-FFF2-40B4-BE49-F238E27FC236}">
                    <a16:creationId xmlns:a16="http://schemas.microsoft.com/office/drawing/2014/main" id="{EDCF5B52-E181-DE56-4E56-3CB2DCF353B0}"/>
                  </a:ext>
                </a:extLst>
              </p:cNvPr>
              <p:cNvSpPr/>
              <p:nvPr/>
            </p:nvSpPr>
            <p:spPr>
              <a:xfrm>
                <a:off x="6605160" y="3549778"/>
                <a:ext cx="51436" cy="51008"/>
              </a:xfrm>
              <a:custGeom>
                <a:avLst/>
                <a:gdLst>
                  <a:gd name="connsiteX0" fmla="*/ 65837 w 65836"/>
                  <a:gd name="connsiteY0" fmla="*/ 65288 h 65288"/>
                  <a:gd name="connsiteX1" fmla="*/ 64191 w 65836"/>
                  <a:gd name="connsiteY1" fmla="*/ 57059 h 65288"/>
                  <a:gd name="connsiteX2" fmla="*/ 61996 w 65836"/>
                  <a:gd name="connsiteY2" fmla="*/ 55413 h 65288"/>
                  <a:gd name="connsiteX3" fmla="*/ 55961 w 65836"/>
                  <a:gd name="connsiteY3" fmla="*/ 35662 h 65288"/>
                  <a:gd name="connsiteX4" fmla="*/ 49926 w 65836"/>
                  <a:gd name="connsiteY4" fmla="*/ 32370 h 65288"/>
                  <a:gd name="connsiteX5" fmla="*/ 42794 w 65836"/>
                  <a:gd name="connsiteY5" fmla="*/ 32370 h 65288"/>
                  <a:gd name="connsiteX6" fmla="*/ 44440 w 65836"/>
                  <a:gd name="connsiteY6" fmla="*/ 28529 h 65288"/>
                  <a:gd name="connsiteX7" fmla="*/ 46086 w 65836"/>
                  <a:gd name="connsiteY7" fmla="*/ 26883 h 65288"/>
                  <a:gd name="connsiteX8" fmla="*/ 58704 w 65836"/>
                  <a:gd name="connsiteY8" fmla="*/ 22494 h 65288"/>
                  <a:gd name="connsiteX9" fmla="*/ 63642 w 65836"/>
                  <a:gd name="connsiteY9" fmla="*/ 17557 h 65288"/>
                  <a:gd name="connsiteX10" fmla="*/ 63094 w 65836"/>
                  <a:gd name="connsiteY10" fmla="*/ 14813 h 65288"/>
                  <a:gd name="connsiteX11" fmla="*/ 61996 w 65836"/>
                  <a:gd name="connsiteY11" fmla="*/ 12619 h 65288"/>
                  <a:gd name="connsiteX12" fmla="*/ 54315 w 65836"/>
                  <a:gd name="connsiteY12" fmla="*/ 7132 h 65288"/>
                  <a:gd name="connsiteX13" fmla="*/ 53218 w 65836"/>
                  <a:gd name="connsiteY13" fmla="*/ 4389 h 65288"/>
                  <a:gd name="connsiteX14" fmla="*/ 53767 w 65836"/>
                  <a:gd name="connsiteY14" fmla="*/ 3292 h 65288"/>
                  <a:gd name="connsiteX15" fmla="*/ 36759 w 65836"/>
                  <a:gd name="connsiteY15" fmla="*/ 0 h 65288"/>
                  <a:gd name="connsiteX16" fmla="*/ 26335 w 65836"/>
                  <a:gd name="connsiteY16" fmla="*/ 4389 h 65288"/>
                  <a:gd name="connsiteX17" fmla="*/ 11521 w 65836"/>
                  <a:gd name="connsiteY17" fmla="*/ 29627 h 65288"/>
                  <a:gd name="connsiteX18" fmla="*/ 0 w 65836"/>
                  <a:gd name="connsiteY18" fmla="*/ 40599 h 65288"/>
                  <a:gd name="connsiteX19" fmla="*/ 3292 w 65836"/>
                  <a:gd name="connsiteY19" fmla="*/ 42794 h 65288"/>
                  <a:gd name="connsiteX20" fmla="*/ 31821 w 65836"/>
                  <a:gd name="connsiteY20" fmla="*/ 49926 h 65288"/>
                  <a:gd name="connsiteX21" fmla="*/ 36759 w 65836"/>
                  <a:gd name="connsiteY21" fmla="*/ 54315 h 65288"/>
                  <a:gd name="connsiteX22" fmla="*/ 42794 w 65836"/>
                  <a:gd name="connsiteY22" fmla="*/ 65288 h 65288"/>
                  <a:gd name="connsiteX23" fmla="*/ 65837 w 65836"/>
                  <a:gd name="connsiteY23" fmla="*/ 65288 h 652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65836" h="65288">
                    <a:moveTo>
                      <a:pt x="65837" y="65288"/>
                    </a:moveTo>
                    <a:lnTo>
                      <a:pt x="64191" y="57059"/>
                    </a:lnTo>
                    <a:lnTo>
                      <a:pt x="61996" y="55413"/>
                    </a:lnTo>
                    <a:lnTo>
                      <a:pt x="55961" y="35662"/>
                    </a:lnTo>
                    <a:lnTo>
                      <a:pt x="49926" y="32370"/>
                    </a:lnTo>
                    <a:lnTo>
                      <a:pt x="42794" y="32370"/>
                    </a:lnTo>
                    <a:lnTo>
                      <a:pt x="44440" y="28529"/>
                    </a:lnTo>
                    <a:lnTo>
                      <a:pt x="46086" y="26883"/>
                    </a:lnTo>
                    <a:lnTo>
                      <a:pt x="58704" y="22494"/>
                    </a:lnTo>
                    <a:lnTo>
                      <a:pt x="63642" y="17557"/>
                    </a:lnTo>
                    <a:lnTo>
                      <a:pt x="63094" y="14813"/>
                    </a:lnTo>
                    <a:lnTo>
                      <a:pt x="61996" y="12619"/>
                    </a:lnTo>
                    <a:lnTo>
                      <a:pt x="54315" y="7132"/>
                    </a:lnTo>
                    <a:lnTo>
                      <a:pt x="53218" y="4389"/>
                    </a:lnTo>
                    <a:lnTo>
                      <a:pt x="53767" y="3292"/>
                    </a:lnTo>
                    <a:lnTo>
                      <a:pt x="36759" y="0"/>
                    </a:lnTo>
                    <a:lnTo>
                      <a:pt x="26335" y="4389"/>
                    </a:lnTo>
                    <a:lnTo>
                      <a:pt x="11521" y="29627"/>
                    </a:lnTo>
                    <a:lnTo>
                      <a:pt x="0" y="40599"/>
                    </a:lnTo>
                    <a:lnTo>
                      <a:pt x="3292" y="42794"/>
                    </a:lnTo>
                    <a:lnTo>
                      <a:pt x="31821" y="49926"/>
                    </a:lnTo>
                    <a:lnTo>
                      <a:pt x="36759" y="54315"/>
                    </a:lnTo>
                    <a:lnTo>
                      <a:pt x="42794" y="65288"/>
                    </a:lnTo>
                    <a:lnTo>
                      <a:pt x="65837" y="65288"/>
                    </a:lnTo>
                  </a:path>
                </a:pathLst>
              </a:custGeom>
              <a:grpFill/>
              <a:ln w="127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5" name="Graphic 7">
                <a:extLst>
                  <a:ext uri="{FF2B5EF4-FFF2-40B4-BE49-F238E27FC236}">
                    <a16:creationId xmlns:a16="http://schemas.microsoft.com/office/drawing/2014/main" id="{B623FAB4-AE0F-C45B-8DAF-0105EF4F94A8}"/>
                  </a:ext>
                </a:extLst>
              </p:cNvPr>
              <p:cNvSpPr/>
              <p:nvPr/>
            </p:nvSpPr>
            <p:spPr>
              <a:xfrm>
                <a:off x="6262673" y="3437045"/>
                <a:ext cx="123449" cy="144023"/>
              </a:xfrm>
              <a:custGeom>
                <a:avLst/>
                <a:gdLst>
                  <a:gd name="connsiteX0" fmla="*/ 147036 w 158008"/>
                  <a:gd name="connsiteY0" fmla="*/ 64739 h 184342"/>
                  <a:gd name="connsiteX1" fmla="*/ 158008 w 158008"/>
                  <a:gd name="connsiteY1" fmla="*/ 51023 h 184342"/>
                  <a:gd name="connsiteX2" fmla="*/ 147036 w 158008"/>
                  <a:gd name="connsiteY2" fmla="*/ 0 h 184342"/>
                  <a:gd name="connsiteX3" fmla="*/ 64740 w 158008"/>
                  <a:gd name="connsiteY3" fmla="*/ 45537 h 184342"/>
                  <a:gd name="connsiteX4" fmla="*/ 59802 w 158008"/>
                  <a:gd name="connsiteY4" fmla="*/ 47183 h 184342"/>
                  <a:gd name="connsiteX5" fmla="*/ 51572 w 158008"/>
                  <a:gd name="connsiteY5" fmla="*/ 46086 h 184342"/>
                  <a:gd name="connsiteX6" fmla="*/ 36210 w 158008"/>
                  <a:gd name="connsiteY6" fmla="*/ 35113 h 184342"/>
                  <a:gd name="connsiteX7" fmla="*/ 32918 w 158008"/>
                  <a:gd name="connsiteY7" fmla="*/ 29078 h 184342"/>
                  <a:gd name="connsiteX8" fmla="*/ 29627 w 158008"/>
                  <a:gd name="connsiteY8" fmla="*/ 27981 h 184342"/>
                  <a:gd name="connsiteX9" fmla="*/ 21946 w 158008"/>
                  <a:gd name="connsiteY9" fmla="*/ 29627 h 184342"/>
                  <a:gd name="connsiteX10" fmla="*/ 21397 w 158008"/>
                  <a:gd name="connsiteY10" fmla="*/ 43343 h 184342"/>
                  <a:gd name="connsiteX11" fmla="*/ 21397 w 158008"/>
                  <a:gd name="connsiteY11" fmla="*/ 43343 h 184342"/>
                  <a:gd name="connsiteX12" fmla="*/ 19202 w 158008"/>
                  <a:gd name="connsiteY12" fmla="*/ 64191 h 184342"/>
                  <a:gd name="connsiteX13" fmla="*/ 20300 w 158008"/>
                  <a:gd name="connsiteY13" fmla="*/ 70775 h 184342"/>
                  <a:gd name="connsiteX14" fmla="*/ 18105 w 158008"/>
                  <a:gd name="connsiteY14" fmla="*/ 80101 h 184342"/>
                  <a:gd name="connsiteX15" fmla="*/ 16459 w 158008"/>
                  <a:gd name="connsiteY15" fmla="*/ 82296 h 184342"/>
                  <a:gd name="connsiteX16" fmla="*/ 17557 w 158008"/>
                  <a:gd name="connsiteY16" fmla="*/ 84491 h 184342"/>
                  <a:gd name="connsiteX17" fmla="*/ 15911 w 158008"/>
                  <a:gd name="connsiteY17" fmla="*/ 93817 h 184342"/>
                  <a:gd name="connsiteX18" fmla="*/ 17557 w 158008"/>
                  <a:gd name="connsiteY18" fmla="*/ 98755 h 184342"/>
                  <a:gd name="connsiteX19" fmla="*/ 0 w 158008"/>
                  <a:gd name="connsiteY19" fmla="*/ 172822 h 184342"/>
                  <a:gd name="connsiteX20" fmla="*/ 0 w 158008"/>
                  <a:gd name="connsiteY20" fmla="*/ 172822 h 184342"/>
                  <a:gd name="connsiteX21" fmla="*/ 1646 w 158008"/>
                  <a:gd name="connsiteY21" fmla="*/ 178857 h 184342"/>
                  <a:gd name="connsiteX22" fmla="*/ 43343 w 158008"/>
                  <a:gd name="connsiteY22" fmla="*/ 184343 h 184342"/>
                  <a:gd name="connsiteX23" fmla="*/ 54864 w 158008"/>
                  <a:gd name="connsiteY23" fmla="*/ 172273 h 184342"/>
                  <a:gd name="connsiteX24" fmla="*/ 65837 w 158008"/>
                  <a:gd name="connsiteY24" fmla="*/ 152522 h 184342"/>
                  <a:gd name="connsiteX25" fmla="*/ 94366 w 158008"/>
                  <a:gd name="connsiteY25" fmla="*/ 148133 h 184342"/>
                  <a:gd name="connsiteX26" fmla="*/ 99853 w 158008"/>
                  <a:gd name="connsiteY26" fmla="*/ 130576 h 184342"/>
                  <a:gd name="connsiteX27" fmla="*/ 115214 w 158008"/>
                  <a:gd name="connsiteY27" fmla="*/ 122347 h 184342"/>
                  <a:gd name="connsiteX28" fmla="*/ 115214 w 158008"/>
                  <a:gd name="connsiteY28" fmla="*/ 121249 h 184342"/>
                  <a:gd name="connsiteX29" fmla="*/ 74066 w 158008"/>
                  <a:gd name="connsiteY29" fmla="*/ 80101 h 184342"/>
                  <a:gd name="connsiteX30" fmla="*/ 147036 w 158008"/>
                  <a:gd name="connsiteY30" fmla="*/ 64739 h 1843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158008" h="184342">
                    <a:moveTo>
                      <a:pt x="147036" y="64739"/>
                    </a:moveTo>
                    <a:lnTo>
                      <a:pt x="158008" y="51023"/>
                    </a:lnTo>
                    <a:lnTo>
                      <a:pt x="147036" y="0"/>
                    </a:lnTo>
                    <a:lnTo>
                      <a:pt x="64740" y="45537"/>
                    </a:lnTo>
                    <a:lnTo>
                      <a:pt x="59802" y="47183"/>
                    </a:lnTo>
                    <a:lnTo>
                      <a:pt x="51572" y="46086"/>
                    </a:lnTo>
                    <a:lnTo>
                      <a:pt x="36210" y="35113"/>
                    </a:lnTo>
                    <a:lnTo>
                      <a:pt x="32918" y="29078"/>
                    </a:lnTo>
                    <a:lnTo>
                      <a:pt x="29627" y="27981"/>
                    </a:lnTo>
                    <a:lnTo>
                      <a:pt x="21946" y="29627"/>
                    </a:lnTo>
                    <a:lnTo>
                      <a:pt x="21397" y="43343"/>
                    </a:lnTo>
                    <a:lnTo>
                      <a:pt x="21397" y="43343"/>
                    </a:lnTo>
                    <a:lnTo>
                      <a:pt x="19202" y="64191"/>
                    </a:lnTo>
                    <a:lnTo>
                      <a:pt x="20300" y="70775"/>
                    </a:lnTo>
                    <a:lnTo>
                      <a:pt x="18105" y="80101"/>
                    </a:lnTo>
                    <a:lnTo>
                      <a:pt x="16459" y="82296"/>
                    </a:lnTo>
                    <a:lnTo>
                      <a:pt x="17557" y="84491"/>
                    </a:lnTo>
                    <a:lnTo>
                      <a:pt x="15911" y="93817"/>
                    </a:lnTo>
                    <a:lnTo>
                      <a:pt x="17557" y="98755"/>
                    </a:lnTo>
                    <a:lnTo>
                      <a:pt x="0" y="172822"/>
                    </a:lnTo>
                    <a:lnTo>
                      <a:pt x="0" y="172822"/>
                    </a:lnTo>
                    <a:lnTo>
                      <a:pt x="1646" y="178857"/>
                    </a:lnTo>
                    <a:lnTo>
                      <a:pt x="43343" y="184343"/>
                    </a:lnTo>
                    <a:lnTo>
                      <a:pt x="54864" y="172273"/>
                    </a:lnTo>
                    <a:lnTo>
                      <a:pt x="65837" y="152522"/>
                    </a:lnTo>
                    <a:lnTo>
                      <a:pt x="94366" y="148133"/>
                    </a:lnTo>
                    <a:lnTo>
                      <a:pt x="99853" y="130576"/>
                    </a:lnTo>
                    <a:lnTo>
                      <a:pt x="115214" y="122347"/>
                    </a:lnTo>
                    <a:lnTo>
                      <a:pt x="115214" y="121249"/>
                    </a:lnTo>
                    <a:lnTo>
                      <a:pt x="74066" y="80101"/>
                    </a:lnTo>
                    <a:lnTo>
                      <a:pt x="147036" y="64739"/>
                    </a:lnTo>
                  </a:path>
                </a:pathLst>
              </a:custGeom>
              <a:grpFill/>
              <a:ln w="127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6" name="Graphic 7">
                <a:extLst>
                  <a:ext uri="{FF2B5EF4-FFF2-40B4-BE49-F238E27FC236}">
                    <a16:creationId xmlns:a16="http://schemas.microsoft.com/office/drawing/2014/main" id="{2C183311-B918-5052-B7BC-078522500A82}"/>
                  </a:ext>
                </a:extLst>
              </p:cNvPr>
              <p:cNvSpPr/>
              <p:nvPr/>
            </p:nvSpPr>
            <p:spPr>
              <a:xfrm>
                <a:off x="6279391" y="3470907"/>
                <a:ext cx="4286" cy="4286"/>
              </a:xfrm>
              <a:custGeom>
                <a:avLst/>
                <a:gdLst>
                  <a:gd name="connsiteX0" fmla="*/ 0 w 5486"/>
                  <a:gd name="connsiteY0" fmla="*/ 0 h 5486"/>
                  <a:gd name="connsiteX1" fmla="*/ 0 w 5486"/>
                  <a:gd name="connsiteY1" fmla="*/ 0 h 5486"/>
                  <a:gd name="connsiteX2" fmla="*/ 0 w 5486"/>
                  <a:gd name="connsiteY2" fmla="*/ 0 h 5486"/>
                  <a:gd name="connsiteX3" fmla="*/ 0 w 5486"/>
                  <a:gd name="connsiteY3" fmla="*/ 0 h 54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486" h="5486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grpFill/>
              <a:ln w="127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7" name="Graphic 7">
                <a:extLst>
                  <a:ext uri="{FF2B5EF4-FFF2-40B4-BE49-F238E27FC236}">
                    <a16:creationId xmlns:a16="http://schemas.microsoft.com/office/drawing/2014/main" id="{2FE13DF0-B143-818F-9A0C-14F268F9D0A4}"/>
                  </a:ext>
                </a:extLst>
              </p:cNvPr>
              <p:cNvSpPr/>
              <p:nvPr/>
            </p:nvSpPr>
            <p:spPr>
              <a:xfrm>
                <a:off x="6239099" y="3439616"/>
                <a:ext cx="43292" cy="134594"/>
              </a:xfrm>
              <a:custGeom>
                <a:avLst/>
                <a:gdLst>
                  <a:gd name="connsiteX0" fmla="*/ 30175 w 55412"/>
                  <a:gd name="connsiteY0" fmla="*/ 169530 h 172273"/>
                  <a:gd name="connsiteX1" fmla="*/ 41148 w 55412"/>
                  <a:gd name="connsiteY1" fmla="*/ 108082 h 172273"/>
                  <a:gd name="connsiteX2" fmla="*/ 47732 w 55412"/>
                  <a:gd name="connsiteY2" fmla="*/ 95463 h 172273"/>
                  <a:gd name="connsiteX3" fmla="*/ 46086 w 55412"/>
                  <a:gd name="connsiteY3" fmla="*/ 90526 h 172273"/>
                  <a:gd name="connsiteX4" fmla="*/ 47732 w 55412"/>
                  <a:gd name="connsiteY4" fmla="*/ 81199 h 172273"/>
                  <a:gd name="connsiteX5" fmla="*/ 46634 w 55412"/>
                  <a:gd name="connsiteY5" fmla="*/ 79004 h 172273"/>
                  <a:gd name="connsiteX6" fmla="*/ 44440 w 55412"/>
                  <a:gd name="connsiteY6" fmla="*/ 79004 h 172273"/>
                  <a:gd name="connsiteX7" fmla="*/ 37308 w 55412"/>
                  <a:gd name="connsiteY7" fmla="*/ 84491 h 172273"/>
                  <a:gd name="connsiteX8" fmla="*/ 29627 w 55412"/>
                  <a:gd name="connsiteY8" fmla="*/ 85588 h 172273"/>
                  <a:gd name="connsiteX9" fmla="*/ 28529 w 55412"/>
                  <a:gd name="connsiteY9" fmla="*/ 87782 h 172273"/>
                  <a:gd name="connsiteX10" fmla="*/ 26335 w 55412"/>
                  <a:gd name="connsiteY10" fmla="*/ 84491 h 172273"/>
                  <a:gd name="connsiteX11" fmla="*/ 26883 w 55412"/>
                  <a:gd name="connsiteY11" fmla="*/ 80650 h 172273"/>
                  <a:gd name="connsiteX12" fmla="*/ 29078 w 55412"/>
                  <a:gd name="connsiteY12" fmla="*/ 77907 h 172273"/>
                  <a:gd name="connsiteX13" fmla="*/ 31273 w 55412"/>
                  <a:gd name="connsiteY13" fmla="*/ 69677 h 172273"/>
                  <a:gd name="connsiteX14" fmla="*/ 34564 w 55412"/>
                  <a:gd name="connsiteY14" fmla="*/ 68031 h 172273"/>
                  <a:gd name="connsiteX15" fmla="*/ 38405 w 55412"/>
                  <a:gd name="connsiteY15" fmla="*/ 67483 h 172273"/>
                  <a:gd name="connsiteX16" fmla="*/ 39502 w 55412"/>
                  <a:gd name="connsiteY16" fmla="*/ 66386 h 172273"/>
                  <a:gd name="connsiteX17" fmla="*/ 38953 w 55412"/>
                  <a:gd name="connsiteY17" fmla="*/ 64740 h 172273"/>
                  <a:gd name="connsiteX18" fmla="*/ 36759 w 55412"/>
                  <a:gd name="connsiteY18" fmla="*/ 63642 h 172273"/>
                  <a:gd name="connsiteX19" fmla="*/ 29627 w 55412"/>
                  <a:gd name="connsiteY19" fmla="*/ 64191 h 172273"/>
                  <a:gd name="connsiteX20" fmla="*/ 30724 w 55412"/>
                  <a:gd name="connsiteY20" fmla="*/ 60350 h 172273"/>
                  <a:gd name="connsiteX21" fmla="*/ 29078 w 55412"/>
                  <a:gd name="connsiteY21" fmla="*/ 57059 h 172273"/>
                  <a:gd name="connsiteX22" fmla="*/ 29078 w 55412"/>
                  <a:gd name="connsiteY22" fmla="*/ 47183 h 172273"/>
                  <a:gd name="connsiteX23" fmla="*/ 32918 w 55412"/>
                  <a:gd name="connsiteY23" fmla="*/ 42794 h 172273"/>
                  <a:gd name="connsiteX24" fmla="*/ 33467 w 55412"/>
                  <a:gd name="connsiteY24" fmla="*/ 36210 h 172273"/>
                  <a:gd name="connsiteX25" fmla="*/ 35113 w 55412"/>
                  <a:gd name="connsiteY25" fmla="*/ 34565 h 172273"/>
                  <a:gd name="connsiteX26" fmla="*/ 37308 w 55412"/>
                  <a:gd name="connsiteY26" fmla="*/ 33467 h 172273"/>
                  <a:gd name="connsiteX27" fmla="*/ 42245 w 55412"/>
                  <a:gd name="connsiteY27" fmla="*/ 34565 h 172273"/>
                  <a:gd name="connsiteX28" fmla="*/ 46086 w 55412"/>
                  <a:gd name="connsiteY28" fmla="*/ 34016 h 172273"/>
                  <a:gd name="connsiteX29" fmla="*/ 46634 w 55412"/>
                  <a:gd name="connsiteY29" fmla="*/ 37856 h 172273"/>
                  <a:gd name="connsiteX30" fmla="*/ 49378 w 55412"/>
                  <a:gd name="connsiteY30" fmla="*/ 40051 h 172273"/>
                  <a:gd name="connsiteX31" fmla="*/ 51572 w 55412"/>
                  <a:gd name="connsiteY31" fmla="*/ 40051 h 172273"/>
                  <a:gd name="connsiteX32" fmla="*/ 52121 w 55412"/>
                  <a:gd name="connsiteY32" fmla="*/ 26335 h 172273"/>
                  <a:gd name="connsiteX33" fmla="*/ 55413 w 55412"/>
                  <a:gd name="connsiteY33" fmla="*/ 21946 h 172273"/>
                  <a:gd name="connsiteX34" fmla="*/ 53767 w 55412"/>
                  <a:gd name="connsiteY34" fmla="*/ 18105 h 172273"/>
                  <a:gd name="connsiteX35" fmla="*/ 54315 w 55412"/>
                  <a:gd name="connsiteY35" fmla="*/ 14265 h 172273"/>
                  <a:gd name="connsiteX36" fmla="*/ 53218 w 55412"/>
                  <a:gd name="connsiteY36" fmla="*/ 11522 h 172273"/>
                  <a:gd name="connsiteX37" fmla="*/ 54864 w 55412"/>
                  <a:gd name="connsiteY37" fmla="*/ 8778 h 172273"/>
                  <a:gd name="connsiteX38" fmla="*/ 54864 w 55412"/>
                  <a:gd name="connsiteY38" fmla="*/ 549 h 172273"/>
                  <a:gd name="connsiteX39" fmla="*/ 53767 w 55412"/>
                  <a:gd name="connsiteY39" fmla="*/ 0 h 172273"/>
                  <a:gd name="connsiteX40" fmla="*/ 51572 w 55412"/>
                  <a:gd name="connsiteY40" fmla="*/ 1097 h 172273"/>
                  <a:gd name="connsiteX41" fmla="*/ 51024 w 55412"/>
                  <a:gd name="connsiteY41" fmla="*/ 10424 h 172273"/>
                  <a:gd name="connsiteX42" fmla="*/ 47732 w 55412"/>
                  <a:gd name="connsiteY42" fmla="*/ 9876 h 172273"/>
                  <a:gd name="connsiteX43" fmla="*/ 45537 w 55412"/>
                  <a:gd name="connsiteY43" fmla="*/ 11522 h 172273"/>
                  <a:gd name="connsiteX44" fmla="*/ 44440 w 55412"/>
                  <a:gd name="connsiteY44" fmla="*/ 11522 h 172273"/>
                  <a:gd name="connsiteX45" fmla="*/ 42245 w 55412"/>
                  <a:gd name="connsiteY45" fmla="*/ 9327 h 172273"/>
                  <a:gd name="connsiteX46" fmla="*/ 35113 w 55412"/>
                  <a:gd name="connsiteY46" fmla="*/ 9876 h 172273"/>
                  <a:gd name="connsiteX47" fmla="*/ 32918 w 55412"/>
                  <a:gd name="connsiteY47" fmla="*/ 8230 h 172273"/>
                  <a:gd name="connsiteX48" fmla="*/ 14813 w 55412"/>
                  <a:gd name="connsiteY48" fmla="*/ 70775 h 172273"/>
                  <a:gd name="connsiteX49" fmla="*/ 8778 w 55412"/>
                  <a:gd name="connsiteY49" fmla="*/ 77358 h 172273"/>
                  <a:gd name="connsiteX50" fmla="*/ 11521 w 55412"/>
                  <a:gd name="connsiteY50" fmla="*/ 80650 h 172273"/>
                  <a:gd name="connsiteX51" fmla="*/ 4389 w 55412"/>
                  <a:gd name="connsiteY51" fmla="*/ 88331 h 172273"/>
                  <a:gd name="connsiteX52" fmla="*/ 4389 w 55412"/>
                  <a:gd name="connsiteY52" fmla="*/ 91623 h 172273"/>
                  <a:gd name="connsiteX53" fmla="*/ 0 w 55412"/>
                  <a:gd name="connsiteY53" fmla="*/ 93818 h 172273"/>
                  <a:gd name="connsiteX54" fmla="*/ 26883 w 55412"/>
                  <a:gd name="connsiteY54" fmla="*/ 172273 h 172273"/>
                  <a:gd name="connsiteX55" fmla="*/ 30175 w 55412"/>
                  <a:gd name="connsiteY55" fmla="*/ 169530 h 1722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</a:cxnLst>
                <a:rect l="l" t="t" r="r" b="b"/>
                <a:pathLst>
                  <a:path w="55412" h="172273">
                    <a:moveTo>
                      <a:pt x="30175" y="169530"/>
                    </a:moveTo>
                    <a:lnTo>
                      <a:pt x="41148" y="108082"/>
                    </a:lnTo>
                    <a:lnTo>
                      <a:pt x="47732" y="95463"/>
                    </a:lnTo>
                    <a:lnTo>
                      <a:pt x="46086" y="90526"/>
                    </a:lnTo>
                    <a:lnTo>
                      <a:pt x="47732" y="81199"/>
                    </a:lnTo>
                    <a:lnTo>
                      <a:pt x="46634" y="79004"/>
                    </a:lnTo>
                    <a:lnTo>
                      <a:pt x="44440" y="79004"/>
                    </a:lnTo>
                    <a:lnTo>
                      <a:pt x="37308" y="84491"/>
                    </a:lnTo>
                    <a:lnTo>
                      <a:pt x="29627" y="85588"/>
                    </a:lnTo>
                    <a:lnTo>
                      <a:pt x="28529" y="87782"/>
                    </a:lnTo>
                    <a:lnTo>
                      <a:pt x="26335" y="84491"/>
                    </a:lnTo>
                    <a:lnTo>
                      <a:pt x="26883" y="80650"/>
                    </a:lnTo>
                    <a:lnTo>
                      <a:pt x="29078" y="77907"/>
                    </a:lnTo>
                    <a:lnTo>
                      <a:pt x="31273" y="69677"/>
                    </a:lnTo>
                    <a:lnTo>
                      <a:pt x="34564" y="68031"/>
                    </a:lnTo>
                    <a:lnTo>
                      <a:pt x="38405" y="67483"/>
                    </a:lnTo>
                    <a:lnTo>
                      <a:pt x="39502" y="66386"/>
                    </a:lnTo>
                    <a:lnTo>
                      <a:pt x="38953" y="64740"/>
                    </a:lnTo>
                    <a:lnTo>
                      <a:pt x="36759" y="63642"/>
                    </a:lnTo>
                    <a:lnTo>
                      <a:pt x="29627" y="64191"/>
                    </a:lnTo>
                    <a:lnTo>
                      <a:pt x="30724" y="60350"/>
                    </a:lnTo>
                    <a:lnTo>
                      <a:pt x="29078" y="57059"/>
                    </a:lnTo>
                    <a:lnTo>
                      <a:pt x="29078" y="47183"/>
                    </a:lnTo>
                    <a:lnTo>
                      <a:pt x="32918" y="42794"/>
                    </a:lnTo>
                    <a:lnTo>
                      <a:pt x="33467" y="36210"/>
                    </a:lnTo>
                    <a:lnTo>
                      <a:pt x="35113" y="34565"/>
                    </a:lnTo>
                    <a:lnTo>
                      <a:pt x="37308" y="33467"/>
                    </a:lnTo>
                    <a:lnTo>
                      <a:pt x="42245" y="34565"/>
                    </a:lnTo>
                    <a:lnTo>
                      <a:pt x="46086" y="34016"/>
                    </a:lnTo>
                    <a:lnTo>
                      <a:pt x="46634" y="37856"/>
                    </a:lnTo>
                    <a:lnTo>
                      <a:pt x="49378" y="40051"/>
                    </a:lnTo>
                    <a:lnTo>
                      <a:pt x="51572" y="40051"/>
                    </a:lnTo>
                    <a:lnTo>
                      <a:pt x="52121" y="26335"/>
                    </a:lnTo>
                    <a:lnTo>
                      <a:pt x="55413" y="21946"/>
                    </a:lnTo>
                    <a:lnTo>
                      <a:pt x="53767" y="18105"/>
                    </a:lnTo>
                    <a:lnTo>
                      <a:pt x="54315" y="14265"/>
                    </a:lnTo>
                    <a:lnTo>
                      <a:pt x="53218" y="11522"/>
                    </a:lnTo>
                    <a:lnTo>
                      <a:pt x="54864" y="8778"/>
                    </a:lnTo>
                    <a:lnTo>
                      <a:pt x="54864" y="549"/>
                    </a:lnTo>
                    <a:lnTo>
                      <a:pt x="53767" y="0"/>
                    </a:lnTo>
                    <a:lnTo>
                      <a:pt x="51572" y="1097"/>
                    </a:lnTo>
                    <a:lnTo>
                      <a:pt x="51024" y="10424"/>
                    </a:lnTo>
                    <a:lnTo>
                      <a:pt x="47732" y="9876"/>
                    </a:lnTo>
                    <a:lnTo>
                      <a:pt x="45537" y="11522"/>
                    </a:lnTo>
                    <a:lnTo>
                      <a:pt x="44440" y="11522"/>
                    </a:lnTo>
                    <a:lnTo>
                      <a:pt x="42245" y="9327"/>
                    </a:lnTo>
                    <a:lnTo>
                      <a:pt x="35113" y="9876"/>
                    </a:lnTo>
                    <a:lnTo>
                      <a:pt x="32918" y="8230"/>
                    </a:lnTo>
                    <a:lnTo>
                      <a:pt x="14813" y="70775"/>
                    </a:lnTo>
                    <a:lnTo>
                      <a:pt x="8778" y="77358"/>
                    </a:lnTo>
                    <a:lnTo>
                      <a:pt x="11521" y="80650"/>
                    </a:lnTo>
                    <a:lnTo>
                      <a:pt x="4389" y="88331"/>
                    </a:lnTo>
                    <a:lnTo>
                      <a:pt x="4389" y="91623"/>
                    </a:lnTo>
                    <a:lnTo>
                      <a:pt x="0" y="93818"/>
                    </a:lnTo>
                    <a:lnTo>
                      <a:pt x="26883" y="172273"/>
                    </a:lnTo>
                    <a:lnTo>
                      <a:pt x="30175" y="169530"/>
                    </a:lnTo>
                  </a:path>
                </a:pathLst>
              </a:custGeom>
              <a:grpFill/>
              <a:ln w="127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8" name="Graphic 7">
                <a:extLst>
                  <a:ext uri="{FF2B5EF4-FFF2-40B4-BE49-F238E27FC236}">
                    <a16:creationId xmlns:a16="http://schemas.microsoft.com/office/drawing/2014/main" id="{C6D928C8-CBA8-4329-6CB2-A8E7C529C54A}"/>
                  </a:ext>
                </a:extLst>
              </p:cNvPr>
              <p:cNvSpPr/>
              <p:nvPr/>
            </p:nvSpPr>
            <p:spPr>
              <a:xfrm>
                <a:off x="6377549" y="3288306"/>
                <a:ext cx="285904" cy="293191"/>
              </a:xfrm>
              <a:custGeom>
                <a:avLst/>
                <a:gdLst>
                  <a:gd name="connsiteX0" fmla="*/ 365943 w 365942"/>
                  <a:gd name="connsiteY0" fmla="*/ 335219 h 375269"/>
                  <a:gd name="connsiteX1" fmla="*/ 361005 w 365942"/>
                  <a:gd name="connsiteY1" fmla="*/ 342352 h 375269"/>
                  <a:gd name="connsiteX2" fmla="*/ 348386 w 365942"/>
                  <a:gd name="connsiteY2" fmla="*/ 335768 h 375269"/>
                  <a:gd name="connsiteX3" fmla="*/ 347289 w 365942"/>
                  <a:gd name="connsiteY3" fmla="*/ 336316 h 375269"/>
                  <a:gd name="connsiteX4" fmla="*/ 345095 w 365942"/>
                  <a:gd name="connsiteY4" fmla="*/ 338511 h 375269"/>
                  <a:gd name="connsiteX5" fmla="*/ 328087 w 365942"/>
                  <a:gd name="connsiteY5" fmla="*/ 334670 h 375269"/>
                  <a:gd name="connsiteX6" fmla="*/ 317663 w 365942"/>
                  <a:gd name="connsiteY6" fmla="*/ 339059 h 375269"/>
                  <a:gd name="connsiteX7" fmla="*/ 302849 w 365942"/>
                  <a:gd name="connsiteY7" fmla="*/ 364297 h 375269"/>
                  <a:gd name="connsiteX8" fmla="*/ 291328 w 365942"/>
                  <a:gd name="connsiteY8" fmla="*/ 375270 h 375269"/>
                  <a:gd name="connsiteX9" fmla="*/ 224394 w 365942"/>
                  <a:gd name="connsiteY9" fmla="*/ 371429 h 375269"/>
                  <a:gd name="connsiteX10" fmla="*/ 181600 w 365942"/>
                  <a:gd name="connsiteY10" fmla="*/ 352227 h 375269"/>
                  <a:gd name="connsiteX11" fmla="*/ 179954 w 365942"/>
                  <a:gd name="connsiteY11" fmla="*/ 350032 h 375269"/>
                  <a:gd name="connsiteX12" fmla="*/ 179954 w 365942"/>
                  <a:gd name="connsiteY12" fmla="*/ 323149 h 375269"/>
                  <a:gd name="connsiteX13" fmla="*/ 178308 w 365942"/>
                  <a:gd name="connsiteY13" fmla="*/ 321503 h 375269"/>
                  <a:gd name="connsiteX14" fmla="*/ 158557 w 365942"/>
                  <a:gd name="connsiteY14" fmla="*/ 319857 h 375269"/>
                  <a:gd name="connsiteX15" fmla="*/ 153071 w 365942"/>
                  <a:gd name="connsiteY15" fmla="*/ 306690 h 375269"/>
                  <a:gd name="connsiteX16" fmla="*/ 10973 w 365942"/>
                  <a:gd name="connsiteY16" fmla="*/ 241402 h 375269"/>
                  <a:gd name="connsiteX17" fmla="*/ 10973 w 365942"/>
                  <a:gd name="connsiteY17" fmla="*/ 241402 h 375269"/>
                  <a:gd name="connsiteX18" fmla="*/ 0 w 365942"/>
                  <a:gd name="connsiteY18" fmla="*/ 190378 h 375269"/>
                  <a:gd name="connsiteX19" fmla="*/ 83942 w 365942"/>
                  <a:gd name="connsiteY19" fmla="*/ 139903 h 375269"/>
                  <a:gd name="connsiteX20" fmla="*/ 90526 w 365942"/>
                  <a:gd name="connsiteY20" fmla="*/ 122347 h 375269"/>
                  <a:gd name="connsiteX21" fmla="*/ 95463 w 365942"/>
                  <a:gd name="connsiteY21" fmla="*/ 49378 h 375269"/>
                  <a:gd name="connsiteX22" fmla="*/ 116860 w 365942"/>
                  <a:gd name="connsiteY22" fmla="*/ 41697 h 375269"/>
                  <a:gd name="connsiteX23" fmla="*/ 128930 w 365942"/>
                  <a:gd name="connsiteY23" fmla="*/ 21397 h 375269"/>
                  <a:gd name="connsiteX24" fmla="*/ 156362 w 365942"/>
                  <a:gd name="connsiteY24" fmla="*/ 0 h 375269"/>
                  <a:gd name="connsiteX25" fmla="*/ 171176 w 365942"/>
                  <a:gd name="connsiteY25" fmla="*/ 5486 h 375269"/>
                  <a:gd name="connsiteX26" fmla="*/ 203545 w 365942"/>
                  <a:gd name="connsiteY26" fmla="*/ 5486 h 375269"/>
                  <a:gd name="connsiteX27" fmla="*/ 209580 w 365942"/>
                  <a:gd name="connsiteY27" fmla="*/ 13716 h 375269"/>
                  <a:gd name="connsiteX28" fmla="*/ 220005 w 365942"/>
                  <a:gd name="connsiteY28" fmla="*/ 14813 h 375269"/>
                  <a:gd name="connsiteX29" fmla="*/ 225491 w 365942"/>
                  <a:gd name="connsiteY29" fmla="*/ 9327 h 375269"/>
                  <a:gd name="connsiteX30" fmla="*/ 228783 w 365942"/>
                  <a:gd name="connsiteY30" fmla="*/ 31821 h 375269"/>
                  <a:gd name="connsiteX31" fmla="*/ 235367 w 365942"/>
                  <a:gd name="connsiteY31" fmla="*/ 43891 h 375269"/>
                  <a:gd name="connsiteX32" fmla="*/ 243596 w 365942"/>
                  <a:gd name="connsiteY32" fmla="*/ 49926 h 375269"/>
                  <a:gd name="connsiteX33" fmla="*/ 248534 w 365942"/>
                  <a:gd name="connsiteY33" fmla="*/ 65288 h 375269"/>
                  <a:gd name="connsiteX34" fmla="*/ 255118 w 365942"/>
                  <a:gd name="connsiteY34" fmla="*/ 72969 h 375269"/>
                  <a:gd name="connsiteX35" fmla="*/ 280904 w 365942"/>
                  <a:gd name="connsiteY35" fmla="*/ 76810 h 375269"/>
                  <a:gd name="connsiteX36" fmla="*/ 276515 w 365942"/>
                  <a:gd name="connsiteY36" fmla="*/ 81747 h 375269"/>
                  <a:gd name="connsiteX37" fmla="*/ 272674 w 365942"/>
                  <a:gd name="connsiteY37" fmla="*/ 91074 h 375269"/>
                  <a:gd name="connsiteX38" fmla="*/ 275966 w 365942"/>
                  <a:gd name="connsiteY38" fmla="*/ 104242 h 375269"/>
                  <a:gd name="connsiteX39" fmla="*/ 260604 w 365942"/>
                  <a:gd name="connsiteY39" fmla="*/ 125639 h 375269"/>
                  <a:gd name="connsiteX40" fmla="*/ 261153 w 365942"/>
                  <a:gd name="connsiteY40" fmla="*/ 131125 h 375269"/>
                  <a:gd name="connsiteX41" fmla="*/ 255118 w 365942"/>
                  <a:gd name="connsiteY41" fmla="*/ 133319 h 375269"/>
                  <a:gd name="connsiteX42" fmla="*/ 252923 w 365942"/>
                  <a:gd name="connsiteY42" fmla="*/ 137709 h 375269"/>
                  <a:gd name="connsiteX43" fmla="*/ 250180 w 365942"/>
                  <a:gd name="connsiteY43" fmla="*/ 155814 h 375269"/>
                  <a:gd name="connsiteX44" fmla="*/ 247985 w 365942"/>
                  <a:gd name="connsiteY44" fmla="*/ 159654 h 375269"/>
                  <a:gd name="connsiteX45" fmla="*/ 245791 w 365942"/>
                  <a:gd name="connsiteY45" fmla="*/ 160751 h 375269"/>
                  <a:gd name="connsiteX46" fmla="*/ 246888 w 365942"/>
                  <a:gd name="connsiteY46" fmla="*/ 171176 h 375269"/>
                  <a:gd name="connsiteX47" fmla="*/ 251277 w 365942"/>
                  <a:gd name="connsiteY47" fmla="*/ 175016 h 375269"/>
                  <a:gd name="connsiteX48" fmla="*/ 257312 w 365942"/>
                  <a:gd name="connsiteY48" fmla="*/ 174467 h 375269"/>
                  <a:gd name="connsiteX49" fmla="*/ 260055 w 365942"/>
                  <a:gd name="connsiteY49" fmla="*/ 180503 h 375269"/>
                  <a:gd name="connsiteX50" fmla="*/ 264444 w 365942"/>
                  <a:gd name="connsiteY50" fmla="*/ 184343 h 375269"/>
                  <a:gd name="connsiteX51" fmla="*/ 268834 w 365942"/>
                  <a:gd name="connsiteY51" fmla="*/ 193121 h 375269"/>
                  <a:gd name="connsiteX52" fmla="*/ 269382 w 365942"/>
                  <a:gd name="connsiteY52" fmla="*/ 201351 h 375269"/>
                  <a:gd name="connsiteX53" fmla="*/ 303398 w 365942"/>
                  <a:gd name="connsiteY53" fmla="*/ 223845 h 375269"/>
                  <a:gd name="connsiteX54" fmla="*/ 312725 w 365942"/>
                  <a:gd name="connsiteY54" fmla="*/ 226040 h 375269"/>
                  <a:gd name="connsiteX55" fmla="*/ 333024 w 365942"/>
                  <a:gd name="connsiteY55" fmla="*/ 261153 h 375269"/>
                  <a:gd name="connsiteX56" fmla="*/ 329733 w 365942"/>
                  <a:gd name="connsiteY56" fmla="*/ 293522 h 375269"/>
                  <a:gd name="connsiteX57" fmla="*/ 339059 w 365942"/>
                  <a:gd name="connsiteY57" fmla="*/ 298460 h 375269"/>
                  <a:gd name="connsiteX58" fmla="*/ 341254 w 365942"/>
                  <a:gd name="connsiteY58" fmla="*/ 312176 h 375269"/>
                  <a:gd name="connsiteX59" fmla="*/ 365943 w 365942"/>
                  <a:gd name="connsiteY59" fmla="*/ 335219 h 3752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</a:cxnLst>
                <a:rect l="l" t="t" r="r" b="b"/>
                <a:pathLst>
                  <a:path w="365942" h="375269">
                    <a:moveTo>
                      <a:pt x="365943" y="335219"/>
                    </a:moveTo>
                    <a:lnTo>
                      <a:pt x="361005" y="342352"/>
                    </a:lnTo>
                    <a:lnTo>
                      <a:pt x="348386" y="335768"/>
                    </a:lnTo>
                    <a:lnTo>
                      <a:pt x="347289" y="336316"/>
                    </a:lnTo>
                    <a:lnTo>
                      <a:pt x="345095" y="338511"/>
                    </a:lnTo>
                    <a:lnTo>
                      <a:pt x="328087" y="334670"/>
                    </a:lnTo>
                    <a:lnTo>
                      <a:pt x="317663" y="339059"/>
                    </a:lnTo>
                    <a:lnTo>
                      <a:pt x="302849" y="364297"/>
                    </a:lnTo>
                    <a:lnTo>
                      <a:pt x="291328" y="375270"/>
                    </a:lnTo>
                    <a:lnTo>
                      <a:pt x="224394" y="371429"/>
                    </a:lnTo>
                    <a:lnTo>
                      <a:pt x="181600" y="352227"/>
                    </a:lnTo>
                    <a:lnTo>
                      <a:pt x="179954" y="350032"/>
                    </a:lnTo>
                    <a:lnTo>
                      <a:pt x="179954" y="323149"/>
                    </a:lnTo>
                    <a:lnTo>
                      <a:pt x="178308" y="321503"/>
                    </a:lnTo>
                    <a:lnTo>
                      <a:pt x="158557" y="319857"/>
                    </a:lnTo>
                    <a:lnTo>
                      <a:pt x="153071" y="306690"/>
                    </a:lnTo>
                    <a:lnTo>
                      <a:pt x="10973" y="241402"/>
                    </a:lnTo>
                    <a:lnTo>
                      <a:pt x="10973" y="241402"/>
                    </a:lnTo>
                    <a:lnTo>
                      <a:pt x="0" y="190378"/>
                    </a:lnTo>
                    <a:lnTo>
                      <a:pt x="83942" y="139903"/>
                    </a:lnTo>
                    <a:lnTo>
                      <a:pt x="90526" y="122347"/>
                    </a:lnTo>
                    <a:lnTo>
                      <a:pt x="95463" y="49378"/>
                    </a:lnTo>
                    <a:lnTo>
                      <a:pt x="116860" y="41697"/>
                    </a:lnTo>
                    <a:lnTo>
                      <a:pt x="128930" y="21397"/>
                    </a:lnTo>
                    <a:lnTo>
                      <a:pt x="156362" y="0"/>
                    </a:lnTo>
                    <a:lnTo>
                      <a:pt x="171176" y="5486"/>
                    </a:lnTo>
                    <a:lnTo>
                      <a:pt x="203545" y="5486"/>
                    </a:lnTo>
                    <a:lnTo>
                      <a:pt x="209580" y="13716"/>
                    </a:lnTo>
                    <a:lnTo>
                      <a:pt x="220005" y="14813"/>
                    </a:lnTo>
                    <a:lnTo>
                      <a:pt x="225491" y="9327"/>
                    </a:lnTo>
                    <a:lnTo>
                      <a:pt x="228783" y="31821"/>
                    </a:lnTo>
                    <a:lnTo>
                      <a:pt x="235367" y="43891"/>
                    </a:lnTo>
                    <a:lnTo>
                      <a:pt x="243596" y="49926"/>
                    </a:lnTo>
                    <a:lnTo>
                      <a:pt x="248534" y="65288"/>
                    </a:lnTo>
                    <a:lnTo>
                      <a:pt x="255118" y="72969"/>
                    </a:lnTo>
                    <a:lnTo>
                      <a:pt x="280904" y="76810"/>
                    </a:lnTo>
                    <a:lnTo>
                      <a:pt x="276515" y="81747"/>
                    </a:lnTo>
                    <a:lnTo>
                      <a:pt x="272674" y="91074"/>
                    </a:lnTo>
                    <a:lnTo>
                      <a:pt x="275966" y="104242"/>
                    </a:lnTo>
                    <a:lnTo>
                      <a:pt x="260604" y="125639"/>
                    </a:lnTo>
                    <a:lnTo>
                      <a:pt x="261153" y="131125"/>
                    </a:lnTo>
                    <a:lnTo>
                      <a:pt x="255118" y="133319"/>
                    </a:lnTo>
                    <a:lnTo>
                      <a:pt x="252923" y="137709"/>
                    </a:lnTo>
                    <a:lnTo>
                      <a:pt x="250180" y="155814"/>
                    </a:lnTo>
                    <a:lnTo>
                      <a:pt x="247985" y="159654"/>
                    </a:lnTo>
                    <a:lnTo>
                      <a:pt x="245791" y="160751"/>
                    </a:lnTo>
                    <a:lnTo>
                      <a:pt x="246888" y="171176"/>
                    </a:lnTo>
                    <a:lnTo>
                      <a:pt x="251277" y="175016"/>
                    </a:lnTo>
                    <a:lnTo>
                      <a:pt x="257312" y="174467"/>
                    </a:lnTo>
                    <a:lnTo>
                      <a:pt x="260055" y="180503"/>
                    </a:lnTo>
                    <a:lnTo>
                      <a:pt x="264444" y="184343"/>
                    </a:lnTo>
                    <a:lnTo>
                      <a:pt x="268834" y="193121"/>
                    </a:lnTo>
                    <a:lnTo>
                      <a:pt x="269382" y="201351"/>
                    </a:lnTo>
                    <a:lnTo>
                      <a:pt x="303398" y="223845"/>
                    </a:lnTo>
                    <a:lnTo>
                      <a:pt x="312725" y="226040"/>
                    </a:lnTo>
                    <a:lnTo>
                      <a:pt x="333024" y="261153"/>
                    </a:lnTo>
                    <a:lnTo>
                      <a:pt x="329733" y="293522"/>
                    </a:lnTo>
                    <a:lnTo>
                      <a:pt x="339059" y="298460"/>
                    </a:lnTo>
                    <a:lnTo>
                      <a:pt x="341254" y="312176"/>
                    </a:lnTo>
                    <a:lnTo>
                      <a:pt x="365943" y="335219"/>
                    </a:lnTo>
                  </a:path>
                </a:pathLst>
              </a:custGeom>
              <a:grpFill/>
              <a:ln w="127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9" name="Graphic 7">
                <a:extLst>
                  <a:ext uri="{FF2B5EF4-FFF2-40B4-BE49-F238E27FC236}">
                    <a16:creationId xmlns:a16="http://schemas.microsoft.com/office/drawing/2014/main" id="{5774A71B-EDEA-41C5-6501-603DB1B057FF}"/>
                  </a:ext>
                </a:extLst>
              </p:cNvPr>
              <p:cNvSpPr/>
              <p:nvPr/>
            </p:nvSpPr>
            <p:spPr>
              <a:xfrm>
                <a:off x="6511715" y="3142139"/>
                <a:ext cx="91301" cy="93444"/>
              </a:xfrm>
              <a:custGeom>
                <a:avLst/>
                <a:gdLst>
                  <a:gd name="connsiteX0" fmla="*/ 53218 w 116860"/>
                  <a:gd name="connsiteY0" fmla="*/ 81199 h 119603"/>
                  <a:gd name="connsiteX1" fmla="*/ 43891 w 116860"/>
                  <a:gd name="connsiteY1" fmla="*/ 70226 h 119603"/>
                  <a:gd name="connsiteX2" fmla="*/ 38405 w 116860"/>
                  <a:gd name="connsiteY2" fmla="*/ 67483 h 119603"/>
                  <a:gd name="connsiteX3" fmla="*/ 31821 w 116860"/>
                  <a:gd name="connsiteY3" fmla="*/ 60350 h 119603"/>
                  <a:gd name="connsiteX4" fmla="*/ 18654 w 116860"/>
                  <a:gd name="connsiteY4" fmla="*/ 54315 h 119603"/>
                  <a:gd name="connsiteX5" fmla="*/ 13167 w 116860"/>
                  <a:gd name="connsiteY5" fmla="*/ 47183 h 119603"/>
                  <a:gd name="connsiteX6" fmla="*/ 9876 w 116860"/>
                  <a:gd name="connsiteY6" fmla="*/ 23591 h 119603"/>
                  <a:gd name="connsiteX7" fmla="*/ 4938 w 116860"/>
                  <a:gd name="connsiteY7" fmla="*/ 14265 h 119603"/>
                  <a:gd name="connsiteX8" fmla="*/ 0 w 116860"/>
                  <a:gd name="connsiteY8" fmla="*/ 10424 h 119603"/>
                  <a:gd name="connsiteX9" fmla="*/ 14265 w 116860"/>
                  <a:gd name="connsiteY9" fmla="*/ 9327 h 119603"/>
                  <a:gd name="connsiteX10" fmla="*/ 18654 w 116860"/>
                  <a:gd name="connsiteY10" fmla="*/ 6035 h 119603"/>
                  <a:gd name="connsiteX11" fmla="*/ 30175 w 116860"/>
                  <a:gd name="connsiteY11" fmla="*/ 5486 h 119603"/>
                  <a:gd name="connsiteX12" fmla="*/ 34564 w 116860"/>
                  <a:gd name="connsiteY12" fmla="*/ 2743 h 119603"/>
                  <a:gd name="connsiteX13" fmla="*/ 46086 w 116860"/>
                  <a:gd name="connsiteY13" fmla="*/ 4938 h 119603"/>
                  <a:gd name="connsiteX14" fmla="*/ 59253 w 116860"/>
                  <a:gd name="connsiteY14" fmla="*/ 0 h 119603"/>
                  <a:gd name="connsiteX15" fmla="*/ 59253 w 116860"/>
                  <a:gd name="connsiteY15" fmla="*/ 0 h 119603"/>
                  <a:gd name="connsiteX16" fmla="*/ 67483 w 116860"/>
                  <a:gd name="connsiteY16" fmla="*/ 14265 h 119603"/>
                  <a:gd name="connsiteX17" fmla="*/ 72969 w 116860"/>
                  <a:gd name="connsiteY17" fmla="*/ 14265 h 119603"/>
                  <a:gd name="connsiteX18" fmla="*/ 77907 w 116860"/>
                  <a:gd name="connsiteY18" fmla="*/ 17557 h 119603"/>
                  <a:gd name="connsiteX19" fmla="*/ 78456 w 116860"/>
                  <a:gd name="connsiteY19" fmla="*/ 23043 h 119603"/>
                  <a:gd name="connsiteX20" fmla="*/ 75164 w 116860"/>
                  <a:gd name="connsiteY20" fmla="*/ 27432 h 119603"/>
                  <a:gd name="connsiteX21" fmla="*/ 75164 w 116860"/>
                  <a:gd name="connsiteY21" fmla="*/ 32918 h 119603"/>
                  <a:gd name="connsiteX22" fmla="*/ 76810 w 116860"/>
                  <a:gd name="connsiteY22" fmla="*/ 38405 h 119603"/>
                  <a:gd name="connsiteX23" fmla="*/ 83942 w 116860"/>
                  <a:gd name="connsiteY23" fmla="*/ 46634 h 119603"/>
                  <a:gd name="connsiteX24" fmla="*/ 93817 w 116860"/>
                  <a:gd name="connsiteY24" fmla="*/ 52121 h 119603"/>
                  <a:gd name="connsiteX25" fmla="*/ 94915 w 116860"/>
                  <a:gd name="connsiteY25" fmla="*/ 57607 h 119603"/>
                  <a:gd name="connsiteX26" fmla="*/ 92172 w 116860"/>
                  <a:gd name="connsiteY26" fmla="*/ 63094 h 119603"/>
                  <a:gd name="connsiteX27" fmla="*/ 86685 w 116860"/>
                  <a:gd name="connsiteY27" fmla="*/ 63642 h 119603"/>
                  <a:gd name="connsiteX28" fmla="*/ 87782 w 116860"/>
                  <a:gd name="connsiteY28" fmla="*/ 69677 h 119603"/>
                  <a:gd name="connsiteX29" fmla="*/ 94915 w 116860"/>
                  <a:gd name="connsiteY29" fmla="*/ 77907 h 119603"/>
                  <a:gd name="connsiteX30" fmla="*/ 104242 w 116860"/>
                  <a:gd name="connsiteY30" fmla="*/ 83942 h 119603"/>
                  <a:gd name="connsiteX31" fmla="*/ 110277 w 116860"/>
                  <a:gd name="connsiteY31" fmla="*/ 83393 h 119603"/>
                  <a:gd name="connsiteX32" fmla="*/ 115214 w 116860"/>
                  <a:gd name="connsiteY32" fmla="*/ 84490 h 119603"/>
                  <a:gd name="connsiteX33" fmla="*/ 111923 w 116860"/>
                  <a:gd name="connsiteY33" fmla="*/ 95463 h 119603"/>
                  <a:gd name="connsiteX34" fmla="*/ 116312 w 116860"/>
                  <a:gd name="connsiteY34" fmla="*/ 98755 h 119603"/>
                  <a:gd name="connsiteX35" fmla="*/ 115214 w 116860"/>
                  <a:gd name="connsiteY35" fmla="*/ 104242 h 119603"/>
                  <a:gd name="connsiteX36" fmla="*/ 110277 w 116860"/>
                  <a:gd name="connsiteY36" fmla="*/ 105339 h 119603"/>
                  <a:gd name="connsiteX37" fmla="*/ 115763 w 116860"/>
                  <a:gd name="connsiteY37" fmla="*/ 115214 h 119603"/>
                  <a:gd name="connsiteX38" fmla="*/ 116860 w 116860"/>
                  <a:gd name="connsiteY38" fmla="*/ 119603 h 119603"/>
                  <a:gd name="connsiteX39" fmla="*/ 97658 w 116860"/>
                  <a:gd name="connsiteY39" fmla="*/ 119603 h 119603"/>
                  <a:gd name="connsiteX40" fmla="*/ 96012 w 116860"/>
                  <a:gd name="connsiteY40" fmla="*/ 103144 h 119603"/>
                  <a:gd name="connsiteX41" fmla="*/ 88331 w 116860"/>
                  <a:gd name="connsiteY41" fmla="*/ 88331 h 119603"/>
                  <a:gd name="connsiteX42" fmla="*/ 83393 w 116860"/>
                  <a:gd name="connsiteY42" fmla="*/ 85588 h 119603"/>
                  <a:gd name="connsiteX43" fmla="*/ 77907 w 116860"/>
                  <a:gd name="connsiteY43" fmla="*/ 88331 h 119603"/>
                  <a:gd name="connsiteX44" fmla="*/ 72969 w 116860"/>
                  <a:gd name="connsiteY44" fmla="*/ 87782 h 119603"/>
                  <a:gd name="connsiteX45" fmla="*/ 68031 w 116860"/>
                  <a:gd name="connsiteY45" fmla="*/ 85588 h 119603"/>
                  <a:gd name="connsiteX46" fmla="*/ 64740 w 116860"/>
                  <a:gd name="connsiteY46" fmla="*/ 80650 h 119603"/>
                  <a:gd name="connsiteX47" fmla="*/ 59253 w 116860"/>
                  <a:gd name="connsiteY47" fmla="*/ 79004 h 119603"/>
                  <a:gd name="connsiteX48" fmla="*/ 53218 w 116860"/>
                  <a:gd name="connsiteY48" fmla="*/ 81199 h 1196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</a:cxnLst>
                <a:rect l="l" t="t" r="r" b="b"/>
                <a:pathLst>
                  <a:path w="116860" h="119603">
                    <a:moveTo>
                      <a:pt x="53218" y="81199"/>
                    </a:moveTo>
                    <a:lnTo>
                      <a:pt x="43891" y="70226"/>
                    </a:lnTo>
                    <a:lnTo>
                      <a:pt x="38405" y="67483"/>
                    </a:lnTo>
                    <a:lnTo>
                      <a:pt x="31821" y="60350"/>
                    </a:lnTo>
                    <a:lnTo>
                      <a:pt x="18654" y="54315"/>
                    </a:lnTo>
                    <a:lnTo>
                      <a:pt x="13167" y="47183"/>
                    </a:lnTo>
                    <a:lnTo>
                      <a:pt x="9876" y="23591"/>
                    </a:lnTo>
                    <a:lnTo>
                      <a:pt x="4938" y="14265"/>
                    </a:lnTo>
                    <a:lnTo>
                      <a:pt x="0" y="10424"/>
                    </a:lnTo>
                    <a:lnTo>
                      <a:pt x="14265" y="9327"/>
                    </a:lnTo>
                    <a:lnTo>
                      <a:pt x="18654" y="6035"/>
                    </a:lnTo>
                    <a:lnTo>
                      <a:pt x="30175" y="5486"/>
                    </a:lnTo>
                    <a:lnTo>
                      <a:pt x="34564" y="2743"/>
                    </a:lnTo>
                    <a:lnTo>
                      <a:pt x="46086" y="4938"/>
                    </a:lnTo>
                    <a:lnTo>
                      <a:pt x="59253" y="0"/>
                    </a:lnTo>
                    <a:lnTo>
                      <a:pt x="59253" y="0"/>
                    </a:lnTo>
                    <a:lnTo>
                      <a:pt x="67483" y="14265"/>
                    </a:lnTo>
                    <a:lnTo>
                      <a:pt x="72969" y="14265"/>
                    </a:lnTo>
                    <a:lnTo>
                      <a:pt x="77907" y="17557"/>
                    </a:lnTo>
                    <a:lnTo>
                      <a:pt x="78456" y="23043"/>
                    </a:lnTo>
                    <a:lnTo>
                      <a:pt x="75164" y="27432"/>
                    </a:lnTo>
                    <a:lnTo>
                      <a:pt x="75164" y="32918"/>
                    </a:lnTo>
                    <a:lnTo>
                      <a:pt x="76810" y="38405"/>
                    </a:lnTo>
                    <a:lnTo>
                      <a:pt x="83942" y="46634"/>
                    </a:lnTo>
                    <a:lnTo>
                      <a:pt x="93817" y="52121"/>
                    </a:lnTo>
                    <a:lnTo>
                      <a:pt x="94915" y="57607"/>
                    </a:lnTo>
                    <a:lnTo>
                      <a:pt x="92172" y="63094"/>
                    </a:lnTo>
                    <a:lnTo>
                      <a:pt x="86685" y="63642"/>
                    </a:lnTo>
                    <a:lnTo>
                      <a:pt x="87782" y="69677"/>
                    </a:lnTo>
                    <a:lnTo>
                      <a:pt x="94915" y="77907"/>
                    </a:lnTo>
                    <a:lnTo>
                      <a:pt x="104242" y="83942"/>
                    </a:lnTo>
                    <a:lnTo>
                      <a:pt x="110277" y="83393"/>
                    </a:lnTo>
                    <a:lnTo>
                      <a:pt x="115214" y="84490"/>
                    </a:lnTo>
                    <a:lnTo>
                      <a:pt x="111923" y="95463"/>
                    </a:lnTo>
                    <a:lnTo>
                      <a:pt x="116312" y="98755"/>
                    </a:lnTo>
                    <a:lnTo>
                      <a:pt x="115214" y="104242"/>
                    </a:lnTo>
                    <a:lnTo>
                      <a:pt x="110277" y="105339"/>
                    </a:lnTo>
                    <a:lnTo>
                      <a:pt x="115763" y="115214"/>
                    </a:lnTo>
                    <a:lnTo>
                      <a:pt x="116860" y="119603"/>
                    </a:lnTo>
                    <a:lnTo>
                      <a:pt x="97658" y="119603"/>
                    </a:lnTo>
                    <a:lnTo>
                      <a:pt x="96012" y="103144"/>
                    </a:lnTo>
                    <a:lnTo>
                      <a:pt x="88331" y="88331"/>
                    </a:lnTo>
                    <a:lnTo>
                      <a:pt x="83393" y="85588"/>
                    </a:lnTo>
                    <a:lnTo>
                      <a:pt x="77907" y="88331"/>
                    </a:lnTo>
                    <a:lnTo>
                      <a:pt x="72969" y="87782"/>
                    </a:lnTo>
                    <a:lnTo>
                      <a:pt x="68031" y="85588"/>
                    </a:lnTo>
                    <a:lnTo>
                      <a:pt x="64740" y="80650"/>
                    </a:lnTo>
                    <a:lnTo>
                      <a:pt x="59253" y="79004"/>
                    </a:lnTo>
                    <a:lnTo>
                      <a:pt x="53218" y="81199"/>
                    </a:lnTo>
                  </a:path>
                </a:pathLst>
              </a:custGeom>
              <a:grpFill/>
              <a:ln w="127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50" name="Graphic 7">
                <a:extLst>
                  <a:ext uri="{FF2B5EF4-FFF2-40B4-BE49-F238E27FC236}">
                    <a16:creationId xmlns:a16="http://schemas.microsoft.com/office/drawing/2014/main" id="{145A59E7-7B45-7515-3491-83F0D249E590}"/>
                  </a:ext>
                </a:extLst>
              </p:cNvPr>
              <p:cNvSpPr/>
              <p:nvPr/>
            </p:nvSpPr>
            <p:spPr>
              <a:xfrm>
                <a:off x="6279820" y="3293878"/>
                <a:ext cx="206605" cy="180029"/>
              </a:xfrm>
              <a:custGeom>
                <a:avLst/>
                <a:gdLst>
                  <a:gd name="connsiteX0" fmla="*/ 125090 w 264444"/>
                  <a:gd name="connsiteY0" fmla="*/ 183246 h 230428"/>
                  <a:gd name="connsiteX1" fmla="*/ 209032 w 264444"/>
                  <a:gd name="connsiteY1" fmla="*/ 132771 h 230428"/>
                  <a:gd name="connsiteX2" fmla="*/ 215616 w 264444"/>
                  <a:gd name="connsiteY2" fmla="*/ 115214 h 230428"/>
                  <a:gd name="connsiteX3" fmla="*/ 220553 w 264444"/>
                  <a:gd name="connsiteY3" fmla="*/ 42245 h 230428"/>
                  <a:gd name="connsiteX4" fmla="*/ 241950 w 264444"/>
                  <a:gd name="connsiteY4" fmla="*/ 34565 h 230428"/>
                  <a:gd name="connsiteX5" fmla="*/ 254020 w 264444"/>
                  <a:gd name="connsiteY5" fmla="*/ 14265 h 230428"/>
                  <a:gd name="connsiteX6" fmla="*/ 264445 w 264444"/>
                  <a:gd name="connsiteY6" fmla="*/ 7681 h 230428"/>
                  <a:gd name="connsiteX7" fmla="*/ 258409 w 264444"/>
                  <a:gd name="connsiteY7" fmla="*/ 7681 h 230428"/>
                  <a:gd name="connsiteX8" fmla="*/ 257861 w 264444"/>
                  <a:gd name="connsiteY8" fmla="*/ 6584 h 230428"/>
                  <a:gd name="connsiteX9" fmla="*/ 258409 w 264444"/>
                  <a:gd name="connsiteY9" fmla="*/ 2743 h 230428"/>
                  <a:gd name="connsiteX10" fmla="*/ 255666 w 264444"/>
                  <a:gd name="connsiteY10" fmla="*/ 1646 h 230428"/>
                  <a:gd name="connsiteX11" fmla="*/ 253472 w 264444"/>
                  <a:gd name="connsiteY11" fmla="*/ 0 h 230428"/>
                  <a:gd name="connsiteX12" fmla="*/ 247985 w 264444"/>
                  <a:gd name="connsiteY12" fmla="*/ 4938 h 230428"/>
                  <a:gd name="connsiteX13" fmla="*/ 235915 w 264444"/>
                  <a:gd name="connsiteY13" fmla="*/ 9876 h 230428"/>
                  <a:gd name="connsiteX14" fmla="*/ 211226 w 264444"/>
                  <a:gd name="connsiteY14" fmla="*/ 10973 h 230428"/>
                  <a:gd name="connsiteX15" fmla="*/ 204643 w 264444"/>
                  <a:gd name="connsiteY15" fmla="*/ 8778 h 230428"/>
                  <a:gd name="connsiteX16" fmla="*/ 188184 w 264444"/>
                  <a:gd name="connsiteY16" fmla="*/ 12070 h 230428"/>
                  <a:gd name="connsiteX17" fmla="*/ 175565 w 264444"/>
                  <a:gd name="connsiteY17" fmla="*/ 20849 h 230428"/>
                  <a:gd name="connsiteX18" fmla="*/ 167335 w 264444"/>
                  <a:gd name="connsiteY18" fmla="*/ 22494 h 230428"/>
                  <a:gd name="connsiteX19" fmla="*/ 163495 w 264444"/>
                  <a:gd name="connsiteY19" fmla="*/ 25238 h 230428"/>
                  <a:gd name="connsiteX20" fmla="*/ 141001 w 264444"/>
                  <a:gd name="connsiteY20" fmla="*/ 30175 h 230428"/>
                  <a:gd name="connsiteX21" fmla="*/ 122347 w 264444"/>
                  <a:gd name="connsiteY21" fmla="*/ 27432 h 230428"/>
                  <a:gd name="connsiteX22" fmla="*/ 114666 w 264444"/>
                  <a:gd name="connsiteY22" fmla="*/ 20300 h 230428"/>
                  <a:gd name="connsiteX23" fmla="*/ 109728 w 264444"/>
                  <a:gd name="connsiteY23" fmla="*/ 18654 h 230428"/>
                  <a:gd name="connsiteX24" fmla="*/ 100401 w 264444"/>
                  <a:gd name="connsiteY24" fmla="*/ 19751 h 230428"/>
                  <a:gd name="connsiteX25" fmla="*/ 79004 w 264444"/>
                  <a:gd name="connsiteY25" fmla="*/ 29078 h 230428"/>
                  <a:gd name="connsiteX26" fmla="*/ 75712 w 264444"/>
                  <a:gd name="connsiteY26" fmla="*/ 31273 h 230428"/>
                  <a:gd name="connsiteX27" fmla="*/ 65837 w 264444"/>
                  <a:gd name="connsiteY27" fmla="*/ 29627 h 230428"/>
                  <a:gd name="connsiteX28" fmla="*/ 60350 w 264444"/>
                  <a:gd name="connsiteY28" fmla="*/ 31273 h 230428"/>
                  <a:gd name="connsiteX29" fmla="*/ 59253 w 264444"/>
                  <a:gd name="connsiteY29" fmla="*/ 29627 h 230428"/>
                  <a:gd name="connsiteX30" fmla="*/ 59253 w 264444"/>
                  <a:gd name="connsiteY30" fmla="*/ 27981 h 230428"/>
                  <a:gd name="connsiteX31" fmla="*/ 59253 w 264444"/>
                  <a:gd name="connsiteY31" fmla="*/ 27981 h 230428"/>
                  <a:gd name="connsiteX32" fmla="*/ 59253 w 264444"/>
                  <a:gd name="connsiteY32" fmla="*/ 26883 h 230428"/>
                  <a:gd name="connsiteX33" fmla="*/ 55961 w 264444"/>
                  <a:gd name="connsiteY33" fmla="*/ 25238 h 230428"/>
                  <a:gd name="connsiteX34" fmla="*/ 49378 w 264444"/>
                  <a:gd name="connsiteY34" fmla="*/ 24140 h 230428"/>
                  <a:gd name="connsiteX35" fmla="*/ 46086 w 264444"/>
                  <a:gd name="connsiteY35" fmla="*/ 22494 h 230428"/>
                  <a:gd name="connsiteX36" fmla="*/ 42245 w 264444"/>
                  <a:gd name="connsiteY36" fmla="*/ 29627 h 230428"/>
                  <a:gd name="connsiteX37" fmla="*/ 41697 w 264444"/>
                  <a:gd name="connsiteY37" fmla="*/ 30724 h 230428"/>
                  <a:gd name="connsiteX38" fmla="*/ 42245 w 264444"/>
                  <a:gd name="connsiteY38" fmla="*/ 33467 h 230428"/>
                  <a:gd name="connsiteX39" fmla="*/ 40051 w 264444"/>
                  <a:gd name="connsiteY39" fmla="*/ 39502 h 230428"/>
                  <a:gd name="connsiteX40" fmla="*/ 46086 w 264444"/>
                  <a:gd name="connsiteY40" fmla="*/ 48281 h 230428"/>
                  <a:gd name="connsiteX41" fmla="*/ 46634 w 264444"/>
                  <a:gd name="connsiteY41" fmla="*/ 50475 h 230428"/>
                  <a:gd name="connsiteX42" fmla="*/ 44989 w 264444"/>
                  <a:gd name="connsiteY42" fmla="*/ 51024 h 230428"/>
                  <a:gd name="connsiteX43" fmla="*/ 39502 w 264444"/>
                  <a:gd name="connsiteY43" fmla="*/ 50475 h 230428"/>
                  <a:gd name="connsiteX44" fmla="*/ 34016 w 264444"/>
                  <a:gd name="connsiteY44" fmla="*/ 53218 h 230428"/>
                  <a:gd name="connsiteX45" fmla="*/ 34016 w 264444"/>
                  <a:gd name="connsiteY45" fmla="*/ 60899 h 230428"/>
                  <a:gd name="connsiteX46" fmla="*/ 30175 w 264444"/>
                  <a:gd name="connsiteY46" fmla="*/ 64740 h 230428"/>
                  <a:gd name="connsiteX47" fmla="*/ 27432 w 264444"/>
                  <a:gd name="connsiteY47" fmla="*/ 65288 h 230428"/>
                  <a:gd name="connsiteX48" fmla="*/ 25786 w 264444"/>
                  <a:gd name="connsiteY48" fmla="*/ 69677 h 230428"/>
                  <a:gd name="connsiteX49" fmla="*/ 21397 w 264444"/>
                  <a:gd name="connsiteY49" fmla="*/ 66386 h 230428"/>
                  <a:gd name="connsiteX50" fmla="*/ 20300 w 264444"/>
                  <a:gd name="connsiteY50" fmla="*/ 63642 h 230428"/>
                  <a:gd name="connsiteX51" fmla="*/ 17557 w 264444"/>
                  <a:gd name="connsiteY51" fmla="*/ 63642 h 230428"/>
                  <a:gd name="connsiteX52" fmla="*/ 17008 w 264444"/>
                  <a:gd name="connsiteY52" fmla="*/ 72421 h 230428"/>
                  <a:gd name="connsiteX53" fmla="*/ 13716 w 264444"/>
                  <a:gd name="connsiteY53" fmla="*/ 81747 h 230428"/>
                  <a:gd name="connsiteX54" fmla="*/ 15911 w 264444"/>
                  <a:gd name="connsiteY54" fmla="*/ 83942 h 230428"/>
                  <a:gd name="connsiteX55" fmla="*/ 18654 w 264444"/>
                  <a:gd name="connsiteY55" fmla="*/ 92720 h 230428"/>
                  <a:gd name="connsiteX56" fmla="*/ 19202 w 264444"/>
                  <a:gd name="connsiteY56" fmla="*/ 105339 h 230428"/>
                  <a:gd name="connsiteX57" fmla="*/ 17557 w 264444"/>
                  <a:gd name="connsiteY57" fmla="*/ 114117 h 230428"/>
                  <a:gd name="connsiteX58" fmla="*/ 18654 w 264444"/>
                  <a:gd name="connsiteY58" fmla="*/ 121798 h 230428"/>
                  <a:gd name="connsiteX59" fmla="*/ 30724 w 264444"/>
                  <a:gd name="connsiteY59" fmla="*/ 121798 h 230428"/>
                  <a:gd name="connsiteX60" fmla="*/ 32370 w 264444"/>
                  <a:gd name="connsiteY60" fmla="*/ 119055 h 230428"/>
                  <a:gd name="connsiteX61" fmla="*/ 34016 w 264444"/>
                  <a:gd name="connsiteY61" fmla="*/ 119055 h 230428"/>
                  <a:gd name="connsiteX62" fmla="*/ 35113 w 264444"/>
                  <a:gd name="connsiteY62" fmla="*/ 122347 h 230428"/>
                  <a:gd name="connsiteX63" fmla="*/ 38405 w 264444"/>
                  <a:gd name="connsiteY63" fmla="*/ 122347 h 230428"/>
                  <a:gd name="connsiteX64" fmla="*/ 38953 w 264444"/>
                  <a:gd name="connsiteY64" fmla="*/ 122895 h 230428"/>
                  <a:gd name="connsiteX65" fmla="*/ 38953 w 264444"/>
                  <a:gd name="connsiteY65" fmla="*/ 125090 h 230428"/>
                  <a:gd name="connsiteX66" fmla="*/ 36210 w 264444"/>
                  <a:gd name="connsiteY66" fmla="*/ 124541 h 230428"/>
                  <a:gd name="connsiteX67" fmla="*/ 36210 w 264444"/>
                  <a:gd name="connsiteY67" fmla="*/ 126187 h 230428"/>
                  <a:gd name="connsiteX68" fmla="*/ 34564 w 264444"/>
                  <a:gd name="connsiteY68" fmla="*/ 127833 h 230428"/>
                  <a:gd name="connsiteX69" fmla="*/ 34016 w 264444"/>
                  <a:gd name="connsiteY69" fmla="*/ 128382 h 230428"/>
                  <a:gd name="connsiteX70" fmla="*/ 37856 w 264444"/>
                  <a:gd name="connsiteY70" fmla="*/ 128382 h 230428"/>
                  <a:gd name="connsiteX71" fmla="*/ 38953 w 264444"/>
                  <a:gd name="connsiteY71" fmla="*/ 132222 h 230428"/>
                  <a:gd name="connsiteX72" fmla="*/ 42794 w 264444"/>
                  <a:gd name="connsiteY72" fmla="*/ 133320 h 230428"/>
                  <a:gd name="connsiteX73" fmla="*/ 41697 w 264444"/>
                  <a:gd name="connsiteY73" fmla="*/ 136063 h 230428"/>
                  <a:gd name="connsiteX74" fmla="*/ 44440 w 264444"/>
                  <a:gd name="connsiteY74" fmla="*/ 138806 h 230428"/>
                  <a:gd name="connsiteX75" fmla="*/ 43343 w 264444"/>
                  <a:gd name="connsiteY75" fmla="*/ 142098 h 230428"/>
                  <a:gd name="connsiteX76" fmla="*/ 45537 w 264444"/>
                  <a:gd name="connsiteY76" fmla="*/ 143744 h 230428"/>
                  <a:gd name="connsiteX77" fmla="*/ 43891 w 264444"/>
                  <a:gd name="connsiteY77" fmla="*/ 144841 h 230428"/>
                  <a:gd name="connsiteX78" fmla="*/ 42794 w 264444"/>
                  <a:gd name="connsiteY78" fmla="*/ 148133 h 230428"/>
                  <a:gd name="connsiteX79" fmla="*/ 41148 w 264444"/>
                  <a:gd name="connsiteY79" fmla="*/ 148133 h 230428"/>
                  <a:gd name="connsiteX80" fmla="*/ 37308 w 264444"/>
                  <a:gd name="connsiteY80" fmla="*/ 150876 h 230428"/>
                  <a:gd name="connsiteX81" fmla="*/ 34016 w 264444"/>
                  <a:gd name="connsiteY81" fmla="*/ 151425 h 230428"/>
                  <a:gd name="connsiteX82" fmla="*/ 34016 w 264444"/>
                  <a:gd name="connsiteY82" fmla="*/ 154168 h 230428"/>
                  <a:gd name="connsiteX83" fmla="*/ 31273 w 264444"/>
                  <a:gd name="connsiteY83" fmla="*/ 155265 h 230428"/>
                  <a:gd name="connsiteX84" fmla="*/ 30724 w 264444"/>
                  <a:gd name="connsiteY84" fmla="*/ 157460 h 230428"/>
                  <a:gd name="connsiteX85" fmla="*/ 34016 w 264444"/>
                  <a:gd name="connsiteY85" fmla="*/ 159106 h 230428"/>
                  <a:gd name="connsiteX86" fmla="*/ 35113 w 264444"/>
                  <a:gd name="connsiteY86" fmla="*/ 160752 h 230428"/>
                  <a:gd name="connsiteX87" fmla="*/ 35113 w 264444"/>
                  <a:gd name="connsiteY87" fmla="*/ 161300 h 230428"/>
                  <a:gd name="connsiteX88" fmla="*/ 34016 w 264444"/>
                  <a:gd name="connsiteY88" fmla="*/ 161849 h 230428"/>
                  <a:gd name="connsiteX89" fmla="*/ 31273 w 264444"/>
                  <a:gd name="connsiteY89" fmla="*/ 161300 h 230428"/>
                  <a:gd name="connsiteX90" fmla="*/ 21397 w 264444"/>
                  <a:gd name="connsiteY90" fmla="*/ 161849 h 230428"/>
                  <a:gd name="connsiteX91" fmla="*/ 20300 w 264444"/>
                  <a:gd name="connsiteY91" fmla="*/ 164592 h 230428"/>
                  <a:gd name="connsiteX92" fmla="*/ 18654 w 264444"/>
                  <a:gd name="connsiteY92" fmla="*/ 166238 h 230428"/>
                  <a:gd name="connsiteX93" fmla="*/ 17008 w 264444"/>
                  <a:gd name="connsiteY93" fmla="*/ 170078 h 230428"/>
                  <a:gd name="connsiteX94" fmla="*/ 17008 w 264444"/>
                  <a:gd name="connsiteY94" fmla="*/ 170627 h 230428"/>
                  <a:gd name="connsiteX95" fmla="*/ 20848 w 264444"/>
                  <a:gd name="connsiteY95" fmla="*/ 171725 h 230428"/>
                  <a:gd name="connsiteX96" fmla="*/ 20848 w 264444"/>
                  <a:gd name="connsiteY96" fmla="*/ 175016 h 230428"/>
                  <a:gd name="connsiteX97" fmla="*/ 19202 w 264444"/>
                  <a:gd name="connsiteY97" fmla="*/ 175565 h 230428"/>
                  <a:gd name="connsiteX98" fmla="*/ 12070 w 264444"/>
                  <a:gd name="connsiteY98" fmla="*/ 182149 h 230428"/>
                  <a:gd name="connsiteX99" fmla="*/ 10973 w 264444"/>
                  <a:gd name="connsiteY99" fmla="*/ 184343 h 230428"/>
                  <a:gd name="connsiteX100" fmla="*/ 8230 w 264444"/>
                  <a:gd name="connsiteY100" fmla="*/ 184343 h 230428"/>
                  <a:gd name="connsiteX101" fmla="*/ 2743 w 264444"/>
                  <a:gd name="connsiteY101" fmla="*/ 189281 h 230428"/>
                  <a:gd name="connsiteX102" fmla="*/ 2743 w 264444"/>
                  <a:gd name="connsiteY102" fmla="*/ 195316 h 230428"/>
                  <a:gd name="connsiteX103" fmla="*/ 1097 w 264444"/>
                  <a:gd name="connsiteY103" fmla="*/ 198059 h 230428"/>
                  <a:gd name="connsiteX104" fmla="*/ 2195 w 264444"/>
                  <a:gd name="connsiteY104" fmla="*/ 200802 h 230428"/>
                  <a:gd name="connsiteX105" fmla="*/ 1646 w 264444"/>
                  <a:gd name="connsiteY105" fmla="*/ 204643 h 230428"/>
                  <a:gd name="connsiteX106" fmla="*/ 3292 w 264444"/>
                  <a:gd name="connsiteY106" fmla="*/ 208483 h 230428"/>
                  <a:gd name="connsiteX107" fmla="*/ 0 w 264444"/>
                  <a:gd name="connsiteY107" fmla="*/ 212873 h 230428"/>
                  <a:gd name="connsiteX108" fmla="*/ 7681 w 264444"/>
                  <a:gd name="connsiteY108" fmla="*/ 211226 h 230428"/>
                  <a:gd name="connsiteX109" fmla="*/ 10973 w 264444"/>
                  <a:gd name="connsiteY109" fmla="*/ 212324 h 230428"/>
                  <a:gd name="connsiteX110" fmla="*/ 14265 w 264444"/>
                  <a:gd name="connsiteY110" fmla="*/ 218359 h 230428"/>
                  <a:gd name="connsiteX111" fmla="*/ 29627 w 264444"/>
                  <a:gd name="connsiteY111" fmla="*/ 229332 h 230428"/>
                  <a:gd name="connsiteX112" fmla="*/ 37308 w 264444"/>
                  <a:gd name="connsiteY112" fmla="*/ 230429 h 230428"/>
                  <a:gd name="connsiteX113" fmla="*/ 42794 w 264444"/>
                  <a:gd name="connsiteY113" fmla="*/ 229332 h 230428"/>
                  <a:gd name="connsiteX114" fmla="*/ 125090 w 264444"/>
                  <a:gd name="connsiteY114" fmla="*/ 183246 h 230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</a:cxnLst>
                <a:rect l="l" t="t" r="r" b="b"/>
                <a:pathLst>
                  <a:path w="264444" h="230428">
                    <a:moveTo>
                      <a:pt x="125090" y="183246"/>
                    </a:moveTo>
                    <a:lnTo>
                      <a:pt x="209032" y="132771"/>
                    </a:lnTo>
                    <a:lnTo>
                      <a:pt x="215616" y="115214"/>
                    </a:lnTo>
                    <a:lnTo>
                      <a:pt x="220553" y="42245"/>
                    </a:lnTo>
                    <a:lnTo>
                      <a:pt x="241950" y="34565"/>
                    </a:lnTo>
                    <a:lnTo>
                      <a:pt x="254020" y="14265"/>
                    </a:lnTo>
                    <a:lnTo>
                      <a:pt x="264445" y="7681"/>
                    </a:lnTo>
                    <a:lnTo>
                      <a:pt x="258409" y="7681"/>
                    </a:lnTo>
                    <a:lnTo>
                      <a:pt x="257861" y="6584"/>
                    </a:lnTo>
                    <a:lnTo>
                      <a:pt x="258409" y="2743"/>
                    </a:lnTo>
                    <a:lnTo>
                      <a:pt x="255666" y="1646"/>
                    </a:lnTo>
                    <a:lnTo>
                      <a:pt x="253472" y="0"/>
                    </a:lnTo>
                    <a:lnTo>
                      <a:pt x="247985" y="4938"/>
                    </a:lnTo>
                    <a:lnTo>
                      <a:pt x="235915" y="9876"/>
                    </a:lnTo>
                    <a:lnTo>
                      <a:pt x="211226" y="10973"/>
                    </a:lnTo>
                    <a:lnTo>
                      <a:pt x="204643" y="8778"/>
                    </a:lnTo>
                    <a:lnTo>
                      <a:pt x="188184" y="12070"/>
                    </a:lnTo>
                    <a:lnTo>
                      <a:pt x="175565" y="20849"/>
                    </a:lnTo>
                    <a:lnTo>
                      <a:pt x="167335" y="22494"/>
                    </a:lnTo>
                    <a:lnTo>
                      <a:pt x="163495" y="25238"/>
                    </a:lnTo>
                    <a:lnTo>
                      <a:pt x="141001" y="30175"/>
                    </a:lnTo>
                    <a:lnTo>
                      <a:pt x="122347" y="27432"/>
                    </a:lnTo>
                    <a:lnTo>
                      <a:pt x="114666" y="20300"/>
                    </a:lnTo>
                    <a:lnTo>
                      <a:pt x="109728" y="18654"/>
                    </a:lnTo>
                    <a:lnTo>
                      <a:pt x="100401" y="19751"/>
                    </a:lnTo>
                    <a:lnTo>
                      <a:pt x="79004" y="29078"/>
                    </a:lnTo>
                    <a:lnTo>
                      <a:pt x="75712" y="31273"/>
                    </a:lnTo>
                    <a:lnTo>
                      <a:pt x="65837" y="29627"/>
                    </a:lnTo>
                    <a:lnTo>
                      <a:pt x="60350" y="31273"/>
                    </a:lnTo>
                    <a:lnTo>
                      <a:pt x="59253" y="29627"/>
                    </a:lnTo>
                    <a:lnTo>
                      <a:pt x="59253" y="27981"/>
                    </a:lnTo>
                    <a:lnTo>
                      <a:pt x="59253" y="27981"/>
                    </a:lnTo>
                    <a:lnTo>
                      <a:pt x="59253" y="26883"/>
                    </a:lnTo>
                    <a:lnTo>
                      <a:pt x="55961" y="25238"/>
                    </a:lnTo>
                    <a:lnTo>
                      <a:pt x="49378" y="24140"/>
                    </a:lnTo>
                    <a:lnTo>
                      <a:pt x="46086" y="22494"/>
                    </a:lnTo>
                    <a:lnTo>
                      <a:pt x="42245" y="29627"/>
                    </a:lnTo>
                    <a:lnTo>
                      <a:pt x="41697" y="30724"/>
                    </a:lnTo>
                    <a:lnTo>
                      <a:pt x="42245" y="33467"/>
                    </a:lnTo>
                    <a:lnTo>
                      <a:pt x="40051" y="39502"/>
                    </a:lnTo>
                    <a:lnTo>
                      <a:pt x="46086" y="48281"/>
                    </a:lnTo>
                    <a:lnTo>
                      <a:pt x="46634" y="50475"/>
                    </a:lnTo>
                    <a:lnTo>
                      <a:pt x="44989" y="51024"/>
                    </a:lnTo>
                    <a:lnTo>
                      <a:pt x="39502" y="50475"/>
                    </a:lnTo>
                    <a:lnTo>
                      <a:pt x="34016" y="53218"/>
                    </a:lnTo>
                    <a:lnTo>
                      <a:pt x="34016" y="60899"/>
                    </a:lnTo>
                    <a:lnTo>
                      <a:pt x="30175" y="64740"/>
                    </a:lnTo>
                    <a:lnTo>
                      <a:pt x="27432" y="65288"/>
                    </a:lnTo>
                    <a:lnTo>
                      <a:pt x="25786" y="69677"/>
                    </a:lnTo>
                    <a:lnTo>
                      <a:pt x="21397" y="66386"/>
                    </a:lnTo>
                    <a:lnTo>
                      <a:pt x="20300" y="63642"/>
                    </a:lnTo>
                    <a:lnTo>
                      <a:pt x="17557" y="63642"/>
                    </a:lnTo>
                    <a:lnTo>
                      <a:pt x="17008" y="72421"/>
                    </a:lnTo>
                    <a:lnTo>
                      <a:pt x="13716" y="81747"/>
                    </a:lnTo>
                    <a:lnTo>
                      <a:pt x="15911" y="83942"/>
                    </a:lnTo>
                    <a:lnTo>
                      <a:pt x="18654" y="92720"/>
                    </a:lnTo>
                    <a:lnTo>
                      <a:pt x="19202" y="105339"/>
                    </a:lnTo>
                    <a:lnTo>
                      <a:pt x="17557" y="114117"/>
                    </a:lnTo>
                    <a:lnTo>
                      <a:pt x="18654" y="121798"/>
                    </a:lnTo>
                    <a:lnTo>
                      <a:pt x="30724" y="121798"/>
                    </a:lnTo>
                    <a:lnTo>
                      <a:pt x="32370" y="119055"/>
                    </a:lnTo>
                    <a:lnTo>
                      <a:pt x="34016" y="119055"/>
                    </a:lnTo>
                    <a:lnTo>
                      <a:pt x="35113" y="122347"/>
                    </a:lnTo>
                    <a:lnTo>
                      <a:pt x="38405" y="122347"/>
                    </a:lnTo>
                    <a:lnTo>
                      <a:pt x="38953" y="122895"/>
                    </a:lnTo>
                    <a:lnTo>
                      <a:pt x="38953" y="125090"/>
                    </a:lnTo>
                    <a:lnTo>
                      <a:pt x="36210" y="124541"/>
                    </a:lnTo>
                    <a:lnTo>
                      <a:pt x="36210" y="126187"/>
                    </a:lnTo>
                    <a:lnTo>
                      <a:pt x="34564" y="127833"/>
                    </a:lnTo>
                    <a:lnTo>
                      <a:pt x="34016" y="128382"/>
                    </a:lnTo>
                    <a:lnTo>
                      <a:pt x="37856" y="128382"/>
                    </a:lnTo>
                    <a:lnTo>
                      <a:pt x="38953" y="132222"/>
                    </a:lnTo>
                    <a:lnTo>
                      <a:pt x="42794" y="133320"/>
                    </a:lnTo>
                    <a:lnTo>
                      <a:pt x="41697" y="136063"/>
                    </a:lnTo>
                    <a:lnTo>
                      <a:pt x="44440" y="138806"/>
                    </a:lnTo>
                    <a:lnTo>
                      <a:pt x="43343" y="142098"/>
                    </a:lnTo>
                    <a:lnTo>
                      <a:pt x="45537" y="143744"/>
                    </a:lnTo>
                    <a:lnTo>
                      <a:pt x="43891" y="144841"/>
                    </a:lnTo>
                    <a:lnTo>
                      <a:pt x="42794" y="148133"/>
                    </a:lnTo>
                    <a:lnTo>
                      <a:pt x="41148" y="148133"/>
                    </a:lnTo>
                    <a:lnTo>
                      <a:pt x="37308" y="150876"/>
                    </a:lnTo>
                    <a:lnTo>
                      <a:pt x="34016" y="151425"/>
                    </a:lnTo>
                    <a:lnTo>
                      <a:pt x="34016" y="154168"/>
                    </a:lnTo>
                    <a:lnTo>
                      <a:pt x="31273" y="155265"/>
                    </a:lnTo>
                    <a:lnTo>
                      <a:pt x="30724" y="157460"/>
                    </a:lnTo>
                    <a:lnTo>
                      <a:pt x="34016" y="159106"/>
                    </a:lnTo>
                    <a:lnTo>
                      <a:pt x="35113" y="160752"/>
                    </a:lnTo>
                    <a:lnTo>
                      <a:pt x="35113" y="161300"/>
                    </a:lnTo>
                    <a:lnTo>
                      <a:pt x="34016" y="161849"/>
                    </a:lnTo>
                    <a:lnTo>
                      <a:pt x="31273" y="161300"/>
                    </a:lnTo>
                    <a:lnTo>
                      <a:pt x="21397" y="161849"/>
                    </a:lnTo>
                    <a:lnTo>
                      <a:pt x="20300" y="164592"/>
                    </a:lnTo>
                    <a:lnTo>
                      <a:pt x="18654" y="166238"/>
                    </a:lnTo>
                    <a:lnTo>
                      <a:pt x="17008" y="170078"/>
                    </a:lnTo>
                    <a:lnTo>
                      <a:pt x="17008" y="170627"/>
                    </a:lnTo>
                    <a:lnTo>
                      <a:pt x="20848" y="171725"/>
                    </a:lnTo>
                    <a:lnTo>
                      <a:pt x="20848" y="175016"/>
                    </a:lnTo>
                    <a:lnTo>
                      <a:pt x="19202" y="175565"/>
                    </a:lnTo>
                    <a:lnTo>
                      <a:pt x="12070" y="182149"/>
                    </a:lnTo>
                    <a:lnTo>
                      <a:pt x="10973" y="184343"/>
                    </a:lnTo>
                    <a:lnTo>
                      <a:pt x="8230" y="184343"/>
                    </a:lnTo>
                    <a:lnTo>
                      <a:pt x="2743" y="189281"/>
                    </a:lnTo>
                    <a:lnTo>
                      <a:pt x="2743" y="195316"/>
                    </a:lnTo>
                    <a:lnTo>
                      <a:pt x="1097" y="198059"/>
                    </a:lnTo>
                    <a:lnTo>
                      <a:pt x="2195" y="200802"/>
                    </a:lnTo>
                    <a:lnTo>
                      <a:pt x="1646" y="204643"/>
                    </a:lnTo>
                    <a:lnTo>
                      <a:pt x="3292" y="208483"/>
                    </a:lnTo>
                    <a:lnTo>
                      <a:pt x="0" y="212873"/>
                    </a:lnTo>
                    <a:lnTo>
                      <a:pt x="7681" y="211226"/>
                    </a:lnTo>
                    <a:lnTo>
                      <a:pt x="10973" y="212324"/>
                    </a:lnTo>
                    <a:lnTo>
                      <a:pt x="14265" y="218359"/>
                    </a:lnTo>
                    <a:lnTo>
                      <a:pt x="29627" y="229332"/>
                    </a:lnTo>
                    <a:lnTo>
                      <a:pt x="37308" y="230429"/>
                    </a:lnTo>
                    <a:lnTo>
                      <a:pt x="42794" y="229332"/>
                    </a:lnTo>
                    <a:lnTo>
                      <a:pt x="125090" y="183246"/>
                    </a:lnTo>
                  </a:path>
                </a:pathLst>
              </a:custGeom>
              <a:grpFill/>
              <a:ln w="127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51" name="Graphic 7">
                <a:extLst>
                  <a:ext uri="{FF2B5EF4-FFF2-40B4-BE49-F238E27FC236}">
                    <a16:creationId xmlns:a16="http://schemas.microsoft.com/office/drawing/2014/main" id="{3889C191-96B7-E685-AEF6-AC5320C2A4CE}"/>
                  </a:ext>
                </a:extLst>
              </p:cNvPr>
              <p:cNvSpPr/>
              <p:nvPr/>
            </p:nvSpPr>
            <p:spPr>
              <a:xfrm>
                <a:off x="6553293" y="3203864"/>
                <a:ext cx="34719" cy="31719"/>
              </a:xfrm>
              <a:custGeom>
                <a:avLst/>
                <a:gdLst>
                  <a:gd name="connsiteX0" fmla="*/ 44440 w 44439"/>
                  <a:gd name="connsiteY0" fmla="*/ 40599 h 40599"/>
                  <a:gd name="connsiteX1" fmla="*/ 24140 w 44439"/>
                  <a:gd name="connsiteY1" fmla="*/ 36759 h 40599"/>
                  <a:gd name="connsiteX2" fmla="*/ 0 w 44439"/>
                  <a:gd name="connsiteY2" fmla="*/ 2195 h 40599"/>
                  <a:gd name="connsiteX3" fmla="*/ 6035 w 44439"/>
                  <a:gd name="connsiteY3" fmla="*/ 0 h 40599"/>
                  <a:gd name="connsiteX4" fmla="*/ 11521 w 44439"/>
                  <a:gd name="connsiteY4" fmla="*/ 1646 h 40599"/>
                  <a:gd name="connsiteX5" fmla="*/ 14813 w 44439"/>
                  <a:gd name="connsiteY5" fmla="*/ 6584 h 40599"/>
                  <a:gd name="connsiteX6" fmla="*/ 19751 w 44439"/>
                  <a:gd name="connsiteY6" fmla="*/ 8778 h 40599"/>
                  <a:gd name="connsiteX7" fmla="*/ 24689 w 44439"/>
                  <a:gd name="connsiteY7" fmla="*/ 9327 h 40599"/>
                  <a:gd name="connsiteX8" fmla="*/ 30175 w 44439"/>
                  <a:gd name="connsiteY8" fmla="*/ 6584 h 40599"/>
                  <a:gd name="connsiteX9" fmla="*/ 35113 w 44439"/>
                  <a:gd name="connsiteY9" fmla="*/ 9327 h 40599"/>
                  <a:gd name="connsiteX10" fmla="*/ 42794 w 44439"/>
                  <a:gd name="connsiteY10" fmla="*/ 24140 h 40599"/>
                  <a:gd name="connsiteX11" fmla="*/ 44440 w 44439"/>
                  <a:gd name="connsiteY11" fmla="*/ 40599 h 40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44439" h="40599">
                    <a:moveTo>
                      <a:pt x="44440" y="40599"/>
                    </a:moveTo>
                    <a:lnTo>
                      <a:pt x="24140" y="36759"/>
                    </a:lnTo>
                    <a:lnTo>
                      <a:pt x="0" y="2195"/>
                    </a:lnTo>
                    <a:lnTo>
                      <a:pt x="6035" y="0"/>
                    </a:lnTo>
                    <a:lnTo>
                      <a:pt x="11521" y="1646"/>
                    </a:lnTo>
                    <a:lnTo>
                      <a:pt x="14813" y="6584"/>
                    </a:lnTo>
                    <a:lnTo>
                      <a:pt x="19751" y="8778"/>
                    </a:lnTo>
                    <a:lnTo>
                      <a:pt x="24689" y="9327"/>
                    </a:lnTo>
                    <a:lnTo>
                      <a:pt x="30175" y="6584"/>
                    </a:lnTo>
                    <a:lnTo>
                      <a:pt x="35113" y="9327"/>
                    </a:lnTo>
                    <a:lnTo>
                      <a:pt x="42794" y="24140"/>
                    </a:lnTo>
                    <a:lnTo>
                      <a:pt x="44440" y="40599"/>
                    </a:lnTo>
                  </a:path>
                </a:pathLst>
              </a:custGeom>
              <a:grpFill/>
              <a:ln w="127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52" name="Graphic 7">
                <a:extLst>
                  <a:ext uri="{FF2B5EF4-FFF2-40B4-BE49-F238E27FC236}">
                    <a16:creationId xmlns:a16="http://schemas.microsoft.com/office/drawing/2014/main" id="{653BABF2-BCA3-036C-D730-46D51BE3DE1E}"/>
                  </a:ext>
                </a:extLst>
              </p:cNvPr>
              <p:cNvSpPr/>
              <p:nvPr/>
            </p:nvSpPr>
            <p:spPr>
              <a:xfrm>
                <a:off x="6558008" y="3119421"/>
                <a:ext cx="157311" cy="130736"/>
              </a:xfrm>
              <a:custGeom>
                <a:avLst/>
                <a:gdLst>
                  <a:gd name="connsiteX0" fmla="*/ 53767 w 201350"/>
                  <a:gd name="connsiteY0" fmla="*/ 0 h 167335"/>
                  <a:gd name="connsiteX1" fmla="*/ 59802 w 201350"/>
                  <a:gd name="connsiteY1" fmla="*/ 3840 h 167335"/>
                  <a:gd name="connsiteX2" fmla="*/ 64739 w 201350"/>
                  <a:gd name="connsiteY2" fmla="*/ 3292 h 167335"/>
                  <a:gd name="connsiteX3" fmla="*/ 75712 w 201350"/>
                  <a:gd name="connsiteY3" fmla="*/ 15910 h 167335"/>
                  <a:gd name="connsiteX4" fmla="*/ 80650 w 201350"/>
                  <a:gd name="connsiteY4" fmla="*/ 16459 h 167335"/>
                  <a:gd name="connsiteX5" fmla="*/ 86685 w 201350"/>
                  <a:gd name="connsiteY5" fmla="*/ 31821 h 167335"/>
                  <a:gd name="connsiteX6" fmla="*/ 103144 w 201350"/>
                  <a:gd name="connsiteY6" fmla="*/ 34015 h 167335"/>
                  <a:gd name="connsiteX7" fmla="*/ 108631 w 201350"/>
                  <a:gd name="connsiteY7" fmla="*/ 32918 h 167335"/>
                  <a:gd name="connsiteX8" fmla="*/ 111923 w 201350"/>
                  <a:gd name="connsiteY8" fmla="*/ 29078 h 167335"/>
                  <a:gd name="connsiteX9" fmla="*/ 116312 w 201350"/>
                  <a:gd name="connsiteY9" fmla="*/ 18654 h 167335"/>
                  <a:gd name="connsiteX10" fmla="*/ 126187 w 201350"/>
                  <a:gd name="connsiteY10" fmla="*/ 13716 h 167335"/>
                  <a:gd name="connsiteX11" fmla="*/ 132222 w 201350"/>
                  <a:gd name="connsiteY11" fmla="*/ 1646 h 167335"/>
                  <a:gd name="connsiteX12" fmla="*/ 172822 w 201350"/>
                  <a:gd name="connsiteY12" fmla="*/ 63094 h 167335"/>
                  <a:gd name="connsiteX13" fmla="*/ 178308 w 201350"/>
                  <a:gd name="connsiteY13" fmla="*/ 66385 h 167335"/>
                  <a:gd name="connsiteX14" fmla="*/ 187086 w 201350"/>
                  <a:gd name="connsiteY14" fmla="*/ 63094 h 167335"/>
                  <a:gd name="connsiteX15" fmla="*/ 192024 w 201350"/>
                  <a:gd name="connsiteY15" fmla="*/ 66934 h 167335"/>
                  <a:gd name="connsiteX16" fmla="*/ 195864 w 201350"/>
                  <a:gd name="connsiteY16" fmla="*/ 68031 h 167335"/>
                  <a:gd name="connsiteX17" fmla="*/ 201351 w 201350"/>
                  <a:gd name="connsiteY17" fmla="*/ 80101 h 167335"/>
                  <a:gd name="connsiteX18" fmla="*/ 194219 w 201350"/>
                  <a:gd name="connsiteY18" fmla="*/ 74066 h 167335"/>
                  <a:gd name="connsiteX19" fmla="*/ 183794 w 201350"/>
                  <a:gd name="connsiteY19" fmla="*/ 74615 h 167335"/>
                  <a:gd name="connsiteX20" fmla="*/ 177211 w 201350"/>
                  <a:gd name="connsiteY20" fmla="*/ 79553 h 167335"/>
                  <a:gd name="connsiteX21" fmla="*/ 171724 w 201350"/>
                  <a:gd name="connsiteY21" fmla="*/ 86685 h 167335"/>
                  <a:gd name="connsiteX22" fmla="*/ 161300 w 201350"/>
                  <a:gd name="connsiteY22" fmla="*/ 140452 h 167335"/>
                  <a:gd name="connsiteX23" fmla="*/ 152522 w 201350"/>
                  <a:gd name="connsiteY23" fmla="*/ 131125 h 167335"/>
                  <a:gd name="connsiteX24" fmla="*/ 147584 w 201350"/>
                  <a:gd name="connsiteY24" fmla="*/ 134965 h 167335"/>
                  <a:gd name="connsiteX25" fmla="*/ 147035 w 201350"/>
                  <a:gd name="connsiteY25" fmla="*/ 166238 h 167335"/>
                  <a:gd name="connsiteX26" fmla="*/ 147035 w 201350"/>
                  <a:gd name="connsiteY26" fmla="*/ 166238 h 167335"/>
                  <a:gd name="connsiteX27" fmla="*/ 144292 w 201350"/>
                  <a:gd name="connsiteY27" fmla="*/ 167335 h 167335"/>
                  <a:gd name="connsiteX28" fmla="*/ 134417 w 201350"/>
                  <a:gd name="connsiteY28" fmla="*/ 165689 h 167335"/>
                  <a:gd name="connsiteX29" fmla="*/ 129479 w 201350"/>
                  <a:gd name="connsiteY29" fmla="*/ 160751 h 167335"/>
                  <a:gd name="connsiteX30" fmla="*/ 123993 w 201350"/>
                  <a:gd name="connsiteY30" fmla="*/ 158557 h 167335"/>
                  <a:gd name="connsiteX31" fmla="*/ 120701 w 201350"/>
                  <a:gd name="connsiteY31" fmla="*/ 154168 h 167335"/>
                  <a:gd name="connsiteX32" fmla="*/ 112471 w 201350"/>
                  <a:gd name="connsiteY32" fmla="*/ 150327 h 167335"/>
                  <a:gd name="connsiteX33" fmla="*/ 115214 w 201350"/>
                  <a:gd name="connsiteY33" fmla="*/ 147584 h 167335"/>
                  <a:gd name="connsiteX34" fmla="*/ 125639 w 201350"/>
                  <a:gd name="connsiteY34" fmla="*/ 141000 h 167335"/>
                  <a:gd name="connsiteX35" fmla="*/ 120701 w 201350"/>
                  <a:gd name="connsiteY35" fmla="*/ 127284 h 167335"/>
                  <a:gd name="connsiteX36" fmla="*/ 121249 w 201350"/>
                  <a:gd name="connsiteY36" fmla="*/ 117958 h 167335"/>
                  <a:gd name="connsiteX37" fmla="*/ 109179 w 201350"/>
                  <a:gd name="connsiteY37" fmla="*/ 111374 h 167335"/>
                  <a:gd name="connsiteX38" fmla="*/ 92171 w 201350"/>
                  <a:gd name="connsiteY38" fmla="*/ 115214 h 167335"/>
                  <a:gd name="connsiteX39" fmla="*/ 76810 w 201350"/>
                  <a:gd name="connsiteY39" fmla="*/ 128382 h 167335"/>
                  <a:gd name="connsiteX40" fmla="*/ 72420 w 201350"/>
                  <a:gd name="connsiteY40" fmla="*/ 138806 h 167335"/>
                  <a:gd name="connsiteX41" fmla="*/ 64739 w 201350"/>
                  <a:gd name="connsiteY41" fmla="*/ 147584 h 167335"/>
                  <a:gd name="connsiteX42" fmla="*/ 57607 w 201350"/>
                  <a:gd name="connsiteY42" fmla="*/ 148681 h 167335"/>
                  <a:gd name="connsiteX43" fmla="*/ 54315 w 201350"/>
                  <a:gd name="connsiteY43" fmla="*/ 139354 h 167335"/>
                  <a:gd name="connsiteX44" fmla="*/ 51023 w 201350"/>
                  <a:gd name="connsiteY44" fmla="*/ 134965 h 167335"/>
                  <a:gd name="connsiteX45" fmla="*/ 55961 w 201350"/>
                  <a:gd name="connsiteY45" fmla="*/ 133319 h 167335"/>
                  <a:gd name="connsiteX46" fmla="*/ 57059 w 201350"/>
                  <a:gd name="connsiteY46" fmla="*/ 127833 h 167335"/>
                  <a:gd name="connsiteX47" fmla="*/ 52669 w 201350"/>
                  <a:gd name="connsiteY47" fmla="*/ 124541 h 167335"/>
                  <a:gd name="connsiteX48" fmla="*/ 53767 w 201350"/>
                  <a:gd name="connsiteY48" fmla="*/ 119055 h 167335"/>
                  <a:gd name="connsiteX49" fmla="*/ 55961 w 201350"/>
                  <a:gd name="connsiteY49" fmla="*/ 113568 h 167335"/>
                  <a:gd name="connsiteX50" fmla="*/ 51023 w 201350"/>
                  <a:gd name="connsiteY50" fmla="*/ 112471 h 167335"/>
                  <a:gd name="connsiteX51" fmla="*/ 44988 w 201350"/>
                  <a:gd name="connsiteY51" fmla="*/ 113020 h 167335"/>
                  <a:gd name="connsiteX52" fmla="*/ 35662 w 201350"/>
                  <a:gd name="connsiteY52" fmla="*/ 106985 h 167335"/>
                  <a:gd name="connsiteX53" fmla="*/ 28529 w 201350"/>
                  <a:gd name="connsiteY53" fmla="*/ 98755 h 167335"/>
                  <a:gd name="connsiteX54" fmla="*/ 27432 w 201350"/>
                  <a:gd name="connsiteY54" fmla="*/ 92720 h 167335"/>
                  <a:gd name="connsiteX55" fmla="*/ 32918 w 201350"/>
                  <a:gd name="connsiteY55" fmla="*/ 92720 h 167335"/>
                  <a:gd name="connsiteX56" fmla="*/ 35662 w 201350"/>
                  <a:gd name="connsiteY56" fmla="*/ 87234 h 167335"/>
                  <a:gd name="connsiteX57" fmla="*/ 34564 w 201350"/>
                  <a:gd name="connsiteY57" fmla="*/ 81199 h 167335"/>
                  <a:gd name="connsiteX58" fmla="*/ 20848 w 201350"/>
                  <a:gd name="connsiteY58" fmla="*/ 71872 h 167335"/>
                  <a:gd name="connsiteX59" fmla="*/ 17556 w 201350"/>
                  <a:gd name="connsiteY59" fmla="*/ 67483 h 167335"/>
                  <a:gd name="connsiteX60" fmla="*/ 15911 w 201350"/>
                  <a:gd name="connsiteY60" fmla="*/ 62545 h 167335"/>
                  <a:gd name="connsiteX61" fmla="*/ 15911 w 201350"/>
                  <a:gd name="connsiteY61" fmla="*/ 56510 h 167335"/>
                  <a:gd name="connsiteX62" fmla="*/ 19202 w 201350"/>
                  <a:gd name="connsiteY62" fmla="*/ 52121 h 167335"/>
                  <a:gd name="connsiteX63" fmla="*/ 18654 w 201350"/>
                  <a:gd name="connsiteY63" fmla="*/ 46634 h 167335"/>
                  <a:gd name="connsiteX64" fmla="*/ 13716 w 201350"/>
                  <a:gd name="connsiteY64" fmla="*/ 43891 h 167335"/>
                  <a:gd name="connsiteX65" fmla="*/ 8230 w 201350"/>
                  <a:gd name="connsiteY65" fmla="*/ 43342 h 167335"/>
                  <a:gd name="connsiteX66" fmla="*/ 0 w 201350"/>
                  <a:gd name="connsiteY66" fmla="*/ 29078 h 167335"/>
                  <a:gd name="connsiteX67" fmla="*/ 0 w 201350"/>
                  <a:gd name="connsiteY67" fmla="*/ 29078 h 167335"/>
                  <a:gd name="connsiteX68" fmla="*/ 12619 w 201350"/>
                  <a:gd name="connsiteY68" fmla="*/ 21946 h 167335"/>
                  <a:gd name="connsiteX69" fmla="*/ 23591 w 201350"/>
                  <a:gd name="connsiteY69" fmla="*/ 24140 h 167335"/>
                  <a:gd name="connsiteX70" fmla="*/ 27432 w 201350"/>
                  <a:gd name="connsiteY70" fmla="*/ 28529 h 167335"/>
                  <a:gd name="connsiteX71" fmla="*/ 37307 w 201350"/>
                  <a:gd name="connsiteY71" fmla="*/ 33467 h 167335"/>
                  <a:gd name="connsiteX72" fmla="*/ 42794 w 201350"/>
                  <a:gd name="connsiteY72" fmla="*/ 32370 h 167335"/>
                  <a:gd name="connsiteX73" fmla="*/ 58704 w 201350"/>
                  <a:gd name="connsiteY73" fmla="*/ 37856 h 167335"/>
                  <a:gd name="connsiteX74" fmla="*/ 61996 w 201350"/>
                  <a:gd name="connsiteY74" fmla="*/ 33467 h 167335"/>
                  <a:gd name="connsiteX75" fmla="*/ 59802 w 201350"/>
                  <a:gd name="connsiteY75" fmla="*/ 28529 h 167335"/>
                  <a:gd name="connsiteX76" fmla="*/ 51023 w 201350"/>
                  <a:gd name="connsiteY76" fmla="*/ 21397 h 167335"/>
                  <a:gd name="connsiteX77" fmla="*/ 48829 w 201350"/>
                  <a:gd name="connsiteY77" fmla="*/ 16459 h 167335"/>
                  <a:gd name="connsiteX78" fmla="*/ 44988 w 201350"/>
                  <a:gd name="connsiteY78" fmla="*/ 12619 h 167335"/>
                  <a:gd name="connsiteX79" fmla="*/ 46086 w 201350"/>
                  <a:gd name="connsiteY79" fmla="*/ 6583 h 167335"/>
                  <a:gd name="connsiteX80" fmla="*/ 53767 w 201350"/>
                  <a:gd name="connsiteY80" fmla="*/ 0 h 1673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</a:cxnLst>
                <a:rect l="l" t="t" r="r" b="b"/>
                <a:pathLst>
                  <a:path w="201350" h="167335">
                    <a:moveTo>
                      <a:pt x="53767" y="0"/>
                    </a:moveTo>
                    <a:lnTo>
                      <a:pt x="59802" y="3840"/>
                    </a:lnTo>
                    <a:lnTo>
                      <a:pt x="64739" y="3292"/>
                    </a:lnTo>
                    <a:lnTo>
                      <a:pt x="75712" y="15910"/>
                    </a:lnTo>
                    <a:lnTo>
                      <a:pt x="80650" y="16459"/>
                    </a:lnTo>
                    <a:lnTo>
                      <a:pt x="86685" y="31821"/>
                    </a:lnTo>
                    <a:lnTo>
                      <a:pt x="103144" y="34015"/>
                    </a:lnTo>
                    <a:lnTo>
                      <a:pt x="108631" y="32918"/>
                    </a:lnTo>
                    <a:lnTo>
                      <a:pt x="111923" y="29078"/>
                    </a:lnTo>
                    <a:lnTo>
                      <a:pt x="116312" y="18654"/>
                    </a:lnTo>
                    <a:lnTo>
                      <a:pt x="126187" y="13716"/>
                    </a:lnTo>
                    <a:lnTo>
                      <a:pt x="132222" y="1646"/>
                    </a:lnTo>
                    <a:lnTo>
                      <a:pt x="172822" y="63094"/>
                    </a:lnTo>
                    <a:lnTo>
                      <a:pt x="178308" y="66385"/>
                    </a:lnTo>
                    <a:lnTo>
                      <a:pt x="187086" y="63094"/>
                    </a:lnTo>
                    <a:lnTo>
                      <a:pt x="192024" y="66934"/>
                    </a:lnTo>
                    <a:lnTo>
                      <a:pt x="195864" y="68031"/>
                    </a:lnTo>
                    <a:lnTo>
                      <a:pt x="201351" y="80101"/>
                    </a:lnTo>
                    <a:lnTo>
                      <a:pt x="194219" y="74066"/>
                    </a:lnTo>
                    <a:lnTo>
                      <a:pt x="183794" y="74615"/>
                    </a:lnTo>
                    <a:lnTo>
                      <a:pt x="177211" y="79553"/>
                    </a:lnTo>
                    <a:lnTo>
                      <a:pt x="171724" y="86685"/>
                    </a:lnTo>
                    <a:lnTo>
                      <a:pt x="161300" y="140452"/>
                    </a:lnTo>
                    <a:lnTo>
                      <a:pt x="152522" y="131125"/>
                    </a:lnTo>
                    <a:lnTo>
                      <a:pt x="147584" y="134965"/>
                    </a:lnTo>
                    <a:lnTo>
                      <a:pt x="147035" y="166238"/>
                    </a:lnTo>
                    <a:lnTo>
                      <a:pt x="147035" y="166238"/>
                    </a:lnTo>
                    <a:lnTo>
                      <a:pt x="144292" y="167335"/>
                    </a:lnTo>
                    <a:lnTo>
                      <a:pt x="134417" y="165689"/>
                    </a:lnTo>
                    <a:lnTo>
                      <a:pt x="129479" y="160751"/>
                    </a:lnTo>
                    <a:lnTo>
                      <a:pt x="123993" y="158557"/>
                    </a:lnTo>
                    <a:lnTo>
                      <a:pt x="120701" y="154168"/>
                    </a:lnTo>
                    <a:lnTo>
                      <a:pt x="112471" y="150327"/>
                    </a:lnTo>
                    <a:lnTo>
                      <a:pt x="115214" y="147584"/>
                    </a:lnTo>
                    <a:lnTo>
                      <a:pt x="125639" y="141000"/>
                    </a:lnTo>
                    <a:lnTo>
                      <a:pt x="120701" y="127284"/>
                    </a:lnTo>
                    <a:lnTo>
                      <a:pt x="121249" y="117958"/>
                    </a:lnTo>
                    <a:lnTo>
                      <a:pt x="109179" y="111374"/>
                    </a:lnTo>
                    <a:lnTo>
                      <a:pt x="92171" y="115214"/>
                    </a:lnTo>
                    <a:lnTo>
                      <a:pt x="76810" y="128382"/>
                    </a:lnTo>
                    <a:lnTo>
                      <a:pt x="72420" y="138806"/>
                    </a:lnTo>
                    <a:lnTo>
                      <a:pt x="64739" y="147584"/>
                    </a:lnTo>
                    <a:lnTo>
                      <a:pt x="57607" y="148681"/>
                    </a:lnTo>
                    <a:lnTo>
                      <a:pt x="54315" y="139354"/>
                    </a:lnTo>
                    <a:lnTo>
                      <a:pt x="51023" y="134965"/>
                    </a:lnTo>
                    <a:lnTo>
                      <a:pt x="55961" y="133319"/>
                    </a:lnTo>
                    <a:lnTo>
                      <a:pt x="57059" y="127833"/>
                    </a:lnTo>
                    <a:lnTo>
                      <a:pt x="52669" y="124541"/>
                    </a:lnTo>
                    <a:lnTo>
                      <a:pt x="53767" y="119055"/>
                    </a:lnTo>
                    <a:lnTo>
                      <a:pt x="55961" y="113568"/>
                    </a:lnTo>
                    <a:lnTo>
                      <a:pt x="51023" y="112471"/>
                    </a:lnTo>
                    <a:lnTo>
                      <a:pt x="44988" y="113020"/>
                    </a:lnTo>
                    <a:lnTo>
                      <a:pt x="35662" y="106985"/>
                    </a:lnTo>
                    <a:lnTo>
                      <a:pt x="28529" y="98755"/>
                    </a:lnTo>
                    <a:lnTo>
                      <a:pt x="27432" y="92720"/>
                    </a:lnTo>
                    <a:lnTo>
                      <a:pt x="32918" y="92720"/>
                    </a:lnTo>
                    <a:lnTo>
                      <a:pt x="35662" y="87234"/>
                    </a:lnTo>
                    <a:lnTo>
                      <a:pt x="34564" y="81199"/>
                    </a:lnTo>
                    <a:lnTo>
                      <a:pt x="20848" y="71872"/>
                    </a:lnTo>
                    <a:lnTo>
                      <a:pt x="17556" y="67483"/>
                    </a:lnTo>
                    <a:lnTo>
                      <a:pt x="15911" y="62545"/>
                    </a:lnTo>
                    <a:lnTo>
                      <a:pt x="15911" y="56510"/>
                    </a:lnTo>
                    <a:lnTo>
                      <a:pt x="19202" y="52121"/>
                    </a:lnTo>
                    <a:lnTo>
                      <a:pt x="18654" y="46634"/>
                    </a:lnTo>
                    <a:lnTo>
                      <a:pt x="13716" y="43891"/>
                    </a:lnTo>
                    <a:lnTo>
                      <a:pt x="8230" y="43342"/>
                    </a:lnTo>
                    <a:lnTo>
                      <a:pt x="0" y="29078"/>
                    </a:lnTo>
                    <a:lnTo>
                      <a:pt x="0" y="29078"/>
                    </a:lnTo>
                    <a:lnTo>
                      <a:pt x="12619" y="21946"/>
                    </a:lnTo>
                    <a:lnTo>
                      <a:pt x="23591" y="24140"/>
                    </a:lnTo>
                    <a:lnTo>
                      <a:pt x="27432" y="28529"/>
                    </a:lnTo>
                    <a:lnTo>
                      <a:pt x="37307" y="33467"/>
                    </a:lnTo>
                    <a:lnTo>
                      <a:pt x="42794" y="32370"/>
                    </a:lnTo>
                    <a:lnTo>
                      <a:pt x="58704" y="37856"/>
                    </a:lnTo>
                    <a:lnTo>
                      <a:pt x="61996" y="33467"/>
                    </a:lnTo>
                    <a:lnTo>
                      <a:pt x="59802" y="28529"/>
                    </a:lnTo>
                    <a:lnTo>
                      <a:pt x="51023" y="21397"/>
                    </a:lnTo>
                    <a:lnTo>
                      <a:pt x="48829" y="16459"/>
                    </a:lnTo>
                    <a:lnTo>
                      <a:pt x="44988" y="12619"/>
                    </a:lnTo>
                    <a:lnTo>
                      <a:pt x="46086" y="6583"/>
                    </a:lnTo>
                    <a:lnTo>
                      <a:pt x="53767" y="0"/>
                    </a:lnTo>
                  </a:path>
                </a:pathLst>
              </a:custGeom>
              <a:grpFill/>
              <a:ln w="127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53" name="Graphic 7">
                <a:extLst>
                  <a:ext uri="{FF2B5EF4-FFF2-40B4-BE49-F238E27FC236}">
                    <a16:creationId xmlns:a16="http://schemas.microsoft.com/office/drawing/2014/main" id="{0AF79197-B748-4677-1E0D-E8BB946F9D8C}"/>
                  </a:ext>
                </a:extLst>
              </p:cNvPr>
              <p:cNvSpPr/>
              <p:nvPr/>
            </p:nvSpPr>
            <p:spPr>
              <a:xfrm>
                <a:off x="6187661" y="3373177"/>
                <a:ext cx="53151" cy="20574"/>
              </a:xfrm>
              <a:custGeom>
                <a:avLst/>
                <a:gdLst>
                  <a:gd name="connsiteX0" fmla="*/ 53218 w 68031"/>
                  <a:gd name="connsiteY0" fmla="*/ 549 h 26334"/>
                  <a:gd name="connsiteX1" fmla="*/ 47183 w 68031"/>
                  <a:gd name="connsiteY1" fmla="*/ 549 h 26334"/>
                  <a:gd name="connsiteX2" fmla="*/ 41697 w 68031"/>
                  <a:gd name="connsiteY2" fmla="*/ 549 h 26334"/>
                  <a:gd name="connsiteX3" fmla="*/ 34564 w 68031"/>
                  <a:gd name="connsiteY3" fmla="*/ 549 h 26334"/>
                  <a:gd name="connsiteX4" fmla="*/ 27432 w 68031"/>
                  <a:gd name="connsiteY4" fmla="*/ 2743 h 26334"/>
                  <a:gd name="connsiteX5" fmla="*/ 23043 w 68031"/>
                  <a:gd name="connsiteY5" fmla="*/ 2743 h 26334"/>
                  <a:gd name="connsiteX6" fmla="*/ 21397 w 68031"/>
                  <a:gd name="connsiteY6" fmla="*/ 0 h 26334"/>
                  <a:gd name="connsiteX7" fmla="*/ 0 w 68031"/>
                  <a:gd name="connsiteY7" fmla="*/ 6584 h 26334"/>
                  <a:gd name="connsiteX8" fmla="*/ 8778 w 68031"/>
                  <a:gd name="connsiteY8" fmla="*/ 21397 h 26334"/>
                  <a:gd name="connsiteX9" fmla="*/ 17557 w 68031"/>
                  <a:gd name="connsiteY9" fmla="*/ 25238 h 26334"/>
                  <a:gd name="connsiteX10" fmla="*/ 29627 w 68031"/>
                  <a:gd name="connsiteY10" fmla="*/ 26335 h 26334"/>
                  <a:gd name="connsiteX11" fmla="*/ 36759 w 68031"/>
                  <a:gd name="connsiteY11" fmla="*/ 21397 h 26334"/>
                  <a:gd name="connsiteX12" fmla="*/ 47183 w 68031"/>
                  <a:gd name="connsiteY12" fmla="*/ 19751 h 26334"/>
                  <a:gd name="connsiteX13" fmla="*/ 55413 w 68031"/>
                  <a:gd name="connsiteY13" fmla="*/ 12070 h 26334"/>
                  <a:gd name="connsiteX14" fmla="*/ 63642 w 68031"/>
                  <a:gd name="connsiteY14" fmla="*/ 10424 h 26334"/>
                  <a:gd name="connsiteX15" fmla="*/ 68031 w 68031"/>
                  <a:gd name="connsiteY15" fmla="*/ 4938 h 26334"/>
                  <a:gd name="connsiteX16" fmla="*/ 66934 w 68031"/>
                  <a:gd name="connsiteY16" fmla="*/ 1097 h 26334"/>
                  <a:gd name="connsiteX17" fmla="*/ 58705 w 68031"/>
                  <a:gd name="connsiteY17" fmla="*/ 549 h 263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68031" h="26334">
                    <a:moveTo>
                      <a:pt x="53218" y="549"/>
                    </a:moveTo>
                    <a:lnTo>
                      <a:pt x="47183" y="549"/>
                    </a:lnTo>
                    <a:lnTo>
                      <a:pt x="41697" y="549"/>
                    </a:lnTo>
                    <a:lnTo>
                      <a:pt x="34564" y="549"/>
                    </a:lnTo>
                    <a:lnTo>
                      <a:pt x="27432" y="2743"/>
                    </a:lnTo>
                    <a:lnTo>
                      <a:pt x="23043" y="2743"/>
                    </a:lnTo>
                    <a:lnTo>
                      <a:pt x="21397" y="0"/>
                    </a:lnTo>
                    <a:lnTo>
                      <a:pt x="0" y="6584"/>
                    </a:lnTo>
                    <a:lnTo>
                      <a:pt x="8778" y="21397"/>
                    </a:lnTo>
                    <a:lnTo>
                      <a:pt x="17557" y="25238"/>
                    </a:lnTo>
                    <a:lnTo>
                      <a:pt x="29627" y="26335"/>
                    </a:lnTo>
                    <a:lnTo>
                      <a:pt x="36759" y="21397"/>
                    </a:lnTo>
                    <a:lnTo>
                      <a:pt x="47183" y="19751"/>
                    </a:lnTo>
                    <a:lnTo>
                      <a:pt x="55413" y="12070"/>
                    </a:lnTo>
                    <a:lnTo>
                      <a:pt x="63642" y="10424"/>
                    </a:lnTo>
                    <a:lnTo>
                      <a:pt x="68031" y="4938"/>
                    </a:lnTo>
                    <a:lnTo>
                      <a:pt x="66934" y="1097"/>
                    </a:lnTo>
                    <a:lnTo>
                      <a:pt x="58705" y="549"/>
                    </a:lnTo>
                    <a:close/>
                  </a:path>
                </a:pathLst>
              </a:custGeom>
              <a:grpFill/>
              <a:ln w="127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54" name="Graphic 7">
                <a:extLst>
                  <a:ext uri="{FF2B5EF4-FFF2-40B4-BE49-F238E27FC236}">
                    <a16:creationId xmlns:a16="http://schemas.microsoft.com/office/drawing/2014/main" id="{8A34810E-802D-4EFB-ED59-92CCEB454A37}"/>
                  </a:ext>
                </a:extLst>
              </p:cNvPr>
              <p:cNvSpPr/>
              <p:nvPr/>
            </p:nvSpPr>
            <p:spPr>
              <a:xfrm>
                <a:off x="6204379" y="3353888"/>
                <a:ext cx="51008" cy="21432"/>
              </a:xfrm>
              <a:custGeom>
                <a:avLst/>
                <a:gdLst>
                  <a:gd name="connsiteX0" fmla="*/ 57607 w 65288"/>
                  <a:gd name="connsiteY0" fmla="*/ 12070 h 27432"/>
                  <a:gd name="connsiteX1" fmla="*/ 63642 w 65288"/>
                  <a:gd name="connsiteY1" fmla="*/ 6035 h 27432"/>
                  <a:gd name="connsiteX2" fmla="*/ 65288 w 65288"/>
                  <a:gd name="connsiteY2" fmla="*/ 0 h 27432"/>
                  <a:gd name="connsiteX3" fmla="*/ 62545 w 65288"/>
                  <a:gd name="connsiteY3" fmla="*/ 549 h 27432"/>
                  <a:gd name="connsiteX4" fmla="*/ 42245 w 65288"/>
                  <a:gd name="connsiteY4" fmla="*/ 10973 h 27432"/>
                  <a:gd name="connsiteX5" fmla="*/ 8230 w 65288"/>
                  <a:gd name="connsiteY5" fmla="*/ 17557 h 27432"/>
                  <a:gd name="connsiteX6" fmla="*/ 6035 w 65288"/>
                  <a:gd name="connsiteY6" fmla="*/ 16459 h 27432"/>
                  <a:gd name="connsiteX7" fmla="*/ 4938 w 65288"/>
                  <a:gd name="connsiteY7" fmla="*/ 23043 h 27432"/>
                  <a:gd name="connsiteX8" fmla="*/ 0 w 65288"/>
                  <a:gd name="connsiteY8" fmla="*/ 24689 h 27432"/>
                  <a:gd name="connsiteX9" fmla="*/ 1646 w 65288"/>
                  <a:gd name="connsiteY9" fmla="*/ 27432 h 27432"/>
                  <a:gd name="connsiteX10" fmla="*/ 6035 w 65288"/>
                  <a:gd name="connsiteY10" fmla="*/ 27432 h 27432"/>
                  <a:gd name="connsiteX11" fmla="*/ 13167 w 65288"/>
                  <a:gd name="connsiteY11" fmla="*/ 25238 h 27432"/>
                  <a:gd name="connsiteX12" fmla="*/ 20300 w 65288"/>
                  <a:gd name="connsiteY12" fmla="*/ 25238 h 27432"/>
                  <a:gd name="connsiteX13" fmla="*/ 25786 w 65288"/>
                  <a:gd name="connsiteY13" fmla="*/ 25238 h 27432"/>
                  <a:gd name="connsiteX14" fmla="*/ 31821 w 65288"/>
                  <a:gd name="connsiteY14" fmla="*/ 25238 h 27432"/>
                  <a:gd name="connsiteX15" fmla="*/ 37307 w 65288"/>
                  <a:gd name="connsiteY15" fmla="*/ 25238 h 27432"/>
                  <a:gd name="connsiteX16" fmla="*/ 45537 w 65288"/>
                  <a:gd name="connsiteY16" fmla="*/ 25786 h 27432"/>
                  <a:gd name="connsiteX17" fmla="*/ 52669 w 65288"/>
                  <a:gd name="connsiteY17" fmla="*/ 14265 h 27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65288" h="27432">
                    <a:moveTo>
                      <a:pt x="57607" y="12070"/>
                    </a:moveTo>
                    <a:lnTo>
                      <a:pt x="63642" y="6035"/>
                    </a:lnTo>
                    <a:lnTo>
                      <a:pt x="65288" y="0"/>
                    </a:lnTo>
                    <a:lnTo>
                      <a:pt x="62545" y="549"/>
                    </a:lnTo>
                    <a:lnTo>
                      <a:pt x="42245" y="10973"/>
                    </a:lnTo>
                    <a:lnTo>
                      <a:pt x="8230" y="17557"/>
                    </a:lnTo>
                    <a:lnTo>
                      <a:pt x="6035" y="16459"/>
                    </a:lnTo>
                    <a:lnTo>
                      <a:pt x="4938" y="23043"/>
                    </a:lnTo>
                    <a:lnTo>
                      <a:pt x="0" y="24689"/>
                    </a:lnTo>
                    <a:lnTo>
                      <a:pt x="1646" y="27432"/>
                    </a:lnTo>
                    <a:lnTo>
                      <a:pt x="6035" y="27432"/>
                    </a:lnTo>
                    <a:lnTo>
                      <a:pt x="13167" y="25238"/>
                    </a:lnTo>
                    <a:lnTo>
                      <a:pt x="20300" y="25238"/>
                    </a:lnTo>
                    <a:lnTo>
                      <a:pt x="25786" y="25238"/>
                    </a:lnTo>
                    <a:lnTo>
                      <a:pt x="31821" y="25238"/>
                    </a:lnTo>
                    <a:lnTo>
                      <a:pt x="37307" y="25238"/>
                    </a:lnTo>
                    <a:lnTo>
                      <a:pt x="45537" y="25786"/>
                    </a:lnTo>
                    <a:lnTo>
                      <a:pt x="52669" y="14265"/>
                    </a:lnTo>
                    <a:close/>
                  </a:path>
                </a:pathLst>
              </a:custGeom>
              <a:grpFill/>
              <a:ln w="127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grpSp>
            <p:nvGrpSpPr>
              <p:cNvPr id="55" name="Group 291">
                <a:extLst>
                  <a:ext uri="{FF2B5EF4-FFF2-40B4-BE49-F238E27FC236}">
                    <a16:creationId xmlns:a16="http://schemas.microsoft.com/office/drawing/2014/main" id="{B9892329-0682-2569-1F4B-F1D323145EFA}"/>
                  </a:ext>
                </a:extLst>
              </p:cNvPr>
              <p:cNvGrpSpPr/>
              <p:nvPr/>
            </p:nvGrpSpPr>
            <p:grpSpPr>
              <a:xfrm>
                <a:off x="4518958" y="1466148"/>
                <a:ext cx="2043257" cy="1882167"/>
                <a:chOff x="4518958" y="1466148"/>
                <a:chExt cx="2043257" cy="1882167"/>
              </a:xfrm>
              <a:grpFill/>
            </p:grpSpPr>
            <p:sp>
              <p:nvSpPr>
                <p:cNvPr id="57" name="Graphic 7">
                  <a:extLst>
                    <a:ext uri="{FF2B5EF4-FFF2-40B4-BE49-F238E27FC236}">
                      <a16:creationId xmlns:a16="http://schemas.microsoft.com/office/drawing/2014/main" id="{D848A942-24F7-9963-2E3C-D10FCAC1F105}"/>
                    </a:ext>
                  </a:extLst>
                </p:cNvPr>
                <p:cNvSpPr/>
                <p:nvPr/>
              </p:nvSpPr>
              <p:spPr>
                <a:xfrm>
                  <a:off x="5813886" y="2240704"/>
                  <a:ext cx="13287" cy="24432"/>
                </a:xfrm>
                <a:custGeom>
                  <a:avLst/>
                  <a:gdLst>
                    <a:gd name="connsiteX0" fmla="*/ 13167 w 17007"/>
                    <a:gd name="connsiteY0" fmla="*/ 3292 h 31272"/>
                    <a:gd name="connsiteX1" fmla="*/ 8230 w 17007"/>
                    <a:gd name="connsiteY1" fmla="*/ 2195 h 31272"/>
                    <a:gd name="connsiteX2" fmla="*/ 6584 w 17007"/>
                    <a:gd name="connsiteY2" fmla="*/ 0 h 31272"/>
                    <a:gd name="connsiteX3" fmla="*/ 2195 w 17007"/>
                    <a:gd name="connsiteY3" fmla="*/ 3292 h 31272"/>
                    <a:gd name="connsiteX4" fmla="*/ 4938 w 17007"/>
                    <a:gd name="connsiteY4" fmla="*/ 6584 h 31272"/>
                    <a:gd name="connsiteX5" fmla="*/ 4389 w 17007"/>
                    <a:gd name="connsiteY5" fmla="*/ 11521 h 31272"/>
                    <a:gd name="connsiteX6" fmla="*/ 0 w 17007"/>
                    <a:gd name="connsiteY6" fmla="*/ 10424 h 31272"/>
                    <a:gd name="connsiteX7" fmla="*/ 0 w 17007"/>
                    <a:gd name="connsiteY7" fmla="*/ 22494 h 31272"/>
                    <a:gd name="connsiteX8" fmla="*/ 9327 w 17007"/>
                    <a:gd name="connsiteY8" fmla="*/ 25237 h 31272"/>
                    <a:gd name="connsiteX9" fmla="*/ 14265 w 17007"/>
                    <a:gd name="connsiteY9" fmla="*/ 31273 h 31272"/>
                    <a:gd name="connsiteX10" fmla="*/ 17008 w 17007"/>
                    <a:gd name="connsiteY10" fmla="*/ 26335 h 31272"/>
                    <a:gd name="connsiteX11" fmla="*/ 12070 w 17007"/>
                    <a:gd name="connsiteY11" fmla="*/ 23592 h 31272"/>
                    <a:gd name="connsiteX12" fmla="*/ 10424 w 17007"/>
                    <a:gd name="connsiteY12" fmla="*/ 18105 h 31272"/>
                    <a:gd name="connsiteX13" fmla="*/ 14265 w 17007"/>
                    <a:gd name="connsiteY13" fmla="*/ 16459 h 31272"/>
                    <a:gd name="connsiteX14" fmla="*/ 16459 w 17007"/>
                    <a:gd name="connsiteY14" fmla="*/ 11521 h 31272"/>
                    <a:gd name="connsiteX15" fmla="*/ 17008 w 17007"/>
                    <a:gd name="connsiteY15" fmla="*/ 8230 h 31272"/>
                    <a:gd name="connsiteX16" fmla="*/ 13167 w 17007"/>
                    <a:gd name="connsiteY16" fmla="*/ 3292 h 312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17007" h="31272">
                      <a:moveTo>
                        <a:pt x="13167" y="3292"/>
                      </a:moveTo>
                      <a:lnTo>
                        <a:pt x="8230" y="2195"/>
                      </a:lnTo>
                      <a:lnTo>
                        <a:pt x="6584" y="0"/>
                      </a:lnTo>
                      <a:lnTo>
                        <a:pt x="2195" y="3292"/>
                      </a:lnTo>
                      <a:lnTo>
                        <a:pt x="4938" y="6584"/>
                      </a:lnTo>
                      <a:lnTo>
                        <a:pt x="4389" y="11521"/>
                      </a:lnTo>
                      <a:lnTo>
                        <a:pt x="0" y="10424"/>
                      </a:lnTo>
                      <a:lnTo>
                        <a:pt x="0" y="22494"/>
                      </a:lnTo>
                      <a:lnTo>
                        <a:pt x="9327" y="25237"/>
                      </a:lnTo>
                      <a:lnTo>
                        <a:pt x="14265" y="31273"/>
                      </a:lnTo>
                      <a:lnTo>
                        <a:pt x="17008" y="26335"/>
                      </a:lnTo>
                      <a:lnTo>
                        <a:pt x="12070" y="23592"/>
                      </a:lnTo>
                      <a:lnTo>
                        <a:pt x="10424" y="18105"/>
                      </a:lnTo>
                      <a:lnTo>
                        <a:pt x="14265" y="16459"/>
                      </a:lnTo>
                      <a:lnTo>
                        <a:pt x="16459" y="11521"/>
                      </a:lnTo>
                      <a:lnTo>
                        <a:pt x="17008" y="8230"/>
                      </a:lnTo>
                      <a:lnTo>
                        <a:pt x="13167" y="3292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58" name="Graphic 7">
                  <a:extLst>
                    <a:ext uri="{FF2B5EF4-FFF2-40B4-BE49-F238E27FC236}">
                      <a16:creationId xmlns:a16="http://schemas.microsoft.com/office/drawing/2014/main" id="{C3A2F991-A055-9B3D-E03B-8ED1E8568E51}"/>
                    </a:ext>
                  </a:extLst>
                </p:cNvPr>
                <p:cNvSpPr/>
                <p:nvPr/>
              </p:nvSpPr>
              <p:spPr>
                <a:xfrm>
                  <a:off x="5871752" y="2251420"/>
                  <a:ext cx="5572" cy="6858"/>
                </a:xfrm>
                <a:custGeom>
                  <a:avLst/>
                  <a:gdLst>
                    <a:gd name="connsiteX0" fmla="*/ 7132 w 7132"/>
                    <a:gd name="connsiteY0" fmla="*/ 3292 h 8778"/>
                    <a:gd name="connsiteX1" fmla="*/ 5486 w 7132"/>
                    <a:gd name="connsiteY1" fmla="*/ 0 h 8778"/>
                    <a:gd name="connsiteX2" fmla="*/ 1646 w 7132"/>
                    <a:gd name="connsiteY2" fmla="*/ 1097 h 8778"/>
                    <a:gd name="connsiteX3" fmla="*/ 0 w 7132"/>
                    <a:gd name="connsiteY3" fmla="*/ 5486 h 8778"/>
                    <a:gd name="connsiteX4" fmla="*/ 3292 w 7132"/>
                    <a:gd name="connsiteY4" fmla="*/ 8778 h 8778"/>
                    <a:gd name="connsiteX5" fmla="*/ 7132 w 7132"/>
                    <a:gd name="connsiteY5" fmla="*/ 8778 h 8778"/>
                    <a:gd name="connsiteX6" fmla="*/ 7132 w 7132"/>
                    <a:gd name="connsiteY6" fmla="*/ 3292 h 87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132" h="8778">
                      <a:moveTo>
                        <a:pt x="7132" y="3292"/>
                      </a:moveTo>
                      <a:lnTo>
                        <a:pt x="5486" y="0"/>
                      </a:lnTo>
                      <a:lnTo>
                        <a:pt x="1646" y="1097"/>
                      </a:lnTo>
                      <a:lnTo>
                        <a:pt x="0" y="5486"/>
                      </a:lnTo>
                      <a:lnTo>
                        <a:pt x="3292" y="8778"/>
                      </a:lnTo>
                      <a:lnTo>
                        <a:pt x="7132" y="8778"/>
                      </a:lnTo>
                      <a:lnTo>
                        <a:pt x="7132" y="3292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59" name="Graphic 7">
                  <a:extLst>
                    <a:ext uri="{FF2B5EF4-FFF2-40B4-BE49-F238E27FC236}">
                      <a16:creationId xmlns:a16="http://schemas.microsoft.com/office/drawing/2014/main" id="{A3C789F3-8F79-3E45-E00D-28A5518E0EB4}"/>
                    </a:ext>
                  </a:extLst>
                </p:cNvPr>
                <p:cNvSpPr/>
                <p:nvPr/>
              </p:nvSpPr>
              <p:spPr>
                <a:xfrm>
                  <a:off x="5891898" y="2248848"/>
                  <a:ext cx="12859" cy="14573"/>
                </a:xfrm>
                <a:custGeom>
                  <a:avLst/>
                  <a:gdLst>
                    <a:gd name="connsiteX0" fmla="*/ 10973 w 16459"/>
                    <a:gd name="connsiteY0" fmla="*/ 18654 h 18653"/>
                    <a:gd name="connsiteX1" fmla="*/ 13167 w 16459"/>
                    <a:gd name="connsiteY1" fmla="*/ 15911 h 18653"/>
                    <a:gd name="connsiteX2" fmla="*/ 16459 w 16459"/>
                    <a:gd name="connsiteY2" fmla="*/ 0 h 18653"/>
                    <a:gd name="connsiteX3" fmla="*/ 14265 w 16459"/>
                    <a:gd name="connsiteY3" fmla="*/ 2195 h 18653"/>
                    <a:gd name="connsiteX4" fmla="*/ 4938 w 16459"/>
                    <a:gd name="connsiteY4" fmla="*/ 6584 h 18653"/>
                    <a:gd name="connsiteX5" fmla="*/ 4389 w 16459"/>
                    <a:gd name="connsiteY5" fmla="*/ 11521 h 18653"/>
                    <a:gd name="connsiteX6" fmla="*/ 1646 w 16459"/>
                    <a:gd name="connsiteY6" fmla="*/ 13716 h 18653"/>
                    <a:gd name="connsiteX7" fmla="*/ 0 w 16459"/>
                    <a:gd name="connsiteY7" fmla="*/ 17557 h 18653"/>
                    <a:gd name="connsiteX8" fmla="*/ 6035 w 16459"/>
                    <a:gd name="connsiteY8" fmla="*/ 15911 h 18653"/>
                    <a:gd name="connsiteX9" fmla="*/ 10973 w 16459"/>
                    <a:gd name="connsiteY9" fmla="*/ 18654 h 186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6459" h="18653">
                      <a:moveTo>
                        <a:pt x="10973" y="18654"/>
                      </a:moveTo>
                      <a:lnTo>
                        <a:pt x="13167" y="15911"/>
                      </a:lnTo>
                      <a:lnTo>
                        <a:pt x="16459" y="0"/>
                      </a:lnTo>
                      <a:lnTo>
                        <a:pt x="14265" y="2195"/>
                      </a:lnTo>
                      <a:lnTo>
                        <a:pt x="4938" y="6584"/>
                      </a:lnTo>
                      <a:lnTo>
                        <a:pt x="4389" y="11521"/>
                      </a:lnTo>
                      <a:lnTo>
                        <a:pt x="1646" y="13716"/>
                      </a:lnTo>
                      <a:lnTo>
                        <a:pt x="0" y="17557"/>
                      </a:lnTo>
                      <a:lnTo>
                        <a:pt x="6035" y="15911"/>
                      </a:lnTo>
                      <a:lnTo>
                        <a:pt x="10973" y="18654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60" name="Graphic 7">
                  <a:extLst>
                    <a:ext uri="{FF2B5EF4-FFF2-40B4-BE49-F238E27FC236}">
                      <a16:creationId xmlns:a16="http://schemas.microsoft.com/office/drawing/2014/main" id="{4D25869C-55B7-6707-2828-7AB88A7D6617}"/>
                    </a:ext>
                  </a:extLst>
                </p:cNvPr>
                <p:cNvSpPr/>
                <p:nvPr/>
              </p:nvSpPr>
              <p:spPr>
                <a:xfrm>
                  <a:off x="5605137" y="3258729"/>
                  <a:ext cx="91729" cy="59152"/>
                </a:xfrm>
                <a:custGeom>
                  <a:avLst/>
                  <a:gdLst>
                    <a:gd name="connsiteX0" fmla="*/ 117409 w 117408"/>
                    <a:gd name="connsiteY0" fmla="*/ 0 h 75712"/>
                    <a:gd name="connsiteX1" fmla="*/ 115214 w 117408"/>
                    <a:gd name="connsiteY1" fmla="*/ 549 h 75712"/>
                    <a:gd name="connsiteX2" fmla="*/ 115214 w 117408"/>
                    <a:gd name="connsiteY2" fmla="*/ 1097 h 75712"/>
                    <a:gd name="connsiteX3" fmla="*/ 114666 w 117408"/>
                    <a:gd name="connsiteY3" fmla="*/ 8778 h 75712"/>
                    <a:gd name="connsiteX4" fmla="*/ 98207 w 117408"/>
                    <a:gd name="connsiteY4" fmla="*/ 41697 h 75712"/>
                    <a:gd name="connsiteX5" fmla="*/ 97658 w 117408"/>
                    <a:gd name="connsiteY5" fmla="*/ 44988 h 75712"/>
                    <a:gd name="connsiteX6" fmla="*/ 100401 w 117408"/>
                    <a:gd name="connsiteY6" fmla="*/ 47731 h 75712"/>
                    <a:gd name="connsiteX7" fmla="*/ 104242 w 117408"/>
                    <a:gd name="connsiteY7" fmla="*/ 59802 h 75712"/>
                    <a:gd name="connsiteX8" fmla="*/ 99304 w 117408"/>
                    <a:gd name="connsiteY8" fmla="*/ 75712 h 75712"/>
                    <a:gd name="connsiteX9" fmla="*/ 81199 w 117408"/>
                    <a:gd name="connsiteY9" fmla="*/ 73518 h 75712"/>
                    <a:gd name="connsiteX10" fmla="*/ 68031 w 117408"/>
                    <a:gd name="connsiteY10" fmla="*/ 60350 h 75712"/>
                    <a:gd name="connsiteX11" fmla="*/ 46634 w 117408"/>
                    <a:gd name="connsiteY11" fmla="*/ 53767 h 75712"/>
                    <a:gd name="connsiteX12" fmla="*/ 25786 w 117408"/>
                    <a:gd name="connsiteY12" fmla="*/ 38953 h 75712"/>
                    <a:gd name="connsiteX13" fmla="*/ 6035 w 117408"/>
                    <a:gd name="connsiteY13" fmla="*/ 32918 h 75712"/>
                    <a:gd name="connsiteX14" fmla="*/ 2195 w 117408"/>
                    <a:gd name="connsiteY14" fmla="*/ 27981 h 75712"/>
                    <a:gd name="connsiteX15" fmla="*/ 0 w 117408"/>
                    <a:gd name="connsiteY15" fmla="*/ 18105 h 75712"/>
                    <a:gd name="connsiteX16" fmla="*/ 1097 w 117408"/>
                    <a:gd name="connsiteY16" fmla="*/ 12619 h 75712"/>
                    <a:gd name="connsiteX17" fmla="*/ 3841 w 117408"/>
                    <a:gd name="connsiteY17" fmla="*/ 7132 h 75712"/>
                    <a:gd name="connsiteX18" fmla="*/ 7132 w 117408"/>
                    <a:gd name="connsiteY18" fmla="*/ 5486 h 75712"/>
                    <a:gd name="connsiteX19" fmla="*/ 13167 w 117408"/>
                    <a:gd name="connsiteY19" fmla="*/ 10424 h 75712"/>
                    <a:gd name="connsiteX20" fmla="*/ 17557 w 117408"/>
                    <a:gd name="connsiteY20" fmla="*/ 9875 h 75712"/>
                    <a:gd name="connsiteX21" fmla="*/ 28529 w 117408"/>
                    <a:gd name="connsiteY21" fmla="*/ 3840 h 75712"/>
                    <a:gd name="connsiteX22" fmla="*/ 42794 w 117408"/>
                    <a:gd name="connsiteY22" fmla="*/ 10424 h 75712"/>
                    <a:gd name="connsiteX23" fmla="*/ 45537 w 117408"/>
                    <a:gd name="connsiteY23" fmla="*/ 15362 h 75712"/>
                    <a:gd name="connsiteX24" fmla="*/ 81199 w 117408"/>
                    <a:gd name="connsiteY24" fmla="*/ 9327 h 75712"/>
                    <a:gd name="connsiteX25" fmla="*/ 87782 w 117408"/>
                    <a:gd name="connsiteY25" fmla="*/ 6035 h 75712"/>
                    <a:gd name="connsiteX26" fmla="*/ 100401 w 117408"/>
                    <a:gd name="connsiteY26" fmla="*/ 6035 h 75712"/>
                    <a:gd name="connsiteX27" fmla="*/ 104242 w 117408"/>
                    <a:gd name="connsiteY27" fmla="*/ 2743 h 75712"/>
                    <a:gd name="connsiteX28" fmla="*/ 111923 w 117408"/>
                    <a:gd name="connsiteY28" fmla="*/ 2194 h 75712"/>
                    <a:gd name="connsiteX29" fmla="*/ 117409 w 117408"/>
                    <a:gd name="connsiteY29" fmla="*/ 0 h 757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117408" h="75712">
                      <a:moveTo>
                        <a:pt x="117409" y="0"/>
                      </a:moveTo>
                      <a:lnTo>
                        <a:pt x="115214" y="549"/>
                      </a:lnTo>
                      <a:lnTo>
                        <a:pt x="115214" y="1097"/>
                      </a:lnTo>
                      <a:lnTo>
                        <a:pt x="114666" y="8778"/>
                      </a:lnTo>
                      <a:lnTo>
                        <a:pt x="98207" y="41697"/>
                      </a:lnTo>
                      <a:lnTo>
                        <a:pt x="97658" y="44988"/>
                      </a:lnTo>
                      <a:lnTo>
                        <a:pt x="100401" y="47731"/>
                      </a:lnTo>
                      <a:lnTo>
                        <a:pt x="104242" y="59802"/>
                      </a:lnTo>
                      <a:lnTo>
                        <a:pt x="99304" y="75712"/>
                      </a:lnTo>
                      <a:lnTo>
                        <a:pt x="81199" y="73518"/>
                      </a:lnTo>
                      <a:lnTo>
                        <a:pt x="68031" y="60350"/>
                      </a:lnTo>
                      <a:lnTo>
                        <a:pt x="46634" y="53767"/>
                      </a:lnTo>
                      <a:lnTo>
                        <a:pt x="25786" y="38953"/>
                      </a:lnTo>
                      <a:lnTo>
                        <a:pt x="6035" y="32918"/>
                      </a:lnTo>
                      <a:lnTo>
                        <a:pt x="2195" y="27981"/>
                      </a:lnTo>
                      <a:lnTo>
                        <a:pt x="0" y="18105"/>
                      </a:lnTo>
                      <a:lnTo>
                        <a:pt x="1097" y="12619"/>
                      </a:lnTo>
                      <a:lnTo>
                        <a:pt x="3841" y="7132"/>
                      </a:lnTo>
                      <a:lnTo>
                        <a:pt x="7132" y="5486"/>
                      </a:lnTo>
                      <a:lnTo>
                        <a:pt x="13167" y="10424"/>
                      </a:lnTo>
                      <a:lnTo>
                        <a:pt x="17557" y="9875"/>
                      </a:lnTo>
                      <a:lnTo>
                        <a:pt x="28529" y="3840"/>
                      </a:lnTo>
                      <a:lnTo>
                        <a:pt x="42794" y="10424"/>
                      </a:lnTo>
                      <a:lnTo>
                        <a:pt x="45537" y="15362"/>
                      </a:lnTo>
                      <a:lnTo>
                        <a:pt x="81199" y="9327"/>
                      </a:lnTo>
                      <a:lnTo>
                        <a:pt x="87782" y="6035"/>
                      </a:lnTo>
                      <a:lnTo>
                        <a:pt x="100401" y="6035"/>
                      </a:lnTo>
                      <a:lnTo>
                        <a:pt x="104242" y="2743"/>
                      </a:lnTo>
                      <a:lnTo>
                        <a:pt x="111923" y="2194"/>
                      </a:lnTo>
                      <a:lnTo>
                        <a:pt x="117409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61" name="Graphic 7">
                  <a:extLst>
                    <a:ext uri="{FF2B5EF4-FFF2-40B4-BE49-F238E27FC236}">
                      <a16:creationId xmlns:a16="http://schemas.microsoft.com/office/drawing/2014/main" id="{2E19CBF5-4F74-803F-B14C-61EC03E5711A}"/>
                    </a:ext>
                  </a:extLst>
                </p:cNvPr>
                <p:cNvSpPr/>
                <p:nvPr/>
              </p:nvSpPr>
              <p:spPr>
                <a:xfrm>
                  <a:off x="5479545" y="3144711"/>
                  <a:ext cx="43292" cy="92158"/>
                </a:xfrm>
                <a:custGeom>
                  <a:avLst/>
                  <a:gdLst>
                    <a:gd name="connsiteX0" fmla="*/ 35113 w 55412"/>
                    <a:gd name="connsiteY0" fmla="*/ 0 h 117957"/>
                    <a:gd name="connsiteX1" fmla="*/ 42794 w 55412"/>
                    <a:gd name="connsiteY1" fmla="*/ 2743 h 117957"/>
                    <a:gd name="connsiteX2" fmla="*/ 43891 w 55412"/>
                    <a:gd name="connsiteY2" fmla="*/ 4938 h 117957"/>
                    <a:gd name="connsiteX3" fmla="*/ 47732 w 55412"/>
                    <a:gd name="connsiteY3" fmla="*/ 7681 h 117957"/>
                    <a:gd name="connsiteX4" fmla="*/ 55413 w 55412"/>
                    <a:gd name="connsiteY4" fmla="*/ 29627 h 117957"/>
                    <a:gd name="connsiteX5" fmla="*/ 54315 w 55412"/>
                    <a:gd name="connsiteY5" fmla="*/ 93818 h 117957"/>
                    <a:gd name="connsiteX6" fmla="*/ 52121 w 55412"/>
                    <a:gd name="connsiteY6" fmla="*/ 98207 h 117957"/>
                    <a:gd name="connsiteX7" fmla="*/ 52121 w 55412"/>
                    <a:gd name="connsiteY7" fmla="*/ 101498 h 117957"/>
                    <a:gd name="connsiteX8" fmla="*/ 48280 w 55412"/>
                    <a:gd name="connsiteY8" fmla="*/ 104790 h 117957"/>
                    <a:gd name="connsiteX9" fmla="*/ 38953 w 55412"/>
                    <a:gd name="connsiteY9" fmla="*/ 102596 h 117957"/>
                    <a:gd name="connsiteX10" fmla="*/ 35662 w 55412"/>
                    <a:gd name="connsiteY10" fmla="*/ 105887 h 117957"/>
                    <a:gd name="connsiteX11" fmla="*/ 32370 w 55412"/>
                    <a:gd name="connsiteY11" fmla="*/ 112471 h 117957"/>
                    <a:gd name="connsiteX12" fmla="*/ 27981 w 55412"/>
                    <a:gd name="connsiteY12" fmla="*/ 116312 h 117957"/>
                    <a:gd name="connsiteX13" fmla="*/ 21397 w 55412"/>
                    <a:gd name="connsiteY13" fmla="*/ 117958 h 117957"/>
                    <a:gd name="connsiteX14" fmla="*/ 10424 w 55412"/>
                    <a:gd name="connsiteY14" fmla="*/ 104242 h 117957"/>
                    <a:gd name="connsiteX15" fmla="*/ 9327 w 55412"/>
                    <a:gd name="connsiteY15" fmla="*/ 98207 h 117957"/>
                    <a:gd name="connsiteX16" fmla="*/ 9875 w 55412"/>
                    <a:gd name="connsiteY16" fmla="*/ 94366 h 117957"/>
                    <a:gd name="connsiteX17" fmla="*/ 7681 w 55412"/>
                    <a:gd name="connsiteY17" fmla="*/ 88880 h 117957"/>
                    <a:gd name="connsiteX18" fmla="*/ 9875 w 55412"/>
                    <a:gd name="connsiteY18" fmla="*/ 74615 h 117957"/>
                    <a:gd name="connsiteX19" fmla="*/ 12070 w 55412"/>
                    <a:gd name="connsiteY19" fmla="*/ 72421 h 117957"/>
                    <a:gd name="connsiteX20" fmla="*/ 12619 w 55412"/>
                    <a:gd name="connsiteY20" fmla="*/ 68580 h 117957"/>
                    <a:gd name="connsiteX21" fmla="*/ 10973 w 55412"/>
                    <a:gd name="connsiteY21" fmla="*/ 66386 h 117957"/>
                    <a:gd name="connsiteX22" fmla="*/ 10424 w 55412"/>
                    <a:gd name="connsiteY22" fmla="*/ 47732 h 117957"/>
                    <a:gd name="connsiteX23" fmla="*/ 6584 w 55412"/>
                    <a:gd name="connsiteY23" fmla="*/ 36759 h 117957"/>
                    <a:gd name="connsiteX24" fmla="*/ 5486 w 55412"/>
                    <a:gd name="connsiteY24" fmla="*/ 35662 h 117957"/>
                    <a:gd name="connsiteX25" fmla="*/ 2195 w 55412"/>
                    <a:gd name="connsiteY25" fmla="*/ 35662 h 117957"/>
                    <a:gd name="connsiteX26" fmla="*/ 0 w 55412"/>
                    <a:gd name="connsiteY26" fmla="*/ 31821 h 117957"/>
                    <a:gd name="connsiteX27" fmla="*/ 0 w 55412"/>
                    <a:gd name="connsiteY27" fmla="*/ 17557 h 117957"/>
                    <a:gd name="connsiteX28" fmla="*/ 549 w 55412"/>
                    <a:gd name="connsiteY28" fmla="*/ 16459 h 117957"/>
                    <a:gd name="connsiteX29" fmla="*/ 6584 w 55412"/>
                    <a:gd name="connsiteY29" fmla="*/ 22494 h 117957"/>
                    <a:gd name="connsiteX30" fmla="*/ 13167 w 55412"/>
                    <a:gd name="connsiteY30" fmla="*/ 20848 h 117957"/>
                    <a:gd name="connsiteX31" fmla="*/ 27432 w 55412"/>
                    <a:gd name="connsiteY31" fmla="*/ 7681 h 117957"/>
                    <a:gd name="connsiteX32" fmla="*/ 31272 w 55412"/>
                    <a:gd name="connsiteY32" fmla="*/ 6035 h 117957"/>
                    <a:gd name="connsiteX33" fmla="*/ 35113 w 55412"/>
                    <a:gd name="connsiteY33" fmla="*/ 0 h 1179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</a:cxnLst>
                  <a:rect l="l" t="t" r="r" b="b"/>
                  <a:pathLst>
                    <a:path w="55412" h="117957">
                      <a:moveTo>
                        <a:pt x="35113" y="0"/>
                      </a:moveTo>
                      <a:lnTo>
                        <a:pt x="42794" y="2743"/>
                      </a:lnTo>
                      <a:lnTo>
                        <a:pt x="43891" y="4938"/>
                      </a:lnTo>
                      <a:lnTo>
                        <a:pt x="47732" y="7681"/>
                      </a:lnTo>
                      <a:lnTo>
                        <a:pt x="55413" y="29627"/>
                      </a:lnTo>
                      <a:lnTo>
                        <a:pt x="54315" y="93818"/>
                      </a:lnTo>
                      <a:lnTo>
                        <a:pt x="52121" y="98207"/>
                      </a:lnTo>
                      <a:lnTo>
                        <a:pt x="52121" y="101498"/>
                      </a:lnTo>
                      <a:lnTo>
                        <a:pt x="48280" y="104790"/>
                      </a:lnTo>
                      <a:lnTo>
                        <a:pt x="38953" y="102596"/>
                      </a:lnTo>
                      <a:lnTo>
                        <a:pt x="35662" y="105887"/>
                      </a:lnTo>
                      <a:lnTo>
                        <a:pt x="32370" y="112471"/>
                      </a:lnTo>
                      <a:lnTo>
                        <a:pt x="27981" y="116312"/>
                      </a:lnTo>
                      <a:lnTo>
                        <a:pt x="21397" y="117958"/>
                      </a:lnTo>
                      <a:lnTo>
                        <a:pt x="10424" y="104242"/>
                      </a:lnTo>
                      <a:lnTo>
                        <a:pt x="9327" y="98207"/>
                      </a:lnTo>
                      <a:lnTo>
                        <a:pt x="9875" y="94366"/>
                      </a:lnTo>
                      <a:lnTo>
                        <a:pt x="7681" y="88880"/>
                      </a:lnTo>
                      <a:lnTo>
                        <a:pt x="9875" y="74615"/>
                      </a:lnTo>
                      <a:lnTo>
                        <a:pt x="12070" y="72421"/>
                      </a:lnTo>
                      <a:lnTo>
                        <a:pt x="12619" y="68580"/>
                      </a:lnTo>
                      <a:lnTo>
                        <a:pt x="10973" y="66386"/>
                      </a:lnTo>
                      <a:lnTo>
                        <a:pt x="10424" y="47732"/>
                      </a:lnTo>
                      <a:lnTo>
                        <a:pt x="6584" y="36759"/>
                      </a:lnTo>
                      <a:lnTo>
                        <a:pt x="5486" y="35662"/>
                      </a:lnTo>
                      <a:lnTo>
                        <a:pt x="2195" y="35662"/>
                      </a:lnTo>
                      <a:lnTo>
                        <a:pt x="0" y="31821"/>
                      </a:lnTo>
                      <a:lnTo>
                        <a:pt x="0" y="17557"/>
                      </a:lnTo>
                      <a:lnTo>
                        <a:pt x="549" y="16459"/>
                      </a:lnTo>
                      <a:lnTo>
                        <a:pt x="6584" y="22494"/>
                      </a:lnTo>
                      <a:lnTo>
                        <a:pt x="13167" y="20848"/>
                      </a:lnTo>
                      <a:lnTo>
                        <a:pt x="27432" y="7681"/>
                      </a:lnTo>
                      <a:lnTo>
                        <a:pt x="31272" y="6035"/>
                      </a:lnTo>
                      <a:lnTo>
                        <a:pt x="35113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62" name="Graphic 7">
                  <a:extLst>
                    <a:ext uri="{FF2B5EF4-FFF2-40B4-BE49-F238E27FC236}">
                      <a16:creationId xmlns:a16="http://schemas.microsoft.com/office/drawing/2014/main" id="{829D6505-E0E8-81B7-A1EA-DB0850AA53D3}"/>
                    </a:ext>
                  </a:extLst>
                </p:cNvPr>
                <p:cNvSpPr/>
                <p:nvPr/>
              </p:nvSpPr>
              <p:spPr>
                <a:xfrm>
                  <a:off x="5997773" y="3216294"/>
                  <a:ext cx="22717" cy="16288"/>
                </a:xfrm>
                <a:custGeom>
                  <a:avLst/>
                  <a:gdLst>
                    <a:gd name="connsiteX0" fmla="*/ 24689 w 29077"/>
                    <a:gd name="connsiteY0" fmla="*/ 18105 h 20848"/>
                    <a:gd name="connsiteX1" fmla="*/ 29078 w 29077"/>
                    <a:gd name="connsiteY1" fmla="*/ 18654 h 20848"/>
                    <a:gd name="connsiteX2" fmla="*/ 18654 w 29077"/>
                    <a:gd name="connsiteY2" fmla="*/ 0 h 20848"/>
                    <a:gd name="connsiteX3" fmla="*/ 1646 w 29077"/>
                    <a:gd name="connsiteY3" fmla="*/ 7681 h 20848"/>
                    <a:gd name="connsiteX4" fmla="*/ 0 w 29077"/>
                    <a:gd name="connsiteY4" fmla="*/ 13716 h 20848"/>
                    <a:gd name="connsiteX5" fmla="*/ 4389 w 29077"/>
                    <a:gd name="connsiteY5" fmla="*/ 14813 h 20848"/>
                    <a:gd name="connsiteX6" fmla="*/ 9875 w 29077"/>
                    <a:gd name="connsiteY6" fmla="*/ 11521 h 20848"/>
                    <a:gd name="connsiteX7" fmla="*/ 14265 w 29077"/>
                    <a:gd name="connsiteY7" fmla="*/ 10973 h 20848"/>
                    <a:gd name="connsiteX8" fmla="*/ 10973 w 29077"/>
                    <a:gd name="connsiteY8" fmla="*/ 18654 h 20848"/>
                    <a:gd name="connsiteX9" fmla="*/ 17008 w 29077"/>
                    <a:gd name="connsiteY9" fmla="*/ 20848 h 20848"/>
                    <a:gd name="connsiteX10" fmla="*/ 22494 w 29077"/>
                    <a:gd name="connsiteY10" fmla="*/ 18105 h 20848"/>
                    <a:gd name="connsiteX11" fmla="*/ 22494 w 29077"/>
                    <a:gd name="connsiteY11" fmla="*/ 15362 h 20848"/>
                    <a:gd name="connsiteX12" fmla="*/ 24689 w 29077"/>
                    <a:gd name="connsiteY12" fmla="*/ 18105 h 208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29077" h="20848">
                      <a:moveTo>
                        <a:pt x="24689" y="18105"/>
                      </a:moveTo>
                      <a:lnTo>
                        <a:pt x="29078" y="18654"/>
                      </a:lnTo>
                      <a:lnTo>
                        <a:pt x="18654" y="0"/>
                      </a:lnTo>
                      <a:lnTo>
                        <a:pt x="1646" y="7681"/>
                      </a:lnTo>
                      <a:lnTo>
                        <a:pt x="0" y="13716"/>
                      </a:lnTo>
                      <a:lnTo>
                        <a:pt x="4389" y="14813"/>
                      </a:lnTo>
                      <a:lnTo>
                        <a:pt x="9875" y="11521"/>
                      </a:lnTo>
                      <a:lnTo>
                        <a:pt x="14265" y="10973"/>
                      </a:lnTo>
                      <a:lnTo>
                        <a:pt x="10973" y="18654"/>
                      </a:lnTo>
                      <a:lnTo>
                        <a:pt x="17008" y="20848"/>
                      </a:lnTo>
                      <a:lnTo>
                        <a:pt x="22494" y="18105"/>
                      </a:lnTo>
                      <a:lnTo>
                        <a:pt x="22494" y="15362"/>
                      </a:lnTo>
                      <a:lnTo>
                        <a:pt x="24689" y="18105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63" name="Graphic 7">
                  <a:extLst>
                    <a:ext uri="{FF2B5EF4-FFF2-40B4-BE49-F238E27FC236}">
                      <a16:creationId xmlns:a16="http://schemas.microsoft.com/office/drawing/2014/main" id="{CB3F15AC-99A8-83C2-9EB5-93BC3A723398}"/>
                    </a:ext>
                  </a:extLst>
                </p:cNvPr>
                <p:cNvSpPr/>
                <p:nvPr/>
              </p:nvSpPr>
              <p:spPr>
                <a:xfrm>
                  <a:off x="5998202" y="3246727"/>
                  <a:ext cx="7286" cy="15002"/>
                </a:xfrm>
                <a:custGeom>
                  <a:avLst/>
                  <a:gdLst>
                    <a:gd name="connsiteX0" fmla="*/ 3292 w 9326"/>
                    <a:gd name="connsiteY0" fmla="*/ 19202 h 19202"/>
                    <a:gd name="connsiteX1" fmla="*/ 7681 w 9326"/>
                    <a:gd name="connsiteY1" fmla="*/ 15911 h 19202"/>
                    <a:gd name="connsiteX2" fmla="*/ 9327 w 9326"/>
                    <a:gd name="connsiteY2" fmla="*/ 3841 h 19202"/>
                    <a:gd name="connsiteX3" fmla="*/ 7681 w 9326"/>
                    <a:gd name="connsiteY3" fmla="*/ 549 h 19202"/>
                    <a:gd name="connsiteX4" fmla="*/ 0 w 9326"/>
                    <a:gd name="connsiteY4" fmla="*/ 0 h 19202"/>
                    <a:gd name="connsiteX5" fmla="*/ 0 w 9326"/>
                    <a:gd name="connsiteY5" fmla="*/ 5486 h 19202"/>
                    <a:gd name="connsiteX6" fmla="*/ 3840 w 9326"/>
                    <a:gd name="connsiteY6" fmla="*/ 10973 h 19202"/>
                    <a:gd name="connsiteX7" fmla="*/ 1097 w 9326"/>
                    <a:gd name="connsiteY7" fmla="*/ 15362 h 19202"/>
                    <a:gd name="connsiteX8" fmla="*/ 1097 w 9326"/>
                    <a:gd name="connsiteY8" fmla="*/ 18654 h 19202"/>
                    <a:gd name="connsiteX9" fmla="*/ 3292 w 9326"/>
                    <a:gd name="connsiteY9" fmla="*/ 19202 h 192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9326" h="19202">
                      <a:moveTo>
                        <a:pt x="3292" y="19202"/>
                      </a:moveTo>
                      <a:lnTo>
                        <a:pt x="7681" y="15911"/>
                      </a:lnTo>
                      <a:lnTo>
                        <a:pt x="9327" y="3841"/>
                      </a:lnTo>
                      <a:lnTo>
                        <a:pt x="7681" y="549"/>
                      </a:lnTo>
                      <a:lnTo>
                        <a:pt x="0" y="0"/>
                      </a:lnTo>
                      <a:lnTo>
                        <a:pt x="0" y="5486"/>
                      </a:lnTo>
                      <a:lnTo>
                        <a:pt x="3840" y="10973"/>
                      </a:lnTo>
                      <a:lnTo>
                        <a:pt x="1097" y="15362"/>
                      </a:lnTo>
                      <a:lnTo>
                        <a:pt x="1097" y="18654"/>
                      </a:lnTo>
                      <a:lnTo>
                        <a:pt x="3292" y="19202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64" name="Graphic 7">
                  <a:extLst>
                    <a:ext uri="{FF2B5EF4-FFF2-40B4-BE49-F238E27FC236}">
                      <a16:creationId xmlns:a16="http://schemas.microsoft.com/office/drawing/2014/main" id="{DA4AF90E-F63C-8787-99D3-56C07D775651}"/>
                    </a:ext>
                  </a:extLst>
                </p:cNvPr>
                <p:cNvSpPr/>
                <p:nvPr/>
              </p:nvSpPr>
              <p:spPr>
                <a:xfrm>
                  <a:off x="6053497" y="3327313"/>
                  <a:ext cx="15859" cy="18859"/>
                </a:xfrm>
                <a:custGeom>
                  <a:avLst/>
                  <a:gdLst>
                    <a:gd name="connsiteX0" fmla="*/ 12619 w 20299"/>
                    <a:gd name="connsiteY0" fmla="*/ 17556 h 24139"/>
                    <a:gd name="connsiteX1" fmla="*/ 15362 w 20299"/>
                    <a:gd name="connsiteY1" fmla="*/ 16459 h 24139"/>
                    <a:gd name="connsiteX2" fmla="*/ 15911 w 20299"/>
                    <a:gd name="connsiteY2" fmla="*/ 12619 h 24139"/>
                    <a:gd name="connsiteX3" fmla="*/ 18654 w 20299"/>
                    <a:gd name="connsiteY3" fmla="*/ 7681 h 24139"/>
                    <a:gd name="connsiteX4" fmla="*/ 20300 w 20299"/>
                    <a:gd name="connsiteY4" fmla="*/ 0 h 24139"/>
                    <a:gd name="connsiteX5" fmla="*/ 10424 w 20299"/>
                    <a:gd name="connsiteY5" fmla="*/ 3840 h 24139"/>
                    <a:gd name="connsiteX6" fmla="*/ 549 w 20299"/>
                    <a:gd name="connsiteY6" fmla="*/ 12619 h 24139"/>
                    <a:gd name="connsiteX7" fmla="*/ 0 w 20299"/>
                    <a:gd name="connsiteY7" fmla="*/ 16459 h 24139"/>
                    <a:gd name="connsiteX8" fmla="*/ 549 w 20299"/>
                    <a:gd name="connsiteY8" fmla="*/ 24140 h 24139"/>
                    <a:gd name="connsiteX9" fmla="*/ 12619 w 20299"/>
                    <a:gd name="connsiteY9" fmla="*/ 17556 h 241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0299" h="24139">
                      <a:moveTo>
                        <a:pt x="12619" y="17556"/>
                      </a:moveTo>
                      <a:lnTo>
                        <a:pt x="15362" y="16459"/>
                      </a:lnTo>
                      <a:lnTo>
                        <a:pt x="15911" y="12619"/>
                      </a:lnTo>
                      <a:lnTo>
                        <a:pt x="18654" y="7681"/>
                      </a:lnTo>
                      <a:lnTo>
                        <a:pt x="20300" y="0"/>
                      </a:lnTo>
                      <a:lnTo>
                        <a:pt x="10424" y="3840"/>
                      </a:lnTo>
                      <a:lnTo>
                        <a:pt x="549" y="12619"/>
                      </a:lnTo>
                      <a:lnTo>
                        <a:pt x="0" y="16459"/>
                      </a:lnTo>
                      <a:lnTo>
                        <a:pt x="549" y="24140"/>
                      </a:lnTo>
                      <a:lnTo>
                        <a:pt x="12619" y="17556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65" name="Graphic 7">
                  <a:extLst>
                    <a:ext uri="{FF2B5EF4-FFF2-40B4-BE49-F238E27FC236}">
                      <a16:creationId xmlns:a16="http://schemas.microsoft.com/office/drawing/2014/main" id="{B77A68FC-88C5-E054-14F6-3879F5B9FBC2}"/>
                    </a:ext>
                  </a:extLst>
                </p:cNvPr>
                <p:cNvSpPr/>
                <p:nvPr/>
              </p:nvSpPr>
              <p:spPr>
                <a:xfrm>
                  <a:off x="5963481" y="3271589"/>
                  <a:ext cx="8572" cy="11573"/>
                </a:xfrm>
                <a:custGeom>
                  <a:avLst/>
                  <a:gdLst>
                    <a:gd name="connsiteX0" fmla="*/ 9327 w 10972"/>
                    <a:gd name="connsiteY0" fmla="*/ 14813 h 14813"/>
                    <a:gd name="connsiteX1" fmla="*/ 10973 w 10972"/>
                    <a:gd name="connsiteY1" fmla="*/ 12070 h 14813"/>
                    <a:gd name="connsiteX2" fmla="*/ 10973 w 10972"/>
                    <a:gd name="connsiteY2" fmla="*/ 7681 h 14813"/>
                    <a:gd name="connsiteX3" fmla="*/ 9875 w 10972"/>
                    <a:gd name="connsiteY3" fmla="*/ 4389 h 14813"/>
                    <a:gd name="connsiteX4" fmla="*/ 5486 w 10972"/>
                    <a:gd name="connsiteY4" fmla="*/ 1646 h 14813"/>
                    <a:gd name="connsiteX5" fmla="*/ 549 w 10972"/>
                    <a:gd name="connsiteY5" fmla="*/ 0 h 14813"/>
                    <a:gd name="connsiteX6" fmla="*/ 0 w 10972"/>
                    <a:gd name="connsiteY6" fmla="*/ 3292 h 14813"/>
                    <a:gd name="connsiteX7" fmla="*/ 3292 w 10972"/>
                    <a:gd name="connsiteY7" fmla="*/ 7132 h 14813"/>
                    <a:gd name="connsiteX8" fmla="*/ 7132 w 10972"/>
                    <a:gd name="connsiteY8" fmla="*/ 14813 h 14813"/>
                    <a:gd name="connsiteX9" fmla="*/ 9327 w 10972"/>
                    <a:gd name="connsiteY9" fmla="*/ 14813 h 148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0972" h="14813">
                      <a:moveTo>
                        <a:pt x="9327" y="14813"/>
                      </a:moveTo>
                      <a:lnTo>
                        <a:pt x="10973" y="12070"/>
                      </a:lnTo>
                      <a:lnTo>
                        <a:pt x="10973" y="7681"/>
                      </a:lnTo>
                      <a:lnTo>
                        <a:pt x="9875" y="4389"/>
                      </a:lnTo>
                      <a:lnTo>
                        <a:pt x="5486" y="1646"/>
                      </a:lnTo>
                      <a:lnTo>
                        <a:pt x="549" y="0"/>
                      </a:lnTo>
                      <a:lnTo>
                        <a:pt x="0" y="3292"/>
                      </a:lnTo>
                      <a:lnTo>
                        <a:pt x="3292" y="7132"/>
                      </a:lnTo>
                      <a:lnTo>
                        <a:pt x="7132" y="14813"/>
                      </a:lnTo>
                      <a:lnTo>
                        <a:pt x="9327" y="14813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66" name="Graphic 7">
                  <a:extLst>
                    <a:ext uri="{FF2B5EF4-FFF2-40B4-BE49-F238E27FC236}">
                      <a16:creationId xmlns:a16="http://schemas.microsoft.com/office/drawing/2014/main" id="{1108A5ED-EC54-9438-B2FF-4FEE6457170E}"/>
                    </a:ext>
                  </a:extLst>
                </p:cNvPr>
                <p:cNvSpPr/>
                <p:nvPr/>
              </p:nvSpPr>
              <p:spPr>
                <a:xfrm>
                  <a:off x="5858893" y="3258729"/>
                  <a:ext cx="68582" cy="70297"/>
                </a:xfrm>
                <a:custGeom>
                  <a:avLst/>
                  <a:gdLst>
                    <a:gd name="connsiteX0" fmla="*/ 33467 w 87782"/>
                    <a:gd name="connsiteY0" fmla="*/ 0 h 89976"/>
                    <a:gd name="connsiteX1" fmla="*/ 24689 w 87782"/>
                    <a:gd name="connsiteY1" fmla="*/ 1646 h 89976"/>
                    <a:gd name="connsiteX2" fmla="*/ 14813 w 87782"/>
                    <a:gd name="connsiteY2" fmla="*/ 8230 h 89976"/>
                    <a:gd name="connsiteX3" fmla="*/ 9327 w 87782"/>
                    <a:gd name="connsiteY3" fmla="*/ 6035 h 89976"/>
                    <a:gd name="connsiteX4" fmla="*/ 1097 w 87782"/>
                    <a:gd name="connsiteY4" fmla="*/ 18654 h 89976"/>
                    <a:gd name="connsiteX5" fmla="*/ 0 w 87782"/>
                    <a:gd name="connsiteY5" fmla="*/ 25237 h 89976"/>
                    <a:gd name="connsiteX6" fmla="*/ 4389 w 87782"/>
                    <a:gd name="connsiteY6" fmla="*/ 34015 h 89976"/>
                    <a:gd name="connsiteX7" fmla="*/ 14813 w 87782"/>
                    <a:gd name="connsiteY7" fmla="*/ 38953 h 89976"/>
                    <a:gd name="connsiteX8" fmla="*/ 19751 w 87782"/>
                    <a:gd name="connsiteY8" fmla="*/ 47731 h 89976"/>
                    <a:gd name="connsiteX9" fmla="*/ 16459 w 87782"/>
                    <a:gd name="connsiteY9" fmla="*/ 59253 h 89976"/>
                    <a:gd name="connsiteX10" fmla="*/ 18105 w 87782"/>
                    <a:gd name="connsiteY10" fmla="*/ 68031 h 89976"/>
                    <a:gd name="connsiteX11" fmla="*/ 21946 w 87782"/>
                    <a:gd name="connsiteY11" fmla="*/ 72420 h 89976"/>
                    <a:gd name="connsiteX12" fmla="*/ 27432 w 87782"/>
                    <a:gd name="connsiteY12" fmla="*/ 74615 h 89976"/>
                    <a:gd name="connsiteX13" fmla="*/ 29078 w 87782"/>
                    <a:gd name="connsiteY13" fmla="*/ 66934 h 89976"/>
                    <a:gd name="connsiteX14" fmla="*/ 33467 w 87782"/>
                    <a:gd name="connsiteY14" fmla="*/ 60899 h 89976"/>
                    <a:gd name="connsiteX15" fmla="*/ 36210 w 87782"/>
                    <a:gd name="connsiteY15" fmla="*/ 65837 h 89976"/>
                    <a:gd name="connsiteX16" fmla="*/ 41697 w 87782"/>
                    <a:gd name="connsiteY16" fmla="*/ 70774 h 89976"/>
                    <a:gd name="connsiteX17" fmla="*/ 45537 w 87782"/>
                    <a:gd name="connsiteY17" fmla="*/ 89428 h 89976"/>
                    <a:gd name="connsiteX18" fmla="*/ 48829 w 87782"/>
                    <a:gd name="connsiteY18" fmla="*/ 89977 h 89976"/>
                    <a:gd name="connsiteX19" fmla="*/ 52121 w 87782"/>
                    <a:gd name="connsiteY19" fmla="*/ 75712 h 89976"/>
                    <a:gd name="connsiteX20" fmla="*/ 58156 w 87782"/>
                    <a:gd name="connsiteY20" fmla="*/ 72969 h 89976"/>
                    <a:gd name="connsiteX21" fmla="*/ 62545 w 87782"/>
                    <a:gd name="connsiteY21" fmla="*/ 80101 h 89976"/>
                    <a:gd name="connsiteX22" fmla="*/ 67483 w 87782"/>
                    <a:gd name="connsiteY22" fmla="*/ 85039 h 89976"/>
                    <a:gd name="connsiteX23" fmla="*/ 73518 w 87782"/>
                    <a:gd name="connsiteY23" fmla="*/ 88331 h 89976"/>
                    <a:gd name="connsiteX24" fmla="*/ 67483 w 87782"/>
                    <a:gd name="connsiteY24" fmla="*/ 52669 h 89976"/>
                    <a:gd name="connsiteX25" fmla="*/ 62545 w 87782"/>
                    <a:gd name="connsiteY25" fmla="*/ 45537 h 89976"/>
                    <a:gd name="connsiteX26" fmla="*/ 60350 w 87782"/>
                    <a:gd name="connsiteY26" fmla="*/ 37307 h 89976"/>
                    <a:gd name="connsiteX27" fmla="*/ 72969 w 87782"/>
                    <a:gd name="connsiteY27" fmla="*/ 44988 h 89976"/>
                    <a:gd name="connsiteX28" fmla="*/ 74066 w 87782"/>
                    <a:gd name="connsiteY28" fmla="*/ 49378 h 89976"/>
                    <a:gd name="connsiteX29" fmla="*/ 77358 w 87782"/>
                    <a:gd name="connsiteY29" fmla="*/ 48280 h 89976"/>
                    <a:gd name="connsiteX30" fmla="*/ 81747 w 87782"/>
                    <a:gd name="connsiteY30" fmla="*/ 43891 h 89976"/>
                    <a:gd name="connsiteX31" fmla="*/ 87782 w 87782"/>
                    <a:gd name="connsiteY31" fmla="*/ 43342 h 89976"/>
                    <a:gd name="connsiteX32" fmla="*/ 86685 w 87782"/>
                    <a:gd name="connsiteY32" fmla="*/ 38405 h 89976"/>
                    <a:gd name="connsiteX33" fmla="*/ 77907 w 87782"/>
                    <a:gd name="connsiteY33" fmla="*/ 32918 h 89976"/>
                    <a:gd name="connsiteX34" fmla="*/ 72969 w 87782"/>
                    <a:gd name="connsiteY34" fmla="*/ 23043 h 89976"/>
                    <a:gd name="connsiteX35" fmla="*/ 73518 w 87782"/>
                    <a:gd name="connsiteY35" fmla="*/ 17556 h 89976"/>
                    <a:gd name="connsiteX36" fmla="*/ 42245 w 87782"/>
                    <a:gd name="connsiteY36" fmla="*/ 5486 h 89976"/>
                    <a:gd name="connsiteX37" fmla="*/ 38405 w 87782"/>
                    <a:gd name="connsiteY37" fmla="*/ 5486 h 89976"/>
                    <a:gd name="connsiteX38" fmla="*/ 33467 w 87782"/>
                    <a:gd name="connsiteY38" fmla="*/ 0 h 899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</a:cxnLst>
                  <a:rect l="l" t="t" r="r" b="b"/>
                  <a:pathLst>
                    <a:path w="87782" h="89976">
                      <a:moveTo>
                        <a:pt x="33467" y="0"/>
                      </a:moveTo>
                      <a:lnTo>
                        <a:pt x="24689" y="1646"/>
                      </a:lnTo>
                      <a:lnTo>
                        <a:pt x="14813" y="8230"/>
                      </a:lnTo>
                      <a:lnTo>
                        <a:pt x="9327" y="6035"/>
                      </a:lnTo>
                      <a:lnTo>
                        <a:pt x="1097" y="18654"/>
                      </a:lnTo>
                      <a:lnTo>
                        <a:pt x="0" y="25237"/>
                      </a:lnTo>
                      <a:lnTo>
                        <a:pt x="4389" y="34015"/>
                      </a:lnTo>
                      <a:lnTo>
                        <a:pt x="14813" y="38953"/>
                      </a:lnTo>
                      <a:lnTo>
                        <a:pt x="19751" y="47731"/>
                      </a:lnTo>
                      <a:lnTo>
                        <a:pt x="16459" y="59253"/>
                      </a:lnTo>
                      <a:lnTo>
                        <a:pt x="18105" y="68031"/>
                      </a:lnTo>
                      <a:lnTo>
                        <a:pt x="21946" y="72420"/>
                      </a:lnTo>
                      <a:lnTo>
                        <a:pt x="27432" y="74615"/>
                      </a:lnTo>
                      <a:lnTo>
                        <a:pt x="29078" y="66934"/>
                      </a:lnTo>
                      <a:lnTo>
                        <a:pt x="33467" y="60899"/>
                      </a:lnTo>
                      <a:lnTo>
                        <a:pt x="36210" y="65837"/>
                      </a:lnTo>
                      <a:lnTo>
                        <a:pt x="41697" y="70774"/>
                      </a:lnTo>
                      <a:lnTo>
                        <a:pt x="45537" y="89428"/>
                      </a:lnTo>
                      <a:lnTo>
                        <a:pt x="48829" y="89977"/>
                      </a:lnTo>
                      <a:lnTo>
                        <a:pt x="52121" y="75712"/>
                      </a:lnTo>
                      <a:lnTo>
                        <a:pt x="58156" y="72969"/>
                      </a:lnTo>
                      <a:lnTo>
                        <a:pt x="62545" y="80101"/>
                      </a:lnTo>
                      <a:lnTo>
                        <a:pt x="67483" y="85039"/>
                      </a:lnTo>
                      <a:lnTo>
                        <a:pt x="73518" y="88331"/>
                      </a:lnTo>
                      <a:lnTo>
                        <a:pt x="67483" y="52669"/>
                      </a:lnTo>
                      <a:lnTo>
                        <a:pt x="62545" y="45537"/>
                      </a:lnTo>
                      <a:lnTo>
                        <a:pt x="60350" y="37307"/>
                      </a:lnTo>
                      <a:lnTo>
                        <a:pt x="72969" y="44988"/>
                      </a:lnTo>
                      <a:lnTo>
                        <a:pt x="74066" y="49378"/>
                      </a:lnTo>
                      <a:lnTo>
                        <a:pt x="77358" y="48280"/>
                      </a:lnTo>
                      <a:lnTo>
                        <a:pt x="81747" y="43891"/>
                      </a:lnTo>
                      <a:lnTo>
                        <a:pt x="87782" y="43342"/>
                      </a:lnTo>
                      <a:lnTo>
                        <a:pt x="86685" y="38405"/>
                      </a:lnTo>
                      <a:lnTo>
                        <a:pt x="77907" y="32918"/>
                      </a:lnTo>
                      <a:lnTo>
                        <a:pt x="72969" y="23043"/>
                      </a:lnTo>
                      <a:lnTo>
                        <a:pt x="73518" y="17556"/>
                      </a:lnTo>
                      <a:lnTo>
                        <a:pt x="42245" y="5486"/>
                      </a:lnTo>
                      <a:lnTo>
                        <a:pt x="38405" y="5486"/>
                      </a:lnTo>
                      <a:lnTo>
                        <a:pt x="33467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67" name="Graphic 7">
                  <a:extLst>
                    <a:ext uri="{FF2B5EF4-FFF2-40B4-BE49-F238E27FC236}">
                      <a16:creationId xmlns:a16="http://schemas.microsoft.com/office/drawing/2014/main" id="{CC035F25-8F40-3053-AA86-53F7181BE54C}"/>
                    </a:ext>
                  </a:extLst>
                </p:cNvPr>
                <p:cNvSpPr/>
                <p:nvPr/>
              </p:nvSpPr>
              <p:spPr>
                <a:xfrm>
                  <a:off x="5912473" y="3232154"/>
                  <a:ext cx="48436" cy="40720"/>
                </a:xfrm>
                <a:custGeom>
                  <a:avLst/>
                  <a:gdLst>
                    <a:gd name="connsiteX0" fmla="*/ 60350 w 61996"/>
                    <a:gd name="connsiteY0" fmla="*/ 45537 h 52120"/>
                    <a:gd name="connsiteX1" fmla="*/ 61996 w 61996"/>
                    <a:gd name="connsiteY1" fmla="*/ 47732 h 52120"/>
                    <a:gd name="connsiteX2" fmla="*/ 61448 w 61996"/>
                    <a:gd name="connsiteY2" fmla="*/ 41697 h 52120"/>
                    <a:gd name="connsiteX3" fmla="*/ 51023 w 61996"/>
                    <a:gd name="connsiteY3" fmla="*/ 38405 h 52120"/>
                    <a:gd name="connsiteX4" fmla="*/ 46634 w 61996"/>
                    <a:gd name="connsiteY4" fmla="*/ 28529 h 52120"/>
                    <a:gd name="connsiteX5" fmla="*/ 46634 w 61996"/>
                    <a:gd name="connsiteY5" fmla="*/ 22494 h 52120"/>
                    <a:gd name="connsiteX6" fmla="*/ 42794 w 61996"/>
                    <a:gd name="connsiteY6" fmla="*/ 18654 h 52120"/>
                    <a:gd name="connsiteX7" fmla="*/ 32918 w 61996"/>
                    <a:gd name="connsiteY7" fmla="*/ 16459 h 52120"/>
                    <a:gd name="connsiteX8" fmla="*/ 25786 w 61996"/>
                    <a:gd name="connsiteY8" fmla="*/ 13167 h 52120"/>
                    <a:gd name="connsiteX9" fmla="*/ 14813 w 61996"/>
                    <a:gd name="connsiteY9" fmla="*/ 3292 h 52120"/>
                    <a:gd name="connsiteX10" fmla="*/ 13716 w 61996"/>
                    <a:gd name="connsiteY10" fmla="*/ 0 h 52120"/>
                    <a:gd name="connsiteX11" fmla="*/ 9327 w 61996"/>
                    <a:gd name="connsiteY11" fmla="*/ 0 h 52120"/>
                    <a:gd name="connsiteX12" fmla="*/ 0 w 61996"/>
                    <a:gd name="connsiteY12" fmla="*/ 8778 h 52120"/>
                    <a:gd name="connsiteX13" fmla="*/ 7132 w 61996"/>
                    <a:gd name="connsiteY13" fmla="*/ 8778 h 52120"/>
                    <a:gd name="connsiteX14" fmla="*/ 21397 w 61996"/>
                    <a:gd name="connsiteY14" fmla="*/ 21397 h 52120"/>
                    <a:gd name="connsiteX15" fmla="*/ 22494 w 61996"/>
                    <a:gd name="connsiteY15" fmla="*/ 26883 h 52120"/>
                    <a:gd name="connsiteX16" fmla="*/ 28529 w 61996"/>
                    <a:gd name="connsiteY16" fmla="*/ 30175 h 52120"/>
                    <a:gd name="connsiteX17" fmla="*/ 36210 w 61996"/>
                    <a:gd name="connsiteY17" fmla="*/ 31273 h 52120"/>
                    <a:gd name="connsiteX18" fmla="*/ 43891 w 61996"/>
                    <a:gd name="connsiteY18" fmla="*/ 36759 h 52120"/>
                    <a:gd name="connsiteX19" fmla="*/ 46086 w 61996"/>
                    <a:gd name="connsiteY19" fmla="*/ 41148 h 52120"/>
                    <a:gd name="connsiteX20" fmla="*/ 47732 w 61996"/>
                    <a:gd name="connsiteY20" fmla="*/ 47183 h 52120"/>
                    <a:gd name="connsiteX21" fmla="*/ 51572 w 61996"/>
                    <a:gd name="connsiteY21" fmla="*/ 50475 h 52120"/>
                    <a:gd name="connsiteX22" fmla="*/ 60350 w 61996"/>
                    <a:gd name="connsiteY22" fmla="*/ 52121 h 52120"/>
                    <a:gd name="connsiteX23" fmla="*/ 60350 w 61996"/>
                    <a:gd name="connsiteY23" fmla="*/ 45537 h 521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</a:cxnLst>
                  <a:rect l="l" t="t" r="r" b="b"/>
                  <a:pathLst>
                    <a:path w="61996" h="52120">
                      <a:moveTo>
                        <a:pt x="60350" y="45537"/>
                      </a:moveTo>
                      <a:lnTo>
                        <a:pt x="61996" y="47732"/>
                      </a:lnTo>
                      <a:lnTo>
                        <a:pt x="61448" y="41697"/>
                      </a:lnTo>
                      <a:lnTo>
                        <a:pt x="51023" y="38405"/>
                      </a:lnTo>
                      <a:lnTo>
                        <a:pt x="46634" y="28529"/>
                      </a:lnTo>
                      <a:lnTo>
                        <a:pt x="46634" y="22494"/>
                      </a:lnTo>
                      <a:lnTo>
                        <a:pt x="42794" y="18654"/>
                      </a:lnTo>
                      <a:lnTo>
                        <a:pt x="32918" y="16459"/>
                      </a:lnTo>
                      <a:lnTo>
                        <a:pt x="25786" y="13167"/>
                      </a:lnTo>
                      <a:lnTo>
                        <a:pt x="14813" y="3292"/>
                      </a:lnTo>
                      <a:lnTo>
                        <a:pt x="13716" y="0"/>
                      </a:lnTo>
                      <a:lnTo>
                        <a:pt x="9327" y="0"/>
                      </a:lnTo>
                      <a:lnTo>
                        <a:pt x="0" y="8778"/>
                      </a:lnTo>
                      <a:lnTo>
                        <a:pt x="7132" y="8778"/>
                      </a:lnTo>
                      <a:lnTo>
                        <a:pt x="21397" y="21397"/>
                      </a:lnTo>
                      <a:lnTo>
                        <a:pt x="22494" y="26883"/>
                      </a:lnTo>
                      <a:lnTo>
                        <a:pt x="28529" y="30175"/>
                      </a:lnTo>
                      <a:lnTo>
                        <a:pt x="36210" y="31273"/>
                      </a:lnTo>
                      <a:lnTo>
                        <a:pt x="43891" y="36759"/>
                      </a:lnTo>
                      <a:lnTo>
                        <a:pt x="46086" y="41148"/>
                      </a:lnTo>
                      <a:lnTo>
                        <a:pt x="47732" y="47183"/>
                      </a:lnTo>
                      <a:lnTo>
                        <a:pt x="51572" y="50475"/>
                      </a:lnTo>
                      <a:lnTo>
                        <a:pt x="60350" y="52121"/>
                      </a:lnTo>
                      <a:lnTo>
                        <a:pt x="60350" y="45537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68" name="Graphic 7">
                  <a:extLst>
                    <a:ext uri="{FF2B5EF4-FFF2-40B4-BE49-F238E27FC236}">
                      <a16:creationId xmlns:a16="http://schemas.microsoft.com/office/drawing/2014/main" id="{37D32896-A8AA-EB05-0738-B078ACFFBC21}"/>
                    </a:ext>
                  </a:extLst>
                </p:cNvPr>
                <p:cNvSpPr/>
                <p:nvPr/>
              </p:nvSpPr>
              <p:spPr>
                <a:xfrm>
                  <a:off x="5842176" y="1558734"/>
                  <a:ext cx="317624" cy="716261"/>
                </a:xfrm>
                <a:custGeom>
                  <a:avLst/>
                  <a:gdLst>
                    <a:gd name="connsiteX0" fmla="*/ 0 w 406542"/>
                    <a:gd name="connsiteY0" fmla="*/ 106985 h 916777"/>
                    <a:gd name="connsiteX1" fmla="*/ 1646 w 406542"/>
                    <a:gd name="connsiteY1" fmla="*/ 106985 h 916777"/>
                    <a:gd name="connsiteX2" fmla="*/ 3292 w 406542"/>
                    <a:gd name="connsiteY2" fmla="*/ 110277 h 916777"/>
                    <a:gd name="connsiteX3" fmla="*/ 52669 w 406542"/>
                    <a:gd name="connsiteY3" fmla="*/ 162397 h 916777"/>
                    <a:gd name="connsiteX4" fmla="*/ 76810 w 406542"/>
                    <a:gd name="connsiteY4" fmla="*/ 170078 h 916777"/>
                    <a:gd name="connsiteX5" fmla="*/ 89428 w 406542"/>
                    <a:gd name="connsiteY5" fmla="*/ 181051 h 916777"/>
                    <a:gd name="connsiteX6" fmla="*/ 113568 w 406542"/>
                    <a:gd name="connsiteY6" fmla="*/ 224942 h 916777"/>
                    <a:gd name="connsiteX7" fmla="*/ 108631 w 406542"/>
                    <a:gd name="connsiteY7" fmla="*/ 244693 h 916777"/>
                    <a:gd name="connsiteX8" fmla="*/ 110277 w 406542"/>
                    <a:gd name="connsiteY8" fmla="*/ 268834 h 916777"/>
                    <a:gd name="connsiteX9" fmla="*/ 113568 w 406542"/>
                    <a:gd name="connsiteY9" fmla="*/ 273771 h 916777"/>
                    <a:gd name="connsiteX10" fmla="*/ 114666 w 406542"/>
                    <a:gd name="connsiteY10" fmla="*/ 283647 h 916777"/>
                    <a:gd name="connsiteX11" fmla="*/ 110277 w 406542"/>
                    <a:gd name="connsiteY11" fmla="*/ 297363 h 916777"/>
                    <a:gd name="connsiteX12" fmla="*/ 111923 w 406542"/>
                    <a:gd name="connsiteY12" fmla="*/ 309433 h 916777"/>
                    <a:gd name="connsiteX13" fmla="*/ 126736 w 406542"/>
                    <a:gd name="connsiteY13" fmla="*/ 340157 h 916777"/>
                    <a:gd name="connsiteX14" fmla="*/ 125639 w 406542"/>
                    <a:gd name="connsiteY14" fmla="*/ 355519 h 916777"/>
                    <a:gd name="connsiteX15" fmla="*/ 120152 w 406542"/>
                    <a:gd name="connsiteY15" fmla="*/ 364846 h 916777"/>
                    <a:gd name="connsiteX16" fmla="*/ 116860 w 406542"/>
                    <a:gd name="connsiteY16" fmla="*/ 376916 h 916777"/>
                    <a:gd name="connsiteX17" fmla="*/ 130028 w 406542"/>
                    <a:gd name="connsiteY17" fmla="*/ 414223 h 916777"/>
                    <a:gd name="connsiteX18" fmla="*/ 135514 w 406542"/>
                    <a:gd name="connsiteY18" fmla="*/ 419710 h 916777"/>
                    <a:gd name="connsiteX19" fmla="*/ 138806 w 406542"/>
                    <a:gd name="connsiteY19" fmla="*/ 420807 h 916777"/>
                    <a:gd name="connsiteX20" fmla="*/ 140452 w 406542"/>
                    <a:gd name="connsiteY20" fmla="*/ 425196 h 916777"/>
                    <a:gd name="connsiteX21" fmla="*/ 145390 w 406542"/>
                    <a:gd name="connsiteY21" fmla="*/ 427391 h 916777"/>
                    <a:gd name="connsiteX22" fmla="*/ 148681 w 406542"/>
                    <a:gd name="connsiteY22" fmla="*/ 423550 h 916777"/>
                    <a:gd name="connsiteX23" fmla="*/ 151425 w 406542"/>
                    <a:gd name="connsiteY23" fmla="*/ 425745 h 916777"/>
                    <a:gd name="connsiteX24" fmla="*/ 153619 w 406542"/>
                    <a:gd name="connsiteY24" fmla="*/ 435072 h 916777"/>
                    <a:gd name="connsiteX25" fmla="*/ 164043 w 406542"/>
                    <a:gd name="connsiteY25" fmla="*/ 442752 h 916777"/>
                    <a:gd name="connsiteX26" fmla="*/ 176113 w 406542"/>
                    <a:gd name="connsiteY26" fmla="*/ 458663 h 916777"/>
                    <a:gd name="connsiteX27" fmla="*/ 179954 w 406542"/>
                    <a:gd name="connsiteY27" fmla="*/ 468539 h 916777"/>
                    <a:gd name="connsiteX28" fmla="*/ 177759 w 406542"/>
                    <a:gd name="connsiteY28" fmla="*/ 488290 h 916777"/>
                    <a:gd name="connsiteX29" fmla="*/ 184892 w 406542"/>
                    <a:gd name="connsiteY29" fmla="*/ 502006 h 916777"/>
                    <a:gd name="connsiteX30" fmla="*/ 179954 w 406542"/>
                    <a:gd name="connsiteY30" fmla="*/ 500908 h 916777"/>
                    <a:gd name="connsiteX31" fmla="*/ 177211 w 406542"/>
                    <a:gd name="connsiteY31" fmla="*/ 506395 h 916777"/>
                    <a:gd name="connsiteX32" fmla="*/ 179405 w 406542"/>
                    <a:gd name="connsiteY32" fmla="*/ 512978 h 916777"/>
                    <a:gd name="connsiteX33" fmla="*/ 171724 w 406542"/>
                    <a:gd name="connsiteY33" fmla="*/ 508589 h 916777"/>
                    <a:gd name="connsiteX34" fmla="*/ 165141 w 406542"/>
                    <a:gd name="connsiteY34" fmla="*/ 509687 h 916777"/>
                    <a:gd name="connsiteX35" fmla="*/ 153071 w 406542"/>
                    <a:gd name="connsiteY35" fmla="*/ 515173 h 916777"/>
                    <a:gd name="connsiteX36" fmla="*/ 146487 w 406542"/>
                    <a:gd name="connsiteY36" fmla="*/ 538764 h 916777"/>
                    <a:gd name="connsiteX37" fmla="*/ 81199 w 406542"/>
                    <a:gd name="connsiteY37" fmla="*/ 628193 h 916777"/>
                    <a:gd name="connsiteX38" fmla="*/ 74615 w 406542"/>
                    <a:gd name="connsiteY38" fmla="*/ 632582 h 916777"/>
                    <a:gd name="connsiteX39" fmla="*/ 69677 w 406542"/>
                    <a:gd name="connsiteY39" fmla="*/ 640263 h 916777"/>
                    <a:gd name="connsiteX40" fmla="*/ 66385 w 406542"/>
                    <a:gd name="connsiteY40" fmla="*/ 643006 h 916777"/>
                    <a:gd name="connsiteX41" fmla="*/ 61996 w 406542"/>
                    <a:gd name="connsiteY41" fmla="*/ 649590 h 916777"/>
                    <a:gd name="connsiteX42" fmla="*/ 48280 w 406542"/>
                    <a:gd name="connsiteY42" fmla="*/ 651236 h 916777"/>
                    <a:gd name="connsiteX43" fmla="*/ 42245 w 406542"/>
                    <a:gd name="connsiteY43" fmla="*/ 649041 h 916777"/>
                    <a:gd name="connsiteX44" fmla="*/ 37856 w 406542"/>
                    <a:gd name="connsiteY44" fmla="*/ 658917 h 916777"/>
                    <a:gd name="connsiteX45" fmla="*/ 43343 w 406542"/>
                    <a:gd name="connsiteY45" fmla="*/ 664952 h 916777"/>
                    <a:gd name="connsiteX46" fmla="*/ 40599 w 406542"/>
                    <a:gd name="connsiteY46" fmla="*/ 666598 h 916777"/>
                    <a:gd name="connsiteX47" fmla="*/ 29078 w 406542"/>
                    <a:gd name="connsiteY47" fmla="*/ 667695 h 916777"/>
                    <a:gd name="connsiteX48" fmla="*/ 29627 w 406542"/>
                    <a:gd name="connsiteY48" fmla="*/ 671535 h 916777"/>
                    <a:gd name="connsiteX49" fmla="*/ 27432 w 406542"/>
                    <a:gd name="connsiteY49" fmla="*/ 677570 h 916777"/>
                    <a:gd name="connsiteX50" fmla="*/ 22494 w 406542"/>
                    <a:gd name="connsiteY50" fmla="*/ 678119 h 916777"/>
                    <a:gd name="connsiteX51" fmla="*/ 20848 w 406542"/>
                    <a:gd name="connsiteY51" fmla="*/ 679216 h 916777"/>
                    <a:gd name="connsiteX52" fmla="*/ 14813 w 406542"/>
                    <a:gd name="connsiteY52" fmla="*/ 697321 h 916777"/>
                    <a:gd name="connsiteX53" fmla="*/ 18105 w 406542"/>
                    <a:gd name="connsiteY53" fmla="*/ 715975 h 916777"/>
                    <a:gd name="connsiteX54" fmla="*/ 20848 w 406542"/>
                    <a:gd name="connsiteY54" fmla="*/ 720364 h 916777"/>
                    <a:gd name="connsiteX55" fmla="*/ 23043 w 406542"/>
                    <a:gd name="connsiteY55" fmla="*/ 729143 h 916777"/>
                    <a:gd name="connsiteX56" fmla="*/ 20848 w 406542"/>
                    <a:gd name="connsiteY56" fmla="*/ 746699 h 916777"/>
                    <a:gd name="connsiteX57" fmla="*/ 23591 w 406542"/>
                    <a:gd name="connsiteY57" fmla="*/ 753283 h 916777"/>
                    <a:gd name="connsiteX58" fmla="*/ 29078 w 406542"/>
                    <a:gd name="connsiteY58" fmla="*/ 759866 h 916777"/>
                    <a:gd name="connsiteX59" fmla="*/ 31821 w 406542"/>
                    <a:gd name="connsiteY59" fmla="*/ 777423 h 916777"/>
                    <a:gd name="connsiteX60" fmla="*/ 35113 w 406542"/>
                    <a:gd name="connsiteY60" fmla="*/ 782909 h 916777"/>
                    <a:gd name="connsiteX61" fmla="*/ 38405 w 406542"/>
                    <a:gd name="connsiteY61" fmla="*/ 786750 h 916777"/>
                    <a:gd name="connsiteX62" fmla="*/ 38953 w 406542"/>
                    <a:gd name="connsiteY62" fmla="*/ 788944 h 916777"/>
                    <a:gd name="connsiteX63" fmla="*/ 35662 w 406542"/>
                    <a:gd name="connsiteY63" fmla="*/ 785652 h 916777"/>
                    <a:gd name="connsiteX64" fmla="*/ 31821 w 406542"/>
                    <a:gd name="connsiteY64" fmla="*/ 785652 h 916777"/>
                    <a:gd name="connsiteX65" fmla="*/ 29627 w 406542"/>
                    <a:gd name="connsiteY65" fmla="*/ 788396 h 916777"/>
                    <a:gd name="connsiteX66" fmla="*/ 30175 w 406542"/>
                    <a:gd name="connsiteY66" fmla="*/ 792785 h 916777"/>
                    <a:gd name="connsiteX67" fmla="*/ 29627 w 406542"/>
                    <a:gd name="connsiteY67" fmla="*/ 797174 h 916777"/>
                    <a:gd name="connsiteX68" fmla="*/ 30724 w 406542"/>
                    <a:gd name="connsiteY68" fmla="*/ 803209 h 916777"/>
                    <a:gd name="connsiteX69" fmla="*/ 30175 w 406542"/>
                    <a:gd name="connsiteY69" fmla="*/ 813084 h 916777"/>
                    <a:gd name="connsiteX70" fmla="*/ 26883 w 406542"/>
                    <a:gd name="connsiteY70" fmla="*/ 822411 h 916777"/>
                    <a:gd name="connsiteX71" fmla="*/ 25237 w 406542"/>
                    <a:gd name="connsiteY71" fmla="*/ 822411 h 916777"/>
                    <a:gd name="connsiteX72" fmla="*/ 22494 w 406542"/>
                    <a:gd name="connsiteY72" fmla="*/ 829544 h 916777"/>
                    <a:gd name="connsiteX73" fmla="*/ 25237 w 406542"/>
                    <a:gd name="connsiteY73" fmla="*/ 833384 h 916777"/>
                    <a:gd name="connsiteX74" fmla="*/ 25786 w 406542"/>
                    <a:gd name="connsiteY74" fmla="*/ 837225 h 916777"/>
                    <a:gd name="connsiteX75" fmla="*/ 24689 w 406542"/>
                    <a:gd name="connsiteY75" fmla="*/ 840516 h 916777"/>
                    <a:gd name="connsiteX76" fmla="*/ 25786 w 406542"/>
                    <a:gd name="connsiteY76" fmla="*/ 844357 h 916777"/>
                    <a:gd name="connsiteX77" fmla="*/ 30724 w 406542"/>
                    <a:gd name="connsiteY77" fmla="*/ 846552 h 916777"/>
                    <a:gd name="connsiteX78" fmla="*/ 29627 w 406542"/>
                    <a:gd name="connsiteY78" fmla="*/ 849843 h 916777"/>
                    <a:gd name="connsiteX79" fmla="*/ 26335 w 406542"/>
                    <a:gd name="connsiteY79" fmla="*/ 850392 h 916777"/>
                    <a:gd name="connsiteX80" fmla="*/ 26883 w 406542"/>
                    <a:gd name="connsiteY80" fmla="*/ 854781 h 916777"/>
                    <a:gd name="connsiteX81" fmla="*/ 36210 w 406542"/>
                    <a:gd name="connsiteY81" fmla="*/ 855330 h 916777"/>
                    <a:gd name="connsiteX82" fmla="*/ 47732 w 406542"/>
                    <a:gd name="connsiteY82" fmla="*/ 865205 h 916777"/>
                    <a:gd name="connsiteX83" fmla="*/ 66934 w 406542"/>
                    <a:gd name="connsiteY83" fmla="*/ 871789 h 916777"/>
                    <a:gd name="connsiteX84" fmla="*/ 69129 w 406542"/>
                    <a:gd name="connsiteY84" fmla="*/ 875081 h 916777"/>
                    <a:gd name="connsiteX85" fmla="*/ 66934 w 406542"/>
                    <a:gd name="connsiteY85" fmla="*/ 880019 h 916777"/>
                    <a:gd name="connsiteX86" fmla="*/ 72420 w 406542"/>
                    <a:gd name="connsiteY86" fmla="*/ 883859 h 916777"/>
                    <a:gd name="connsiteX87" fmla="*/ 82845 w 406542"/>
                    <a:gd name="connsiteY87" fmla="*/ 877824 h 916777"/>
                    <a:gd name="connsiteX88" fmla="*/ 83942 w 406542"/>
                    <a:gd name="connsiteY88" fmla="*/ 881116 h 916777"/>
                    <a:gd name="connsiteX89" fmla="*/ 83393 w 406542"/>
                    <a:gd name="connsiteY89" fmla="*/ 889345 h 916777"/>
                    <a:gd name="connsiteX90" fmla="*/ 89428 w 406542"/>
                    <a:gd name="connsiteY90" fmla="*/ 899221 h 916777"/>
                    <a:gd name="connsiteX91" fmla="*/ 88880 w 406542"/>
                    <a:gd name="connsiteY91" fmla="*/ 904159 h 916777"/>
                    <a:gd name="connsiteX92" fmla="*/ 94366 w 406542"/>
                    <a:gd name="connsiteY92" fmla="*/ 906353 h 916777"/>
                    <a:gd name="connsiteX93" fmla="*/ 92171 w 406542"/>
                    <a:gd name="connsiteY93" fmla="*/ 910742 h 916777"/>
                    <a:gd name="connsiteX94" fmla="*/ 85588 w 406542"/>
                    <a:gd name="connsiteY94" fmla="*/ 915680 h 916777"/>
                    <a:gd name="connsiteX95" fmla="*/ 88880 w 406542"/>
                    <a:gd name="connsiteY95" fmla="*/ 916777 h 916777"/>
                    <a:gd name="connsiteX96" fmla="*/ 95463 w 406542"/>
                    <a:gd name="connsiteY96" fmla="*/ 912388 h 916777"/>
                    <a:gd name="connsiteX97" fmla="*/ 103144 w 406542"/>
                    <a:gd name="connsiteY97" fmla="*/ 899221 h 916777"/>
                    <a:gd name="connsiteX98" fmla="*/ 104790 w 406542"/>
                    <a:gd name="connsiteY98" fmla="*/ 900318 h 916777"/>
                    <a:gd name="connsiteX99" fmla="*/ 104242 w 406542"/>
                    <a:gd name="connsiteY99" fmla="*/ 907451 h 916777"/>
                    <a:gd name="connsiteX100" fmla="*/ 108082 w 406542"/>
                    <a:gd name="connsiteY100" fmla="*/ 908548 h 916777"/>
                    <a:gd name="connsiteX101" fmla="*/ 124541 w 406542"/>
                    <a:gd name="connsiteY101" fmla="*/ 899770 h 916777"/>
                    <a:gd name="connsiteX102" fmla="*/ 129479 w 406542"/>
                    <a:gd name="connsiteY102" fmla="*/ 899770 h 916777"/>
                    <a:gd name="connsiteX103" fmla="*/ 134417 w 406542"/>
                    <a:gd name="connsiteY103" fmla="*/ 897575 h 916777"/>
                    <a:gd name="connsiteX104" fmla="*/ 137709 w 406542"/>
                    <a:gd name="connsiteY104" fmla="*/ 900318 h 916777"/>
                    <a:gd name="connsiteX105" fmla="*/ 139355 w 406542"/>
                    <a:gd name="connsiteY105" fmla="*/ 900867 h 916777"/>
                    <a:gd name="connsiteX106" fmla="*/ 151425 w 406542"/>
                    <a:gd name="connsiteY106" fmla="*/ 889894 h 916777"/>
                    <a:gd name="connsiteX107" fmla="*/ 156911 w 406542"/>
                    <a:gd name="connsiteY107" fmla="*/ 888797 h 916777"/>
                    <a:gd name="connsiteX108" fmla="*/ 161300 w 406542"/>
                    <a:gd name="connsiteY108" fmla="*/ 890991 h 916777"/>
                    <a:gd name="connsiteX109" fmla="*/ 172273 w 406542"/>
                    <a:gd name="connsiteY109" fmla="*/ 883859 h 916777"/>
                    <a:gd name="connsiteX110" fmla="*/ 178857 w 406542"/>
                    <a:gd name="connsiteY110" fmla="*/ 883310 h 916777"/>
                    <a:gd name="connsiteX111" fmla="*/ 183794 w 406542"/>
                    <a:gd name="connsiteY111" fmla="*/ 873984 h 916777"/>
                    <a:gd name="connsiteX112" fmla="*/ 187086 w 406542"/>
                    <a:gd name="connsiteY112" fmla="*/ 880567 h 916777"/>
                    <a:gd name="connsiteX113" fmla="*/ 199705 w 406542"/>
                    <a:gd name="connsiteY113" fmla="*/ 875629 h 916777"/>
                    <a:gd name="connsiteX114" fmla="*/ 197510 w 406542"/>
                    <a:gd name="connsiteY114" fmla="*/ 869046 h 916777"/>
                    <a:gd name="connsiteX115" fmla="*/ 199156 w 406542"/>
                    <a:gd name="connsiteY115" fmla="*/ 870692 h 916777"/>
                    <a:gd name="connsiteX116" fmla="*/ 205191 w 406542"/>
                    <a:gd name="connsiteY116" fmla="*/ 872886 h 916777"/>
                    <a:gd name="connsiteX117" fmla="*/ 208483 w 406542"/>
                    <a:gd name="connsiteY117" fmla="*/ 872338 h 916777"/>
                    <a:gd name="connsiteX118" fmla="*/ 213421 w 406542"/>
                    <a:gd name="connsiteY118" fmla="*/ 869046 h 916777"/>
                    <a:gd name="connsiteX119" fmla="*/ 225491 w 406542"/>
                    <a:gd name="connsiteY119" fmla="*/ 867948 h 916777"/>
                    <a:gd name="connsiteX120" fmla="*/ 240853 w 406542"/>
                    <a:gd name="connsiteY120" fmla="*/ 860816 h 916777"/>
                    <a:gd name="connsiteX121" fmla="*/ 246339 w 406542"/>
                    <a:gd name="connsiteY121" fmla="*/ 864657 h 916777"/>
                    <a:gd name="connsiteX122" fmla="*/ 258958 w 406542"/>
                    <a:gd name="connsiteY122" fmla="*/ 866303 h 916777"/>
                    <a:gd name="connsiteX123" fmla="*/ 262250 w 406542"/>
                    <a:gd name="connsiteY123" fmla="*/ 864108 h 916777"/>
                    <a:gd name="connsiteX124" fmla="*/ 264444 w 406542"/>
                    <a:gd name="connsiteY124" fmla="*/ 860268 h 916777"/>
                    <a:gd name="connsiteX125" fmla="*/ 264993 w 406542"/>
                    <a:gd name="connsiteY125" fmla="*/ 861365 h 916777"/>
                    <a:gd name="connsiteX126" fmla="*/ 385694 w 406542"/>
                    <a:gd name="connsiteY126" fmla="*/ 731886 h 916777"/>
                    <a:gd name="connsiteX127" fmla="*/ 405994 w 406542"/>
                    <a:gd name="connsiteY127" fmla="*/ 692932 h 916777"/>
                    <a:gd name="connsiteX128" fmla="*/ 406542 w 406542"/>
                    <a:gd name="connsiteY128" fmla="*/ 666598 h 916777"/>
                    <a:gd name="connsiteX129" fmla="*/ 403799 w 406542"/>
                    <a:gd name="connsiteY129" fmla="*/ 669889 h 916777"/>
                    <a:gd name="connsiteX130" fmla="*/ 396667 w 406542"/>
                    <a:gd name="connsiteY130" fmla="*/ 657819 h 916777"/>
                    <a:gd name="connsiteX131" fmla="*/ 393923 w 406542"/>
                    <a:gd name="connsiteY131" fmla="*/ 646298 h 916777"/>
                    <a:gd name="connsiteX132" fmla="*/ 373075 w 406542"/>
                    <a:gd name="connsiteY132" fmla="*/ 630936 h 916777"/>
                    <a:gd name="connsiteX133" fmla="*/ 367589 w 406542"/>
                    <a:gd name="connsiteY133" fmla="*/ 622158 h 916777"/>
                    <a:gd name="connsiteX134" fmla="*/ 363200 w 406542"/>
                    <a:gd name="connsiteY134" fmla="*/ 609539 h 916777"/>
                    <a:gd name="connsiteX135" fmla="*/ 377464 w 406542"/>
                    <a:gd name="connsiteY135" fmla="*/ 575523 h 916777"/>
                    <a:gd name="connsiteX136" fmla="*/ 376367 w 406542"/>
                    <a:gd name="connsiteY136" fmla="*/ 562905 h 916777"/>
                    <a:gd name="connsiteX137" fmla="*/ 365394 w 406542"/>
                    <a:gd name="connsiteY137" fmla="*/ 552480 h 916777"/>
                    <a:gd name="connsiteX138" fmla="*/ 360456 w 406542"/>
                    <a:gd name="connsiteY138" fmla="*/ 540959 h 916777"/>
                    <a:gd name="connsiteX139" fmla="*/ 361554 w 406542"/>
                    <a:gd name="connsiteY139" fmla="*/ 527792 h 916777"/>
                    <a:gd name="connsiteX140" fmla="*/ 356067 w 406542"/>
                    <a:gd name="connsiteY140" fmla="*/ 515722 h 916777"/>
                    <a:gd name="connsiteX141" fmla="*/ 345095 w 406542"/>
                    <a:gd name="connsiteY141" fmla="*/ 512430 h 916777"/>
                    <a:gd name="connsiteX142" fmla="*/ 344546 w 406542"/>
                    <a:gd name="connsiteY142" fmla="*/ 498714 h 916777"/>
                    <a:gd name="connsiteX143" fmla="*/ 348935 w 406542"/>
                    <a:gd name="connsiteY143" fmla="*/ 491033 h 916777"/>
                    <a:gd name="connsiteX144" fmla="*/ 347838 w 406542"/>
                    <a:gd name="connsiteY144" fmla="*/ 478414 h 916777"/>
                    <a:gd name="connsiteX145" fmla="*/ 345643 w 406542"/>
                    <a:gd name="connsiteY145" fmla="*/ 471830 h 916777"/>
                    <a:gd name="connsiteX146" fmla="*/ 350032 w 406542"/>
                    <a:gd name="connsiteY146" fmla="*/ 445496 h 916777"/>
                    <a:gd name="connsiteX147" fmla="*/ 359908 w 406542"/>
                    <a:gd name="connsiteY147" fmla="*/ 436717 h 916777"/>
                    <a:gd name="connsiteX148" fmla="*/ 325892 w 406542"/>
                    <a:gd name="connsiteY148" fmla="*/ 335219 h 916777"/>
                    <a:gd name="connsiteX149" fmla="*/ 324795 w 406542"/>
                    <a:gd name="connsiteY149" fmla="*/ 320954 h 916777"/>
                    <a:gd name="connsiteX150" fmla="*/ 354421 w 406542"/>
                    <a:gd name="connsiteY150" fmla="*/ 257312 h 916777"/>
                    <a:gd name="connsiteX151" fmla="*/ 352227 w 406542"/>
                    <a:gd name="connsiteY151" fmla="*/ 241950 h 916777"/>
                    <a:gd name="connsiteX152" fmla="*/ 331927 w 406542"/>
                    <a:gd name="connsiteY152" fmla="*/ 206289 h 916777"/>
                    <a:gd name="connsiteX153" fmla="*/ 322052 w 406542"/>
                    <a:gd name="connsiteY153" fmla="*/ 200802 h 916777"/>
                    <a:gd name="connsiteX154" fmla="*/ 312176 w 406542"/>
                    <a:gd name="connsiteY154" fmla="*/ 199705 h 916777"/>
                    <a:gd name="connsiteX155" fmla="*/ 305592 w 406542"/>
                    <a:gd name="connsiteY155" fmla="*/ 194767 h 916777"/>
                    <a:gd name="connsiteX156" fmla="*/ 302301 w 406542"/>
                    <a:gd name="connsiteY156" fmla="*/ 189281 h 916777"/>
                    <a:gd name="connsiteX157" fmla="*/ 297363 w 406542"/>
                    <a:gd name="connsiteY157" fmla="*/ 158557 h 916777"/>
                    <a:gd name="connsiteX158" fmla="*/ 305592 w 406542"/>
                    <a:gd name="connsiteY158" fmla="*/ 132222 h 916777"/>
                    <a:gd name="connsiteX159" fmla="*/ 305592 w 406542"/>
                    <a:gd name="connsiteY159" fmla="*/ 129479 h 916777"/>
                    <a:gd name="connsiteX160" fmla="*/ 299009 w 406542"/>
                    <a:gd name="connsiteY160" fmla="*/ 126187 h 916777"/>
                    <a:gd name="connsiteX161" fmla="*/ 319308 w 406542"/>
                    <a:gd name="connsiteY161" fmla="*/ 106985 h 916777"/>
                    <a:gd name="connsiteX162" fmla="*/ 312725 w 406542"/>
                    <a:gd name="connsiteY162" fmla="*/ 102047 h 916777"/>
                    <a:gd name="connsiteX163" fmla="*/ 312725 w 406542"/>
                    <a:gd name="connsiteY163" fmla="*/ 94366 h 916777"/>
                    <a:gd name="connsiteX164" fmla="*/ 314919 w 406542"/>
                    <a:gd name="connsiteY164" fmla="*/ 86136 h 916777"/>
                    <a:gd name="connsiteX165" fmla="*/ 328635 w 406542"/>
                    <a:gd name="connsiteY165" fmla="*/ 69129 h 916777"/>
                    <a:gd name="connsiteX166" fmla="*/ 322600 w 406542"/>
                    <a:gd name="connsiteY166" fmla="*/ 39502 h 916777"/>
                    <a:gd name="connsiteX167" fmla="*/ 310530 w 406542"/>
                    <a:gd name="connsiteY167" fmla="*/ 27432 h 916777"/>
                    <a:gd name="connsiteX168" fmla="*/ 298460 w 406542"/>
                    <a:gd name="connsiteY168" fmla="*/ 23043 h 916777"/>
                    <a:gd name="connsiteX169" fmla="*/ 290779 w 406542"/>
                    <a:gd name="connsiteY169" fmla="*/ 17008 h 916777"/>
                    <a:gd name="connsiteX170" fmla="*/ 284195 w 406542"/>
                    <a:gd name="connsiteY170" fmla="*/ 2743 h 916777"/>
                    <a:gd name="connsiteX171" fmla="*/ 280355 w 406542"/>
                    <a:gd name="connsiteY171" fmla="*/ 0 h 916777"/>
                    <a:gd name="connsiteX172" fmla="*/ 221102 w 406542"/>
                    <a:gd name="connsiteY172" fmla="*/ 16459 h 916777"/>
                    <a:gd name="connsiteX173" fmla="*/ 212872 w 406542"/>
                    <a:gd name="connsiteY173" fmla="*/ 21397 h 916777"/>
                    <a:gd name="connsiteX174" fmla="*/ 205191 w 406542"/>
                    <a:gd name="connsiteY174" fmla="*/ 30175 h 916777"/>
                    <a:gd name="connsiteX175" fmla="*/ 196413 w 406542"/>
                    <a:gd name="connsiteY175" fmla="*/ 52121 h 916777"/>
                    <a:gd name="connsiteX176" fmla="*/ 193670 w 406542"/>
                    <a:gd name="connsiteY176" fmla="*/ 114117 h 916777"/>
                    <a:gd name="connsiteX177" fmla="*/ 176113 w 406542"/>
                    <a:gd name="connsiteY177" fmla="*/ 127284 h 916777"/>
                    <a:gd name="connsiteX178" fmla="*/ 170078 w 406542"/>
                    <a:gd name="connsiteY178" fmla="*/ 136611 h 916777"/>
                    <a:gd name="connsiteX179" fmla="*/ 151425 w 406542"/>
                    <a:gd name="connsiteY179" fmla="*/ 148681 h 916777"/>
                    <a:gd name="connsiteX180" fmla="*/ 143744 w 406542"/>
                    <a:gd name="connsiteY180" fmla="*/ 146487 h 916777"/>
                    <a:gd name="connsiteX181" fmla="*/ 135514 w 406542"/>
                    <a:gd name="connsiteY181" fmla="*/ 131674 h 916777"/>
                    <a:gd name="connsiteX182" fmla="*/ 129479 w 406542"/>
                    <a:gd name="connsiteY182" fmla="*/ 126736 h 916777"/>
                    <a:gd name="connsiteX183" fmla="*/ 116860 w 406542"/>
                    <a:gd name="connsiteY183" fmla="*/ 140452 h 916777"/>
                    <a:gd name="connsiteX184" fmla="*/ 106985 w 406542"/>
                    <a:gd name="connsiteY184" fmla="*/ 146487 h 916777"/>
                    <a:gd name="connsiteX185" fmla="*/ 98755 w 406542"/>
                    <a:gd name="connsiteY185" fmla="*/ 147584 h 916777"/>
                    <a:gd name="connsiteX186" fmla="*/ 88331 w 406542"/>
                    <a:gd name="connsiteY186" fmla="*/ 141549 h 916777"/>
                    <a:gd name="connsiteX187" fmla="*/ 71323 w 406542"/>
                    <a:gd name="connsiteY187" fmla="*/ 139355 h 916777"/>
                    <a:gd name="connsiteX188" fmla="*/ 67483 w 406542"/>
                    <a:gd name="connsiteY188" fmla="*/ 133868 h 916777"/>
                    <a:gd name="connsiteX189" fmla="*/ 64191 w 406542"/>
                    <a:gd name="connsiteY189" fmla="*/ 120701 h 916777"/>
                    <a:gd name="connsiteX190" fmla="*/ 35113 w 406542"/>
                    <a:gd name="connsiteY190" fmla="*/ 82845 h 916777"/>
                    <a:gd name="connsiteX191" fmla="*/ 25786 w 406542"/>
                    <a:gd name="connsiteY191" fmla="*/ 78456 h 916777"/>
                    <a:gd name="connsiteX192" fmla="*/ 17008 w 406542"/>
                    <a:gd name="connsiteY192" fmla="*/ 83393 h 916777"/>
                    <a:gd name="connsiteX193" fmla="*/ 19751 w 406542"/>
                    <a:gd name="connsiteY193" fmla="*/ 99852 h 916777"/>
                    <a:gd name="connsiteX194" fmla="*/ 13716 w 406542"/>
                    <a:gd name="connsiteY194" fmla="*/ 102047 h 916777"/>
                    <a:gd name="connsiteX195" fmla="*/ 8230 w 406542"/>
                    <a:gd name="connsiteY195" fmla="*/ 99304 h 916777"/>
                    <a:gd name="connsiteX196" fmla="*/ 2195 w 406542"/>
                    <a:gd name="connsiteY196" fmla="*/ 101498 h 916777"/>
                    <a:gd name="connsiteX197" fmla="*/ 0 w 406542"/>
                    <a:gd name="connsiteY197" fmla="*/ 106985 h 9167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</a:cxnLst>
                  <a:rect l="l" t="t" r="r" b="b"/>
                  <a:pathLst>
                    <a:path w="406542" h="916777">
                      <a:moveTo>
                        <a:pt x="0" y="106985"/>
                      </a:moveTo>
                      <a:lnTo>
                        <a:pt x="1646" y="106985"/>
                      </a:lnTo>
                      <a:lnTo>
                        <a:pt x="3292" y="110277"/>
                      </a:lnTo>
                      <a:lnTo>
                        <a:pt x="52669" y="162397"/>
                      </a:lnTo>
                      <a:lnTo>
                        <a:pt x="76810" y="170078"/>
                      </a:lnTo>
                      <a:lnTo>
                        <a:pt x="89428" y="181051"/>
                      </a:lnTo>
                      <a:lnTo>
                        <a:pt x="113568" y="224942"/>
                      </a:lnTo>
                      <a:lnTo>
                        <a:pt x="108631" y="244693"/>
                      </a:lnTo>
                      <a:lnTo>
                        <a:pt x="110277" y="268834"/>
                      </a:lnTo>
                      <a:lnTo>
                        <a:pt x="113568" y="273771"/>
                      </a:lnTo>
                      <a:lnTo>
                        <a:pt x="114666" y="283647"/>
                      </a:lnTo>
                      <a:lnTo>
                        <a:pt x="110277" y="297363"/>
                      </a:lnTo>
                      <a:lnTo>
                        <a:pt x="111923" y="309433"/>
                      </a:lnTo>
                      <a:lnTo>
                        <a:pt x="126736" y="340157"/>
                      </a:lnTo>
                      <a:lnTo>
                        <a:pt x="125639" y="355519"/>
                      </a:lnTo>
                      <a:lnTo>
                        <a:pt x="120152" y="364846"/>
                      </a:lnTo>
                      <a:lnTo>
                        <a:pt x="116860" y="376916"/>
                      </a:lnTo>
                      <a:lnTo>
                        <a:pt x="130028" y="414223"/>
                      </a:lnTo>
                      <a:lnTo>
                        <a:pt x="135514" y="419710"/>
                      </a:lnTo>
                      <a:lnTo>
                        <a:pt x="138806" y="420807"/>
                      </a:lnTo>
                      <a:lnTo>
                        <a:pt x="140452" y="425196"/>
                      </a:lnTo>
                      <a:lnTo>
                        <a:pt x="145390" y="427391"/>
                      </a:lnTo>
                      <a:lnTo>
                        <a:pt x="148681" y="423550"/>
                      </a:lnTo>
                      <a:lnTo>
                        <a:pt x="151425" y="425745"/>
                      </a:lnTo>
                      <a:lnTo>
                        <a:pt x="153619" y="435072"/>
                      </a:lnTo>
                      <a:lnTo>
                        <a:pt x="164043" y="442752"/>
                      </a:lnTo>
                      <a:lnTo>
                        <a:pt x="176113" y="458663"/>
                      </a:lnTo>
                      <a:lnTo>
                        <a:pt x="179954" y="468539"/>
                      </a:lnTo>
                      <a:lnTo>
                        <a:pt x="177759" y="488290"/>
                      </a:lnTo>
                      <a:lnTo>
                        <a:pt x="184892" y="502006"/>
                      </a:lnTo>
                      <a:lnTo>
                        <a:pt x="179954" y="500908"/>
                      </a:lnTo>
                      <a:lnTo>
                        <a:pt x="177211" y="506395"/>
                      </a:lnTo>
                      <a:lnTo>
                        <a:pt x="179405" y="512978"/>
                      </a:lnTo>
                      <a:lnTo>
                        <a:pt x="171724" y="508589"/>
                      </a:lnTo>
                      <a:lnTo>
                        <a:pt x="165141" y="509687"/>
                      </a:lnTo>
                      <a:lnTo>
                        <a:pt x="153071" y="515173"/>
                      </a:lnTo>
                      <a:lnTo>
                        <a:pt x="146487" y="538764"/>
                      </a:lnTo>
                      <a:lnTo>
                        <a:pt x="81199" y="628193"/>
                      </a:lnTo>
                      <a:lnTo>
                        <a:pt x="74615" y="632582"/>
                      </a:lnTo>
                      <a:lnTo>
                        <a:pt x="69677" y="640263"/>
                      </a:lnTo>
                      <a:lnTo>
                        <a:pt x="66385" y="643006"/>
                      </a:lnTo>
                      <a:lnTo>
                        <a:pt x="61996" y="649590"/>
                      </a:lnTo>
                      <a:lnTo>
                        <a:pt x="48280" y="651236"/>
                      </a:lnTo>
                      <a:lnTo>
                        <a:pt x="42245" y="649041"/>
                      </a:lnTo>
                      <a:lnTo>
                        <a:pt x="37856" y="658917"/>
                      </a:lnTo>
                      <a:lnTo>
                        <a:pt x="43343" y="664952"/>
                      </a:lnTo>
                      <a:lnTo>
                        <a:pt x="40599" y="666598"/>
                      </a:lnTo>
                      <a:lnTo>
                        <a:pt x="29078" y="667695"/>
                      </a:lnTo>
                      <a:lnTo>
                        <a:pt x="29627" y="671535"/>
                      </a:lnTo>
                      <a:lnTo>
                        <a:pt x="27432" y="677570"/>
                      </a:lnTo>
                      <a:lnTo>
                        <a:pt x="22494" y="678119"/>
                      </a:lnTo>
                      <a:lnTo>
                        <a:pt x="20848" y="679216"/>
                      </a:lnTo>
                      <a:lnTo>
                        <a:pt x="14813" y="697321"/>
                      </a:lnTo>
                      <a:lnTo>
                        <a:pt x="18105" y="715975"/>
                      </a:lnTo>
                      <a:lnTo>
                        <a:pt x="20848" y="720364"/>
                      </a:lnTo>
                      <a:lnTo>
                        <a:pt x="23043" y="729143"/>
                      </a:lnTo>
                      <a:lnTo>
                        <a:pt x="20848" y="746699"/>
                      </a:lnTo>
                      <a:lnTo>
                        <a:pt x="23591" y="753283"/>
                      </a:lnTo>
                      <a:lnTo>
                        <a:pt x="29078" y="759866"/>
                      </a:lnTo>
                      <a:lnTo>
                        <a:pt x="31821" y="777423"/>
                      </a:lnTo>
                      <a:lnTo>
                        <a:pt x="35113" y="782909"/>
                      </a:lnTo>
                      <a:lnTo>
                        <a:pt x="38405" y="786750"/>
                      </a:lnTo>
                      <a:lnTo>
                        <a:pt x="38953" y="788944"/>
                      </a:lnTo>
                      <a:lnTo>
                        <a:pt x="35662" y="785652"/>
                      </a:lnTo>
                      <a:lnTo>
                        <a:pt x="31821" y="785652"/>
                      </a:lnTo>
                      <a:lnTo>
                        <a:pt x="29627" y="788396"/>
                      </a:lnTo>
                      <a:lnTo>
                        <a:pt x="30175" y="792785"/>
                      </a:lnTo>
                      <a:lnTo>
                        <a:pt x="29627" y="797174"/>
                      </a:lnTo>
                      <a:lnTo>
                        <a:pt x="30724" y="803209"/>
                      </a:lnTo>
                      <a:lnTo>
                        <a:pt x="30175" y="813084"/>
                      </a:lnTo>
                      <a:lnTo>
                        <a:pt x="26883" y="822411"/>
                      </a:lnTo>
                      <a:lnTo>
                        <a:pt x="25237" y="822411"/>
                      </a:lnTo>
                      <a:lnTo>
                        <a:pt x="22494" y="829544"/>
                      </a:lnTo>
                      <a:lnTo>
                        <a:pt x="25237" y="833384"/>
                      </a:lnTo>
                      <a:lnTo>
                        <a:pt x="25786" y="837225"/>
                      </a:lnTo>
                      <a:lnTo>
                        <a:pt x="24689" y="840516"/>
                      </a:lnTo>
                      <a:lnTo>
                        <a:pt x="25786" y="844357"/>
                      </a:lnTo>
                      <a:lnTo>
                        <a:pt x="30724" y="846552"/>
                      </a:lnTo>
                      <a:lnTo>
                        <a:pt x="29627" y="849843"/>
                      </a:lnTo>
                      <a:lnTo>
                        <a:pt x="26335" y="850392"/>
                      </a:lnTo>
                      <a:lnTo>
                        <a:pt x="26883" y="854781"/>
                      </a:lnTo>
                      <a:lnTo>
                        <a:pt x="36210" y="855330"/>
                      </a:lnTo>
                      <a:lnTo>
                        <a:pt x="47732" y="865205"/>
                      </a:lnTo>
                      <a:lnTo>
                        <a:pt x="66934" y="871789"/>
                      </a:lnTo>
                      <a:lnTo>
                        <a:pt x="69129" y="875081"/>
                      </a:lnTo>
                      <a:lnTo>
                        <a:pt x="66934" y="880019"/>
                      </a:lnTo>
                      <a:lnTo>
                        <a:pt x="72420" y="883859"/>
                      </a:lnTo>
                      <a:lnTo>
                        <a:pt x="82845" y="877824"/>
                      </a:lnTo>
                      <a:lnTo>
                        <a:pt x="83942" y="881116"/>
                      </a:lnTo>
                      <a:lnTo>
                        <a:pt x="83393" y="889345"/>
                      </a:lnTo>
                      <a:lnTo>
                        <a:pt x="89428" y="899221"/>
                      </a:lnTo>
                      <a:lnTo>
                        <a:pt x="88880" y="904159"/>
                      </a:lnTo>
                      <a:lnTo>
                        <a:pt x="94366" y="906353"/>
                      </a:lnTo>
                      <a:lnTo>
                        <a:pt x="92171" y="910742"/>
                      </a:lnTo>
                      <a:lnTo>
                        <a:pt x="85588" y="915680"/>
                      </a:lnTo>
                      <a:lnTo>
                        <a:pt x="88880" y="916777"/>
                      </a:lnTo>
                      <a:lnTo>
                        <a:pt x="95463" y="912388"/>
                      </a:lnTo>
                      <a:lnTo>
                        <a:pt x="103144" y="899221"/>
                      </a:lnTo>
                      <a:lnTo>
                        <a:pt x="104790" y="900318"/>
                      </a:lnTo>
                      <a:lnTo>
                        <a:pt x="104242" y="907451"/>
                      </a:lnTo>
                      <a:lnTo>
                        <a:pt x="108082" y="908548"/>
                      </a:lnTo>
                      <a:lnTo>
                        <a:pt x="124541" y="899770"/>
                      </a:lnTo>
                      <a:lnTo>
                        <a:pt x="129479" y="899770"/>
                      </a:lnTo>
                      <a:lnTo>
                        <a:pt x="134417" y="897575"/>
                      </a:lnTo>
                      <a:lnTo>
                        <a:pt x="137709" y="900318"/>
                      </a:lnTo>
                      <a:lnTo>
                        <a:pt x="139355" y="900867"/>
                      </a:lnTo>
                      <a:lnTo>
                        <a:pt x="151425" y="889894"/>
                      </a:lnTo>
                      <a:lnTo>
                        <a:pt x="156911" y="888797"/>
                      </a:lnTo>
                      <a:lnTo>
                        <a:pt x="161300" y="890991"/>
                      </a:lnTo>
                      <a:lnTo>
                        <a:pt x="172273" y="883859"/>
                      </a:lnTo>
                      <a:lnTo>
                        <a:pt x="178857" y="883310"/>
                      </a:lnTo>
                      <a:lnTo>
                        <a:pt x="183794" y="873984"/>
                      </a:lnTo>
                      <a:lnTo>
                        <a:pt x="187086" y="880567"/>
                      </a:lnTo>
                      <a:lnTo>
                        <a:pt x="199705" y="875629"/>
                      </a:lnTo>
                      <a:lnTo>
                        <a:pt x="197510" y="869046"/>
                      </a:lnTo>
                      <a:lnTo>
                        <a:pt x="199156" y="870692"/>
                      </a:lnTo>
                      <a:lnTo>
                        <a:pt x="205191" y="872886"/>
                      </a:lnTo>
                      <a:lnTo>
                        <a:pt x="208483" y="872338"/>
                      </a:lnTo>
                      <a:lnTo>
                        <a:pt x="213421" y="869046"/>
                      </a:lnTo>
                      <a:lnTo>
                        <a:pt x="225491" y="867948"/>
                      </a:lnTo>
                      <a:lnTo>
                        <a:pt x="240853" y="860816"/>
                      </a:lnTo>
                      <a:lnTo>
                        <a:pt x="246339" y="864657"/>
                      </a:lnTo>
                      <a:lnTo>
                        <a:pt x="258958" y="866303"/>
                      </a:lnTo>
                      <a:lnTo>
                        <a:pt x="262250" y="864108"/>
                      </a:lnTo>
                      <a:lnTo>
                        <a:pt x="264444" y="860268"/>
                      </a:lnTo>
                      <a:lnTo>
                        <a:pt x="264993" y="861365"/>
                      </a:lnTo>
                      <a:lnTo>
                        <a:pt x="385694" y="731886"/>
                      </a:lnTo>
                      <a:lnTo>
                        <a:pt x="405994" y="692932"/>
                      </a:lnTo>
                      <a:lnTo>
                        <a:pt x="406542" y="666598"/>
                      </a:lnTo>
                      <a:lnTo>
                        <a:pt x="403799" y="669889"/>
                      </a:lnTo>
                      <a:lnTo>
                        <a:pt x="396667" y="657819"/>
                      </a:lnTo>
                      <a:lnTo>
                        <a:pt x="393923" y="646298"/>
                      </a:lnTo>
                      <a:lnTo>
                        <a:pt x="373075" y="630936"/>
                      </a:lnTo>
                      <a:lnTo>
                        <a:pt x="367589" y="622158"/>
                      </a:lnTo>
                      <a:lnTo>
                        <a:pt x="363200" y="609539"/>
                      </a:lnTo>
                      <a:lnTo>
                        <a:pt x="377464" y="575523"/>
                      </a:lnTo>
                      <a:lnTo>
                        <a:pt x="376367" y="562905"/>
                      </a:lnTo>
                      <a:lnTo>
                        <a:pt x="365394" y="552480"/>
                      </a:lnTo>
                      <a:lnTo>
                        <a:pt x="360456" y="540959"/>
                      </a:lnTo>
                      <a:lnTo>
                        <a:pt x="361554" y="527792"/>
                      </a:lnTo>
                      <a:lnTo>
                        <a:pt x="356067" y="515722"/>
                      </a:lnTo>
                      <a:lnTo>
                        <a:pt x="345095" y="512430"/>
                      </a:lnTo>
                      <a:lnTo>
                        <a:pt x="344546" y="498714"/>
                      </a:lnTo>
                      <a:lnTo>
                        <a:pt x="348935" y="491033"/>
                      </a:lnTo>
                      <a:lnTo>
                        <a:pt x="347838" y="478414"/>
                      </a:lnTo>
                      <a:lnTo>
                        <a:pt x="345643" y="471830"/>
                      </a:lnTo>
                      <a:lnTo>
                        <a:pt x="350032" y="445496"/>
                      </a:lnTo>
                      <a:lnTo>
                        <a:pt x="359908" y="436717"/>
                      </a:lnTo>
                      <a:lnTo>
                        <a:pt x="325892" y="335219"/>
                      </a:lnTo>
                      <a:lnTo>
                        <a:pt x="324795" y="320954"/>
                      </a:lnTo>
                      <a:lnTo>
                        <a:pt x="354421" y="257312"/>
                      </a:lnTo>
                      <a:lnTo>
                        <a:pt x="352227" y="241950"/>
                      </a:lnTo>
                      <a:lnTo>
                        <a:pt x="331927" y="206289"/>
                      </a:lnTo>
                      <a:lnTo>
                        <a:pt x="322052" y="200802"/>
                      </a:lnTo>
                      <a:lnTo>
                        <a:pt x="312176" y="199705"/>
                      </a:lnTo>
                      <a:lnTo>
                        <a:pt x="305592" y="194767"/>
                      </a:lnTo>
                      <a:lnTo>
                        <a:pt x="302301" y="189281"/>
                      </a:lnTo>
                      <a:lnTo>
                        <a:pt x="297363" y="158557"/>
                      </a:lnTo>
                      <a:lnTo>
                        <a:pt x="305592" y="132222"/>
                      </a:lnTo>
                      <a:lnTo>
                        <a:pt x="305592" y="129479"/>
                      </a:lnTo>
                      <a:lnTo>
                        <a:pt x="299009" y="126187"/>
                      </a:lnTo>
                      <a:lnTo>
                        <a:pt x="319308" y="106985"/>
                      </a:lnTo>
                      <a:lnTo>
                        <a:pt x="312725" y="102047"/>
                      </a:lnTo>
                      <a:lnTo>
                        <a:pt x="312725" y="94366"/>
                      </a:lnTo>
                      <a:lnTo>
                        <a:pt x="314919" y="86136"/>
                      </a:lnTo>
                      <a:lnTo>
                        <a:pt x="328635" y="69129"/>
                      </a:lnTo>
                      <a:lnTo>
                        <a:pt x="322600" y="39502"/>
                      </a:lnTo>
                      <a:lnTo>
                        <a:pt x="310530" y="27432"/>
                      </a:lnTo>
                      <a:lnTo>
                        <a:pt x="298460" y="23043"/>
                      </a:lnTo>
                      <a:lnTo>
                        <a:pt x="290779" y="17008"/>
                      </a:lnTo>
                      <a:lnTo>
                        <a:pt x="284195" y="2743"/>
                      </a:lnTo>
                      <a:lnTo>
                        <a:pt x="280355" y="0"/>
                      </a:lnTo>
                      <a:lnTo>
                        <a:pt x="221102" y="16459"/>
                      </a:lnTo>
                      <a:lnTo>
                        <a:pt x="212872" y="21397"/>
                      </a:lnTo>
                      <a:lnTo>
                        <a:pt x="205191" y="30175"/>
                      </a:lnTo>
                      <a:lnTo>
                        <a:pt x="196413" y="52121"/>
                      </a:lnTo>
                      <a:lnTo>
                        <a:pt x="193670" y="114117"/>
                      </a:lnTo>
                      <a:lnTo>
                        <a:pt x="176113" y="127284"/>
                      </a:lnTo>
                      <a:lnTo>
                        <a:pt x="170078" y="136611"/>
                      </a:lnTo>
                      <a:lnTo>
                        <a:pt x="151425" y="148681"/>
                      </a:lnTo>
                      <a:lnTo>
                        <a:pt x="143744" y="146487"/>
                      </a:lnTo>
                      <a:lnTo>
                        <a:pt x="135514" y="131674"/>
                      </a:lnTo>
                      <a:lnTo>
                        <a:pt x="129479" y="126736"/>
                      </a:lnTo>
                      <a:lnTo>
                        <a:pt x="116860" y="140452"/>
                      </a:lnTo>
                      <a:lnTo>
                        <a:pt x="106985" y="146487"/>
                      </a:lnTo>
                      <a:lnTo>
                        <a:pt x="98755" y="147584"/>
                      </a:lnTo>
                      <a:lnTo>
                        <a:pt x="88331" y="141549"/>
                      </a:lnTo>
                      <a:lnTo>
                        <a:pt x="71323" y="139355"/>
                      </a:lnTo>
                      <a:lnTo>
                        <a:pt x="67483" y="133868"/>
                      </a:lnTo>
                      <a:lnTo>
                        <a:pt x="64191" y="120701"/>
                      </a:lnTo>
                      <a:lnTo>
                        <a:pt x="35113" y="82845"/>
                      </a:lnTo>
                      <a:lnTo>
                        <a:pt x="25786" y="78456"/>
                      </a:lnTo>
                      <a:lnTo>
                        <a:pt x="17008" y="83393"/>
                      </a:lnTo>
                      <a:lnTo>
                        <a:pt x="19751" y="99852"/>
                      </a:lnTo>
                      <a:lnTo>
                        <a:pt x="13716" y="102047"/>
                      </a:lnTo>
                      <a:lnTo>
                        <a:pt x="8230" y="99304"/>
                      </a:lnTo>
                      <a:lnTo>
                        <a:pt x="2195" y="101498"/>
                      </a:lnTo>
                      <a:lnTo>
                        <a:pt x="0" y="106985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69" name="Graphic 7">
                  <a:extLst>
                    <a:ext uri="{FF2B5EF4-FFF2-40B4-BE49-F238E27FC236}">
                      <a16:creationId xmlns:a16="http://schemas.microsoft.com/office/drawing/2014/main" id="{03CE508D-E9AE-DBFB-59EC-F48D39E9C0DD}"/>
                    </a:ext>
                  </a:extLst>
                </p:cNvPr>
                <p:cNvSpPr/>
                <p:nvPr/>
              </p:nvSpPr>
              <p:spPr>
                <a:xfrm>
                  <a:off x="5435823" y="2908528"/>
                  <a:ext cx="345057" cy="364345"/>
                </a:xfrm>
                <a:custGeom>
                  <a:avLst/>
                  <a:gdLst>
                    <a:gd name="connsiteX0" fmla="*/ 138257 w 441655"/>
                    <a:gd name="connsiteY0" fmla="*/ 12070 h 466343"/>
                    <a:gd name="connsiteX1" fmla="*/ 136063 w 441655"/>
                    <a:gd name="connsiteY1" fmla="*/ 19202 h 466343"/>
                    <a:gd name="connsiteX2" fmla="*/ 136611 w 441655"/>
                    <a:gd name="connsiteY2" fmla="*/ 24140 h 466343"/>
                    <a:gd name="connsiteX3" fmla="*/ 133868 w 441655"/>
                    <a:gd name="connsiteY3" fmla="*/ 25786 h 466343"/>
                    <a:gd name="connsiteX4" fmla="*/ 126187 w 441655"/>
                    <a:gd name="connsiteY4" fmla="*/ 26335 h 466343"/>
                    <a:gd name="connsiteX5" fmla="*/ 125090 w 441655"/>
                    <a:gd name="connsiteY5" fmla="*/ 30724 h 466343"/>
                    <a:gd name="connsiteX6" fmla="*/ 125639 w 441655"/>
                    <a:gd name="connsiteY6" fmla="*/ 35662 h 466343"/>
                    <a:gd name="connsiteX7" fmla="*/ 127833 w 441655"/>
                    <a:gd name="connsiteY7" fmla="*/ 40051 h 466343"/>
                    <a:gd name="connsiteX8" fmla="*/ 126736 w 441655"/>
                    <a:gd name="connsiteY8" fmla="*/ 42794 h 466343"/>
                    <a:gd name="connsiteX9" fmla="*/ 104790 w 441655"/>
                    <a:gd name="connsiteY9" fmla="*/ 39502 h 466343"/>
                    <a:gd name="connsiteX10" fmla="*/ 100401 w 441655"/>
                    <a:gd name="connsiteY10" fmla="*/ 35662 h 466343"/>
                    <a:gd name="connsiteX11" fmla="*/ 95463 w 441655"/>
                    <a:gd name="connsiteY11" fmla="*/ 33467 h 466343"/>
                    <a:gd name="connsiteX12" fmla="*/ 93817 w 441655"/>
                    <a:gd name="connsiteY12" fmla="*/ 40599 h 466343"/>
                    <a:gd name="connsiteX13" fmla="*/ 86685 w 441655"/>
                    <a:gd name="connsiteY13" fmla="*/ 54315 h 466343"/>
                    <a:gd name="connsiteX14" fmla="*/ 85039 w 441655"/>
                    <a:gd name="connsiteY14" fmla="*/ 60899 h 466343"/>
                    <a:gd name="connsiteX15" fmla="*/ 83393 w 441655"/>
                    <a:gd name="connsiteY15" fmla="*/ 63642 h 466343"/>
                    <a:gd name="connsiteX16" fmla="*/ 79004 w 441655"/>
                    <a:gd name="connsiteY16" fmla="*/ 60899 h 466343"/>
                    <a:gd name="connsiteX17" fmla="*/ 74615 w 441655"/>
                    <a:gd name="connsiteY17" fmla="*/ 55413 h 466343"/>
                    <a:gd name="connsiteX18" fmla="*/ 66934 w 441655"/>
                    <a:gd name="connsiteY18" fmla="*/ 49378 h 466343"/>
                    <a:gd name="connsiteX19" fmla="*/ 62545 w 441655"/>
                    <a:gd name="connsiteY19" fmla="*/ 36759 h 466343"/>
                    <a:gd name="connsiteX20" fmla="*/ 55413 w 441655"/>
                    <a:gd name="connsiteY20" fmla="*/ 40599 h 466343"/>
                    <a:gd name="connsiteX21" fmla="*/ 51024 w 441655"/>
                    <a:gd name="connsiteY21" fmla="*/ 46086 h 466343"/>
                    <a:gd name="connsiteX22" fmla="*/ 51024 w 441655"/>
                    <a:gd name="connsiteY22" fmla="*/ 52121 h 466343"/>
                    <a:gd name="connsiteX23" fmla="*/ 41148 w 441655"/>
                    <a:gd name="connsiteY23" fmla="*/ 61448 h 466343"/>
                    <a:gd name="connsiteX24" fmla="*/ 2743 w 441655"/>
                    <a:gd name="connsiteY24" fmla="*/ 65837 h 466343"/>
                    <a:gd name="connsiteX25" fmla="*/ 2743 w 441655"/>
                    <a:gd name="connsiteY25" fmla="*/ 69677 h 466343"/>
                    <a:gd name="connsiteX26" fmla="*/ 12070 w 441655"/>
                    <a:gd name="connsiteY26" fmla="*/ 97109 h 466343"/>
                    <a:gd name="connsiteX27" fmla="*/ 4938 w 441655"/>
                    <a:gd name="connsiteY27" fmla="*/ 102596 h 466343"/>
                    <a:gd name="connsiteX28" fmla="*/ 1097 w 441655"/>
                    <a:gd name="connsiteY28" fmla="*/ 106985 h 466343"/>
                    <a:gd name="connsiteX29" fmla="*/ 0 w 441655"/>
                    <a:gd name="connsiteY29" fmla="*/ 112471 h 466343"/>
                    <a:gd name="connsiteX30" fmla="*/ 0 w 441655"/>
                    <a:gd name="connsiteY30" fmla="*/ 115763 h 466343"/>
                    <a:gd name="connsiteX31" fmla="*/ 1646 w 441655"/>
                    <a:gd name="connsiteY31" fmla="*/ 119055 h 466343"/>
                    <a:gd name="connsiteX32" fmla="*/ 7132 w 441655"/>
                    <a:gd name="connsiteY32" fmla="*/ 121249 h 466343"/>
                    <a:gd name="connsiteX33" fmla="*/ 7681 w 441655"/>
                    <a:gd name="connsiteY33" fmla="*/ 126736 h 466343"/>
                    <a:gd name="connsiteX34" fmla="*/ 6584 w 441655"/>
                    <a:gd name="connsiteY34" fmla="*/ 132771 h 466343"/>
                    <a:gd name="connsiteX35" fmla="*/ 8778 w 441655"/>
                    <a:gd name="connsiteY35" fmla="*/ 148133 h 466343"/>
                    <a:gd name="connsiteX36" fmla="*/ 13167 w 441655"/>
                    <a:gd name="connsiteY36" fmla="*/ 153619 h 466343"/>
                    <a:gd name="connsiteX37" fmla="*/ 30175 w 441655"/>
                    <a:gd name="connsiteY37" fmla="*/ 155814 h 466343"/>
                    <a:gd name="connsiteX38" fmla="*/ 32370 w 441655"/>
                    <a:gd name="connsiteY38" fmla="*/ 161300 h 466343"/>
                    <a:gd name="connsiteX39" fmla="*/ 32370 w 441655"/>
                    <a:gd name="connsiteY39" fmla="*/ 166786 h 466343"/>
                    <a:gd name="connsiteX40" fmla="*/ 30724 w 441655"/>
                    <a:gd name="connsiteY40" fmla="*/ 171724 h 466343"/>
                    <a:gd name="connsiteX41" fmla="*/ 31273 w 441655"/>
                    <a:gd name="connsiteY41" fmla="*/ 173919 h 466343"/>
                    <a:gd name="connsiteX42" fmla="*/ 43343 w 441655"/>
                    <a:gd name="connsiteY42" fmla="*/ 173370 h 466343"/>
                    <a:gd name="connsiteX43" fmla="*/ 53767 w 441655"/>
                    <a:gd name="connsiteY43" fmla="*/ 168433 h 466343"/>
                    <a:gd name="connsiteX44" fmla="*/ 55413 w 441655"/>
                    <a:gd name="connsiteY44" fmla="*/ 163495 h 466343"/>
                    <a:gd name="connsiteX45" fmla="*/ 61448 w 441655"/>
                    <a:gd name="connsiteY45" fmla="*/ 154717 h 466343"/>
                    <a:gd name="connsiteX46" fmla="*/ 64740 w 441655"/>
                    <a:gd name="connsiteY46" fmla="*/ 153070 h 466343"/>
                    <a:gd name="connsiteX47" fmla="*/ 66385 w 441655"/>
                    <a:gd name="connsiteY47" fmla="*/ 148681 h 466343"/>
                    <a:gd name="connsiteX48" fmla="*/ 77907 w 441655"/>
                    <a:gd name="connsiteY48" fmla="*/ 143195 h 466343"/>
                    <a:gd name="connsiteX49" fmla="*/ 90526 w 441655"/>
                    <a:gd name="connsiteY49" fmla="*/ 144841 h 466343"/>
                    <a:gd name="connsiteX50" fmla="*/ 130028 w 441655"/>
                    <a:gd name="connsiteY50" fmla="*/ 166238 h 466343"/>
                    <a:gd name="connsiteX51" fmla="*/ 144292 w 441655"/>
                    <a:gd name="connsiteY51" fmla="*/ 209032 h 466343"/>
                    <a:gd name="connsiteX52" fmla="*/ 143744 w 441655"/>
                    <a:gd name="connsiteY52" fmla="*/ 213970 h 466343"/>
                    <a:gd name="connsiteX53" fmla="*/ 164592 w 441655"/>
                    <a:gd name="connsiteY53" fmla="*/ 236464 h 466343"/>
                    <a:gd name="connsiteX54" fmla="*/ 166787 w 441655"/>
                    <a:gd name="connsiteY54" fmla="*/ 246888 h 466343"/>
                    <a:gd name="connsiteX55" fmla="*/ 172273 w 441655"/>
                    <a:gd name="connsiteY55" fmla="*/ 244693 h 466343"/>
                    <a:gd name="connsiteX56" fmla="*/ 177211 w 441655"/>
                    <a:gd name="connsiteY56" fmla="*/ 244693 h 466343"/>
                    <a:gd name="connsiteX57" fmla="*/ 183794 w 441655"/>
                    <a:gd name="connsiteY57" fmla="*/ 249631 h 466343"/>
                    <a:gd name="connsiteX58" fmla="*/ 193121 w 441655"/>
                    <a:gd name="connsiteY58" fmla="*/ 263347 h 466343"/>
                    <a:gd name="connsiteX59" fmla="*/ 199705 w 441655"/>
                    <a:gd name="connsiteY59" fmla="*/ 264445 h 466343"/>
                    <a:gd name="connsiteX60" fmla="*/ 238110 w 441655"/>
                    <a:gd name="connsiteY60" fmla="*/ 303946 h 466343"/>
                    <a:gd name="connsiteX61" fmla="*/ 241402 w 441655"/>
                    <a:gd name="connsiteY61" fmla="*/ 302849 h 466343"/>
                    <a:gd name="connsiteX62" fmla="*/ 263896 w 441655"/>
                    <a:gd name="connsiteY62" fmla="*/ 304495 h 466343"/>
                    <a:gd name="connsiteX63" fmla="*/ 273771 w 441655"/>
                    <a:gd name="connsiteY63" fmla="*/ 316017 h 466343"/>
                    <a:gd name="connsiteX64" fmla="*/ 277063 w 441655"/>
                    <a:gd name="connsiteY64" fmla="*/ 323149 h 466343"/>
                    <a:gd name="connsiteX65" fmla="*/ 288036 w 441655"/>
                    <a:gd name="connsiteY65" fmla="*/ 328087 h 466343"/>
                    <a:gd name="connsiteX66" fmla="*/ 288585 w 441655"/>
                    <a:gd name="connsiteY66" fmla="*/ 329733 h 466343"/>
                    <a:gd name="connsiteX67" fmla="*/ 288036 w 441655"/>
                    <a:gd name="connsiteY67" fmla="*/ 335219 h 466343"/>
                    <a:gd name="connsiteX68" fmla="*/ 300655 w 441655"/>
                    <a:gd name="connsiteY68" fmla="*/ 333025 h 466343"/>
                    <a:gd name="connsiteX69" fmla="*/ 304495 w 441655"/>
                    <a:gd name="connsiteY69" fmla="*/ 334122 h 466343"/>
                    <a:gd name="connsiteX70" fmla="*/ 307238 w 441655"/>
                    <a:gd name="connsiteY70" fmla="*/ 337962 h 466343"/>
                    <a:gd name="connsiteX71" fmla="*/ 309982 w 441655"/>
                    <a:gd name="connsiteY71" fmla="*/ 345643 h 466343"/>
                    <a:gd name="connsiteX72" fmla="*/ 308336 w 441655"/>
                    <a:gd name="connsiteY72" fmla="*/ 350581 h 466343"/>
                    <a:gd name="connsiteX73" fmla="*/ 312176 w 441655"/>
                    <a:gd name="connsiteY73" fmla="*/ 355519 h 466343"/>
                    <a:gd name="connsiteX74" fmla="*/ 319857 w 441655"/>
                    <a:gd name="connsiteY74" fmla="*/ 358810 h 466343"/>
                    <a:gd name="connsiteX75" fmla="*/ 326989 w 441655"/>
                    <a:gd name="connsiteY75" fmla="*/ 367040 h 466343"/>
                    <a:gd name="connsiteX76" fmla="*/ 330281 w 441655"/>
                    <a:gd name="connsiteY76" fmla="*/ 361005 h 466343"/>
                    <a:gd name="connsiteX77" fmla="*/ 334122 w 441655"/>
                    <a:gd name="connsiteY77" fmla="*/ 361005 h 466343"/>
                    <a:gd name="connsiteX78" fmla="*/ 357165 w 441655"/>
                    <a:gd name="connsiteY78" fmla="*/ 422453 h 466343"/>
                    <a:gd name="connsiteX79" fmla="*/ 342351 w 441655"/>
                    <a:gd name="connsiteY79" fmla="*/ 430682 h 466343"/>
                    <a:gd name="connsiteX80" fmla="*/ 344546 w 441655"/>
                    <a:gd name="connsiteY80" fmla="*/ 438363 h 466343"/>
                    <a:gd name="connsiteX81" fmla="*/ 336865 w 441655"/>
                    <a:gd name="connsiteY81" fmla="*/ 452079 h 466343"/>
                    <a:gd name="connsiteX82" fmla="*/ 339060 w 441655"/>
                    <a:gd name="connsiteY82" fmla="*/ 465795 h 466343"/>
                    <a:gd name="connsiteX83" fmla="*/ 340157 w 441655"/>
                    <a:gd name="connsiteY83" fmla="*/ 464698 h 466343"/>
                    <a:gd name="connsiteX84" fmla="*/ 339608 w 441655"/>
                    <a:gd name="connsiteY84" fmla="*/ 466344 h 466343"/>
                    <a:gd name="connsiteX85" fmla="*/ 350032 w 441655"/>
                    <a:gd name="connsiteY85" fmla="*/ 465795 h 466343"/>
                    <a:gd name="connsiteX86" fmla="*/ 352227 w 441655"/>
                    <a:gd name="connsiteY86" fmla="*/ 463601 h 466343"/>
                    <a:gd name="connsiteX87" fmla="*/ 359359 w 441655"/>
                    <a:gd name="connsiteY87" fmla="*/ 449336 h 466343"/>
                    <a:gd name="connsiteX88" fmla="*/ 364297 w 441655"/>
                    <a:gd name="connsiteY88" fmla="*/ 445496 h 466343"/>
                    <a:gd name="connsiteX89" fmla="*/ 368686 w 441655"/>
                    <a:gd name="connsiteY89" fmla="*/ 443850 h 466343"/>
                    <a:gd name="connsiteX90" fmla="*/ 370332 w 441655"/>
                    <a:gd name="connsiteY90" fmla="*/ 440009 h 466343"/>
                    <a:gd name="connsiteX91" fmla="*/ 370332 w 441655"/>
                    <a:gd name="connsiteY91" fmla="*/ 424647 h 466343"/>
                    <a:gd name="connsiteX92" fmla="*/ 372527 w 441655"/>
                    <a:gd name="connsiteY92" fmla="*/ 421355 h 466343"/>
                    <a:gd name="connsiteX93" fmla="*/ 385145 w 441655"/>
                    <a:gd name="connsiteY93" fmla="*/ 415869 h 466343"/>
                    <a:gd name="connsiteX94" fmla="*/ 388437 w 441655"/>
                    <a:gd name="connsiteY94" fmla="*/ 415869 h 466343"/>
                    <a:gd name="connsiteX95" fmla="*/ 389534 w 441655"/>
                    <a:gd name="connsiteY95" fmla="*/ 413126 h 466343"/>
                    <a:gd name="connsiteX96" fmla="*/ 388437 w 441655"/>
                    <a:gd name="connsiteY96" fmla="*/ 393375 h 466343"/>
                    <a:gd name="connsiteX97" fmla="*/ 385694 w 441655"/>
                    <a:gd name="connsiteY97" fmla="*/ 390083 h 466343"/>
                    <a:gd name="connsiteX98" fmla="*/ 379110 w 441655"/>
                    <a:gd name="connsiteY98" fmla="*/ 386242 h 466343"/>
                    <a:gd name="connsiteX99" fmla="*/ 375270 w 441655"/>
                    <a:gd name="connsiteY99" fmla="*/ 381853 h 466343"/>
                    <a:gd name="connsiteX100" fmla="*/ 368137 w 441655"/>
                    <a:gd name="connsiteY100" fmla="*/ 378013 h 466343"/>
                    <a:gd name="connsiteX101" fmla="*/ 371978 w 441655"/>
                    <a:gd name="connsiteY101" fmla="*/ 358262 h 466343"/>
                    <a:gd name="connsiteX102" fmla="*/ 385694 w 441655"/>
                    <a:gd name="connsiteY102" fmla="*/ 341254 h 466343"/>
                    <a:gd name="connsiteX103" fmla="*/ 393375 w 441655"/>
                    <a:gd name="connsiteY103" fmla="*/ 339608 h 466343"/>
                    <a:gd name="connsiteX104" fmla="*/ 404348 w 441655"/>
                    <a:gd name="connsiteY104" fmla="*/ 347838 h 466343"/>
                    <a:gd name="connsiteX105" fmla="*/ 421356 w 441655"/>
                    <a:gd name="connsiteY105" fmla="*/ 354421 h 466343"/>
                    <a:gd name="connsiteX106" fmla="*/ 428488 w 441655"/>
                    <a:gd name="connsiteY106" fmla="*/ 368686 h 466343"/>
                    <a:gd name="connsiteX107" fmla="*/ 436169 w 441655"/>
                    <a:gd name="connsiteY107" fmla="*/ 373075 h 466343"/>
                    <a:gd name="connsiteX108" fmla="*/ 436169 w 441655"/>
                    <a:gd name="connsiteY108" fmla="*/ 371429 h 466343"/>
                    <a:gd name="connsiteX109" fmla="*/ 441655 w 441655"/>
                    <a:gd name="connsiteY109" fmla="*/ 360457 h 466343"/>
                    <a:gd name="connsiteX110" fmla="*/ 421356 w 441655"/>
                    <a:gd name="connsiteY110" fmla="*/ 329733 h 466343"/>
                    <a:gd name="connsiteX111" fmla="*/ 396667 w 441655"/>
                    <a:gd name="connsiteY111" fmla="*/ 320406 h 466343"/>
                    <a:gd name="connsiteX112" fmla="*/ 391180 w 441655"/>
                    <a:gd name="connsiteY112" fmla="*/ 314371 h 466343"/>
                    <a:gd name="connsiteX113" fmla="*/ 349484 w 441655"/>
                    <a:gd name="connsiteY113" fmla="*/ 294620 h 466343"/>
                    <a:gd name="connsiteX114" fmla="*/ 346192 w 441655"/>
                    <a:gd name="connsiteY114" fmla="*/ 294620 h 466343"/>
                    <a:gd name="connsiteX115" fmla="*/ 343997 w 441655"/>
                    <a:gd name="connsiteY115" fmla="*/ 291328 h 466343"/>
                    <a:gd name="connsiteX116" fmla="*/ 343997 w 441655"/>
                    <a:gd name="connsiteY116" fmla="*/ 287487 h 466343"/>
                    <a:gd name="connsiteX117" fmla="*/ 348386 w 441655"/>
                    <a:gd name="connsiteY117" fmla="*/ 283098 h 466343"/>
                    <a:gd name="connsiteX118" fmla="*/ 353324 w 441655"/>
                    <a:gd name="connsiteY118" fmla="*/ 279806 h 466343"/>
                    <a:gd name="connsiteX119" fmla="*/ 353873 w 441655"/>
                    <a:gd name="connsiteY119" fmla="*/ 273771 h 466343"/>
                    <a:gd name="connsiteX120" fmla="*/ 349484 w 441655"/>
                    <a:gd name="connsiteY120" fmla="*/ 267736 h 466343"/>
                    <a:gd name="connsiteX121" fmla="*/ 342351 w 441655"/>
                    <a:gd name="connsiteY121" fmla="*/ 268834 h 466343"/>
                    <a:gd name="connsiteX122" fmla="*/ 339608 w 441655"/>
                    <a:gd name="connsiteY122" fmla="*/ 270479 h 466343"/>
                    <a:gd name="connsiteX123" fmla="*/ 345095 w 441655"/>
                    <a:gd name="connsiteY123" fmla="*/ 268834 h 466343"/>
                    <a:gd name="connsiteX124" fmla="*/ 340157 w 441655"/>
                    <a:gd name="connsiteY124" fmla="*/ 270479 h 466343"/>
                    <a:gd name="connsiteX125" fmla="*/ 318760 w 441655"/>
                    <a:gd name="connsiteY125" fmla="*/ 270479 h 466343"/>
                    <a:gd name="connsiteX126" fmla="*/ 318760 w 441655"/>
                    <a:gd name="connsiteY126" fmla="*/ 275966 h 466343"/>
                    <a:gd name="connsiteX127" fmla="*/ 302849 w 441655"/>
                    <a:gd name="connsiteY127" fmla="*/ 261701 h 466343"/>
                    <a:gd name="connsiteX128" fmla="*/ 299557 w 441655"/>
                    <a:gd name="connsiteY128" fmla="*/ 261153 h 466343"/>
                    <a:gd name="connsiteX129" fmla="*/ 297912 w 441655"/>
                    <a:gd name="connsiteY129" fmla="*/ 255666 h 466343"/>
                    <a:gd name="connsiteX130" fmla="*/ 295168 w 441655"/>
                    <a:gd name="connsiteY130" fmla="*/ 255666 h 466343"/>
                    <a:gd name="connsiteX131" fmla="*/ 277063 w 441655"/>
                    <a:gd name="connsiteY131" fmla="*/ 236464 h 466343"/>
                    <a:gd name="connsiteX132" fmla="*/ 256215 w 441655"/>
                    <a:gd name="connsiteY132" fmla="*/ 184892 h 466343"/>
                    <a:gd name="connsiteX133" fmla="*/ 252923 w 441655"/>
                    <a:gd name="connsiteY133" fmla="*/ 182697 h 466343"/>
                    <a:gd name="connsiteX134" fmla="*/ 249083 w 441655"/>
                    <a:gd name="connsiteY134" fmla="*/ 182697 h 466343"/>
                    <a:gd name="connsiteX135" fmla="*/ 247437 w 441655"/>
                    <a:gd name="connsiteY135" fmla="*/ 180502 h 466343"/>
                    <a:gd name="connsiteX136" fmla="*/ 219456 w 441655"/>
                    <a:gd name="connsiteY136" fmla="*/ 162397 h 466343"/>
                    <a:gd name="connsiteX137" fmla="*/ 209032 w 441655"/>
                    <a:gd name="connsiteY137" fmla="*/ 144841 h 466343"/>
                    <a:gd name="connsiteX138" fmla="*/ 210678 w 441655"/>
                    <a:gd name="connsiteY138" fmla="*/ 120701 h 466343"/>
                    <a:gd name="connsiteX139" fmla="*/ 214518 w 441655"/>
                    <a:gd name="connsiteY139" fmla="*/ 117409 h 466343"/>
                    <a:gd name="connsiteX140" fmla="*/ 215616 w 441655"/>
                    <a:gd name="connsiteY140" fmla="*/ 112471 h 466343"/>
                    <a:gd name="connsiteX141" fmla="*/ 213421 w 441655"/>
                    <a:gd name="connsiteY141" fmla="*/ 108082 h 466343"/>
                    <a:gd name="connsiteX142" fmla="*/ 208483 w 441655"/>
                    <a:gd name="connsiteY142" fmla="*/ 106436 h 466343"/>
                    <a:gd name="connsiteX143" fmla="*/ 206837 w 441655"/>
                    <a:gd name="connsiteY143" fmla="*/ 96012 h 466343"/>
                    <a:gd name="connsiteX144" fmla="*/ 207935 w 441655"/>
                    <a:gd name="connsiteY144" fmla="*/ 91074 h 466343"/>
                    <a:gd name="connsiteX145" fmla="*/ 215616 w 441655"/>
                    <a:gd name="connsiteY145" fmla="*/ 85588 h 466343"/>
                    <a:gd name="connsiteX146" fmla="*/ 217810 w 441655"/>
                    <a:gd name="connsiteY146" fmla="*/ 85588 h 466343"/>
                    <a:gd name="connsiteX147" fmla="*/ 218907 w 441655"/>
                    <a:gd name="connsiteY147" fmla="*/ 86685 h 466343"/>
                    <a:gd name="connsiteX148" fmla="*/ 244145 w 441655"/>
                    <a:gd name="connsiteY148" fmla="*/ 74066 h 466343"/>
                    <a:gd name="connsiteX149" fmla="*/ 250729 w 441655"/>
                    <a:gd name="connsiteY149" fmla="*/ 75712 h 466343"/>
                    <a:gd name="connsiteX150" fmla="*/ 256764 w 441655"/>
                    <a:gd name="connsiteY150" fmla="*/ 72421 h 466343"/>
                    <a:gd name="connsiteX151" fmla="*/ 261701 w 441655"/>
                    <a:gd name="connsiteY151" fmla="*/ 72969 h 466343"/>
                    <a:gd name="connsiteX152" fmla="*/ 262250 w 441655"/>
                    <a:gd name="connsiteY152" fmla="*/ 77358 h 466343"/>
                    <a:gd name="connsiteX153" fmla="*/ 259507 w 441655"/>
                    <a:gd name="connsiteY153" fmla="*/ 82296 h 466343"/>
                    <a:gd name="connsiteX154" fmla="*/ 259507 w 441655"/>
                    <a:gd name="connsiteY154" fmla="*/ 83393 h 466343"/>
                    <a:gd name="connsiteX155" fmla="*/ 262799 w 441655"/>
                    <a:gd name="connsiteY155" fmla="*/ 84490 h 466343"/>
                    <a:gd name="connsiteX156" fmla="*/ 266639 w 441655"/>
                    <a:gd name="connsiteY156" fmla="*/ 83393 h 466343"/>
                    <a:gd name="connsiteX157" fmla="*/ 269382 w 441655"/>
                    <a:gd name="connsiteY157" fmla="*/ 81199 h 466343"/>
                    <a:gd name="connsiteX158" fmla="*/ 269931 w 441655"/>
                    <a:gd name="connsiteY158" fmla="*/ 78455 h 466343"/>
                    <a:gd name="connsiteX159" fmla="*/ 268285 w 441655"/>
                    <a:gd name="connsiteY159" fmla="*/ 75712 h 466343"/>
                    <a:gd name="connsiteX160" fmla="*/ 266090 w 441655"/>
                    <a:gd name="connsiteY160" fmla="*/ 74615 h 466343"/>
                    <a:gd name="connsiteX161" fmla="*/ 264445 w 441655"/>
                    <a:gd name="connsiteY161" fmla="*/ 70774 h 466343"/>
                    <a:gd name="connsiteX162" fmla="*/ 258958 w 441655"/>
                    <a:gd name="connsiteY162" fmla="*/ 68580 h 466343"/>
                    <a:gd name="connsiteX163" fmla="*/ 257312 w 441655"/>
                    <a:gd name="connsiteY163" fmla="*/ 66934 h 466343"/>
                    <a:gd name="connsiteX164" fmla="*/ 257312 w 441655"/>
                    <a:gd name="connsiteY164" fmla="*/ 61448 h 466343"/>
                    <a:gd name="connsiteX165" fmla="*/ 254020 w 441655"/>
                    <a:gd name="connsiteY165" fmla="*/ 57607 h 466343"/>
                    <a:gd name="connsiteX166" fmla="*/ 256215 w 441655"/>
                    <a:gd name="connsiteY166" fmla="*/ 47183 h 466343"/>
                    <a:gd name="connsiteX167" fmla="*/ 252923 w 441655"/>
                    <a:gd name="connsiteY167" fmla="*/ 47732 h 466343"/>
                    <a:gd name="connsiteX168" fmla="*/ 251277 w 441655"/>
                    <a:gd name="connsiteY168" fmla="*/ 46634 h 466343"/>
                    <a:gd name="connsiteX169" fmla="*/ 251277 w 441655"/>
                    <a:gd name="connsiteY169" fmla="*/ 43342 h 466343"/>
                    <a:gd name="connsiteX170" fmla="*/ 252923 w 441655"/>
                    <a:gd name="connsiteY170" fmla="*/ 38405 h 466343"/>
                    <a:gd name="connsiteX171" fmla="*/ 260055 w 441655"/>
                    <a:gd name="connsiteY171" fmla="*/ 31821 h 466343"/>
                    <a:gd name="connsiteX172" fmla="*/ 223845 w 441655"/>
                    <a:gd name="connsiteY172" fmla="*/ 25786 h 466343"/>
                    <a:gd name="connsiteX173" fmla="*/ 217810 w 441655"/>
                    <a:gd name="connsiteY173" fmla="*/ 20848 h 466343"/>
                    <a:gd name="connsiteX174" fmla="*/ 214518 w 441655"/>
                    <a:gd name="connsiteY174" fmla="*/ 20300 h 466343"/>
                    <a:gd name="connsiteX175" fmla="*/ 206289 w 441655"/>
                    <a:gd name="connsiteY175" fmla="*/ 15362 h 466343"/>
                    <a:gd name="connsiteX176" fmla="*/ 202997 w 441655"/>
                    <a:gd name="connsiteY176" fmla="*/ 4938 h 466343"/>
                    <a:gd name="connsiteX177" fmla="*/ 202997 w 441655"/>
                    <a:gd name="connsiteY177" fmla="*/ 1097 h 466343"/>
                    <a:gd name="connsiteX178" fmla="*/ 200802 w 441655"/>
                    <a:gd name="connsiteY178" fmla="*/ 0 h 466343"/>
                    <a:gd name="connsiteX179" fmla="*/ 196962 w 441655"/>
                    <a:gd name="connsiteY179" fmla="*/ 549 h 466343"/>
                    <a:gd name="connsiteX180" fmla="*/ 193670 w 441655"/>
                    <a:gd name="connsiteY180" fmla="*/ 3292 h 466343"/>
                    <a:gd name="connsiteX181" fmla="*/ 146487 w 441655"/>
                    <a:gd name="connsiteY181" fmla="*/ 14813 h 466343"/>
                    <a:gd name="connsiteX182" fmla="*/ 138257 w 441655"/>
                    <a:gd name="connsiteY182" fmla="*/ 12070 h 466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</a:cxnLst>
                  <a:rect l="l" t="t" r="r" b="b"/>
                  <a:pathLst>
                    <a:path w="441655" h="466343">
                      <a:moveTo>
                        <a:pt x="138257" y="12070"/>
                      </a:moveTo>
                      <a:lnTo>
                        <a:pt x="136063" y="19202"/>
                      </a:lnTo>
                      <a:lnTo>
                        <a:pt x="136611" y="24140"/>
                      </a:lnTo>
                      <a:lnTo>
                        <a:pt x="133868" y="25786"/>
                      </a:lnTo>
                      <a:lnTo>
                        <a:pt x="126187" y="26335"/>
                      </a:lnTo>
                      <a:lnTo>
                        <a:pt x="125090" y="30724"/>
                      </a:lnTo>
                      <a:lnTo>
                        <a:pt x="125639" y="35662"/>
                      </a:lnTo>
                      <a:lnTo>
                        <a:pt x="127833" y="40051"/>
                      </a:lnTo>
                      <a:lnTo>
                        <a:pt x="126736" y="42794"/>
                      </a:lnTo>
                      <a:lnTo>
                        <a:pt x="104790" y="39502"/>
                      </a:lnTo>
                      <a:lnTo>
                        <a:pt x="100401" y="35662"/>
                      </a:lnTo>
                      <a:lnTo>
                        <a:pt x="95463" y="33467"/>
                      </a:lnTo>
                      <a:lnTo>
                        <a:pt x="93817" y="40599"/>
                      </a:lnTo>
                      <a:lnTo>
                        <a:pt x="86685" y="54315"/>
                      </a:lnTo>
                      <a:lnTo>
                        <a:pt x="85039" y="60899"/>
                      </a:lnTo>
                      <a:lnTo>
                        <a:pt x="83393" y="63642"/>
                      </a:lnTo>
                      <a:lnTo>
                        <a:pt x="79004" y="60899"/>
                      </a:lnTo>
                      <a:lnTo>
                        <a:pt x="74615" y="55413"/>
                      </a:lnTo>
                      <a:lnTo>
                        <a:pt x="66934" y="49378"/>
                      </a:lnTo>
                      <a:lnTo>
                        <a:pt x="62545" y="36759"/>
                      </a:lnTo>
                      <a:lnTo>
                        <a:pt x="55413" y="40599"/>
                      </a:lnTo>
                      <a:lnTo>
                        <a:pt x="51024" y="46086"/>
                      </a:lnTo>
                      <a:lnTo>
                        <a:pt x="51024" y="52121"/>
                      </a:lnTo>
                      <a:lnTo>
                        <a:pt x="41148" y="61448"/>
                      </a:lnTo>
                      <a:lnTo>
                        <a:pt x="2743" y="65837"/>
                      </a:lnTo>
                      <a:lnTo>
                        <a:pt x="2743" y="69677"/>
                      </a:lnTo>
                      <a:lnTo>
                        <a:pt x="12070" y="97109"/>
                      </a:lnTo>
                      <a:lnTo>
                        <a:pt x="4938" y="102596"/>
                      </a:lnTo>
                      <a:lnTo>
                        <a:pt x="1097" y="106985"/>
                      </a:lnTo>
                      <a:lnTo>
                        <a:pt x="0" y="112471"/>
                      </a:lnTo>
                      <a:lnTo>
                        <a:pt x="0" y="115763"/>
                      </a:lnTo>
                      <a:lnTo>
                        <a:pt x="1646" y="119055"/>
                      </a:lnTo>
                      <a:lnTo>
                        <a:pt x="7132" y="121249"/>
                      </a:lnTo>
                      <a:lnTo>
                        <a:pt x="7681" y="126736"/>
                      </a:lnTo>
                      <a:lnTo>
                        <a:pt x="6584" y="132771"/>
                      </a:lnTo>
                      <a:lnTo>
                        <a:pt x="8778" y="148133"/>
                      </a:lnTo>
                      <a:lnTo>
                        <a:pt x="13167" y="153619"/>
                      </a:lnTo>
                      <a:lnTo>
                        <a:pt x="30175" y="155814"/>
                      </a:lnTo>
                      <a:lnTo>
                        <a:pt x="32370" y="161300"/>
                      </a:lnTo>
                      <a:lnTo>
                        <a:pt x="32370" y="166786"/>
                      </a:lnTo>
                      <a:lnTo>
                        <a:pt x="30724" y="171724"/>
                      </a:lnTo>
                      <a:lnTo>
                        <a:pt x="31273" y="173919"/>
                      </a:lnTo>
                      <a:lnTo>
                        <a:pt x="43343" y="173370"/>
                      </a:lnTo>
                      <a:lnTo>
                        <a:pt x="53767" y="168433"/>
                      </a:lnTo>
                      <a:lnTo>
                        <a:pt x="55413" y="163495"/>
                      </a:lnTo>
                      <a:lnTo>
                        <a:pt x="61448" y="154717"/>
                      </a:lnTo>
                      <a:lnTo>
                        <a:pt x="64740" y="153070"/>
                      </a:lnTo>
                      <a:lnTo>
                        <a:pt x="66385" y="148681"/>
                      </a:lnTo>
                      <a:lnTo>
                        <a:pt x="77907" y="143195"/>
                      </a:lnTo>
                      <a:lnTo>
                        <a:pt x="90526" y="144841"/>
                      </a:lnTo>
                      <a:lnTo>
                        <a:pt x="130028" y="166238"/>
                      </a:lnTo>
                      <a:lnTo>
                        <a:pt x="144292" y="209032"/>
                      </a:lnTo>
                      <a:lnTo>
                        <a:pt x="143744" y="213970"/>
                      </a:lnTo>
                      <a:lnTo>
                        <a:pt x="164592" y="236464"/>
                      </a:lnTo>
                      <a:lnTo>
                        <a:pt x="166787" y="246888"/>
                      </a:lnTo>
                      <a:lnTo>
                        <a:pt x="172273" y="244693"/>
                      </a:lnTo>
                      <a:lnTo>
                        <a:pt x="177211" y="244693"/>
                      </a:lnTo>
                      <a:lnTo>
                        <a:pt x="183794" y="249631"/>
                      </a:lnTo>
                      <a:lnTo>
                        <a:pt x="193121" y="263347"/>
                      </a:lnTo>
                      <a:lnTo>
                        <a:pt x="199705" y="264445"/>
                      </a:lnTo>
                      <a:lnTo>
                        <a:pt x="238110" y="303946"/>
                      </a:lnTo>
                      <a:lnTo>
                        <a:pt x="241402" y="302849"/>
                      </a:lnTo>
                      <a:lnTo>
                        <a:pt x="263896" y="304495"/>
                      </a:lnTo>
                      <a:lnTo>
                        <a:pt x="273771" y="316017"/>
                      </a:lnTo>
                      <a:lnTo>
                        <a:pt x="277063" y="323149"/>
                      </a:lnTo>
                      <a:lnTo>
                        <a:pt x="288036" y="328087"/>
                      </a:lnTo>
                      <a:lnTo>
                        <a:pt x="288585" y="329733"/>
                      </a:lnTo>
                      <a:lnTo>
                        <a:pt x="288036" y="335219"/>
                      </a:lnTo>
                      <a:lnTo>
                        <a:pt x="300655" y="333025"/>
                      </a:lnTo>
                      <a:lnTo>
                        <a:pt x="304495" y="334122"/>
                      </a:lnTo>
                      <a:lnTo>
                        <a:pt x="307238" y="337962"/>
                      </a:lnTo>
                      <a:lnTo>
                        <a:pt x="309982" y="345643"/>
                      </a:lnTo>
                      <a:lnTo>
                        <a:pt x="308336" y="350581"/>
                      </a:lnTo>
                      <a:lnTo>
                        <a:pt x="312176" y="355519"/>
                      </a:lnTo>
                      <a:lnTo>
                        <a:pt x="319857" y="358810"/>
                      </a:lnTo>
                      <a:lnTo>
                        <a:pt x="326989" y="367040"/>
                      </a:lnTo>
                      <a:lnTo>
                        <a:pt x="330281" y="361005"/>
                      </a:lnTo>
                      <a:lnTo>
                        <a:pt x="334122" y="361005"/>
                      </a:lnTo>
                      <a:lnTo>
                        <a:pt x="357165" y="422453"/>
                      </a:lnTo>
                      <a:lnTo>
                        <a:pt x="342351" y="430682"/>
                      </a:lnTo>
                      <a:lnTo>
                        <a:pt x="344546" y="438363"/>
                      </a:lnTo>
                      <a:lnTo>
                        <a:pt x="336865" y="452079"/>
                      </a:lnTo>
                      <a:lnTo>
                        <a:pt x="339060" y="465795"/>
                      </a:lnTo>
                      <a:lnTo>
                        <a:pt x="340157" y="464698"/>
                      </a:lnTo>
                      <a:lnTo>
                        <a:pt x="339608" y="466344"/>
                      </a:lnTo>
                      <a:lnTo>
                        <a:pt x="350032" y="465795"/>
                      </a:lnTo>
                      <a:lnTo>
                        <a:pt x="352227" y="463601"/>
                      </a:lnTo>
                      <a:lnTo>
                        <a:pt x="359359" y="449336"/>
                      </a:lnTo>
                      <a:lnTo>
                        <a:pt x="364297" y="445496"/>
                      </a:lnTo>
                      <a:lnTo>
                        <a:pt x="368686" y="443850"/>
                      </a:lnTo>
                      <a:lnTo>
                        <a:pt x="370332" y="440009"/>
                      </a:lnTo>
                      <a:lnTo>
                        <a:pt x="370332" y="424647"/>
                      </a:lnTo>
                      <a:lnTo>
                        <a:pt x="372527" y="421355"/>
                      </a:lnTo>
                      <a:lnTo>
                        <a:pt x="385145" y="415869"/>
                      </a:lnTo>
                      <a:lnTo>
                        <a:pt x="388437" y="415869"/>
                      </a:lnTo>
                      <a:lnTo>
                        <a:pt x="389534" y="413126"/>
                      </a:lnTo>
                      <a:lnTo>
                        <a:pt x="388437" y="393375"/>
                      </a:lnTo>
                      <a:lnTo>
                        <a:pt x="385694" y="390083"/>
                      </a:lnTo>
                      <a:lnTo>
                        <a:pt x="379110" y="386242"/>
                      </a:lnTo>
                      <a:lnTo>
                        <a:pt x="375270" y="381853"/>
                      </a:lnTo>
                      <a:lnTo>
                        <a:pt x="368137" y="378013"/>
                      </a:lnTo>
                      <a:lnTo>
                        <a:pt x="371978" y="358262"/>
                      </a:lnTo>
                      <a:lnTo>
                        <a:pt x="385694" y="341254"/>
                      </a:lnTo>
                      <a:lnTo>
                        <a:pt x="393375" y="339608"/>
                      </a:lnTo>
                      <a:lnTo>
                        <a:pt x="404348" y="347838"/>
                      </a:lnTo>
                      <a:lnTo>
                        <a:pt x="421356" y="354421"/>
                      </a:lnTo>
                      <a:lnTo>
                        <a:pt x="428488" y="368686"/>
                      </a:lnTo>
                      <a:lnTo>
                        <a:pt x="436169" y="373075"/>
                      </a:lnTo>
                      <a:lnTo>
                        <a:pt x="436169" y="371429"/>
                      </a:lnTo>
                      <a:lnTo>
                        <a:pt x="441655" y="360457"/>
                      </a:lnTo>
                      <a:lnTo>
                        <a:pt x="421356" y="329733"/>
                      </a:lnTo>
                      <a:lnTo>
                        <a:pt x="396667" y="320406"/>
                      </a:lnTo>
                      <a:lnTo>
                        <a:pt x="391180" y="314371"/>
                      </a:lnTo>
                      <a:lnTo>
                        <a:pt x="349484" y="294620"/>
                      </a:lnTo>
                      <a:lnTo>
                        <a:pt x="346192" y="294620"/>
                      </a:lnTo>
                      <a:lnTo>
                        <a:pt x="343997" y="291328"/>
                      </a:lnTo>
                      <a:lnTo>
                        <a:pt x="343997" y="287487"/>
                      </a:lnTo>
                      <a:lnTo>
                        <a:pt x="348386" y="283098"/>
                      </a:lnTo>
                      <a:lnTo>
                        <a:pt x="353324" y="279806"/>
                      </a:lnTo>
                      <a:lnTo>
                        <a:pt x="353873" y="273771"/>
                      </a:lnTo>
                      <a:lnTo>
                        <a:pt x="349484" y="267736"/>
                      </a:lnTo>
                      <a:lnTo>
                        <a:pt x="342351" y="268834"/>
                      </a:lnTo>
                      <a:lnTo>
                        <a:pt x="339608" y="270479"/>
                      </a:lnTo>
                      <a:lnTo>
                        <a:pt x="345095" y="268834"/>
                      </a:lnTo>
                      <a:lnTo>
                        <a:pt x="340157" y="270479"/>
                      </a:lnTo>
                      <a:lnTo>
                        <a:pt x="318760" y="270479"/>
                      </a:lnTo>
                      <a:lnTo>
                        <a:pt x="318760" y="275966"/>
                      </a:lnTo>
                      <a:lnTo>
                        <a:pt x="302849" y="261701"/>
                      </a:lnTo>
                      <a:lnTo>
                        <a:pt x="299557" y="261153"/>
                      </a:lnTo>
                      <a:lnTo>
                        <a:pt x="297912" y="255666"/>
                      </a:lnTo>
                      <a:lnTo>
                        <a:pt x="295168" y="255666"/>
                      </a:lnTo>
                      <a:lnTo>
                        <a:pt x="277063" y="236464"/>
                      </a:lnTo>
                      <a:lnTo>
                        <a:pt x="256215" y="184892"/>
                      </a:lnTo>
                      <a:lnTo>
                        <a:pt x="252923" y="182697"/>
                      </a:lnTo>
                      <a:lnTo>
                        <a:pt x="249083" y="182697"/>
                      </a:lnTo>
                      <a:lnTo>
                        <a:pt x="247437" y="180502"/>
                      </a:lnTo>
                      <a:lnTo>
                        <a:pt x="219456" y="162397"/>
                      </a:lnTo>
                      <a:lnTo>
                        <a:pt x="209032" y="144841"/>
                      </a:lnTo>
                      <a:lnTo>
                        <a:pt x="210678" y="120701"/>
                      </a:lnTo>
                      <a:lnTo>
                        <a:pt x="214518" y="117409"/>
                      </a:lnTo>
                      <a:lnTo>
                        <a:pt x="215616" y="112471"/>
                      </a:lnTo>
                      <a:lnTo>
                        <a:pt x="213421" y="108082"/>
                      </a:lnTo>
                      <a:lnTo>
                        <a:pt x="208483" y="106436"/>
                      </a:lnTo>
                      <a:lnTo>
                        <a:pt x="206837" y="96012"/>
                      </a:lnTo>
                      <a:lnTo>
                        <a:pt x="207935" y="91074"/>
                      </a:lnTo>
                      <a:lnTo>
                        <a:pt x="215616" y="85588"/>
                      </a:lnTo>
                      <a:lnTo>
                        <a:pt x="217810" y="85588"/>
                      </a:lnTo>
                      <a:lnTo>
                        <a:pt x="218907" y="86685"/>
                      </a:lnTo>
                      <a:lnTo>
                        <a:pt x="244145" y="74066"/>
                      </a:lnTo>
                      <a:lnTo>
                        <a:pt x="250729" y="75712"/>
                      </a:lnTo>
                      <a:lnTo>
                        <a:pt x="256764" y="72421"/>
                      </a:lnTo>
                      <a:lnTo>
                        <a:pt x="261701" y="72969"/>
                      </a:lnTo>
                      <a:lnTo>
                        <a:pt x="262250" y="77358"/>
                      </a:lnTo>
                      <a:lnTo>
                        <a:pt x="259507" y="82296"/>
                      </a:lnTo>
                      <a:lnTo>
                        <a:pt x="259507" y="83393"/>
                      </a:lnTo>
                      <a:lnTo>
                        <a:pt x="262799" y="84490"/>
                      </a:lnTo>
                      <a:lnTo>
                        <a:pt x="266639" y="83393"/>
                      </a:lnTo>
                      <a:lnTo>
                        <a:pt x="269382" y="81199"/>
                      </a:lnTo>
                      <a:lnTo>
                        <a:pt x="269931" y="78455"/>
                      </a:lnTo>
                      <a:lnTo>
                        <a:pt x="268285" y="75712"/>
                      </a:lnTo>
                      <a:lnTo>
                        <a:pt x="266090" y="74615"/>
                      </a:lnTo>
                      <a:lnTo>
                        <a:pt x="264445" y="70774"/>
                      </a:lnTo>
                      <a:lnTo>
                        <a:pt x="258958" y="68580"/>
                      </a:lnTo>
                      <a:lnTo>
                        <a:pt x="257312" y="66934"/>
                      </a:lnTo>
                      <a:lnTo>
                        <a:pt x="257312" y="61448"/>
                      </a:lnTo>
                      <a:lnTo>
                        <a:pt x="254020" y="57607"/>
                      </a:lnTo>
                      <a:lnTo>
                        <a:pt x="256215" y="47183"/>
                      </a:lnTo>
                      <a:lnTo>
                        <a:pt x="252923" y="47732"/>
                      </a:lnTo>
                      <a:lnTo>
                        <a:pt x="251277" y="46634"/>
                      </a:lnTo>
                      <a:lnTo>
                        <a:pt x="251277" y="43342"/>
                      </a:lnTo>
                      <a:lnTo>
                        <a:pt x="252923" y="38405"/>
                      </a:lnTo>
                      <a:lnTo>
                        <a:pt x="260055" y="31821"/>
                      </a:lnTo>
                      <a:lnTo>
                        <a:pt x="223845" y="25786"/>
                      </a:lnTo>
                      <a:lnTo>
                        <a:pt x="217810" y="20848"/>
                      </a:lnTo>
                      <a:lnTo>
                        <a:pt x="214518" y="20300"/>
                      </a:lnTo>
                      <a:lnTo>
                        <a:pt x="206289" y="15362"/>
                      </a:lnTo>
                      <a:lnTo>
                        <a:pt x="202997" y="4938"/>
                      </a:lnTo>
                      <a:lnTo>
                        <a:pt x="202997" y="1097"/>
                      </a:lnTo>
                      <a:lnTo>
                        <a:pt x="200802" y="0"/>
                      </a:lnTo>
                      <a:lnTo>
                        <a:pt x="196962" y="549"/>
                      </a:lnTo>
                      <a:lnTo>
                        <a:pt x="193670" y="3292"/>
                      </a:lnTo>
                      <a:lnTo>
                        <a:pt x="146487" y="14813"/>
                      </a:lnTo>
                      <a:lnTo>
                        <a:pt x="138257" y="1207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70" name="Graphic 7">
                  <a:extLst>
                    <a:ext uri="{FF2B5EF4-FFF2-40B4-BE49-F238E27FC236}">
                      <a16:creationId xmlns:a16="http://schemas.microsoft.com/office/drawing/2014/main" id="{D60E9A90-F322-D3B1-33AD-AAB73ED35A48}"/>
                    </a:ext>
                  </a:extLst>
                </p:cNvPr>
                <p:cNvSpPr/>
                <p:nvPr/>
              </p:nvSpPr>
              <p:spPr>
                <a:xfrm>
                  <a:off x="5699867" y="2980969"/>
                  <a:ext cx="114876" cy="116162"/>
                </a:xfrm>
                <a:custGeom>
                  <a:avLst/>
                  <a:gdLst>
                    <a:gd name="connsiteX0" fmla="*/ 102047 w 147035"/>
                    <a:gd name="connsiteY0" fmla="*/ 148682 h 148681"/>
                    <a:gd name="connsiteX1" fmla="*/ 102596 w 147035"/>
                    <a:gd name="connsiteY1" fmla="*/ 143744 h 148681"/>
                    <a:gd name="connsiteX2" fmla="*/ 99304 w 147035"/>
                    <a:gd name="connsiteY2" fmla="*/ 143195 h 148681"/>
                    <a:gd name="connsiteX3" fmla="*/ 99304 w 147035"/>
                    <a:gd name="connsiteY3" fmla="*/ 139903 h 148681"/>
                    <a:gd name="connsiteX4" fmla="*/ 94366 w 147035"/>
                    <a:gd name="connsiteY4" fmla="*/ 138806 h 148681"/>
                    <a:gd name="connsiteX5" fmla="*/ 88331 w 147035"/>
                    <a:gd name="connsiteY5" fmla="*/ 132771 h 148681"/>
                    <a:gd name="connsiteX6" fmla="*/ 83393 w 147035"/>
                    <a:gd name="connsiteY6" fmla="*/ 131674 h 148681"/>
                    <a:gd name="connsiteX7" fmla="*/ 78455 w 147035"/>
                    <a:gd name="connsiteY7" fmla="*/ 127833 h 148681"/>
                    <a:gd name="connsiteX8" fmla="*/ 77907 w 147035"/>
                    <a:gd name="connsiteY8" fmla="*/ 124541 h 148681"/>
                    <a:gd name="connsiteX9" fmla="*/ 73518 w 147035"/>
                    <a:gd name="connsiteY9" fmla="*/ 123444 h 148681"/>
                    <a:gd name="connsiteX10" fmla="*/ 68031 w 147035"/>
                    <a:gd name="connsiteY10" fmla="*/ 126736 h 148681"/>
                    <a:gd name="connsiteX11" fmla="*/ 67483 w 147035"/>
                    <a:gd name="connsiteY11" fmla="*/ 123444 h 148681"/>
                    <a:gd name="connsiteX12" fmla="*/ 72421 w 147035"/>
                    <a:gd name="connsiteY12" fmla="*/ 120701 h 148681"/>
                    <a:gd name="connsiteX13" fmla="*/ 57059 w 147035"/>
                    <a:gd name="connsiteY13" fmla="*/ 104242 h 148681"/>
                    <a:gd name="connsiteX14" fmla="*/ 55961 w 147035"/>
                    <a:gd name="connsiteY14" fmla="*/ 96561 h 148681"/>
                    <a:gd name="connsiteX15" fmla="*/ 53218 w 147035"/>
                    <a:gd name="connsiteY15" fmla="*/ 93818 h 148681"/>
                    <a:gd name="connsiteX16" fmla="*/ 49378 w 147035"/>
                    <a:gd name="connsiteY16" fmla="*/ 92172 h 148681"/>
                    <a:gd name="connsiteX17" fmla="*/ 35662 w 147035"/>
                    <a:gd name="connsiteY17" fmla="*/ 78456 h 148681"/>
                    <a:gd name="connsiteX18" fmla="*/ 35662 w 147035"/>
                    <a:gd name="connsiteY18" fmla="*/ 75164 h 148681"/>
                    <a:gd name="connsiteX19" fmla="*/ 29078 w 147035"/>
                    <a:gd name="connsiteY19" fmla="*/ 65837 h 148681"/>
                    <a:gd name="connsiteX20" fmla="*/ 24140 w 147035"/>
                    <a:gd name="connsiteY20" fmla="*/ 64740 h 148681"/>
                    <a:gd name="connsiteX21" fmla="*/ 18654 w 147035"/>
                    <a:gd name="connsiteY21" fmla="*/ 55413 h 148681"/>
                    <a:gd name="connsiteX22" fmla="*/ 15362 w 147035"/>
                    <a:gd name="connsiteY22" fmla="*/ 55413 h 148681"/>
                    <a:gd name="connsiteX23" fmla="*/ 15911 w 147035"/>
                    <a:gd name="connsiteY23" fmla="*/ 50475 h 148681"/>
                    <a:gd name="connsiteX24" fmla="*/ 17557 w 147035"/>
                    <a:gd name="connsiteY24" fmla="*/ 49378 h 148681"/>
                    <a:gd name="connsiteX25" fmla="*/ 14813 w 147035"/>
                    <a:gd name="connsiteY25" fmla="*/ 44989 h 148681"/>
                    <a:gd name="connsiteX26" fmla="*/ 14813 w 147035"/>
                    <a:gd name="connsiteY26" fmla="*/ 41697 h 148681"/>
                    <a:gd name="connsiteX27" fmla="*/ 10973 w 147035"/>
                    <a:gd name="connsiteY27" fmla="*/ 37308 h 148681"/>
                    <a:gd name="connsiteX28" fmla="*/ 8230 w 147035"/>
                    <a:gd name="connsiteY28" fmla="*/ 29078 h 148681"/>
                    <a:gd name="connsiteX29" fmla="*/ 4938 w 147035"/>
                    <a:gd name="connsiteY29" fmla="*/ 28529 h 148681"/>
                    <a:gd name="connsiteX30" fmla="*/ 0 w 147035"/>
                    <a:gd name="connsiteY30" fmla="*/ 24140 h 148681"/>
                    <a:gd name="connsiteX31" fmla="*/ 0 w 147035"/>
                    <a:gd name="connsiteY31" fmla="*/ 22494 h 148681"/>
                    <a:gd name="connsiteX32" fmla="*/ 2195 w 147035"/>
                    <a:gd name="connsiteY32" fmla="*/ 20849 h 148681"/>
                    <a:gd name="connsiteX33" fmla="*/ 1646 w 147035"/>
                    <a:gd name="connsiteY33" fmla="*/ 18105 h 148681"/>
                    <a:gd name="connsiteX34" fmla="*/ 1646 w 147035"/>
                    <a:gd name="connsiteY34" fmla="*/ 4938 h 148681"/>
                    <a:gd name="connsiteX35" fmla="*/ 6035 w 147035"/>
                    <a:gd name="connsiteY35" fmla="*/ 549 h 148681"/>
                    <a:gd name="connsiteX36" fmla="*/ 11521 w 147035"/>
                    <a:gd name="connsiteY36" fmla="*/ 2195 h 148681"/>
                    <a:gd name="connsiteX37" fmla="*/ 12070 w 147035"/>
                    <a:gd name="connsiteY37" fmla="*/ 4389 h 148681"/>
                    <a:gd name="connsiteX38" fmla="*/ 21397 w 147035"/>
                    <a:gd name="connsiteY38" fmla="*/ 13716 h 148681"/>
                    <a:gd name="connsiteX39" fmla="*/ 23043 w 147035"/>
                    <a:gd name="connsiteY39" fmla="*/ 14265 h 148681"/>
                    <a:gd name="connsiteX40" fmla="*/ 29627 w 147035"/>
                    <a:gd name="connsiteY40" fmla="*/ 2195 h 148681"/>
                    <a:gd name="connsiteX41" fmla="*/ 42245 w 147035"/>
                    <a:gd name="connsiteY41" fmla="*/ 3841 h 148681"/>
                    <a:gd name="connsiteX42" fmla="*/ 44989 w 147035"/>
                    <a:gd name="connsiteY42" fmla="*/ 0 h 148681"/>
                    <a:gd name="connsiteX43" fmla="*/ 46086 w 147035"/>
                    <a:gd name="connsiteY43" fmla="*/ 0 h 148681"/>
                    <a:gd name="connsiteX44" fmla="*/ 54315 w 147035"/>
                    <a:gd name="connsiteY44" fmla="*/ 6584 h 148681"/>
                    <a:gd name="connsiteX45" fmla="*/ 57059 w 147035"/>
                    <a:gd name="connsiteY45" fmla="*/ 6584 h 148681"/>
                    <a:gd name="connsiteX46" fmla="*/ 58156 w 147035"/>
                    <a:gd name="connsiteY46" fmla="*/ 4389 h 148681"/>
                    <a:gd name="connsiteX47" fmla="*/ 61448 w 147035"/>
                    <a:gd name="connsiteY47" fmla="*/ 7133 h 148681"/>
                    <a:gd name="connsiteX48" fmla="*/ 71872 w 147035"/>
                    <a:gd name="connsiteY48" fmla="*/ 8778 h 148681"/>
                    <a:gd name="connsiteX49" fmla="*/ 72421 w 147035"/>
                    <a:gd name="connsiteY49" fmla="*/ 7681 h 148681"/>
                    <a:gd name="connsiteX50" fmla="*/ 74066 w 147035"/>
                    <a:gd name="connsiteY50" fmla="*/ 7681 h 148681"/>
                    <a:gd name="connsiteX51" fmla="*/ 79553 w 147035"/>
                    <a:gd name="connsiteY51" fmla="*/ 12070 h 148681"/>
                    <a:gd name="connsiteX52" fmla="*/ 81747 w 147035"/>
                    <a:gd name="connsiteY52" fmla="*/ 12070 h 148681"/>
                    <a:gd name="connsiteX53" fmla="*/ 85588 w 147035"/>
                    <a:gd name="connsiteY53" fmla="*/ 7133 h 148681"/>
                    <a:gd name="connsiteX54" fmla="*/ 87782 w 147035"/>
                    <a:gd name="connsiteY54" fmla="*/ 7681 h 148681"/>
                    <a:gd name="connsiteX55" fmla="*/ 90526 w 147035"/>
                    <a:gd name="connsiteY55" fmla="*/ 10973 h 148681"/>
                    <a:gd name="connsiteX56" fmla="*/ 92720 w 147035"/>
                    <a:gd name="connsiteY56" fmla="*/ 10973 h 148681"/>
                    <a:gd name="connsiteX57" fmla="*/ 94366 w 147035"/>
                    <a:gd name="connsiteY57" fmla="*/ 8230 h 148681"/>
                    <a:gd name="connsiteX58" fmla="*/ 102047 w 147035"/>
                    <a:gd name="connsiteY58" fmla="*/ 9327 h 148681"/>
                    <a:gd name="connsiteX59" fmla="*/ 104790 w 147035"/>
                    <a:gd name="connsiteY59" fmla="*/ 13167 h 148681"/>
                    <a:gd name="connsiteX60" fmla="*/ 106436 w 147035"/>
                    <a:gd name="connsiteY60" fmla="*/ 12070 h 148681"/>
                    <a:gd name="connsiteX61" fmla="*/ 105887 w 147035"/>
                    <a:gd name="connsiteY61" fmla="*/ 10424 h 148681"/>
                    <a:gd name="connsiteX62" fmla="*/ 110825 w 147035"/>
                    <a:gd name="connsiteY62" fmla="*/ 10424 h 148681"/>
                    <a:gd name="connsiteX63" fmla="*/ 115214 w 147035"/>
                    <a:gd name="connsiteY63" fmla="*/ 15911 h 148681"/>
                    <a:gd name="connsiteX64" fmla="*/ 114666 w 147035"/>
                    <a:gd name="connsiteY64" fmla="*/ 18654 h 148681"/>
                    <a:gd name="connsiteX65" fmla="*/ 114666 w 147035"/>
                    <a:gd name="connsiteY65" fmla="*/ 20300 h 148681"/>
                    <a:gd name="connsiteX66" fmla="*/ 117958 w 147035"/>
                    <a:gd name="connsiteY66" fmla="*/ 23043 h 148681"/>
                    <a:gd name="connsiteX67" fmla="*/ 123993 w 147035"/>
                    <a:gd name="connsiteY67" fmla="*/ 23043 h 148681"/>
                    <a:gd name="connsiteX68" fmla="*/ 127833 w 147035"/>
                    <a:gd name="connsiteY68" fmla="*/ 19202 h 148681"/>
                    <a:gd name="connsiteX69" fmla="*/ 136063 w 147035"/>
                    <a:gd name="connsiteY69" fmla="*/ 20300 h 148681"/>
                    <a:gd name="connsiteX70" fmla="*/ 138257 w 147035"/>
                    <a:gd name="connsiteY70" fmla="*/ 22494 h 148681"/>
                    <a:gd name="connsiteX71" fmla="*/ 136611 w 147035"/>
                    <a:gd name="connsiteY71" fmla="*/ 24689 h 148681"/>
                    <a:gd name="connsiteX72" fmla="*/ 136611 w 147035"/>
                    <a:gd name="connsiteY72" fmla="*/ 27432 h 148681"/>
                    <a:gd name="connsiteX73" fmla="*/ 130028 w 147035"/>
                    <a:gd name="connsiteY73" fmla="*/ 40051 h 148681"/>
                    <a:gd name="connsiteX74" fmla="*/ 128930 w 147035"/>
                    <a:gd name="connsiteY74" fmla="*/ 40599 h 148681"/>
                    <a:gd name="connsiteX75" fmla="*/ 128930 w 147035"/>
                    <a:gd name="connsiteY75" fmla="*/ 42794 h 148681"/>
                    <a:gd name="connsiteX76" fmla="*/ 129479 w 147035"/>
                    <a:gd name="connsiteY76" fmla="*/ 43891 h 148681"/>
                    <a:gd name="connsiteX77" fmla="*/ 127285 w 147035"/>
                    <a:gd name="connsiteY77" fmla="*/ 47732 h 148681"/>
                    <a:gd name="connsiteX78" fmla="*/ 128930 w 147035"/>
                    <a:gd name="connsiteY78" fmla="*/ 52121 h 148681"/>
                    <a:gd name="connsiteX79" fmla="*/ 131125 w 147035"/>
                    <a:gd name="connsiteY79" fmla="*/ 52670 h 148681"/>
                    <a:gd name="connsiteX80" fmla="*/ 132771 w 147035"/>
                    <a:gd name="connsiteY80" fmla="*/ 54315 h 148681"/>
                    <a:gd name="connsiteX81" fmla="*/ 135514 w 147035"/>
                    <a:gd name="connsiteY81" fmla="*/ 53218 h 148681"/>
                    <a:gd name="connsiteX82" fmla="*/ 137160 w 147035"/>
                    <a:gd name="connsiteY82" fmla="*/ 57607 h 148681"/>
                    <a:gd name="connsiteX83" fmla="*/ 139903 w 147035"/>
                    <a:gd name="connsiteY83" fmla="*/ 60350 h 148681"/>
                    <a:gd name="connsiteX84" fmla="*/ 141549 w 147035"/>
                    <a:gd name="connsiteY84" fmla="*/ 60350 h 148681"/>
                    <a:gd name="connsiteX85" fmla="*/ 142646 w 147035"/>
                    <a:gd name="connsiteY85" fmla="*/ 60899 h 148681"/>
                    <a:gd name="connsiteX86" fmla="*/ 142646 w 147035"/>
                    <a:gd name="connsiteY86" fmla="*/ 62545 h 148681"/>
                    <a:gd name="connsiteX87" fmla="*/ 145390 w 147035"/>
                    <a:gd name="connsiteY87" fmla="*/ 64740 h 148681"/>
                    <a:gd name="connsiteX88" fmla="*/ 147035 w 147035"/>
                    <a:gd name="connsiteY88" fmla="*/ 64740 h 148681"/>
                    <a:gd name="connsiteX89" fmla="*/ 147035 w 147035"/>
                    <a:gd name="connsiteY89" fmla="*/ 66934 h 148681"/>
                    <a:gd name="connsiteX90" fmla="*/ 144292 w 147035"/>
                    <a:gd name="connsiteY90" fmla="*/ 69677 h 148681"/>
                    <a:gd name="connsiteX91" fmla="*/ 138806 w 147035"/>
                    <a:gd name="connsiteY91" fmla="*/ 70226 h 148681"/>
                    <a:gd name="connsiteX92" fmla="*/ 135514 w 147035"/>
                    <a:gd name="connsiteY92" fmla="*/ 68031 h 148681"/>
                    <a:gd name="connsiteX93" fmla="*/ 133868 w 147035"/>
                    <a:gd name="connsiteY93" fmla="*/ 68031 h 148681"/>
                    <a:gd name="connsiteX94" fmla="*/ 132771 w 147035"/>
                    <a:gd name="connsiteY94" fmla="*/ 69129 h 148681"/>
                    <a:gd name="connsiteX95" fmla="*/ 142098 w 147035"/>
                    <a:gd name="connsiteY95" fmla="*/ 81199 h 148681"/>
                    <a:gd name="connsiteX96" fmla="*/ 143744 w 147035"/>
                    <a:gd name="connsiteY96" fmla="*/ 81747 h 148681"/>
                    <a:gd name="connsiteX97" fmla="*/ 142646 w 147035"/>
                    <a:gd name="connsiteY97" fmla="*/ 88880 h 148681"/>
                    <a:gd name="connsiteX98" fmla="*/ 139903 w 147035"/>
                    <a:gd name="connsiteY98" fmla="*/ 89977 h 148681"/>
                    <a:gd name="connsiteX99" fmla="*/ 138806 w 147035"/>
                    <a:gd name="connsiteY99" fmla="*/ 88331 h 148681"/>
                    <a:gd name="connsiteX100" fmla="*/ 137160 w 147035"/>
                    <a:gd name="connsiteY100" fmla="*/ 88331 h 148681"/>
                    <a:gd name="connsiteX101" fmla="*/ 135514 w 147035"/>
                    <a:gd name="connsiteY101" fmla="*/ 91074 h 148681"/>
                    <a:gd name="connsiteX102" fmla="*/ 132222 w 147035"/>
                    <a:gd name="connsiteY102" fmla="*/ 92720 h 148681"/>
                    <a:gd name="connsiteX103" fmla="*/ 129479 w 147035"/>
                    <a:gd name="connsiteY103" fmla="*/ 92720 h 148681"/>
                    <a:gd name="connsiteX104" fmla="*/ 127833 w 147035"/>
                    <a:gd name="connsiteY104" fmla="*/ 93818 h 148681"/>
                    <a:gd name="connsiteX105" fmla="*/ 126187 w 147035"/>
                    <a:gd name="connsiteY105" fmla="*/ 93818 h 148681"/>
                    <a:gd name="connsiteX106" fmla="*/ 125639 w 147035"/>
                    <a:gd name="connsiteY106" fmla="*/ 91623 h 148681"/>
                    <a:gd name="connsiteX107" fmla="*/ 122895 w 147035"/>
                    <a:gd name="connsiteY107" fmla="*/ 92172 h 148681"/>
                    <a:gd name="connsiteX108" fmla="*/ 121249 w 147035"/>
                    <a:gd name="connsiteY108" fmla="*/ 94366 h 148681"/>
                    <a:gd name="connsiteX109" fmla="*/ 122347 w 147035"/>
                    <a:gd name="connsiteY109" fmla="*/ 96012 h 148681"/>
                    <a:gd name="connsiteX110" fmla="*/ 124541 w 147035"/>
                    <a:gd name="connsiteY110" fmla="*/ 97658 h 148681"/>
                    <a:gd name="connsiteX111" fmla="*/ 125090 w 147035"/>
                    <a:gd name="connsiteY111" fmla="*/ 100950 h 148681"/>
                    <a:gd name="connsiteX112" fmla="*/ 126187 w 147035"/>
                    <a:gd name="connsiteY112" fmla="*/ 102596 h 148681"/>
                    <a:gd name="connsiteX113" fmla="*/ 126187 w 147035"/>
                    <a:gd name="connsiteY113" fmla="*/ 106436 h 148681"/>
                    <a:gd name="connsiteX114" fmla="*/ 125639 w 147035"/>
                    <a:gd name="connsiteY114" fmla="*/ 108082 h 148681"/>
                    <a:gd name="connsiteX115" fmla="*/ 123993 w 147035"/>
                    <a:gd name="connsiteY115" fmla="*/ 108082 h 148681"/>
                    <a:gd name="connsiteX116" fmla="*/ 122895 w 147035"/>
                    <a:gd name="connsiteY116" fmla="*/ 106436 h 148681"/>
                    <a:gd name="connsiteX117" fmla="*/ 121798 w 147035"/>
                    <a:gd name="connsiteY117" fmla="*/ 103145 h 148681"/>
                    <a:gd name="connsiteX118" fmla="*/ 120701 w 147035"/>
                    <a:gd name="connsiteY118" fmla="*/ 102047 h 148681"/>
                    <a:gd name="connsiteX119" fmla="*/ 117409 w 147035"/>
                    <a:gd name="connsiteY119" fmla="*/ 102047 h 148681"/>
                    <a:gd name="connsiteX120" fmla="*/ 111923 w 147035"/>
                    <a:gd name="connsiteY120" fmla="*/ 106985 h 148681"/>
                    <a:gd name="connsiteX121" fmla="*/ 110825 w 147035"/>
                    <a:gd name="connsiteY121" fmla="*/ 110825 h 148681"/>
                    <a:gd name="connsiteX122" fmla="*/ 109728 w 147035"/>
                    <a:gd name="connsiteY122" fmla="*/ 111923 h 148681"/>
                    <a:gd name="connsiteX123" fmla="*/ 109728 w 147035"/>
                    <a:gd name="connsiteY123" fmla="*/ 117409 h 148681"/>
                    <a:gd name="connsiteX124" fmla="*/ 108082 w 147035"/>
                    <a:gd name="connsiteY124" fmla="*/ 119055 h 148681"/>
                    <a:gd name="connsiteX125" fmla="*/ 105339 w 147035"/>
                    <a:gd name="connsiteY125" fmla="*/ 119055 h 148681"/>
                    <a:gd name="connsiteX126" fmla="*/ 103693 w 147035"/>
                    <a:gd name="connsiteY126" fmla="*/ 121250 h 148681"/>
                    <a:gd name="connsiteX127" fmla="*/ 103144 w 147035"/>
                    <a:gd name="connsiteY127" fmla="*/ 127285 h 148681"/>
                    <a:gd name="connsiteX128" fmla="*/ 102047 w 147035"/>
                    <a:gd name="connsiteY128" fmla="*/ 127833 h 148681"/>
                    <a:gd name="connsiteX129" fmla="*/ 102596 w 147035"/>
                    <a:gd name="connsiteY129" fmla="*/ 130028 h 148681"/>
                    <a:gd name="connsiteX130" fmla="*/ 104242 w 147035"/>
                    <a:gd name="connsiteY130" fmla="*/ 133320 h 148681"/>
                    <a:gd name="connsiteX131" fmla="*/ 106436 w 147035"/>
                    <a:gd name="connsiteY131" fmla="*/ 134966 h 148681"/>
                    <a:gd name="connsiteX132" fmla="*/ 105887 w 147035"/>
                    <a:gd name="connsiteY132" fmla="*/ 138257 h 148681"/>
                    <a:gd name="connsiteX133" fmla="*/ 102596 w 147035"/>
                    <a:gd name="connsiteY133" fmla="*/ 143744 h 148681"/>
                    <a:gd name="connsiteX134" fmla="*/ 102047 w 147035"/>
                    <a:gd name="connsiteY134" fmla="*/ 148682 h 1486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</a:cxnLst>
                  <a:rect l="l" t="t" r="r" b="b"/>
                  <a:pathLst>
                    <a:path w="147035" h="148681">
                      <a:moveTo>
                        <a:pt x="102047" y="148682"/>
                      </a:moveTo>
                      <a:lnTo>
                        <a:pt x="102596" y="143744"/>
                      </a:lnTo>
                      <a:lnTo>
                        <a:pt x="99304" y="143195"/>
                      </a:lnTo>
                      <a:lnTo>
                        <a:pt x="99304" y="139903"/>
                      </a:lnTo>
                      <a:lnTo>
                        <a:pt x="94366" y="138806"/>
                      </a:lnTo>
                      <a:lnTo>
                        <a:pt x="88331" y="132771"/>
                      </a:lnTo>
                      <a:lnTo>
                        <a:pt x="83393" y="131674"/>
                      </a:lnTo>
                      <a:lnTo>
                        <a:pt x="78455" y="127833"/>
                      </a:lnTo>
                      <a:lnTo>
                        <a:pt x="77907" y="124541"/>
                      </a:lnTo>
                      <a:lnTo>
                        <a:pt x="73518" y="123444"/>
                      </a:lnTo>
                      <a:lnTo>
                        <a:pt x="68031" y="126736"/>
                      </a:lnTo>
                      <a:lnTo>
                        <a:pt x="67483" y="123444"/>
                      </a:lnTo>
                      <a:lnTo>
                        <a:pt x="72421" y="120701"/>
                      </a:lnTo>
                      <a:lnTo>
                        <a:pt x="57059" y="104242"/>
                      </a:lnTo>
                      <a:lnTo>
                        <a:pt x="55961" y="96561"/>
                      </a:lnTo>
                      <a:lnTo>
                        <a:pt x="53218" y="93818"/>
                      </a:lnTo>
                      <a:lnTo>
                        <a:pt x="49378" y="92172"/>
                      </a:lnTo>
                      <a:lnTo>
                        <a:pt x="35662" y="78456"/>
                      </a:lnTo>
                      <a:lnTo>
                        <a:pt x="35662" y="75164"/>
                      </a:lnTo>
                      <a:lnTo>
                        <a:pt x="29078" y="65837"/>
                      </a:lnTo>
                      <a:lnTo>
                        <a:pt x="24140" y="64740"/>
                      </a:lnTo>
                      <a:lnTo>
                        <a:pt x="18654" y="55413"/>
                      </a:lnTo>
                      <a:lnTo>
                        <a:pt x="15362" y="55413"/>
                      </a:lnTo>
                      <a:lnTo>
                        <a:pt x="15911" y="50475"/>
                      </a:lnTo>
                      <a:lnTo>
                        <a:pt x="17557" y="49378"/>
                      </a:lnTo>
                      <a:lnTo>
                        <a:pt x="14813" y="44989"/>
                      </a:lnTo>
                      <a:lnTo>
                        <a:pt x="14813" y="41697"/>
                      </a:lnTo>
                      <a:lnTo>
                        <a:pt x="10973" y="37308"/>
                      </a:lnTo>
                      <a:lnTo>
                        <a:pt x="8230" y="29078"/>
                      </a:lnTo>
                      <a:lnTo>
                        <a:pt x="4938" y="28529"/>
                      </a:lnTo>
                      <a:lnTo>
                        <a:pt x="0" y="24140"/>
                      </a:lnTo>
                      <a:lnTo>
                        <a:pt x="0" y="22494"/>
                      </a:lnTo>
                      <a:lnTo>
                        <a:pt x="2195" y="20849"/>
                      </a:lnTo>
                      <a:lnTo>
                        <a:pt x="1646" y="18105"/>
                      </a:lnTo>
                      <a:lnTo>
                        <a:pt x="1646" y="4938"/>
                      </a:lnTo>
                      <a:lnTo>
                        <a:pt x="6035" y="549"/>
                      </a:lnTo>
                      <a:lnTo>
                        <a:pt x="11521" y="2195"/>
                      </a:lnTo>
                      <a:lnTo>
                        <a:pt x="12070" y="4389"/>
                      </a:lnTo>
                      <a:lnTo>
                        <a:pt x="21397" y="13716"/>
                      </a:lnTo>
                      <a:lnTo>
                        <a:pt x="23043" y="14265"/>
                      </a:lnTo>
                      <a:lnTo>
                        <a:pt x="29627" y="2195"/>
                      </a:lnTo>
                      <a:lnTo>
                        <a:pt x="42245" y="3841"/>
                      </a:lnTo>
                      <a:lnTo>
                        <a:pt x="44989" y="0"/>
                      </a:lnTo>
                      <a:lnTo>
                        <a:pt x="46086" y="0"/>
                      </a:lnTo>
                      <a:lnTo>
                        <a:pt x="54315" y="6584"/>
                      </a:lnTo>
                      <a:lnTo>
                        <a:pt x="57059" y="6584"/>
                      </a:lnTo>
                      <a:lnTo>
                        <a:pt x="58156" y="4389"/>
                      </a:lnTo>
                      <a:lnTo>
                        <a:pt x="61448" y="7133"/>
                      </a:lnTo>
                      <a:lnTo>
                        <a:pt x="71872" y="8778"/>
                      </a:lnTo>
                      <a:lnTo>
                        <a:pt x="72421" y="7681"/>
                      </a:lnTo>
                      <a:lnTo>
                        <a:pt x="74066" y="7681"/>
                      </a:lnTo>
                      <a:lnTo>
                        <a:pt x="79553" y="12070"/>
                      </a:lnTo>
                      <a:lnTo>
                        <a:pt x="81747" y="12070"/>
                      </a:lnTo>
                      <a:lnTo>
                        <a:pt x="85588" y="7133"/>
                      </a:lnTo>
                      <a:lnTo>
                        <a:pt x="87782" y="7681"/>
                      </a:lnTo>
                      <a:lnTo>
                        <a:pt x="90526" y="10973"/>
                      </a:lnTo>
                      <a:lnTo>
                        <a:pt x="92720" y="10973"/>
                      </a:lnTo>
                      <a:lnTo>
                        <a:pt x="94366" y="8230"/>
                      </a:lnTo>
                      <a:lnTo>
                        <a:pt x="102047" y="9327"/>
                      </a:lnTo>
                      <a:lnTo>
                        <a:pt x="104790" y="13167"/>
                      </a:lnTo>
                      <a:lnTo>
                        <a:pt x="106436" y="12070"/>
                      </a:lnTo>
                      <a:lnTo>
                        <a:pt x="105887" y="10424"/>
                      </a:lnTo>
                      <a:lnTo>
                        <a:pt x="110825" y="10424"/>
                      </a:lnTo>
                      <a:lnTo>
                        <a:pt x="115214" y="15911"/>
                      </a:lnTo>
                      <a:lnTo>
                        <a:pt x="114666" y="18654"/>
                      </a:lnTo>
                      <a:lnTo>
                        <a:pt x="114666" y="20300"/>
                      </a:lnTo>
                      <a:lnTo>
                        <a:pt x="117958" y="23043"/>
                      </a:lnTo>
                      <a:lnTo>
                        <a:pt x="123993" y="23043"/>
                      </a:lnTo>
                      <a:lnTo>
                        <a:pt x="127833" y="19202"/>
                      </a:lnTo>
                      <a:lnTo>
                        <a:pt x="136063" y="20300"/>
                      </a:lnTo>
                      <a:lnTo>
                        <a:pt x="138257" y="22494"/>
                      </a:lnTo>
                      <a:lnTo>
                        <a:pt x="136611" y="24689"/>
                      </a:lnTo>
                      <a:lnTo>
                        <a:pt x="136611" y="27432"/>
                      </a:lnTo>
                      <a:lnTo>
                        <a:pt x="130028" y="40051"/>
                      </a:lnTo>
                      <a:lnTo>
                        <a:pt x="128930" y="40599"/>
                      </a:lnTo>
                      <a:lnTo>
                        <a:pt x="128930" y="42794"/>
                      </a:lnTo>
                      <a:lnTo>
                        <a:pt x="129479" y="43891"/>
                      </a:lnTo>
                      <a:lnTo>
                        <a:pt x="127285" y="47732"/>
                      </a:lnTo>
                      <a:lnTo>
                        <a:pt x="128930" y="52121"/>
                      </a:lnTo>
                      <a:lnTo>
                        <a:pt x="131125" y="52670"/>
                      </a:lnTo>
                      <a:lnTo>
                        <a:pt x="132771" y="54315"/>
                      </a:lnTo>
                      <a:lnTo>
                        <a:pt x="135514" y="53218"/>
                      </a:lnTo>
                      <a:lnTo>
                        <a:pt x="137160" y="57607"/>
                      </a:lnTo>
                      <a:lnTo>
                        <a:pt x="139903" y="60350"/>
                      </a:lnTo>
                      <a:lnTo>
                        <a:pt x="141549" y="60350"/>
                      </a:lnTo>
                      <a:lnTo>
                        <a:pt x="142646" y="60899"/>
                      </a:lnTo>
                      <a:lnTo>
                        <a:pt x="142646" y="62545"/>
                      </a:lnTo>
                      <a:lnTo>
                        <a:pt x="145390" y="64740"/>
                      </a:lnTo>
                      <a:lnTo>
                        <a:pt x="147035" y="64740"/>
                      </a:lnTo>
                      <a:lnTo>
                        <a:pt x="147035" y="66934"/>
                      </a:lnTo>
                      <a:lnTo>
                        <a:pt x="144292" y="69677"/>
                      </a:lnTo>
                      <a:lnTo>
                        <a:pt x="138806" y="70226"/>
                      </a:lnTo>
                      <a:lnTo>
                        <a:pt x="135514" y="68031"/>
                      </a:lnTo>
                      <a:lnTo>
                        <a:pt x="133868" y="68031"/>
                      </a:lnTo>
                      <a:lnTo>
                        <a:pt x="132771" y="69129"/>
                      </a:lnTo>
                      <a:lnTo>
                        <a:pt x="142098" y="81199"/>
                      </a:lnTo>
                      <a:lnTo>
                        <a:pt x="143744" y="81747"/>
                      </a:lnTo>
                      <a:lnTo>
                        <a:pt x="142646" y="88880"/>
                      </a:lnTo>
                      <a:lnTo>
                        <a:pt x="139903" y="89977"/>
                      </a:lnTo>
                      <a:lnTo>
                        <a:pt x="138806" y="88331"/>
                      </a:lnTo>
                      <a:lnTo>
                        <a:pt x="137160" y="88331"/>
                      </a:lnTo>
                      <a:lnTo>
                        <a:pt x="135514" y="91074"/>
                      </a:lnTo>
                      <a:lnTo>
                        <a:pt x="132222" y="92720"/>
                      </a:lnTo>
                      <a:lnTo>
                        <a:pt x="129479" y="92720"/>
                      </a:lnTo>
                      <a:lnTo>
                        <a:pt x="127833" y="93818"/>
                      </a:lnTo>
                      <a:lnTo>
                        <a:pt x="126187" y="93818"/>
                      </a:lnTo>
                      <a:lnTo>
                        <a:pt x="125639" y="91623"/>
                      </a:lnTo>
                      <a:lnTo>
                        <a:pt x="122895" y="92172"/>
                      </a:lnTo>
                      <a:lnTo>
                        <a:pt x="121249" y="94366"/>
                      </a:lnTo>
                      <a:lnTo>
                        <a:pt x="122347" y="96012"/>
                      </a:lnTo>
                      <a:lnTo>
                        <a:pt x="124541" y="97658"/>
                      </a:lnTo>
                      <a:lnTo>
                        <a:pt x="125090" y="100950"/>
                      </a:lnTo>
                      <a:lnTo>
                        <a:pt x="126187" y="102596"/>
                      </a:lnTo>
                      <a:lnTo>
                        <a:pt x="126187" y="106436"/>
                      </a:lnTo>
                      <a:lnTo>
                        <a:pt x="125639" y="108082"/>
                      </a:lnTo>
                      <a:lnTo>
                        <a:pt x="123993" y="108082"/>
                      </a:lnTo>
                      <a:lnTo>
                        <a:pt x="122895" y="106436"/>
                      </a:lnTo>
                      <a:lnTo>
                        <a:pt x="121798" y="103145"/>
                      </a:lnTo>
                      <a:lnTo>
                        <a:pt x="120701" y="102047"/>
                      </a:lnTo>
                      <a:lnTo>
                        <a:pt x="117409" y="102047"/>
                      </a:lnTo>
                      <a:lnTo>
                        <a:pt x="111923" y="106985"/>
                      </a:lnTo>
                      <a:lnTo>
                        <a:pt x="110825" y="110825"/>
                      </a:lnTo>
                      <a:lnTo>
                        <a:pt x="109728" y="111923"/>
                      </a:lnTo>
                      <a:lnTo>
                        <a:pt x="109728" y="117409"/>
                      </a:lnTo>
                      <a:lnTo>
                        <a:pt x="108082" y="119055"/>
                      </a:lnTo>
                      <a:lnTo>
                        <a:pt x="105339" y="119055"/>
                      </a:lnTo>
                      <a:lnTo>
                        <a:pt x="103693" y="121250"/>
                      </a:lnTo>
                      <a:lnTo>
                        <a:pt x="103144" y="127285"/>
                      </a:lnTo>
                      <a:lnTo>
                        <a:pt x="102047" y="127833"/>
                      </a:lnTo>
                      <a:lnTo>
                        <a:pt x="102596" y="130028"/>
                      </a:lnTo>
                      <a:lnTo>
                        <a:pt x="104242" y="133320"/>
                      </a:lnTo>
                      <a:lnTo>
                        <a:pt x="106436" y="134966"/>
                      </a:lnTo>
                      <a:lnTo>
                        <a:pt x="105887" y="138257"/>
                      </a:lnTo>
                      <a:lnTo>
                        <a:pt x="102596" y="143744"/>
                      </a:lnTo>
                      <a:lnTo>
                        <a:pt x="102047" y="148682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71" name="Graphic 7">
                  <a:extLst>
                    <a:ext uri="{FF2B5EF4-FFF2-40B4-BE49-F238E27FC236}">
                      <a16:creationId xmlns:a16="http://schemas.microsoft.com/office/drawing/2014/main" id="{66C487CE-BAEB-C6DA-3A6F-93B7B70EE7B4}"/>
                    </a:ext>
                  </a:extLst>
                </p:cNvPr>
                <p:cNvSpPr/>
                <p:nvPr/>
              </p:nvSpPr>
              <p:spPr>
                <a:xfrm>
                  <a:off x="5830174" y="3125422"/>
                  <a:ext cx="188173" cy="156883"/>
                </a:xfrm>
                <a:custGeom>
                  <a:avLst/>
                  <a:gdLst>
                    <a:gd name="connsiteX0" fmla="*/ 221651 w 240852"/>
                    <a:gd name="connsiteY0" fmla="*/ 53218 h 200802"/>
                    <a:gd name="connsiteX1" fmla="*/ 215616 w 240852"/>
                    <a:gd name="connsiteY1" fmla="*/ 48280 h 200802"/>
                    <a:gd name="connsiteX2" fmla="*/ 183246 w 240852"/>
                    <a:gd name="connsiteY2" fmla="*/ 39502 h 200802"/>
                    <a:gd name="connsiteX3" fmla="*/ 172822 w 240852"/>
                    <a:gd name="connsiteY3" fmla="*/ 45537 h 200802"/>
                    <a:gd name="connsiteX4" fmla="*/ 167884 w 240852"/>
                    <a:gd name="connsiteY4" fmla="*/ 45537 h 200802"/>
                    <a:gd name="connsiteX5" fmla="*/ 160203 w 240852"/>
                    <a:gd name="connsiteY5" fmla="*/ 42245 h 200802"/>
                    <a:gd name="connsiteX6" fmla="*/ 153071 w 240852"/>
                    <a:gd name="connsiteY6" fmla="*/ 49926 h 200802"/>
                    <a:gd name="connsiteX7" fmla="*/ 142098 w 240852"/>
                    <a:gd name="connsiteY7" fmla="*/ 52121 h 200802"/>
                    <a:gd name="connsiteX8" fmla="*/ 131674 w 240852"/>
                    <a:gd name="connsiteY8" fmla="*/ 58705 h 200802"/>
                    <a:gd name="connsiteX9" fmla="*/ 137709 w 240852"/>
                    <a:gd name="connsiteY9" fmla="*/ 64739 h 200802"/>
                    <a:gd name="connsiteX10" fmla="*/ 147584 w 240852"/>
                    <a:gd name="connsiteY10" fmla="*/ 68580 h 200802"/>
                    <a:gd name="connsiteX11" fmla="*/ 154168 w 240852"/>
                    <a:gd name="connsiteY11" fmla="*/ 75712 h 200802"/>
                    <a:gd name="connsiteX12" fmla="*/ 155814 w 240852"/>
                    <a:gd name="connsiteY12" fmla="*/ 79553 h 200802"/>
                    <a:gd name="connsiteX13" fmla="*/ 148133 w 240852"/>
                    <a:gd name="connsiteY13" fmla="*/ 73518 h 200802"/>
                    <a:gd name="connsiteX14" fmla="*/ 137709 w 240852"/>
                    <a:gd name="connsiteY14" fmla="*/ 70775 h 200802"/>
                    <a:gd name="connsiteX15" fmla="*/ 134965 w 240852"/>
                    <a:gd name="connsiteY15" fmla="*/ 76810 h 200802"/>
                    <a:gd name="connsiteX16" fmla="*/ 142098 w 240852"/>
                    <a:gd name="connsiteY16" fmla="*/ 82296 h 200802"/>
                    <a:gd name="connsiteX17" fmla="*/ 143195 w 240852"/>
                    <a:gd name="connsiteY17" fmla="*/ 91074 h 200802"/>
                    <a:gd name="connsiteX18" fmla="*/ 133320 w 240852"/>
                    <a:gd name="connsiteY18" fmla="*/ 79004 h 200802"/>
                    <a:gd name="connsiteX19" fmla="*/ 126736 w 240852"/>
                    <a:gd name="connsiteY19" fmla="*/ 76261 h 200802"/>
                    <a:gd name="connsiteX20" fmla="*/ 123993 w 240852"/>
                    <a:gd name="connsiteY20" fmla="*/ 76810 h 200802"/>
                    <a:gd name="connsiteX21" fmla="*/ 125639 w 240852"/>
                    <a:gd name="connsiteY21" fmla="*/ 84491 h 200802"/>
                    <a:gd name="connsiteX22" fmla="*/ 131674 w 240852"/>
                    <a:gd name="connsiteY22" fmla="*/ 89428 h 200802"/>
                    <a:gd name="connsiteX23" fmla="*/ 127833 w 240852"/>
                    <a:gd name="connsiteY23" fmla="*/ 92171 h 200802"/>
                    <a:gd name="connsiteX24" fmla="*/ 120701 w 240852"/>
                    <a:gd name="connsiteY24" fmla="*/ 85588 h 200802"/>
                    <a:gd name="connsiteX25" fmla="*/ 117409 w 240852"/>
                    <a:gd name="connsiteY25" fmla="*/ 76810 h 200802"/>
                    <a:gd name="connsiteX26" fmla="*/ 101498 w 240852"/>
                    <a:gd name="connsiteY26" fmla="*/ 66386 h 200802"/>
                    <a:gd name="connsiteX27" fmla="*/ 100950 w 240852"/>
                    <a:gd name="connsiteY27" fmla="*/ 63642 h 200802"/>
                    <a:gd name="connsiteX28" fmla="*/ 103144 w 240852"/>
                    <a:gd name="connsiteY28" fmla="*/ 58705 h 200802"/>
                    <a:gd name="connsiteX29" fmla="*/ 93817 w 240852"/>
                    <a:gd name="connsiteY29" fmla="*/ 61996 h 200802"/>
                    <a:gd name="connsiteX30" fmla="*/ 93269 w 240852"/>
                    <a:gd name="connsiteY30" fmla="*/ 91074 h 200802"/>
                    <a:gd name="connsiteX31" fmla="*/ 97658 w 240852"/>
                    <a:gd name="connsiteY31" fmla="*/ 96012 h 200802"/>
                    <a:gd name="connsiteX32" fmla="*/ 100950 w 240852"/>
                    <a:gd name="connsiteY32" fmla="*/ 105887 h 200802"/>
                    <a:gd name="connsiteX33" fmla="*/ 112471 w 240852"/>
                    <a:gd name="connsiteY33" fmla="*/ 117409 h 200802"/>
                    <a:gd name="connsiteX34" fmla="*/ 117958 w 240852"/>
                    <a:gd name="connsiteY34" fmla="*/ 130028 h 200802"/>
                    <a:gd name="connsiteX35" fmla="*/ 114666 w 240852"/>
                    <a:gd name="connsiteY35" fmla="*/ 132222 h 200802"/>
                    <a:gd name="connsiteX36" fmla="*/ 111374 w 240852"/>
                    <a:gd name="connsiteY36" fmla="*/ 131125 h 200802"/>
                    <a:gd name="connsiteX37" fmla="*/ 112471 w 240852"/>
                    <a:gd name="connsiteY37" fmla="*/ 126736 h 200802"/>
                    <a:gd name="connsiteX38" fmla="*/ 109728 w 240852"/>
                    <a:gd name="connsiteY38" fmla="*/ 122347 h 200802"/>
                    <a:gd name="connsiteX39" fmla="*/ 103693 w 240852"/>
                    <a:gd name="connsiteY39" fmla="*/ 121798 h 200802"/>
                    <a:gd name="connsiteX40" fmla="*/ 102047 w 240852"/>
                    <a:gd name="connsiteY40" fmla="*/ 127285 h 200802"/>
                    <a:gd name="connsiteX41" fmla="*/ 105888 w 240852"/>
                    <a:gd name="connsiteY41" fmla="*/ 137160 h 200802"/>
                    <a:gd name="connsiteX42" fmla="*/ 103693 w 240852"/>
                    <a:gd name="connsiteY42" fmla="*/ 139355 h 200802"/>
                    <a:gd name="connsiteX43" fmla="*/ 89428 w 240852"/>
                    <a:gd name="connsiteY43" fmla="*/ 141001 h 200802"/>
                    <a:gd name="connsiteX44" fmla="*/ 92172 w 240852"/>
                    <a:gd name="connsiteY44" fmla="*/ 145390 h 200802"/>
                    <a:gd name="connsiteX45" fmla="*/ 111374 w 240852"/>
                    <a:gd name="connsiteY45" fmla="*/ 153619 h 200802"/>
                    <a:gd name="connsiteX46" fmla="*/ 117958 w 240852"/>
                    <a:gd name="connsiteY46" fmla="*/ 154168 h 200802"/>
                    <a:gd name="connsiteX47" fmla="*/ 120701 w 240852"/>
                    <a:gd name="connsiteY47" fmla="*/ 161849 h 200802"/>
                    <a:gd name="connsiteX48" fmla="*/ 125639 w 240852"/>
                    <a:gd name="connsiteY48" fmla="*/ 161849 h 200802"/>
                    <a:gd name="connsiteX49" fmla="*/ 136063 w 240852"/>
                    <a:gd name="connsiteY49" fmla="*/ 171176 h 200802"/>
                    <a:gd name="connsiteX50" fmla="*/ 139903 w 240852"/>
                    <a:gd name="connsiteY50" fmla="*/ 171724 h 200802"/>
                    <a:gd name="connsiteX51" fmla="*/ 144292 w 240852"/>
                    <a:gd name="connsiteY51" fmla="*/ 175016 h 200802"/>
                    <a:gd name="connsiteX52" fmla="*/ 145390 w 240852"/>
                    <a:gd name="connsiteY52" fmla="*/ 200802 h 200802"/>
                    <a:gd name="connsiteX53" fmla="*/ 136063 w 240852"/>
                    <a:gd name="connsiteY53" fmla="*/ 194767 h 200802"/>
                    <a:gd name="connsiteX54" fmla="*/ 129479 w 240852"/>
                    <a:gd name="connsiteY54" fmla="*/ 185989 h 200802"/>
                    <a:gd name="connsiteX55" fmla="*/ 110277 w 240852"/>
                    <a:gd name="connsiteY55" fmla="*/ 188183 h 200802"/>
                    <a:gd name="connsiteX56" fmla="*/ 104242 w 240852"/>
                    <a:gd name="connsiteY56" fmla="*/ 184343 h 200802"/>
                    <a:gd name="connsiteX57" fmla="*/ 110825 w 240852"/>
                    <a:gd name="connsiteY57" fmla="*/ 182697 h 200802"/>
                    <a:gd name="connsiteX58" fmla="*/ 112471 w 240852"/>
                    <a:gd name="connsiteY58" fmla="*/ 177211 h 200802"/>
                    <a:gd name="connsiteX59" fmla="*/ 104242 w 240852"/>
                    <a:gd name="connsiteY59" fmla="*/ 176114 h 200802"/>
                    <a:gd name="connsiteX60" fmla="*/ 94915 w 240852"/>
                    <a:gd name="connsiteY60" fmla="*/ 166787 h 200802"/>
                    <a:gd name="connsiteX61" fmla="*/ 91074 w 240852"/>
                    <a:gd name="connsiteY61" fmla="*/ 170627 h 200802"/>
                    <a:gd name="connsiteX62" fmla="*/ 84491 w 240852"/>
                    <a:gd name="connsiteY62" fmla="*/ 167884 h 200802"/>
                    <a:gd name="connsiteX63" fmla="*/ 75164 w 240852"/>
                    <a:gd name="connsiteY63" fmla="*/ 169530 h 200802"/>
                    <a:gd name="connsiteX64" fmla="*/ 66934 w 240852"/>
                    <a:gd name="connsiteY64" fmla="*/ 167884 h 200802"/>
                    <a:gd name="connsiteX65" fmla="*/ 55413 w 240852"/>
                    <a:gd name="connsiteY65" fmla="*/ 169530 h 200802"/>
                    <a:gd name="connsiteX66" fmla="*/ 45537 w 240852"/>
                    <a:gd name="connsiteY66" fmla="*/ 165689 h 200802"/>
                    <a:gd name="connsiteX67" fmla="*/ 43343 w 240852"/>
                    <a:gd name="connsiteY67" fmla="*/ 165689 h 200802"/>
                    <a:gd name="connsiteX68" fmla="*/ 41697 w 240852"/>
                    <a:gd name="connsiteY68" fmla="*/ 167884 h 200802"/>
                    <a:gd name="connsiteX69" fmla="*/ 37856 w 240852"/>
                    <a:gd name="connsiteY69" fmla="*/ 169530 h 200802"/>
                    <a:gd name="connsiteX70" fmla="*/ 22494 w 240852"/>
                    <a:gd name="connsiteY70" fmla="*/ 143195 h 200802"/>
                    <a:gd name="connsiteX71" fmla="*/ 29627 w 240852"/>
                    <a:gd name="connsiteY71" fmla="*/ 143744 h 200802"/>
                    <a:gd name="connsiteX72" fmla="*/ 36210 w 240852"/>
                    <a:gd name="connsiteY72" fmla="*/ 142646 h 200802"/>
                    <a:gd name="connsiteX73" fmla="*/ 33467 w 240852"/>
                    <a:gd name="connsiteY73" fmla="*/ 137160 h 200802"/>
                    <a:gd name="connsiteX74" fmla="*/ 23592 w 240852"/>
                    <a:gd name="connsiteY74" fmla="*/ 132771 h 200802"/>
                    <a:gd name="connsiteX75" fmla="*/ 21946 w 240852"/>
                    <a:gd name="connsiteY75" fmla="*/ 139355 h 200802"/>
                    <a:gd name="connsiteX76" fmla="*/ 12070 w 240852"/>
                    <a:gd name="connsiteY76" fmla="*/ 121798 h 200802"/>
                    <a:gd name="connsiteX77" fmla="*/ 4938 w 240852"/>
                    <a:gd name="connsiteY77" fmla="*/ 116860 h 200802"/>
                    <a:gd name="connsiteX78" fmla="*/ 2195 w 240852"/>
                    <a:gd name="connsiteY78" fmla="*/ 105887 h 200802"/>
                    <a:gd name="connsiteX79" fmla="*/ 1097 w 240852"/>
                    <a:gd name="connsiteY79" fmla="*/ 104242 h 200802"/>
                    <a:gd name="connsiteX80" fmla="*/ 0 w 240852"/>
                    <a:gd name="connsiteY80" fmla="*/ 104242 h 200802"/>
                    <a:gd name="connsiteX81" fmla="*/ 1097 w 240852"/>
                    <a:gd name="connsiteY81" fmla="*/ 104242 h 200802"/>
                    <a:gd name="connsiteX82" fmla="*/ 6584 w 240852"/>
                    <a:gd name="connsiteY82" fmla="*/ 99853 h 200802"/>
                    <a:gd name="connsiteX83" fmla="*/ 9876 w 240852"/>
                    <a:gd name="connsiteY83" fmla="*/ 95463 h 200802"/>
                    <a:gd name="connsiteX84" fmla="*/ 12070 w 240852"/>
                    <a:gd name="connsiteY84" fmla="*/ 87234 h 200802"/>
                    <a:gd name="connsiteX85" fmla="*/ 18105 w 240852"/>
                    <a:gd name="connsiteY85" fmla="*/ 82296 h 200802"/>
                    <a:gd name="connsiteX86" fmla="*/ 24689 w 240852"/>
                    <a:gd name="connsiteY86" fmla="*/ 70775 h 200802"/>
                    <a:gd name="connsiteX87" fmla="*/ 33467 w 240852"/>
                    <a:gd name="connsiteY87" fmla="*/ 62545 h 200802"/>
                    <a:gd name="connsiteX88" fmla="*/ 31821 w 240852"/>
                    <a:gd name="connsiteY88" fmla="*/ 46086 h 200802"/>
                    <a:gd name="connsiteX89" fmla="*/ 56510 w 240852"/>
                    <a:gd name="connsiteY89" fmla="*/ 42794 h 200802"/>
                    <a:gd name="connsiteX90" fmla="*/ 64191 w 240852"/>
                    <a:gd name="connsiteY90" fmla="*/ 35662 h 200802"/>
                    <a:gd name="connsiteX91" fmla="*/ 76261 w 240852"/>
                    <a:gd name="connsiteY91" fmla="*/ 30724 h 200802"/>
                    <a:gd name="connsiteX92" fmla="*/ 90526 w 240852"/>
                    <a:gd name="connsiteY92" fmla="*/ 30724 h 200802"/>
                    <a:gd name="connsiteX93" fmla="*/ 100401 w 240852"/>
                    <a:gd name="connsiteY93" fmla="*/ 21397 h 200802"/>
                    <a:gd name="connsiteX94" fmla="*/ 169530 w 240852"/>
                    <a:gd name="connsiteY94" fmla="*/ 10973 h 200802"/>
                    <a:gd name="connsiteX95" fmla="*/ 176113 w 240852"/>
                    <a:gd name="connsiteY95" fmla="*/ 17008 h 200802"/>
                    <a:gd name="connsiteX96" fmla="*/ 200802 w 240852"/>
                    <a:gd name="connsiteY96" fmla="*/ 25238 h 200802"/>
                    <a:gd name="connsiteX97" fmla="*/ 213970 w 240852"/>
                    <a:gd name="connsiteY97" fmla="*/ 22494 h 200802"/>
                    <a:gd name="connsiteX98" fmla="*/ 223845 w 240852"/>
                    <a:gd name="connsiteY98" fmla="*/ 14265 h 200802"/>
                    <a:gd name="connsiteX99" fmla="*/ 224942 w 240852"/>
                    <a:gd name="connsiteY99" fmla="*/ 549 h 200802"/>
                    <a:gd name="connsiteX100" fmla="*/ 233172 w 240852"/>
                    <a:gd name="connsiteY100" fmla="*/ 0 h 200802"/>
                    <a:gd name="connsiteX101" fmla="*/ 234818 w 240852"/>
                    <a:gd name="connsiteY101" fmla="*/ 3841 h 200802"/>
                    <a:gd name="connsiteX102" fmla="*/ 240853 w 240852"/>
                    <a:gd name="connsiteY102" fmla="*/ 9327 h 200802"/>
                    <a:gd name="connsiteX103" fmla="*/ 239756 w 240852"/>
                    <a:gd name="connsiteY103" fmla="*/ 17008 h 200802"/>
                    <a:gd name="connsiteX104" fmla="*/ 232623 w 240852"/>
                    <a:gd name="connsiteY104" fmla="*/ 23043 h 200802"/>
                    <a:gd name="connsiteX105" fmla="*/ 228783 w 240852"/>
                    <a:gd name="connsiteY105" fmla="*/ 43891 h 200802"/>
                    <a:gd name="connsiteX106" fmla="*/ 221651 w 240852"/>
                    <a:gd name="connsiteY106" fmla="*/ 53218 h 2008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</a:cxnLst>
                  <a:rect l="l" t="t" r="r" b="b"/>
                  <a:pathLst>
                    <a:path w="240852" h="200802">
                      <a:moveTo>
                        <a:pt x="221651" y="53218"/>
                      </a:moveTo>
                      <a:lnTo>
                        <a:pt x="215616" y="48280"/>
                      </a:lnTo>
                      <a:lnTo>
                        <a:pt x="183246" y="39502"/>
                      </a:lnTo>
                      <a:lnTo>
                        <a:pt x="172822" y="45537"/>
                      </a:lnTo>
                      <a:lnTo>
                        <a:pt x="167884" y="45537"/>
                      </a:lnTo>
                      <a:lnTo>
                        <a:pt x="160203" y="42245"/>
                      </a:lnTo>
                      <a:lnTo>
                        <a:pt x="153071" y="49926"/>
                      </a:lnTo>
                      <a:lnTo>
                        <a:pt x="142098" y="52121"/>
                      </a:lnTo>
                      <a:lnTo>
                        <a:pt x="131674" y="58705"/>
                      </a:lnTo>
                      <a:lnTo>
                        <a:pt x="137709" y="64739"/>
                      </a:lnTo>
                      <a:lnTo>
                        <a:pt x="147584" y="68580"/>
                      </a:lnTo>
                      <a:lnTo>
                        <a:pt x="154168" y="75712"/>
                      </a:lnTo>
                      <a:lnTo>
                        <a:pt x="155814" y="79553"/>
                      </a:lnTo>
                      <a:lnTo>
                        <a:pt x="148133" y="73518"/>
                      </a:lnTo>
                      <a:lnTo>
                        <a:pt x="137709" y="70775"/>
                      </a:lnTo>
                      <a:lnTo>
                        <a:pt x="134965" y="76810"/>
                      </a:lnTo>
                      <a:lnTo>
                        <a:pt x="142098" y="82296"/>
                      </a:lnTo>
                      <a:lnTo>
                        <a:pt x="143195" y="91074"/>
                      </a:lnTo>
                      <a:lnTo>
                        <a:pt x="133320" y="79004"/>
                      </a:lnTo>
                      <a:lnTo>
                        <a:pt x="126736" y="76261"/>
                      </a:lnTo>
                      <a:lnTo>
                        <a:pt x="123993" y="76810"/>
                      </a:lnTo>
                      <a:lnTo>
                        <a:pt x="125639" y="84491"/>
                      </a:lnTo>
                      <a:lnTo>
                        <a:pt x="131674" y="89428"/>
                      </a:lnTo>
                      <a:lnTo>
                        <a:pt x="127833" y="92171"/>
                      </a:lnTo>
                      <a:lnTo>
                        <a:pt x="120701" y="85588"/>
                      </a:lnTo>
                      <a:lnTo>
                        <a:pt x="117409" y="76810"/>
                      </a:lnTo>
                      <a:lnTo>
                        <a:pt x="101498" y="66386"/>
                      </a:lnTo>
                      <a:lnTo>
                        <a:pt x="100950" y="63642"/>
                      </a:lnTo>
                      <a:lnTo>
                        <a:pt x="103144" y="58705"/>
                      </a:lnTo>
                      <a:lnTo>
                        <a:pt x="93817" y="61996"/>
                      </a:lnTo>
                      <a:lnTo>
                        <a:pt x="93269" y="91074"/>
                      </a:lnTo>
                      <a:lnTo>
                        <a:pt x="97658" y="96012"/>
                      </a:lnTo>
                      <a:lnTo>
                        <a:pt x="100950" y="105887"/>
                      </a:lnTo>
                      <a:lnTo>
                        <a:pt x="112471" y="117409"/>
                      </a:lnTo>
                      <a:lnTo>
                        <a:pt x="117958" y="130028"/>
                      </a:lnTo>
                      <a:lnTo>
                        <a:pt x="114666" y="132222"/>
                      </a:lnTo>
                      <a:lnTo>
                        <a:pt x="111374" y="131125"/>
                      </a:lnTo>
                      <a:lnTo>
                        <a:pt x="112471" y="126736"/>
                      </a:lnTo>
                      <a:lnTo>
                        <a:pt x="109728" y="122347"/>
                      </a:lnTo>
                      <a:lnTo>
                        <a:pt x="103693" y="121798"/>
                      </a:lnTo>
                      <a:lnTo>
                        <a:pt x="102047" y="127285"/>
                      </a:lnTo>
                      <a:lnTo>
                        <a:pt x="105888" y="137160"/>
                      </a:lnTo>
                      <a:lnTo>
                        <a:pt x="103693" y="139355"/>
                      </a:lnTo>
                      <a:lnTo>
                        <a:pt x="89428" y="141001"/>
                      </a:lnTo>
                      <a:lnTo>
                        <a:pt x="92172" y="145390"/>
                      </a:lnTo>
                      <a:lnTo>
                        <a:pt x="111374" y="153619"/>
                      </a:lnTo>
                      <a:lnTo>
                        <a:pt x="117958" y="154168"/>
                      </a:lnTo>
                      <a:lnTo>
                        <a:pt x="120701" y="161849"/>
                      </a:lnTo>
                      <a:lnTo>
                        <a:pt x="125639" y="161849"/>
                      </a:lnTo>
                      <a:lnTo>
                        <a:pt x="136063" y="171176"/>
                      </a:lnTo>
                      <a:lnTo>
                        <a:pt x="139903" y="171724"/>
                      </a:lnTo>
                      <a:lnTo>
                        <a:pt x="144292" y="175016"/>
                      </a:lnTo>
                      <a:lnTo>
                        <a:pt x="145390" y="200802"/>
                      </a:lnTo>
                      <a:lnTo>
                        <a:pt x="136063" y="194767"/>
                      </a:lnTo>
                      <a:lnTo>
                        <a:pt x="129479" y="185989"/>
                      </a:lnTo>
                      <a:lnTo>
                        <a:pt x="110277" y="188183"/>
                      </a:lnTo>
                      <a:lnTo>
                        <a:pt x="104242" y="184343"/>
                      </a:lnTo>
                      <a:lnTo>
                        <a:pt x="110825" y="182697"/>
                      </a:lnTo>
                      <a:lnTo>
                        <a:pt x="112471" y="177211"/>
                      </a:lnTo>
                      <a:lnTo>
                        <a:pt x="104242" y="176114"/>
                      </a:lnTo>
                      <a:lnTo>
                        <a:pt x="94915" y="166787"/>
                      </a:lnTo>
                      <a:lnTo>
                        <a:pt x="91074" y="170627"/>
                      </a:lnTo>
                      <a:lnTo>
                        <a:pt x="84491" y="167884"/>
                      </a:lnTo>
                      <a:lnTo>
                        <a:pt x="75164" y="169530"/>
                      </a:lnTo>
                      <a:lnTo>
                        <a:pt x="66934" y="167884"/>
                      </a:lnTo>
                      <a:lnTo>
                        <a:pt x="55413" y="169530"/>
                      </a:lnTo>
                      <a:lnTo>
                        <a:pt x="45537" y="165689"/>
                      </a:lnTo>
                      <a:lnTo>
                        <a:pt x="43343" y="165689"/>
                      </a:lnTo>
                      <a:lnTo>
                        <a:pt x="41697" y="167884"/>
                      </a:lnTo>
                      <a:lnTo>
                        <a:pt x="37856" y="169530"/>
                      </a:lnTo>
                      <a:lnTo>
                        <a:pt x="22494" y="143195"/>
                      </a:lnTo>
                      <a:lnTo>
                        <a:pt x="29627" y="143744"/>
                      </a:lnTo>
                      <a:lnTo>
                        <a:pt x="36210" y="142646"/>
                      </a:lnTo>
                      <a:lnTo>
                        <a:pt x="33467" y="137160"/>
                      </a:lnTo>
                      <a:lnTo>
                        <a:pt x="23592" y="132771"/>
                      </a:lnTo>
                      <a:lnTo>
                        <a:pt x="21946" y="139355"/>
                      </a:lnTo>
                      <a:lnTo>
                        <a:pt x="12070" y="121798"/>
                      </a:lnTo>
                      <a:lnTo>
                        <a:pt x="4938" y="116860"/>
                      </a:lnTo>
                      <a:lnTo>
                        <a:pt x="2195" y="105887"/>
                      </a:lnTo>
                      <a:lnTo>
                        <a:pt x="1097" y="104242"/>
                      </a:lnTo>
                      <a:lnTo>
                        <a:pt x="0" y="104242"/>
                      </a:lnTo>
                      <a:lnTo>
                        <a:pt x="1097" y="104242"/>
                      </a:lnTo>
                      <a:lnTo>
                        <a:pt x="6584" y="99853"/>
                      </a:lnTo>
                      <a:lnTo>
                        <a:pt x="9876" y="95463"/>
                      </a:lnTo>
                      <a:lnTo>
                        <a:pt x="12070" y="87234"/>
                      </a:lnTo>
                      <a:lnTo>
                        <a:pt x="18105" y="82296"/>
                      </a:lnTo>
                      <a:lnTo>
                        <a:pt x="24689" y="70775"/>
                      </a:lnTo>
                      <a:lnTo>
                        <a:pt x="33467" y="62545"/>
                      </a:lnTo>
                      <a:lnTo>
                        <a:pt x="31821" y="46086"/>
                      </a:lnTo>
                      <a:lnTo>
                        <a:pt x="56510" y="42794"/>
                      </a:lnTo>
                      <a:lnTo>
                        <a:pt x="64191" y="35662"/>
                      </a:lnTo>
                      <a:lnTo>
                        <a:pt x="76261" y="30724"/>
                      </a:lnTo>
                      <a:lnTo>
                        <a:pt x="90526" y="30724"/>
                      </a:lnTo>
                      <a:lnTo>
                        <a:pt x="100401" y="21397"/>
                      </a:lnTo>
                      <a:lnTo>
                        <a:pt x="169530" y="10973"/>
                      </a:lnTo>
                      <a:lnTo>
                        <a:pt x="176113" y="17008"/>
                      </a:lnTo>
                      <a:lnTo>
                        <a:pt x="200802" y="25238"/>
                      </a:lnTo>
                      <a:lnTo>
                        <a:pt x="213970" y="22494"/>
                      </a:lnTo>
                      <a:lnTo>
                        <a:pt x="223845" y="14265"/>
                      </a:lnTo>
                      <a:lnTo>
                        <a:pt x="224942" y="549"/>
                      </a:lnTo>
                      <a:lnTo>
                        <a:pt x="233172" y="0"/>
                      </a:lnTo>
                      <a:lnTo>
                        <a:pt x="234818" y="3841"/>
                      </a:lnTo>
                      <a:lnTo>
                        <a:pt x="240853" y="9327"/>
                      </a:lnTo>
                      <a:lnTo>
                        <a:pt x="239756" y="17008"/>
                      </a:lnTo>
                      <a:lnTo>
                        <a:pt x="232623" y="23043"/>
                      </a:lnTo>
                      <a:lnTo>
                        <a:pt x="228783" y="43891"/>
                      </a:lnTo>
                      <a:lnTo>
                        <a:pt x="221651" y="53218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72" name="Graphic 7">
                  <a:extLst>
                    <a:ext uri="{FF2B5EF4-FFF2-40B4-BE49-F238E27FC236}">
                      <a16:creationId xmlns:a16="http://schemas.microsoft.com/office/drawing/2014/main" id="{0F1523F0-3CD5-8181-C40E-497DA9D00CFE}"/>
                    </a:ext>
                  </a:extLst>
                </p:cNvPr>
                <p:cNvSpPr/>
                <p:nvPr/>
              </p:nvSpPr>
              <p:spPr>
                <a:xfrm>
                  <a:off x="5709725" y="2844232"/>
                  <a:ext cx="197175" cy="119162"/>
                </a:xfrm>
                <a:custGeom>
                  <a:avLst/>
                  <a:gdLst>
                    <a:gd name="connsiteX0" fmla="*/ 38953 w 252374"/>
                    <a:gd name="connsiteY0" fmla="*/ 26335 h 152521"/>
                    <a:gd name="connsiteX1" fmla="*/ 64740 w 252374"/>
                    <a:gd name="connsiteY1" fmla="*/ 44440 h 152521"/>
                    <a:gd name="connsiteX2" fmla="*/ 91623 w 252374"/>
                    <a:gd name="connsiteY2" fmla="*/ 43343 h 152521"/>
                    <a:gd name="connsiteX3" fmla="*/ 100950 w 252374"/>
                    <a:gd name="connsiteY3" fmla="*/ 30175 h 152521"/>
                    <a:gd name="connsiteX4" fmla="*/ 132771 w 252374"/>
                    <a:gd name="connsiteY4" fmla="*/ 17556 h 152521"/>
                    <a:gd name="connsiteX5" fmla="*/ 144292 w 252374"/>
                    <a:gd name="connsiteY5" fmla="*/ 21397 h 152521"/>
                    <a:gd name="connsiteX6" fmla="*/ 160752 w 252374"/>
                    <a:gd name="connsiteY6" fmla="*/ 14813 h 152521"/>
                    <a:gd name="connsiteX7" fmla="*/ 164044 w 252374"/>
                    <a:gd name="connsiteY7" fmla="*/ 7132 h 152521"/>
                    <a:gd name="connsiteX8" fmla="*/ 175016 w 252374"/>
                    <a:gd name="connsiteY8" fmla="*/ 549 h 152521"/>
                    <a:gd name="connsiteX9" fmla="*/ 186538 w 252374"/>
                    <a:gd name="connsiteY9" fmla="*/ 1646 h 152521"/>
                    <a:gd name="connsiteX10" fmla="*/ 194767 w 252374"/>
                    <a:gd name="connsiteY10" fmla="*/ 0 h 152521"/>
                    <a:gd name="connsiteX11" fmla="*/ 205740 w 252374"/>
                    <a:gd name="connsiteY11" fmla="*/ 2743 h 152521"/>
                    <a:gd name="connsiteX12" fmla="*/ 216713 w 252374"/>
                    <a:gd name="connsiteY12" fmla="*/ 10424 h 152521"/>
                    <a:gd name="connsiteX13" fmla="*/ 225491 w 252374"/>
                    <a:gd name="connsiteY13" fmla="*/ 8230 h 152521"/>
                    <a:gd name="connsiteX14" fmla="*/ 249631 w 252374"/>
                    <a:gd name="connsiteY14" fmla="*/ 25237 h 152521"/>
                    <a:gd name="connsiteX15" fmla="*/ 252374 w 252374"/>
                    <a:gd name="connsiteY15" fmla="*/ 32918 h 152521"/>
                    <a:gd name="connsiteX16" fmla="*/ 244693 w 252374"/>
                    <a:gd name="connsiteY16" fmla="*/ 42245 h 152521"/>
                    <a:gd name="connsiteX17" fmla="*/ 239756 w 252374"/>
                    <a:gd name="connsiteY17" fmla="*/ 42245 h 152521"/>
                    <a:gd name="connsiteX18" fmla="*/ 229332 w 252374"/>
                    <a:gd name="connsiteY18" fmla="*/ 46634 h 152521"/>
                    <a:gd name="connsiteX19" fmla="*/ 222748 w 252374"/>
                    <a:gd name="connsiteY19" fmla="*/ 53767 h 152521"/>
                    <a:gd name="connsiteX20" fmla="*/ 222199 w 252374"/>
                    <a:gd name="connsiteY20" fmla="*/ 59253 h 152521"/>
                    <a:gd name="connsiteX21" fmla="*/ 218359 w 252374"/>
                    <a:gd name="connsiteY21" fmla="*/ 65837 h 152521"/>
                    <a:gd name="connsiteX22" fmla="*/ 216164 w 252374"/>
                    <a:gd name="connsiteY22" fmla="*/ 73518 h 152521"/>
                    <a:gd name="connsiteX23" fmla="*/ 189281 w 252374"/>
                    <a:gd name="connsiteY23" fmla="*/ 121798 h 152521"/>
                    <a:gd name="connsiteX24" fmla="*/ 156362 w 252374"/>
                    <a:gd name="connsiteY24" fmla="*/ 133319 h 152521"/>
                    <a:gd name="connsiteX25" fmla="*/ 154168 w 252374"/>
                    <a:gd name="connsiteY25" fmla="*/ 133319 h 152521"/>
                    <a:gd name="connsiteX26" fmla="*/ 150876 w 252374"/>
                    <a:gd name="connsiteY26" fmla="*/ 128382 h 152521"/>
                    <a:gd name="connsiteX27" fmla="*/ 142646 w 252374"/>
                    <a:gd name="connsiteY27" fmla="*/ 131674 h 152521"/>
                    <a:gd name="connsiteX28" fmla="*/ 134417 w 252374"/>
                    <a:gd name="connsiteY28" fmla="*/ 131674 h 152521"/>
                    <a:gd name="connsiteX29" fmla="*/ 123444 w 252374"/>
                    <a:gd name="connsiteY29" fmla="*/ 138806 h 152521"/>
                    <a:gd name="connsiteX30" fmla="*/ 113569 w 252374"/>
                    <a:gd name="connsiteY30" fmla="*/ 139354 h 152521"/>
                    <a:gd name="connsiteX31" fmla="*/ 109180 w 252374"/>
                    <a:gd name="connsiteY31" fmla="*/ 143195 h 152521"/>
                    <a:gd name="connsiteX32" fmla="*/ 99304 w 252374"/>
                    <a:gd name="connsiteY32" fmla="*/ 143744 h 152521"/>
                    <a:gd name="connsiteX33" fmla="*/ 91074 w 252374"/>
                    <a:gd name="connsiteY33" fmla="*/ 149230 h 152521"/>
                    <a:gd name="connsiteX34" fmla="*/ 69677 w 252374"/>
                    <a:gd name="connsiteY34" fmla="*/ 152522 h 152521"/>
                    <a:gd name="connsiteX35" fmla="*/ 59802 w 252374"/>
                    <a:gd name="connsiteY35" fmla="*/ 145938 h 152521"/>
                    <a:gd name="connsiteX36" fmla="*/ 52121 w 252374"/>
                    <a:gd name="connsiteY36" fmla="*/ 143195 h 152521"/>
                    <a:gd name="connsiteX37" fmla="*/ 44440 w 252374"/>
                    <a:gd name="connsiteY37" fmla="*/ 133319 h 152521"/>
                    <a:gd name="connsiteX38" fmla="*/ 34564 w 252374"/>
                    <a:gd name="connsiteY38" fmla="*/ 128382 h 152521"/>
                    <a:gd name="connsiteX39" fmla="*/ 27432 w 252374"/>
                    <a:gd name="connsiteY39" fmla="*/ 117958 h 152521"/>
                    <a:gd name="connsiteX40" fmla="*/ 19751 w 252374"/>
                    <a:gd name="connsiteY40" fmla="*/ 114117 h 152521"/>
                    <a:gd name="connsiteX41" fmla="*/ 9876 w 252374"/>
                    <a:gd name="connsiteY41" fmla="*/ 96012 h 152521"/>
                    <a:gd name="connsiteX42" fmla="*/ 4938 w 252374"/>
                    <a:gd name="connsiteY42" fmla="*/ 93269 h 152521"/>
                    <a:gd name="connsiteX43" fmla="*/ 0 w 252374"/>
                    <a:gd name="connsiteY43" fmla="*/ 92720 h 152521"/>
                    <a:gd name="connsiteX44" fmla="*/ 6584 w 252374"/>
                    <a:gd name="connsiteY44" fmla="*/ 85588 h 152521"/>
                    <a:gd name="connsiteX45" fmla="*/ 14265 w 252374"/>
                    <a:gd name="connsiteY45" fmla="*/ 83393 h 152521"/>
                    <a:gd name="connsiteX46" fmla="*/ 13716 w 252374"/>
                    <a:gd name="connsiteY46" fmla="*/ 69677 h 152521"/>
                    <a:gd name="connsiteX47" fmla="*/ 19751 w 252374"/>
                    <a:gd name="connsiteY47" fmla="*/ 57059 h 152521"/>
                    <a:gd name="connsiteX48" fmla="*/ 15362 w 252374"/>
                    <a:gd name="connsiteY48" fmla="*/ 51572 h 152521"/>
                    <a:gd name="connsiteX49" fmla="*/ 18105 w 252374"/>
                    <a:gd name="connsiteY49" fmla="*/ 46086 h 152521"/>
                    <a:gd name="connsiteX50" fmla="*/ 36210 w 252374"/>
                    <a:gd name="connsiteY50" fmla="*/ 45537 h 152521"/>
                    <a:gd name="connsiteX51" fmla="*/ 38953 w 252374"/>
                    <a:gd name="connsiteY51" fmla="*/ 40051 h 152521"/>
                    <a:gd name="connsiteX52" fmla="*/ 38953 w 252374"/>
                    <a:gd name="connsiteY52" fmla="*/ 26335 h 1525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</a:cxnLst>
                  <a:rect l="l" t="t" r="r" b="b"/>
                  <a:pathLst>
                    <a:path w="252374" h="152521">
                      <a:moveTo>
                        <a:pt x="38953" y="26335"/>
                      </a:moveTo>
                      <a:lnTo>
                        <a:pt x="64740" y="44440"/>
                      </a:lnTo>
                      <a:lnTo>
                        <a:pt x="91623" y="43343"/>
                      </a:lnTo>
                      <a:lnTo>
                        <a:pt x="100950" y="30175"/>
                      </a:lnTo>
                      <a:lnTo>
                        <a:pt x="132771" y="17556"/>
                      </a:lnTo>
                      <a:lnTo>
                        <a:pt x="144292" y="21397"/>
                      </a:lnTo>
                      <a:lnTo>
                        <a:pt x="160752" y="14813"/>
                      </a:lnTo>
                      <a:lnTo>
                        <a:pt x="164044" y="7132"/>
                      </a:lnTo>
                      <a:lnTo>
                        <a:pt x="175016" y="549"/>
                      </a:lnTo>
                      <a:lnTo>
                        <a:pt x="186538" y="1646"/>
                      </a:lnTo>
                      <a:lnTo>
                        <a:pt x="194767" y="0"/>
                      </a:lnTo>
                      <a:lnTo>
                        <a:pt x="205740" y="2743"/>
                      </a:lnTo>
                      <a:lnTo>
                        <a:pt x="216713" y="10424"/>
                      </a:lnTo>
                      <a:lnTo>
                        <a:pt x="225491" y="8230"/>
                      </a:lnTo>
                      <a:lnTo>
                        <a:pt x="249631" y="25237"/>
                      </a:lnTo>
                      <a:lnTo>
                        <a:pt x="252374" y="32918"/>
                      </a:lnTo>
                      <a:lnTo>
                        <a:pt x="244693" y="42245"/>
                      </a:lnTo>
                      <a:lnTo>
                        <a:pt x="239756" y="42245"/>
                      </a:lnTo>
                      <a:lnTo>
                        <a:pt x="229332" y="46634"/>
                      </a:lnTo>
                      <a:lnTo>
                        <a:pt x="222748" y="53767"/>
                      </a:lnTo>
                      <a:lnTo>
                        <a:pt x="222199" y="59253"/>
                      </a:lnTo>
                      <a:lnTo>
                        <a:pt x="218359" y="65837"/>
                      </a:lnTo>
                      <a:lnTo>
                        <a:pt x="216164" y="73518"/>
                      </a:lnTo>
                      <a:lnTo>
                        <a:pt x="189281" y="121798"/>
                      </a:lnTo>
                      <a:lnTo>
                        <a:pt x="156362" y="133319"/>
                      </a:lnTo>
                      <a:lnTo>
                        <a:pt x="154168" y="133319"/>
                      </a:lnTo>
                      <a:lnTo>
                        <a:pt x="150876" y="128382"/>
                      </a:lnTo>
                      <a:lnTo>
                        <a:pt x="142646" y="131674"/>
                      </a:lnTo>
                      <a:lnTo>
                        <a:pt x="134417" y="131674"/>
                      </a:lnTo>
                      <a:lnTo>
                        <a:pt x="123444" y="138806"/>
                      </a:lnTo>
                      <a:lnTo>
                        <a:pt x="113569" y="139354"/>
                      </a:lnTo>
                      <a:lnTo>
                        <a:pt x="109180" y="143195"/>
                      </a:lnTo>
                      <a:lnTo>
                        <a:pt x="99304" y="143744"/>
                      </a:lnTo>
                      <a:lnTo>
                        <a:pt x="91074" y="149230"/>
                      </a:lnTo>
                      <a:lnTo>
                        <a:pt x="69677" y="152522"/>
                      </a:lnTo>
                      <a:lnTo>
                        <a:pt x="59802" y="145938"/>
                      </a:lnTo>
                      <a:lnTo>
                        <a:pt x="52121" y="143195"/>
                      </a:lnTo>
                      <a:lnTo>
                        <a:pt x="44440" y="133319"/>
                      </a:lnTo>
                      <a:lnTo>
                        <a:pt x="34564" y="128382"/>
                      </a:lnTo>
                      <a:lnTo>
                        <a:pt x="27432" y="117958"/>
                      </a:lnTo>
                      <a:lnTo>
                        <a:pt x="19751" y="114117"/>
                      </a:lnTo>
                      <a:lnTo>
                        <a:pt x="9876" y="96012"/>
                      </a:lnTo>
                      <a:lnTo>
                        <a:pt x="4938" y="93269"/>
                      </a:lnTo>
                      <a:lnTo>
                        <a:pt x="0" y="92720"/>
                      </a:lnTo>
                      <a:lnTo>
                        <a:pt x="6584" y="85588"/>
                      </a:lnTo>
                      <a:lnTo>
                        <a:pt x="14265" y="83393"/>
                      </a:lnTo>
                      <a:lnTo>
                        <a:pt x="13716" y="69677"/>
                      </a:lnTo>
                      <a:lnTo>
                        <a:pt x="19751" y="57059"/>
                      </a:lnTo>
                      <a:lnTo>
                        <a:pt x="15362" y="51572"/>
                      </a:lnTo>
                      <a:lnTo>
                        <a:pt x="18105" y="46086"/>
                      </a:lnTo>
                      <a:lnTo>
                        <a:pt x="36210" y="45537"/>
                      </a:lnTo>
                      <a:lnTo>
                        <a:pt x="38953" y="40051"/>
                      </a:lnTo>
                      <a:lnTo>
                        <a:pt x="38953" y="26335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73" name="Graphic 7">
                  <a:extLst>
                    <a:ext uri="{FF2B5EF4-FFF2-40B4-BE49-F238E27FC236}">
                      <a16:creationId xmlns:a16="http://schemas.microsoft.com/office/drawing/2014/main" id="{A79C1233-69D7-8C0F-33E2-AE167A01D1B0}"/>
                    </a:ext>
                  </a:extLst>
                </p:cNvPr>
                <p:cNvSpPr/>
                <p:nvPr/>
              </p:nvSpPr>
              <p:spPr>
                <a:xfrm>
                  <a:off x="4518958" y="1838209"/>
                  <a:ext cx="322339" cy="219036"/>
                </a:xfrm>
                <a:custGeom>
                  <a:avLst/>
                  <a:gdLst>
                    <a:gd name="connsiteX0" fmla="*/ 171176 w 412577"/>
                    <a:gd name="connsiteY0" fmla="*/ 267188 h 280355"/>
                    <a:gd name="connsiteX1" fmla="*/ 169530 w 412577"/>
                    <a:gd name="connsiteY1" fmla="*/ 267736 h 280355"/>
                    <a:gd name="connsiteX2" fmla="*/ 164043 w 412577"/>
                    <a:gd name="connsiteY2" fmla="*/ 263896 h 280355"/>
                    <a:gd name="connsiteX3" fmla="*/ 158008 w 412577"/>
                    <a:gd name="connsiteY3" fmla="*/ 261701 h 280355"/>
                    <a:gd name="connsiteX4" fmla="*/ 151425 w 412577"/>
                    <a:gd name="connsiteY4" fmla="*/ 254020 h 280355"/>
                    <a:gd name="connsiteX5" fmla="*/ 124541 w 412577"/>
                    <a:gd name="connsiteY5" fmla="*/ 239207 h 280355"/>
                    <a:gd name="connsiteX6" fmla="*/ 115763 w 412577"/>
                    <a:gd name="connsiteY6" fmla="*/ 243047 h 280355"/>
                    <a:gd name="connsiteX7" fmla="*/ 103144 w 412577"/>
                    <a:gd name="connsiteY7" fmla="*/ 239207 h 280355"/>
                    <a:gd name="connsiteX8" fmla="*/ 99304 w 412577"/>
                    <a:gd name="connsiteY8" fmla="*/ 241402 h 280355"/>
                    <a:gd name="connsiteX9" fmla="*/ 80650 w 412577"/>
                    <a:gd name="connsiteY9" fmla="*/ 240853 h 280355"/>
                    <a:gd name="connsiteX10" fmla="*/ 75712 w 412577"/>
                    <a:gd name="connsiteY10" fmla="*/ 244693 h 280355"/>
                    <a:gd name="connsiteX11" fmla="*/ 69677 w 412577"/>
                    <a:gd name="connsiteY11" fmla="*/ 243596 h 280355"/>
                    <a:gd name="connsiteX12" fmla="*/ 70226 w 412577"/>
                    <a:gd name="connsiteY12" fmla="*/ 231526 h 280355"/>
                    <a:gd name="connsiteX13" fmla="*/ 67483 w 412577"/>
                    <a:gd name="connsiteY13" fmla="*/ 222199 h 280355"/>
                    <a:gd name="connsiteX14" fmla="*/ 77358 w 412577"/>
                    <a:gd name="connsiteY14" fmla="*/ 228783 h 280355"/>
                    <a:gd name="connsiteX15" fmla="*/ 81199 w 412577"/>
                    <a:gd name="connsiteY15" fmla="*/ 223297 h 280355"/>
                    <a:gd name="connsiteX16" fmla="*/ 102596 w 412577"/>
                    <a:gd name="connsiteY16" fmla="*/ 211775 h 280355"/>
                    <a:gd name="connsiteX17" fmla="*/ 102596 w 412577"/>
                    <a:gd name="connsiteY17" fmla="*/ 198608 h 280355"/>
                    <a:gd name="connsiteX18" fmla="*/ 89428 w 412577"/>
                    <a:gd name="connsiteY18" fmla="*/ 201351 h 280355"/>
                    <a:gd name="connsiteX19" fmla="*/ 96012 w 412577"/>
                    <a:gd name="connsiteY19" fmla="*/ 194767 h 280355"/>
                    <a:gd name="connsiteX20" fmla="*/ 97658 w 412577"/>
                    <a:gd name="connsiteY20" fmla="*/ 190927 h 280355"/>
                    <a:gd name="connsiteX21" fmla="*/ 96561 w 412577"/>
                    <a:gd name="connsiteY21" fmla="*/ 185440 h 280355"/>
                    <a:gd name="connsiteX22" fmla="*/ 102596 w 412577"/>
                    <a:gd name="connsiteY22" fmla="*/ 178308 h 280355"/>
                    <a:gd name="connsiteX23" fmla="*/ 95463 w 412577"/>
                    <a:gd name="connsiteY23" fmla="*/ 178857 h 280355"/>
                    <a:gd name="connsiteX24" fmla="*/ 91074 w 412577"/>
                    <a:gd name="connsiteY24" fmla="*/ 185989 h 280355"/>
                    <a:gd name="connsiteX25" fmla="*/ 87782 w 412577"/>
                    <a:gd name="connsiteY25" fmla="*/ 182697 h 280355"/>
                    <a:gd name="connsiteX26" fmla="*/ 86136 w 412577"/>
                    <a:gd name="connsiteY26" fmla="*/ 178308 h 280355"/>
                    <a:gd name="connsiteX27" fmla="*/ 82845 w 412577"/>
                    <a:gd name="connsiteY27" fmla="*/ 178308 h 280355"/>
                    <a:gd name="connsiteX28" fmla="*/ 79004 w 412577"/>
                    <a:gd name="connsiteY28" fmla="*/ 156911 h 280355"/>
                    <a:gd name="connsiteX29" fmla="*/ 73518 w 412577"/>
                    <a:gd name="connsiteY29" fmla="*/ 155814 h 280355"/>
                    <a:gd name="connsiteX30" fmla="*/ 64740 w 412577"/>
                    <a:gd name="connsiteY30" fmla="*/ 159654 h 280355"/>
                    <a:gd name="connsiteX31" fmla="*/ 61448 w 412577"/>
                    <a:gd name="connsiteY31" fmla="*/ 156362 h 280355"/>
                    <a:gd name="connsiteX32" fmla="*/ 54864 w 412577"/>
                    <a:gd name="connsiteY32" fmla="*/ 154717 h 280355"/>
                    <a:gd name="connsiteX33" fmla="*/ 40051 w 412577"/>
                    <a:gd name="connsiteY33" fmla="*/ 157460 h 280355"/>
                    <a:gd name="connsiteX34" fmla="*/ 33467 w 412577"/>
                    <a:gd name="connsiteY34" fmla="*/ 161849 h 280355"/>
                    <a:gd name="connsiteX35" fmla="*/ 25237 w 412577"/>
                    <a:gd name="connsiteY35" fmla="*/ 163495 h 280355"/>
                    <a:gd name="connsiteX36" fmla="*/ 21946 w 412577"/>
                    <a:gd name="connsiteY36" fmla="*/ 159654 h 280355"/>
                    <a:gd name="connsiteX37" fmla="*/ 23043 w 412577"/>
                    <a:gd name="connsiteY37" fmla="*/ 150876 h 280355"/>
                    <a:gd name="connsiteX38" fmla="*/ 44988 w 412577"/>
                    <a:gd name="connsiteY38" fmla="*/ 146487 h 280355"/>
                    <a:gd name="connsiteX39" fmla="*/ 49378 w 412577"/>
                    <a:gd name="connsiteY39" fmla="*/ 142098 h 280355"/>
                    <a:gd name="connsiteX40" fmla="*/ 58156 w 412577"/>
                    <a:gd name="connsiteY40" fmla="*/ 142098 h 280355"/>
                    <a:gd name="connsiteX41" fmla="*/ 64740 w 412577"/>
                    <a:gd name="connsiteY41" fmla="*/ 136063 h 280355"/>
                    <a:gd name="connsiteX42" fmla="*/ 69129 w 412577"/>
                    <a:gd name="connsiteY42" fmla="*/ 140452 h 280355"/>
                    <a:gd name="connsiteX43" fmla="*/ 75712 w 412577"/>
                    <a:gd name="connsiteY43" fmla="*/ 134965 h 280355"/>
                    <a:gd name="connsiteX44" fmla="*/ 82845 w 412577"/>
                    <a:gd name="connsiteY44" fmla="*/ 137709 h 280355"/>
                    <a:gd name="connsiteX45" fmla="*/ 98207 w 412577"/>
                    <a:gd name="connsiteY45" fmla="*/ 138257 h 280355"/>
                    <a:gd name="connsiteX46" fmla="*/ 104242 w 412577"/>
                    <a:gd name="connsiteY46" fmla="*/ 122347 h 280355"/>
                    <a:gd name="connsiteX47" fmla="*/ 99304 w 412577"/>
                    <a:gd name="connsiteY47" fmla="*/ 123993 h 280355"/>
                    <a:gd name="connsiteX48" fmla="*/ 95463 w 412577"/>
                    <a:gd name="connsiteY48" fmla="*/ 131125 h 280355"/>
                    <a:gd name="connsiteX49" fmla="*/ 90526 w 412577"/>
                    <a:gd name="connsiteY49" fmla="*/ 128930 h 280355"/>
                    <a:gd name="connsiteX50" fmla="*/ 75712 w 412577"/>
                    <a:gd name="connsiteY50" fmla="*/ 126187 h 280355"/>
                    <a:gd name="connsiteX51" fmla="*/ 75712 w 412577"/>
                    <a:gd name="connsiteY51" fmla="*/ 121249 h 280355"/>
                    <a:gd name="connsiteX52" fmla="*/ 80650 w 412577"/>
                    <a:gd name="connsiteY52" fmla="*/ 115214 h 280355"/>
                    <a:gd name="connsiteX53" fmla="*/ 85588 w 412577"/>
                    <a:gd name="connsiteY53" fmla="*/ 113569 h 280355"/>
                    <a:gd name="connsiteX54" fmla="*/ 100950 w 412577"/>
                    <a:gd name="connsiteY54" fmla="*/ 100950 h 280355"/>
                    <a:gd name="connsiteX55" fmla="*/ 100950 w 412577"/>
                    <a:gd name="connsiteY55" fmla="*/ 99304 h 280355"/>
                    <a:gd name="connsiteX56" fmla="*/ 93817 w 412577"/>
                    <a:gd name="connsiteY56" fmla="*/ 94366 h 280355"/>
                    <a:gd name="connsiteX57" fmla="*/ 89977 w 412577"/>
                    <a:gd name="connsiteY57" fmla="*/ 98755 h 280355"/>
                    <a:gd name="connsiteX58" fmla="*/ 85039 w 412577"/>
                    <a:gd name="connsiteY58" fmla="*/ 98755 h 280355"/>
                    <a:gd name="connsiteX59" fmla="*/ 84491 w 412577"/>
                    <a:gd name="connsiteY59" fmla="*/ 94915 h 280355"/>
                    <a:gd name="connsiteX60" fmla="*/ 81747 w 412577"/>
                    <a:gd name="connsiteY60" fmla="*/ 91623 h 280355"/>
                    <a:gd name="connsiteX61" fmla="*/ 81199 w 412577"/>
                    <a:gd name="connsiteY61" fmla="*/ 93269 h 280355"/>
                    <a:gd name="connsiteX62" fmla="*/ 79004 w 412577"/>
                    <a:gd name="connsiteY62" fmla="*/ 87782 h 280355"/>
                    <a:gd name="connsiteX63" fmla="*/ 60899 w 412577"/>
                    <a:gd name="connsiteY63" fmla="*/ 85039 h 280355"/>
                    <a:gd name="connsiteX64" fmla="*/ 55961 w 412577"/>
                    <a:gd name="connsiteY64" fmla="*/ 87782 h 280355"/>
                    <a:gd name="connsiteX65" fmla="*/ 48829 w 412577"/>
                    <a:gd name="connsiteY65" fmla="*/ 96012 h 280355"/>
                    <a:gd name="connsiteX66" fmla="*/ 43343 w 412577"/>
                    <a:gd name="connsiteY66" fmla="*/ 96012 h 280355"/>
                    <a:gd name="connsiteX67" fmla="*/ 32370 w 412577"/>
                    <a:gd name="connsiteY67" fmla="*/ 100950 h 280355"/>
                    <a:gd name="connsiteX68" fmla="*/ 28529 w 412577"/>
                    <a:gd name="connsiteY68" fmla="*/ 101498 h 280355"/>
                    <a:gd name="connsiteX69" fmla="*/ 16459 w 412577"/>
                    <a:gd name="connsiteY69" fmla="*/ 94915 h 280355"/>
                    <a:gd name="connsiteX70" fmla="*/ 0 w 412577"/>
                    <a:gd name="connsiteY70" fmla="*/ 99304 h 280355"/>
                    <a:gd name="connsiteX71" fmla="*/ 5486 w 412577"/>
                    <a:gd name="connsiteY71" fmla="*/ 84491 h 280355"/>
                    <a:gd name="connsiteX72" fmla="*/ 9876 w 412577"/>
                    <a:gd name="connsiteY72" fmla="*/ 87782 h 280355"/>
                    <a:gd name="connsiteX73" fmla="*/ 23592 w 412577"/>
                    <a:gd name="connsiteY73" fmla="*/ 93817 h 280355"/>
                    <a:gd name="connsiteX74" fmla="*/ 29078 w 412577"/>
                    <a:gd name="connsiteY74" fmla="*/ 88880 h 280355"/>
                    <a:gd name="connsiteX75" fmla="*/ 20848 w 412577"/>
                    <a:gd name="connsiteY75" fmla="*/ 86137 h 280355"/>
                    <a:gd name="connsiteX76" fmla="*/ 23592 w 412577"/>
                    <a:gd name="connsiteY76" fmla="*/ 85588 h 280355"/>
                    <a:gd name="connsiteX77" fmla="*/ 24689 w 412577"/>
                    <a:gd name="connsiteY77" fmla="*/ 80101 h 280355"/>
                    <a:gd name="connsiteX78" fmla="*/ 17556 w 412577"/>
                    <a:gd name="connsiteY78" fmla="*/ 76261 h 280355"/>
                    <a:gd name="connsiteX79" fmla="*/ 13716 w 412577"/>
                    <a:gd name="connsiteY79" fmla="*/ 66385 h 280355"/>
                    <a:gd name="connsiteX80" fmla="*/ 29627 w 412577"/>
                    <a:gd name="connsiteY80" fmla="*/ 74615 h 280355"/>
                    <a:gd name="connsiteX81" fmla="*/ 36210 w 412577"/>
                    <a:gd name="connsiteY81" fmla="*/ 82845 h 280355"/>
                    <a:gd name="connsiteX82" fmla="*/ 48280 w 412577"/>
                    <a:gd name="connsiteY82" fmla="*/ 80650 h 280355"/>
                    <a:gd name="connsiteX83" fmla="*/ 42245 w 412577"/>
                    <a:gd name="connsiteY83" fmla="*/ 76810 h 280355"/>
                    <a:gd name="connsiteX84" fmla="*/ 46634 w 412577"/>
                    <a:gd name="connsiteY84" fmla="*/ 74615 h 280355"/>
                    <a:gd name="connsiteX85" fmla="*/ 47183 w 412577"/>
                    <a:gd name="connsiteY85" fmla="*/ 69129 h 280355"/>
                    <a:gd name="connsiteX86" fmla="*/ 34564 w 412577"/>
                    <a:gd name="connsiteY86" fmla="*/ 71323 h 280355"/>
                    <a:gd name="connsiteX87" fmla="*/ 27981 w 412577"/>
                    <a:gd name="connsiteY87" fmla="*/ 63642 h 280355"/>
                    <a:gd name="connsiteX88" fmla="*/ 28529 w 412577"/>
                    <a:gd name="connsiteY88" fmla="*/ 60899 h 280355"/>
                    <a:gd name="connsiteX89" fmla="*/ 35662 w 412577"/>
                    <a:gd name="connsiteY89" fmla="*/ 59802 h 280355"/>
                    <a:gd name="connsiteX90" fmla="*/ 25237 w 412577"/>
                    <a:gd name="connsiteY90" fmla="*/ 44989 h 280355"/>
                    <a:gd name="connsiteX91" fmla="*/ 25786 w 412577"/>
                    <a:gd name="connsiteY91" fmla="*/ 46634 h 280355"/>
                    <a:gd name="connsiteX92" fmla="*/ 35113 w 412577"/>
                    <a:gd name="connsiteY92" fmla="*/ 51023 h 280355"/>
                    <a:gd name="connsiteX93" fmla="*/ 36759 w 412577"/>
                    <a:gd name="connsiteY93" fmla="*/ 48829 h 280355"/>
                    <a:gd name="connsiteX94" fmla="*/ 31821 w 412577"/>
                    <a:gd name="connsiteY94" fmla="*/ 40599 h 280355"/>
                    <a:gd name="connsiteX95" fmla="*/ 39502 w 412577"/>
                    <a:gd name="connsiteY95" fmla="*/ 43891 h 280355"/>
                    <a:gd name="connsiteX96" fmla="*/ 34016 w 412577"/>
                    <a:gd name="connsiteY96" fmla="*/ 35662 h 280355"/>
                    <a:gd name="connsiteX97" fmla="*/ 39502 w 412577"/>
                    <a:gd name="connsiteY97" fmla="*/ 33467 h 280355"/>
                    <a:gd name="connsiteX98" fmla="*/ 52669 w 412577"/>
                    <a:gd name="connsiteY98" fmla="*/ 40051 h 280355"/>
                    <a:gd name="connsiteX99" fmla="*/ 53218 w 412577"/>
                    <a:gd name="connsiteY99" fmla="*/ 50475 h 280355"/>
                    <a:gd name="connsiteX100" fmla="*/ 54864 w 412577"/>
                    <a:gd name="connsiteY100" fmla="*/ 52121 h 280355"/>
                    <a:gd name="connsiteX101" fmla="*/ 59802 w 412577"/>
                    <a:gd name="connsiteY101" fmla="*/ 53218 h 280355"/>
                    <a:gd name="connsiteX102" fmla="*/ 63642 w 412577"/>
                    <a:gd name="connsiteY102" fmla="*/ 47732 h 280355"/>
                    <a:gd name="connsiteX103" fmla="*/ 69129 w 412577"/>
                    <a:gd name="connsiteY103" fmla="*/ 54864 h 280355"/>
                    <a:gd name="connsiteX104" fmla="*/ 71323 w 412577"/>
                    <a:gd name="connsiteY104" fmla="*/ 64191 h 280355"/>
                    <a:gd name="connsiteX105" fmla="*/ 73518 w 412577"/>
                    <a:gd name="connsiteY105" fmla="*/ 56510 h 280355"/>
                    <a:gd name="connsiteX106" fmla="*/ 77358 w 412577"/>
                    <a:gd name="connsiteY106" fmla="*/ 64739 h 280355"/>
                    <a:gd name="connsiteX107" fmla="*/ 81747 w 412577"/>
                    <a:gd name="connsiteY107" fmla="*/ 54864 h 280355"/>
                    <a:gd name="connsiteX108" fmla="*/ 76810 w 412577"/>
                    <a:gd name="connsiteY108" fmla="*/ 45537 h 280355"/>
                    <a:gd name="connsiteX109" fmla="*/ 77358 w 412577"/>
                    <a:gd name="connsiteY109" fmla="*/ 41697 h 280355"/>
                    <a:gd name="connsiteX110" fmla="*/ 59802 w 412577"/>
                    <a:gd name="connsiteY110" fmla="*/ 30724 h 280355"/>
                    <a:gd name="connsiteX111" fmla="*/ 64191 w 412577"/>
                    <a:gd name="connsiteY111" fmla="*/ 23043 h 280355"/>
                    <a:gd name="connsiteX112" fmla="*/ 70226 w 412577"/>
                    <a:gd name="connsiteY112" fmla="*/ 27981 h 280355"/>
                    <a:gd name="connsiteX113" fmla="*/ 74066 w 412577"/>
                    <a:gd name="connsiteY113" fmla="*/ 27981 h 280355"/>
                    <a:gd name="connsiteX114" fmla="*/ 76810 w 412577"/>
                    <a:gd name="connsiteY114" fmla="*/ 26335 h 280355"/>
                    <a:gd name="connsiteX115" fmla="*/ 70226 w 412577"/>
                    <a:gd name="connsiteY115" fmla="*/ 20300 h 280355"/>
                    <a:gd name="connsiteX116" fmla="*/ 68580 w 412577"/>
                    <a:gd name="connsiteY116" fmla="*/ 17008 h 280355"/>
                    <a:gd name="connsiteX117" fmla="*/ 64191 w 412577"/>
                    <a:gd name="connsiteY117" fmla="*/ 17008 h 280355"/>
                    <a:gd name="connsiteX118" fmla="*/ 57607 w 412577"/>
                    <a:gd name="connsiteY118" fmla="*/ 21397 h 280355"/>
                    <a:gd name="connsiteX119" fmla="*/ 52121 w 412577"/>
                    <a:gd name="connsiteY119" fmla="*/ 19202 h 280355"/>
                    <a:gd name="connsiteX120" fmla="*/ 52121 w 412577"/>
                    <a:gd name="connsiteY120" fmla="*/ 17557 h 280355"/>
                    <a:gd name="connsiteX121" fmla="*/ 54315 w 412577"/>
                    <a:gd name="connsiteY121" fmla="*/ 12619 h 280355"/>
                    <a:gd name="connsiteX122" fmla="*/ 53218 w 412577"/>
                    <a:gd name="connsiteY122" fmla="*/ 7132 h 280355"/>
                    <a:gd name="connsiteX123" fmla="*/ 59802 w 412577"/>
                    <a:gd name="connsiteY123" fmla="*/ 8230 h 280355"/>
                    <a:gd name="connsiteX124" fmla="*/ 59253 w 412577"/>
                    <a:gd name="connsiteY124" fmla="*/ 4938 h 280355"/>
                    <a:gd name="connsiteX125" fmla="*/ 65837 w 412577"/>
                    <a:gd name="connsiteY125" fmla="*/ 11521 h 280355"/>
                    <a:gd name="connsiteX126" fmla="*/ 70226 w 412577"/>
                    <a:gd name="connsiteY126" fmla="*/ 9327 h 280355"/>
                    <a:gd name="connsiteX127" fmla="*/ 74615 w 412577"/>
                    <a:gd name="connsiteY127" fmla="*/ 12619 h 280355"/>
                    <a:gd name="connsiteX128" fmla="*/ 77907 w 412577"/>
                    <a:gd name="connsiteY128" fmla="*/ 10973 h 280355"/>
                    <a:gd name="connsiteX129" fmla="*/ 84491 w 412577"/>
                    <a:gd name="connsiteY129" fmla="*/ 23591 h 280355"/>
                    <a:gd name="connsiteX130" fmla="*/ 94915 w 412577"/>
                    <a:gd name="connsiteY130" fmla="*/ 25786 h 280355"/>
                    <a:gd name="connsiteX131" fmla="*/ 105888 w 412577"/>
                    <a:gd name="connsiteY131" fmla="*/ 41697 h 280355"/>
                    <a:gd name="connsiteX132" fmla="*/ 113020 w 412577"/>
                    <a:gd name="connsiteY132" fmla="*/ 43891 h 280355"/>
                    <a:gd name="connsiteX133" fmla="*/ 117958 w 412577"/>
                    <a:gd name="connsiteY133" fmla="*/ 48829 h 280355"/>
                    <a:gd name="connsiteX134" fmla="*/ 111374 w 412577"/>
                    <a:gd name="connsiteY134" fmla="*/ 53767 h 280355"/>
                    <a:gd name="connsiteX135" fmla="*/ 119055 w 412577"/>
                    <a:gd name="connsiteY135" fmla="*/ 59253 h 280355"/>
                    <a:gd name="connsiteX136" fmla="*/ 120152 w 412577"/>
                    <a:gd name="connsiteY136" fmla="*/ 69129 h 280355"/>
                    <a:gd name="connsiteX137" fmla="*/ 116860 w 412577"/>
                    <a:gd name="connsiteY137" fmla="*/ 71323 h 280355"/>
                    <a:gd name="connsiteX138" fmla="*/ 115763 w 412577"/>
                    <a:gd name="connsiteY138" fmla="*/ 75164 h 280355"/>
                    <a:gd name="connsiteX139" fmla="*/ 113020 w 412577"/>
                    <a:gd name="connsiteY139" fmla="*/ 78455 h 280355"/>
                    <a:gd name="connsiteX140" fmla="*/ 104242 w 412577"/>
                    <a:gd name="connsiteY140" fmla="*/ 73518 h 280355"/>
                    <a:gd name="connsiteX141" fmla="*/ 106985 w 412577"/>
                    <a:gd name="connsiteY141" fmla="*/ 81199 h 280355"/>
                    <a:gd name="connsiteX142" fmla="*/ 115763 w 412577"/>
                    <a:gd name="connsiteY142" fmla="*/ 85039 h 280355"/>
                    <a:gd name="connsiteX143" fmla="*/ 115214 w 412577"/>
                    <a:gd name="connsiteY143" fmla="*/ 92171 h 280355"/>
                    <a:gd name="connsiteX144" fmla="*/ 119055 w 412577"/>
                    <a:gd name="connsiteY144" fmla="*/ 87234 h 280355"/>
                    <a:gd name="connsiteX145" fmla="*/ 121249 w 412577"/>
                    <a:gd name="connsiteY145" fmla="*/ 96561 h 280355"/>
                    <a:gd name="connsiteX146" fmla="*/ 117409 w 412577"/>
                    <a:gd name="connsiteY146" fmla="*/ 100401 h 280355"/>
                    <a:gd name="connsiteX147" fmla="*/ 123444 w 412577"/>
                    <a:gd name="connsiteY147" fmla="*/ 103144 h 280355"/>
                    <a:gd name="connsiteX148" fmla="*/ 123993 w 412577"/>
                    <a:gd name="connsiteY148" fmla="*/ 120152 h 280355"/>
                    <a:gd name="connsiteX149" fmla="*/ 129479 w 412577"/>
                    <a:gd name="connsiteY149" fmla="*/ 111374 h 280355"/>
                    <a:gd name="connsiteX150" fmla="*/ 129479 w 412577"/>
                    <a:gd name="connsiteY150" fmla="*/ 104790 h 280355"/>
                    <a:gd name="connsiteX151" fmla="*/ 138257 w 412577"/>
                    <a:gd name="connsiteY151" fmla="*/ 103693 h 280355"/>
                    <a:gd name="connsiteX152" fmla="*/ 137709 w 412577"/>
                    <a:gd name="connsiteY152" fmla="*/ 88331 h 280355"/>
                    <a:gd name="connsiteX153" fmla="*/ 141000 w 412577"/>
                    <a:gd name="connsiteY153" fmla="*/ 80650 h 280355"/>
                    <a:gd name="connsiteX154" fmla="*/ 146487 w 412577"/>
                    <a:gd name="connsiteY154" fmla="*/ 81199 h 280355"/>
                    <a:gd name="connsiteX155" fmla="*/ 151973 w 412577"/>
                    <a:gd name="connsiteY155" fmla="*/ 94915 h 280355"/>
                    <a:gd name="connsiteX156" fmla="*/ 156362 w 412577"/>
                    <a:gd name="connsiteY156" fmla="*/ 88331 h 280355"/>
                    <a:gd name="connsiteX157" fmla="*/ 160203 w 412577"/>
                    <a:gd name="connsiteY157" fmla="*/ 66385 h 280355"/>
                    <a:gd name="connsiteX158" fmla="*/ 155814 w 412577"/>
                    <a:gd name="connsiteY158" fmla="*/ 41148 h 280355"/>
                    <a:gd name="connsiteX159" fmla="*/ 160203 w 412577"/>
                    <a:gd name="connsiteY159" fmla="*/ 38953 h 280355"/>
                    <a:gd name="connsiteX160" fmla="*/ 164043 w 412577"/>
                    <a:gd name="connsiteY160" fmla="*/ 40599 h 280355"/>
                    <a:gd name="connsiteX161" fmla="*/ 181600 w 412577"/>
                    <a:gd name="connsiteY161" fmla="*/ 65837 h 280355"/>
                    <a:gd name="connsiteX162" fmla="*/ 183794 w 412577"/>
                    <a:gd name="connsiteY162" fmla="*/ 74066 h 280355"/>
                    <a:gd name="connsiteX163" fmla="*/ 188732 w 412577"/>
                    <a:gd name="connsiteY163" fmla="*/ 74066 h 280355"/>
                    <a:gd name="connsiteX164" fmla="*/ 192024 w 412577"/>
                    <a:gd name="connsiteY164" fmla="*/ 71323 h 280355"/>
                    <a:gd name="connsiteX165" fmla="*/ 193670 w 412577"/>
                    <a:gd name="connsiteY165" fmla="*/ 52669 h 280355"/>
                    <a:gd name="connsiteX166" fmla="*/ 192024 w 412577"/>
                    <a:gd name="connsiteY166" fmla="*/ 46086 h 280355"/>
                    <a:gd name="connsiteX167" fmla="*/ 199705 w 412577"/>
                    <a:gd name="connsiteY167" fmla="*/ 42794 h 280355"/>
                    <a:gd name="connsiteX168" fmla="*/ 204094 w 412577"/>
                    <a:gd name="connsiteY168" fmla="*/ 44989 h 280355"/>
                    <a:gd name="connsiteX169" fmla="*/ 207935 w 412577"/>
                    <a:gd name="connsiteY169" fmla="*/ 37307 h 280355"/>
                    <a:gd name="connsiteX170" fmla="*/ 217810 w 412577"/>
                    <a:gd name="connsiteY170" fmla="*/ 31821 h 280355"/>
                    <a:gd name="connsiteX171" fmla="*/ 217810 w 412577"/>
                    <a:gd name="connsiteY171" fmla="*/ 38405 h 280355"/>
                    <a:gd name="connsiteX172" fmla="*/ 219456 w 412577"/>
                    <a:gd name="connsiteY172" fmla="*/ 37856 h 280355"/>
                    <a:gd name="connsiteX173" fmla="*/ 221102 w 412577"/>
                    <a:gd name="connsiteY173" fmla="*/ 42794 h 280355"/>
                    <a:gd name="connsiteX174" fmla="*/ 225491 w 412577"/>
                    <a:gd name="connsiteY174" fmla="*/ 43891 h 280355"/>
                    <a:gd name="connsiteX175" fmla="*/ 227686 w 412577"/>
                    <a:gd name="connsiteY175" fmla="*/ 53218 h 280355"/>
                    <a:gd name="connsiteX176" fmla="*/ 233172 w 412577"/>
                    <a:gd name="connsiteY176" fmla="*/ 58705 h 280355"/>
                    <a:gd name="connsiteX177" fmla="*/ 240853 w 412577"/>
                    <a:gd name="connsiteY177" fmla="*/ 81199 h 280355"/>
                    <a:gd name="connsiteX178" fmla="*/ 242499 w 412577"/>
                    <a:gd name="connsiteY178" fmla="*/ 61996 h 280355"/>
                    <a:gd name="connsiteX179" fmla="*/ 235367 w 412577"/>
                    <a:gd name="connsiteY179" fmla="*/ 41697 h 280355"/>
                    <a:gd name="connsiteX180" fmla="*/ 235367 w 412577"/>
                    <a:gd name="connsiteY180" fmla="*/ 35113 h 280355"/>
                    <a:gd name="connsiteX181" fmla="*/ 238658 w 412577"/>
                    <a:gd name="connsiteY181" fmla="*/ 33467 h 280355"/>
                    <a:gd name="connsiteX182" fmla="*/ 245791 w 412577"/>
                    <a:gd name="connsiteY182" fmla="*/ 35113 h 280355"/>
                    <a:gd name="connsiteX183" fmla="*/ 252923 w 412577"/>
                    <a:gd name="connsiteY183" fmla="*/ 41148 h 280355"/>
                    <a:gd name="connsiteX184" fmla="*/ 258409 w 412577"/>
                    <a:gd name="connsiteY184" fmla="*/ 49926 h 280355"/>
                    <a:gd name="connsiteX185" fmla="*/ 264445 w 412577"/>
                    <a:gd name="connsiteY185" fmla="*/ 48829 h 280355"/>
                    <a:gd name="connsiteX186" fmla="*/ 268285 w 412577"/>
                    <a:gd name="connsiteY186" fmla="*/ 44989 h 280355"/>
                    <a:gd name="connsiteX187" fmla="*/ 271577 w 412577"/>
                    <a:gd name="connsiteY187" fmla="*/ 38405 h 280355"/>
                    <a:gd name="connsiteX188" fmla="*/ 271577 w 412577"/>
                    <a:gd name="connsiteY188" fmla="*/ 34016 h 280355"/>
                    <a:gd name="connsiteX189" fmla="*/ 280904 w 412577"/>
                    <a:gd name="connsiteY189" fmla="*/ 32370 h 280355"/>
                    <a:gd name="connsiteX190" fmla="*/ 282001 w 412577"/>
                    <a:gd name="connsiteY190" fmla="*/ 38953 h 280355"/>
                    <a:gd name="connsiteX191" fmla="*/ 289682 w 412577"/>
                    <a:gd name="connsiteY191" fmla="*/ 39502 h 280355"/>
                    <a:gd name="connsiteX192" fmla="*/ 296266 w 412577"/>
                    <a:gd name="connsiteY192" fmla="*/ 36210 h 280355"/>
                    <a:gd name="connsiteX193" fmla="*/ 303398 w 412577"/>
                    <a:gd name="connsiteY193" fmla="*/ 35113 h 280355"/>
                    <a:gd name="connsiteX194" fmla="*/ 301752 w 412577"/>
                    <a:gd name="connsiteY194" fmla="*/ 11521 h 280355"/>
                    <a:gd name="connsiteX195" fmla="*/ 299557 w 412577"/>
                    <a:gd name="connsiteY195" fmla="*/ 5486 h 280355"/>
                    <a:gd name="connsiteX196" fmla="*/ 306690 w 412577"/>
                    <a:gd name="connsiteY196" fmla="*/ 6035 h 280355"/>
                    <a:gd name="connsiteX197" fmla="*/ 312176 w 412577"/>
                    <a:gd name="connsiteY197" fmla="*/ 0 h 280355"/>
                    <a:gd name="connsiteX198" fmla="*/ 317663 w 412577"/>
                    <a:gd name="connsiteY198" fmla="*/ 1097 h 280355"/>
                    <a:gd name="connsiteX199" fmla="*/ 320406 w 412577"/>
                    <a:gd name="connsiteY199" fmla="*/ 9327 h 280355"/>
                    <a:gd name="connsiteX200" fmla="*/ 328635 w 412577"/>
                    <a:gd name="connsiteY200" fmla="*/ 13716 h 280355"/>
                    <a:gd name="connsiteX201" fmla="*/ 329733 w 412577"/>
                    <a:gd name="connsiteY201" fmla="*/ 21946 h 280355"/>
                    <a:gd name="connsiteX202" fmla="*/ 328087 w 412577"/>
                    <a:gd name="connsiteY202" fmla="*/ 25786 h 280355"/>
                    <a:gd name="connsiteX203" fmla="*/ 339060 w 412577"/>
                    <a:gd name="connsiteY203" fmla="*/ 34016 h 280355"/>
                    <a:gd name="connsiteX204" fmla="*/ 342900 w 412577"/>
                    <a:gd name="connsiteY204" fmla="*/ 34564 h 280355"/>
                    <a:gd name="connsiteX205" fmla="*/ 344546 w 412577"/>
                    <a:gd name="connsiteY205" fmla="*/ 30724 h 280355"/>
                    <a:gd name="connsiteX206" fmla="*/ 343449 w 412577"/>
                    <a:gd name="connsiteY206" fmla="*/ 25786 h 280355"/>
                    <a:gd name="connsiteX207" fmla="*/ 354421 w 412577"/>
                    <a:gd name="connsiteY207" fmla="*/ 25237 h 280355"/>
                    <a:gd name="connsiteX208" fmla="*/ 358262 w 412577"/>
                    <a:gd name="connsiteY208" fmla="*/ 17008 h 280355"/>
                    <a:gd name="connsiteX209" fmla="*/ 362651 w 412577"/>
                    <a:gd name="connsiteY209" fmla="*/ 14265 h 280355"/>
                    <a:gd name="connsiteX210" fmla="*/ 371429 w 412577"/>
                    <a:gd name="connsiteY210" fmla="*/ 13716 h 280355"/>
                    <a:gd name="connsiteX211" fmla="*/ 374172 w 412577"/>
                    <a:gd name="connsiteY211" fmla="*/ 17008 h 280355"/>
                    <a:gd name="connsiteX212" fmla="*/ 364297 w 412577"/>
                    <a:gd name="connsiteY212" fmla="*/ 21397 h 280355"/>
                    <a:gd name="connsiteX213" fmla="*/ 352227 w 412577"/>
                    <a:gd name="connsiteY213" fmla="*/ 41148 h 280355"/>
                    <a:gd name="connsiteX214" fmla="*/ 354421 w 412577"/>
                    <a:gd name="connsiteY214" fmla="*/ 46634 h 280355"/>
                    <a:gd name="connsiteX215" fmla="*/ 358262 w 412577"/>
                    <a:gd name="connsiteY215" fmla="*/ 49926 h 280355"/>
                    <a:gd name="connsiteX216" fmla="*/ 368137 w 412577"/>
                    <a:gd name="connsiteY216" fmla="*/ 43891 h 280355"/>
                    <a:gd name="connsiteX217" fmla="*/ 370332 w 412577"/>
                    <a:gd name="connsiteY217" fmla="*/ 57059 h 280355"/>
                    <a:gd name="connsiteX218" fmla="*/ 367040 w 412577"/>
                    <a:gd name="connsiteY218" fmla="*/ 68580 h 280355"/>
                    <a:gd name="connsiteX219" fmla="*/ 367040 w 412577"/>
                    <a:gd name="connsiteY219" fmla="*/ 75712 h 280355"/>
                    <a:gd name="connsiteX220" fmla="*/ 383499 w 412577"/>
                    <a:gd name="connsiteY220" fmla="*/ 73518 h 280355"/>
                    <a:gd name="connsiteX221" fmla="*/ 382402 w 412577"/>
                    <a:gd name="connsiteY221" fmla="*/ 79553 h 280355"/>
                    <a:gd name="connsiteX222" fmla="*/ 383499 w 412577"/>
                    <a:gd name="connsiteY222" fmla="*/ 85039 h 280355"/>
                    <a:gd name="connsiteX223" fmla="*/ 393924 w 412577"/>
                    <a:gd name="connsiteY223" fmla="*/ 88880 h 280355"/>
                    <a:gd name="connsiteX224" fmla="*/ 395569 w 412577"/>
                    <a:gd name="connsiteY224" fmla="*/ 79004 h 280355"/>
                    <a:gd name="connsiteX225" fmla="*/ 398861 w 412577"/>
                    <a:gd name="connsiteY225" fmla="*/ 82845 h 280355"/>
                    <a:gd name="connsiteX226" fmla="*/ 405994 w 412577"/>
                    <a:gd name="connsiteY226" fmla="*/ 100950 h 280355"/>
                    <a:gd name="connsiteX227" fmla="*/ 404896 w 412577"/>
                    <a:gd name="connsiteY227" fmla="*/ 109728 h 280355"/>
                    <a:gd name="connsiteX228" fmla="*/ 401056 w 412577"/>
                    <a:gd name="connsiteY228" fmla="*/ 114117 h 280355"/>
                    <a:gd name="connsiteX229" fmla="*/ 405445 w 412577"/>
                    <a:gd name="connsiteY229" fmla="*/ 123993 h 280355"/>
                    <a:gd name="connsiteX230" fmla="*/ 410383 w 412577"/>
                    <a:gd name="connsiteY230" fmla="*/ 123444 h 280355"/>
                    <a:gd name="connsiteX231" fmla="*/ 412577 w 412577"/>
                    <a:gd name="connsiteY231" fmla="*/ 119603 h 280355"/>
                    <a:gd name="connsiteX232" fmla="*/ 412577 w 412577"/>
                    <a:gd name="connsiteY232" fmla="*/ 130028 h 280355"/>
                    <a:gd name="connsiteX233" fmla="*/ 410383 w 412577"/>
                    <a:gd name="connsiteY233" fmla="*/ 138806 h 280355"/>
                    <a:gd name="connsiteX234" fmla="*/ 404348 w 412577"/>
                    <a:gd name="connsiteY234" fmla="*/ 141549 h 280355"/>
                    <a:gd name="connsiteX235" fmla="*/ 404348 w 412577"/>
                    <a:gd name="connsiteY235" fmla="*/ 149230 h 280355"/>
                    <a:gd name="connsiteX236" fmla="*/ 401604 w 412577"/>
                    <a:gd name="connsiteY236" fmla="*/ 150876 h 280355"/>
                    <a:gd name="connsiteX237" fmla="*/ 397215 w 412577"/>
                    <a:gd name="connsiteY237" fmla="*/ 158008 h 280355"/>
                    <a:gd name="connsiteX238" fmla="*/ 382951 w 412577"/>
                    <a:gd name="connsiteY238" fmla="*/ 161300 h 280355"/>
                    <a:gd name="connsiteX239" fmla="*/ 382951 w 412577"/>
                    <a:gd name="connsiteY239" fmla="*/ 167335 h 280355"/>
                    <a:gd name="connsiteX240" fmla="*/ 376916 w 412577"/>
                    <a:gd name="connsiteY240" fmla="*/ 166787 h 280355"/>
                    <a:gd name="connsiteX241" fmla="*/ 378562 w 412577"/>
                    <a:gd name="connsiteY241" fmla="*/ 169530 h 280355"/>
                    <a:gd name="connsiteX242" fmla="*/ 374721 w 412577"/>
                    <a:gd name="connsiteY242" fmla="*/ 173370 h 280355"/>
                    <a:gd name="connsiteX243" fmla="*/ 379659 w 412577"/>
                    <a:gd name="connsiteY243" fmla="*/ 174467 h 280355"/>
                    <a:gd name="connsiteX244" fmla="*/ 386791 w 412577"/>
                    <a:gd name="connsiteY244" fmla="*/ 169530 h 280355"/>
                    <a:gd name="connsiteX245" fmla="*/ 373624 w 412577"/>
                    <a:gd name="connsiteY245" fmla="*/ 194219 h 280355"/>
                    <a:gd name="connsiteX246" fmla="*/ 364297 w 412577"/>
                    <a:gd name="connsiteY246" fmla="*/ 197510 h 280355"/>
                    <a:gd name="connsiteX247" fmla="*/ 361554 w 412577"/>
                    <a:gd name="connsiteY247" fmla="*/ 205740 h 280355"/>
                    <a:gd name="connsiteX248" fmla="*/ 353324 w 412577"/>
                    <a:gd name="connsiteY248" fmla="*/ 200254 h 280355"/>
                    <a:gd name="connsiteX249" fmla="*/ 353324 w 412577"/>
                    <a:gd name="connsiteY249" fmla="*/ 195865 h 280355"/>
                    <a:gd name="connsiteX250" fmla="*/ 348935 w 412577"/>
                    <a:gd name="connsiteY250" fmla="*/ 190927 h 280355"/>
                    <a:gd name="connsiteX251" fmla="*/ 344546 w 412577"/>
                    <a:gd name="connsiteY251" fmla="*/ 190378 h 280355"/>
                    <a:gd name="connsiteX252" fmla="*/ 343449 w 412577"/>
                    <a:gd name="connsiteY252" fmla="*/ 199705 h 280355"/>
                    <a:gd name="connsiteX253" fmla="*/ 299009 w 412577"/>
                    <a:gd name="connsiteY253" fmla="*/ 237013 h 280355"/>
                    <a:gd name="connsiteX254" fmla="*/ 289682 w 412577"/>
                    <a:gd name="connsiteY254" fmla="*/ 235367 h 280355"/>
                    <a:gd name="connsiteX255" fmla="*/ 282550 w 412577"/>
                    <a:gd name="connsiteY255" fmla="*/ 238658 h 280355"/>
                    <a:gd name="connsiteX256" fmla="*/ 280904 w 412577"/>
                    <a:gd name="connsiteY256" fmla="*/ 234818 h 280355"/>
                    <a:gd name="connsiteX257" fmla="*/ 276515 w 412577"/>
                    <a:gd name="connsiteY257" fmla="*/ 237561 h 280355"/>
                    <a:gd name="connsiteX258" fmla="*/ 273771 w 412577"/>
                    <a:gd name="connsiteY258" fmla="*/ 240853 h 280355"/>
                    <a:gd name="connsiteX259" fmla="*/ 273771 w 412577"/>
                    <a:gd name="connsiteY259" fmla="*/ 246888 h 280355"/>
                    <a:gd name="connsiteX260" fmla="*/ 263347 w 412577"/>
                    <a:gd name="connsiteY260" fmla="*/ 250180 h 280355"/>
                    <a:gd name="connsiteX261" fmla="*/ 243596 w 412577"/>
                    <a:gd name="connsiteY261" fmla="*/ 270479 h 280355"/>
                    <a:gd name="connsiteX262" fmla="*/ 227137 w 412577"/>
                    <a:gd name="connsiteY262" fmla="*/ 275966 h 280355"/>
                    <a:gd name="connsiteX263" fmla="*/ 221651 w 412577"/>
                    <a:gd name="connsiteY263" fmla="*/ 280355 h 280355"/>
                    <a:gd name="connsiteX264" fmla="*/ 211775 w 412577"/>
                    <a:gd name="connsiteY264" fmla="*/ 276515 h 280355"/>
                    <a:gd name="connsiteX265" fmla="*/ 206837 w 412577"/>
                    <a:gd name="connsiteY265" fmla="*/ 279806 h 280355"/>
                    <a:gd name="connsiteX266" fmla="*/ 198608 w 412577"/>
                    <a:gd name="connsiteY266" fmla="*/ 273771 h 280355"/>
                    <a:gd name="connsiteX267" fmla="*/ 190927 w 412577"/>
                    <a:gd name="connsiteY267" fmla="*/ 272674 h 280355"/>
                    <a:gd name="connsiteX268" fmla="*/ 178308 w 412577"/>
                    <a:gd name="connsiteY268" fmla="*/ 266090 h 280355"/>
                    <a:gd name="connsiteX269" fmla="*/ 171176 w 412577"/>
                    <a:gd name="connsiteY269" fmla="*/ 267188 h 2803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</a:cxnLst>
                  <a:rect l="l" t="t" r="r" b="b"/>
                  <a:pathLst>
                    <a:path w="412577" h="280355">
                      <a:moveTo>
                        <a:pt x="171176" y="267188"/>
                      </a:moveTo>
                      <a:lnTo>
                        <a:pt x="169530" y="267736"/>
                      </a:lnTo>
                      <a:lnTo>
                        <a:pt x="164043" y="263896"/>
                      </a:lnTo>
                      <a:lnTo>
                        <a:pt x="158008" y="261701"/>
                      </a:lnTo>
                      <a:lnTo>
                        <a:pt x="151425" y="254020"/>
                      </a:lnTo>
                      <a:lnTo>
                        <a:pt x="124541" y="239207"/>
                      </a:lnTo>
                      <a:lnTo>
                        <a:pt x="115763" y="243047"/>
                      </a:lnTo>
                      <a:lnTo>
                        <a:pt x="103144" y="239207"/>
                      </a:lnTo>
                      <a:lnTo>
                        <a:pt x="99304" y="241402"/>
                      </a:lnTo>
                      <a:lnTo>
                        <a:pt x="80650" y="240853"/>
                      </a:lnTo>
                      <a:lnTo>
                        <a:pt x="75712" y="244693"/>
                      </a:lnTo>
                      <a:lnTo>
                        <a:pt x="69677" y="243596"/>
                      </a:lnTo>
                      <a:lnTo>
                        <a:pt x="70226" y="231526"/>
                      </a:lnTo>
                      <a:lnTo>
                        <a:pt x="67483" y="222199"/>
                      </a:lnTo>
                      <a:lnTo>
                        <a:pt x="77358" y="228783"/>
                      </a:lnTo>
                      <a:lnTo>
                        <a:pt x="81199" y="223297"/>
                      </a:lnTo>
                      <a:lnTo>
                        <a:pt x="102596" y="211775"/>
                      </a:lnTo>
                      <a:lnTo>
                        <a:pt x="102596" y="198608"/>
                      </a:lnTo>
                      <a:lnTo>
                        <a:pt x="89428" y="201351"/>
                      </a:lnTo>
                      <a:lnTo>
                        <a:pt x="96012" y="194767"/>
                      </a:lnTo>
                      <a:lnTo>
                        <a:pt x="97658" y="190927"/>
                      </a:lnTo>
                      <a:lnTo>
                        <a:pt x="96561" y="185440"/>
                      </a:lnTo>
                      <a:lnTo>
                        <a:pt x="102596" y="178308"/>
                      </a:lnTo>
                      <a:lnTo>
                        <a:pt x="95463" y="178857"/>
                      </a:lnTo>
                      <a:lnTo>
                        <a:pt x="91074" y="185989"/>
                      </a:lnTo>
                      <a:lnTo>
                        <a:pt x="87782" y="182697"/>
                      </a:lnTo>
                      <a:lnTo>
                        <a:pt x="86136" y="178308"/>
                      </a:lnTo>
                      <a:lnTo>
                        <a:pt x="82845" y="178308"/>
                      </a:lnTo>
                      <a:lnTo>
                        <a:pt x="79004" y="156911"/>
                      </a:lnTo>
                      <a:lnTo>
                        <a:pt x="73518" y="155814"/>
                      </a:lnTo>
                      <a:lnTo>
                        <a:pt x="64740" y="159654"/>
                      </a:lnTo>
                      <a:lnTo>
                        <a:pt x="61448" y="156362"/>
                      </a:lnTo>
                      <a:lnTo>
                        <a:pt x="54864" y="154717"/>
                      </a:lnTo>
                      <a:lnTo>
                        <a:pt x="40051" y="157460"/>
                      </a:lnTo>
                      <a:lnTo>
                        <a:pt x="33467" y="161849"/>
                      </a:lnTo>
                      <a:lnTo>
                        <a:pt x="25237" y="163495"/>
                      </a:lnTo>
                      <a:lnTo>
                        <a:pt x="21946" y="159654"/>
                      </a:lnTo>
                      <a:lnTo>
                        <a:pt x="23043" y="150876"/>
                      </a:lnTo>
                      <a:lnTo>
                        <a:pt x="44988" y="146487"/>
                      </a:lnTo>
                      <a:lnTo>
                        <a:pt x="49378" y="142098"/>
                      </a:lnTo>
                      <a:lnTo>
                        <a:pt x="58156" y="142098"/>
                      </a:lnTo>
                      <a:lnTo>
                        <a:pt x="64740" y="136063"/>
                      </a:lnTo>
                      <a:lnTo>
                        <a:pt x="69129" y="140452"/>
                      </a:lnTo>
                      <a:lnTo>
                        <a:pt x="75712" y="134965"/>
                      </a:lnTo>
                      <a:lnTo>
                        <a:pt x="82845" y="137709"/>
                      </a:lnTo>
                      <a:lnTo>
                        <a:pt x="98207" y="138257"/>
                      </a:lnTo>
                      <a:lnTo>
                        <a:pt x="104242" y="122347"/>
                      </a:lnTo>
                      <a:lnTo>
                        <a:pt x="99304" y="123993"/>
                      </a:lnTo>
                      <a:lnTo>
                        <a:pt x="95463" y="131125"/>
                      </a:lnTo>
                      <a:lnTo>
                        <a:pt x="90526" y="128930"/>
                      </a:lnTo>
                      <a:lnTo>
                        <a:pt x="75712" y="126187"/>
                      </a:lnTo>
                      <a:lnTo>
                        <a:pt x="75712" y="121249"/>
                      </a:lnTo>
                      <a:lnTo>
                        <a:pt x="80650" y="115214"/>
                      </a:lnTo>
                      <a:lnTo>
                        <a:pt x="85588" y="113569"/>
                      </a:lnTo>
                      <a:lnTo>
                        <a:pt x="100950" y="100950"/>
                      </a:lnTo>
                      <a:lnTo>
                        <a:pt x="100950" y="99304"/>
                      </a:lnTo>
                      <a:lnTo>
                        <a:pt x="93817" y="94366"/>
                      </a:lnTo>
                      <a:lnTo>
                        <a:pt x="89977" y="98755"/>
                      </a:lnTo>
                      <a:lnTo>
                        <a:pt x="85039" y="98755"/>
                      </a:lnTo>
                      <a:lnTo>
                        <a:pt x="84491" y="94915"/>
                      </a:lnTo>
                      <a:lnTo>
                        <a:pt x="81747" y="91623"/>
                      </a:lnTo>
                      <a:lnTo>
                        <a:pt x="81199" y="93269"/>
                      </a:lnTo>
                      <a:lnTo>
                        <a:pt x="79004" y="87782"/>
                      </a:lnTo>
                      <a:lnTo>
                        <a:pt x="60899" y="85039"/>
                      </a:lnTo>
                      <a:lnTo>
                        <a:pt x="55961" y="87782"/>
                      </a:lnTo>
                      <a:lnTo>
                        <a:pt x="48829" y="96012"/>
                      </a:lnTo>
                      <a:lnTo>
                        <a:pt x="43343" y="96012"/>
                      </a:lnTo>
                      <a:lnTo>
                        <a:pt x="32370" y="100950"/>
                      </a:lnTo>
                      <a:lnTo>
                        <a:pt x="28529" y="101498"/>
                      </a:lnTo>
                      <a:lnTo>
                        <a:pt x="16459" y="94915"/>
                      </a:lnTo>
                      <a:lnTo>
                        <a:pt x="0" y="99304"/>
                      </a:lnTo>
                      <a:lnTo>
                        <a:pt x="5486" y="84491"/>
                      </a:lnTo>
                      <a:lnTo>
                        <a:pt x="9876" y="87782"/>
                      </a:lnTo>
                      <a:lnTo>
                        <a:pt x="23592" y="93817"/>
                      </a:lnTo>
                      <a:lnTo>
                        <a:pt x="29078" y="88880"/>
                      </a:lnTo>
                      <a:lnTo>
                        <a:pt x="20848" y="86137"/>
                      </a:lnTo>
                      <a:lnTo>
                        <a:pt x="23592" y="85588"/>
                      </a:lnTo>
                      <a:lnTo>
                        <a:pt x="24689" y="80101"/>
                      </a:lnTo>
                      <a:lnTo>
                        <a:pt x="17556" y="76261"/>
                      </a:lnTo>
                      <a:lnTo>
                        <a:pt x="13716" y="66385"/>
                      </a:lnTo>
                      <a:lnTo>
                        <a:pt x="29627" y="74615"/>
                      </a:lnTo>
                      <a:lnTo>
                        <a:pt x="36210" y="82845"/>
                      </a:lnTo>
                      <a:lnTo>
                        <a:pt x="48280" y="80650"/>
                      </a:lnTo>
                      <a:lnTo>
                        <a:pt x="42245" y="76810"/>
                      </a:lnTo>
                      <a:lnTo>
                        <a:pt x="46634" y="74615"/>
                      </a:lnTo>
                      <a:lnTo>
                        <a:pt x="47183" y="69129"/>
                      </a:lnTo>
                      <a:lnTo>
                        <a:pt x="34564" y="71323"/>
                      </a:lnTo>
                      <a:lnTo>
                        <a:pt x="27981" y="63642"/>
                      </a:lnTo>
                      <a:lnTo>
                        <a:pt x="28529" y="60899"/>
                      </a:lnTo>
                      <a:lnTo>
                        <a:pt x="35662" y="59802"/>
                      </a:lnTo>
                      <a:lnTo>
                        <a:pt x="25237" y="44989"/>
                      </a:lnTo>
                      <a:lnTo>
                        <a:pt x="25786" y="46634"/>
                      </a:lnTo>
                      <a:lnTo>
                        <a:pt x="35113" y="51023"/>
                      </a:lnTo>
                      <a:lnTo>
                        <a:pt x="36759" y="48829"/>
                      </a:lnTo>
                      <a:lnTo>
                        <a:pt x="31821" y="40599"/>
                      </a:lnTo>
                      <a:lnTo>
                        <a:pt x="39502" y="43891"/>
                      </a:lnTo>
                      <a:lnTo>
                        <a:pt x="34016" y="35662"/>
                      </a:lnTo>
                      <a:lnTo>
                        <a:pt x="39502" y="33467"/>
                      </a:lnTo>
                      <a:lnTo>
                        <a:pt x="52669" y="40051"/>
                      </a:lnTo>
                      <a:lnTo>
                        <a:pt x="53218" y="50475"/>
                      </a:lnTo>
                      <a:lnTo>
                        <a:pt x="54864" y="52121"/>
                      </a:lnTo>
                      <a:lnTo>
                        <a:pt x="59802" y="53218"/>
                      </a:lnTo>
                      <a:lnTo>
                        <a:pt x="63642" y="47732"/>
                      </a:lnTo>
                      <a:lnTo>
                        <a:pt x="69129" y="54864"/>
                      </a:lnTo>
                      <a:lnTo>
                        <a:pt x="71323" y="64191"/>
                      </a:lnTo>
                      <a:lnTo>
                        <a:pt x="73518" y="56510"/>
                      </a:lnTo>
                      <a:lnTo>
                        <a:pt x="77358" y="64739"/>
                      </a:lnTo>
                      <a:lnTo>
                        <a:pt x="81747" y="54864"/>
                      </a:lnTo>
                      <a:lnTo>
                        <a:pt x="76810" y="45537"/>
                      </a:lnTo>
                      <a:lnTo>
                        <a:pt x="77358" y="41697"/>
                      </a:lnTo>
                      <a:lnTo>
                        <a:pt x="59802" y="30724"/>
                      </a:lnTo>
                      <a:lnTo>
                        <a:pt x="64191" y="23043"/>
                      </a:lnTo>
                      <a:lnTo>
                        <a:pt x="70226" y="27981"/>
                      </a:lnTo>
                      <a:lnTo>
                        <a:pt x="74066" y="27981"/>
                      </a:lnTo>
                      <a:lnTo>
                        <a:pt x="76810" y="26335"/>
                      </a:lnTo>
                      <a:lnTo>
                        <a:pt x="70226" y="20300"/>
                      </a:lnTo>
                      <a:lnTo>
                        <a:pt x="68580" y="17008"/>
                      </a:lnTo>
                      <a:lnTo>
                        <a:pt x="64191" y="17008"/>
                      </a:lnTo>
                      <a:lnTo>
                        <a:pt x="57607" y="21397"/>
                      </a:lnTo>
                      <a:lnTo>
                        <a:pt x="52121" y="19202"/>
                      </a:lnTo>
                      <a:lnTo>
                        <a:pt x="52121" y="17557"/>
                      </a:lnTo>
                      <a:lnTo>
                        <a:pt x="54315" y="12619"/>
                      </a:lnTo>
                      <a:lnTo>
                        <a:pt x="53218" y="7132"/>
                      </a:lnTo>
                      <a:lnTo>
                        <a:pt x="59802" y="8230"/>
                      </a:lnTo>
                      <a:lnTo>
                        <a:pt x="59253" y="4938"/>
                      </a:lnTo>
                      <a:lnTo>
                        <a:pt x="65837" y="11521"/>
                      </a:lnTo>
                      <a:lnTo>
                        <a:pt x="70226" y="9327"/>
                      </a:lnTo>
                      <a:lnTo>
                        <a:pt x="74615" y="12619"/>
                      </a:lnTo>
                      <a:lnTo>
                        <a:pt x="77907" y="10973"/>
                      </a:lnTo>
                      <a:lnTo>
                        <a:pt x="84491" y="23591"/>
                      </a:lnTo>
                      <a:lnTo>
                        <a:pt x="94915" y="25786"/>
                      </a:lnTo>
                      <a:lnTo>
                        <a:pt x="105888" y="41697"/>
                      </a:lnTo>
                      <a:lnTo>
                        <a:pt x="113020" y="43891"/>
                      </a:lnTo>
                      <a:lnTo>
                        <a:pt x="117958" y="48829"/>
                      </a:lnTo>
                      <a:lnTo>
                        <a:pt x="111374" y="53767"/>
                      </a:lnTo>
                      <a:lnTo>
                        <a:pt x="119055" y="59253"/>
                      </a:lnTo>
                      <a:lnTo>
                        <a:pt x="120152" y="69129"/>
                      </a:lnTo>
                      <a:lnTo>
                        <a:pt x="116860" y="71323"/>
                      </a:lnTo>
                      <a:lnTo>
                        <a:pt x="115763" y="75164"/>
                      </a:lnTo>
                      <a:lnTo>
                        <a:pt x="113020" y="78455"/>
                      </a:lnTo>
                      <a:lnTo>
                        <a:pt x="104242" y="73518"/>
                      </a:lnTo>
                      <a:lnTo>
                        <a:pt x="106985" y="81199"/>
                      </a:lnTo>
                      <a:lnTo>
                        <a:pt x="115763" y="85039"/>
                      </a:lnTo>
                      <a:lnTo>
                        <a:pt x="115214" y="92171"/>
                      </a:lnTo>
                      <a:lnTo>
                        <a:pt x="119055" y="87234"/>
                      </a:lnTo>
                      <a:lnTo>
                        <a:pt x="121249" y="96561"/>
                      </a:lnTo>
                      <a:lnTo>
                        <a:pt x="117409" y="100401"/>
                      </a:lnTo>
                      <a:lnTo>
                        <a:pt x="123444" y="103144"/>
                      </a:lnTo>
                      <a:lnTo>
                        <a:pt x="123993" y="120152"/>
                      </a:lnTo>
                      <a:lnTo>
                        <a:pt x="129479" y="111374"/>
                      </a:lnTo>
                      <a:lnTo>
                        <a:pt x="129479" y="104790"/>
                      </a:lnTo>
                      <a:lnTo>
                        <a:pt x="138257" y="103693"/>
                      </a:lnTo>
                      <a:lnTo>
                        <a:pt x="137709" y="88331"/>
                      </a:lnTo>
                      <a:lnTo>
                        <a:pt x="141000" y="80650"/>
                      </a:lnTo>
                      <a:lnTo>
                        <a:pt x="146487" y="81199"/>
                      </a:lnTo>
                      <a:lnTo>
                        <a:pt x="151973" y="94915"/>
                      </a:lnTo>
                      <a:lnTo>
                        <a:pt x="156362" y="88331"/>
                      </a:lnTo>
                      <a:lnTo>
                        <a:pt x="160203" y="66385"/>
                      </a:lnTo>
                      <a:lnTo>
                        <a:pt x="155814" y="41148"/>
                      </a:lnTo>
                      <a:lnTo>
                        <a:pt x="160203" y="38953"/>
                      </a:lnTo>
                      <a:lnTo>
                        <a:pt x="164043" y="40599"/>
                      </a:lnTo>
                      <a:lnTo>
                        <a:pt x="181600" y="65837"/>
                      </a:lnTo>
                      <a:lnTo>
                        <a:pt x="183794" y="74066"/>
                      </a:lnTo>
                      <a:lnTo>
                        <a:pt x="188732" y="74066"/>
                      </a:lnTo>
                      <a:lnTo>
                        <a:pt x="192024" y="71323"/>
                      </a:lnTo>
                      <a:lnTo>
                        <a:pt x="193670" y="52669"/>
                      </a:lnTo>
                      <a:lnTo>
                        <a:pt x="192024" y="46086"/>
                      </a:lnTo>
                      <a:lnTo>
                        <a:pt x="199705" y="42794"/>
                      </a:lnTo>
                      <a:lnTo>
                        <a:pt x="204094" y="44989"/>
                      </a:lnTo>
                      <a:lnTo>
                        <a:pt x="207935" y="37307"/>
                      </a:lnTo>
                      <a:lnTo>
                        <a:pt x="217810" y="31821"/>
                      </a:lnTo>
                      <a:lnTo>
                        <a:pt x="217810" y="38405"/>
                      </a:lnTo>
                      <a:lnTo>
                        <a:pt x="219456" y="37856"/>
                      </a:lnTo>
                      <a:lnTo>
                        <a:pt x="221102" y="42794"/>
                      </a:lnTo>
                      <a:lnTo>
                        <a:pt x="225491" y="43891"/>
                      </a:lnTo>
                      <a:lnTo>
                        <a:pt x="227686" y="53218"/>
                      </a:lnTo>
                      <a:lnTo>
                        <a:pt x="233172" y="58705"/>
                      </a:lnTo>
                      <a:lnTo>
                        <a:pt x="240853" y="81199"/>
                      </a:lnTo>
                      <a:lnTo>
                        <a:pt x="242499" y="61996"/>
                      </a:lnTo>
                      <a:lnTo>
                        <a:pt x="235367" y="41697"/>
                      </a:lnTo>
                      <a:lnTo>
                        <a:pt x="235367" y="35113"/>
                      </a:lnTo>
                      <a:lnTo>
                        <a:pt x="238658" y="33467"/>
                      </a:lnTo>
                      <a:lnTo>
                        <a:pt x="245791" y="35113"/>
                      </a:lnTo>
                      <a:lnTo>
                        <a:pt x="252923" y="41148"/>
                      </a:lnTo>
                      <a:lnTo>
                        <a:pt x="258409" y="49926"/>
                      </a:lnTo>
                      <a:lnTo>
                        <a:pt x="264445" y="48829"/>
                      </a:lnTo>
                      <a:lnTo>
                        <a:pt x="268285" y="44989"/>
                      </a:lnTo>
                      <a:lnTo>
                        <a:pt x="271577" y="38405"/>
                      </a:lnTo>
                      <a:lnTo>
                        <a:pt x="271577" y="34016"/>
                      </a:lnTo>
                      <a:lnTo>
                        <a:pt x="280904" y="32370"/>
                      </a:lnTo>
                      <a:lnTo>
                        <a:pt x="282001" y="38953"/>
                      </a:lnTo>
                      <a:lnTo>
                        <a:pt x="289682" y="39502"/>
                      </a:lnTo>
                      <a:lnTo>
                        <a:pt x="296266" y="36210"/>
                      </a:lnTo>
                      <a:lnTo>
                        <a:pt x="303398" y="35113"/>
                      </a:lnTo>
                      <a:lnTo>
                        <a:pt x="301752" y="11521"/>
                      </a:lnTo>
                      <a:lnTo>
                        <a:pt x="299557" y="5486"/>
                      </a:lnTo>
                      <a:lnTo>
                        <a:pt x="306690" y="6035"/>
                      </a:lnTo>
                      <a:lnTo>
                        <a:pt x="312176" y="0"/>
                      </a:lnTo>
                      <a:lnTo>
                        <a:pt x="317663" y="1097"/>
                      </a:lnTo>
                      <a:lnTo>
                        <a:pt x="320406" y="9327"/>
                      </a:lnTo>
                      <a:lnTo>
                        <a:pt x="328635" y="13716"/>
                      </a:lnTo>
                      <a:lnTo>
                        <a:pt x="329733" y="21946"/>
                      </a:lnTo>
                      <a:lnTo>
                        <a:pt x="328087" y="25786"/>
                      </a:lnTo>
                      <a:lnTo>
                        <a:pt x="339060" y="34016"/>
                      </a:lnTo>
                      <a:lnTo>
                        <a:pt x="342900" y="34564"/>
                      </a:lnTo>
                      <a:lnTo>
                        <a:pt x="344546" y="30724"/>
                      </a:lnTo>
                      <a:lnTo>
                        <a:pt x="343449" y="25786"/>
                      </a:lnTo>
                      <a:lnTo>
                        <a:pt x="354421" y="25237"/>
                      </a:lnTo>
                      <a:lnTo>
                        <a:pt x="358262" y="17008"/>
                      </a:lnTo>
                      <a:lnTo>
                        <a:pt x="362651" y="14265"/>
                      </a:lnTo>
                      <a:lnTo>
                        <a:pt x="371429" y="13716"/>
                      </a:lnTo>
                      <a:lnTo>
                        <a:pt x="374172" y="17008"/>
                      </a:lnTo>
                      <a:lnTo>
                        <a:pt x="364297" y="21397"/>
                      </a:lnTo>
                      <a:lnTo>
                        <a:pt x="352227" y="41148"/>
                      </a:lnTo>
                      <a:lnTo>
                        <a:pt x="354421" y="46634"/>
                      </a:lnTo>
                      <a:lnTo>
                        <a:pt x="358262" y="49926"/>
                      </a:lnTo>
                      <a:lnTo>
                        <a:pt x="368137" y="43891"/>
                      </a:lnTo>
                      <a:lnTo>
                        <a:pt x="370332" y="57059"/>
                      </a:lnTo>
                      <a:lnTo>
                        <a:pt x="367040" y="68580"/>
                      </a:lnTo>
                      <a:lnTo>
                        <a:pt x="367040" y="75712"/>
                      </a:lnTo>
                      <a:lnTo>
                        <a:pt x="383499" y="73518"/>
                      </a:lnTo>
                      <a:lnTo>
                        <a:pt x="382402" y="79553"/>
                      </a:lnTo>
                      <a:lnTo>
                        <a:pt x="383499" y="85039"/>
                      </a:lnTo>
                      <a:lnTo>
                        <a:pt x="393924" y="88880"/>
                      </a:lnTo>
                      <a:lnTo>
                        <a:pt x="395569" y="79004"/>
                      </a:lnTo>
                      <a:lnTo>
                        <a:pt x="398861" y="82845"/>
                      </a:lnTo>
                      <a:lnTo>
                        <a:pt x="405994" y="100950"/>
                      </a:lnTo>
                      <a:lnTo>
                        <a:pt x="404896" y="109728"/>
                      </a:lnTo>
                      <a:lnTo>
                        <a:pt x="401056" y="114117"/>
                      </a:lnTo>
                      <a:lnTo>
                        <a:pt x="405445" y="123993"/>
                      </a:lnTo>
                      <a:lnTo>
                        <a:pt x="410383" y="123444"/>
                      </a:lnTo>
                      <a:lnTo>
                        <a:pt x="412577" y="119603"/>
                      </a:lnTo>
                      <a:lnTo>
                        <a:pt x="412577" y="130028"/>
                      </a:lnTo>
                      <a:lnTo>
                        <a:pt x="410383" y="138806"/>
                      </a:lnTo>
                      <a:lnTo>
                        <a:pt x="404348" y="141549"/>
                      </a:lnTo>
                      <a:lnTo>
                        <a:pt x="404348" y="149230"/>
                      </a:lnTo>
                      <a:lnTo>
                        <a:pt x="401604" y="150876"/>
                      </a:lnTo>
                      <a:lnTo>
                        <a:pt x="397215" y="158008"/>
                      </a:lnTo>
                      <a:lnTo>
                        <a:pt x="382951" y="161300"/>
                      </a:lnTo>
                      <a:lnTo>
                        <a:pt x="382951" y="167335"/>
                      </a:lnTo>
                      <a:lnTo>
                        <a:pt x="376916" y="166787"/>
                      </a:lnTo>
                      <a:lnTo>
                        <a:pt x="378562" y="169530"/>
                      </a:lnTo>
                      <a:lnTo>
                        <a:pt x="374721" y="173370"/>
                      </a:lnTo>
                      <a:lnTo>
                        <a:pt x="379659" y="174467"/>
                      </a:lnTo>
                      <a:lnTo>
                        <a:pt x="386791" y="169530"/>
                      </a:lnTo>
                      <a:lnTo>
                        <a:pt x="373624" y="194219"/>
                      </a:lnTo>
                      <a:lnTo>
                        <a:pt x="364297" y="197510"/>
                      </a:lnTo>
                      <a:lnTo>
                        <a:pt x="361554" y="205740"/>
                      </a:lnTo>
                      <a:lnTo>
                        <a:pt x="353324" y="200254"/>
                      </a:lnTo>
                      <a:lnTo>
                        <a:pt x="353324" y="195865"/>
                      </a:lnTo>
                      <a:lnTo>
                        <a:pt x="348935" y="190927"/>
                      </a:lnTo>
                      <a:lnTo>
                        <a:pt x="344546" y="190378"/>
                      </a:lnTo>
                      <a:lnTo>
                        <a:pt x="343449" y="199705"/>
                      </a:lnTo>
                      <a:lnTo>
                        <a:pt x="299009" y="237013"/>
                      </a:lnTo>
                      <a:lnTo>
                        <a:pt x="289682" y="235367"/>
                      </a:lnTo>
                      <a:lnTo>
                        <a:pt x="282550" y="238658"/>
                      </a:lnTo>
                      <a:lnTo>
                        <a:pt x="280904" y="234818"/>
                      </a:lnTo>
                      <a:lnTo>
                        <a:pt x="276515" y="237561"/>
                      </a:lnTo>
                      <a:lnTo>
                        <a:pt x="273771" y="240853"/>
                      </a:lnTo>
                      <a:lnTo>
                        <a:pt x="273771" y="246888"/>
                      </a:lnTo>
                      <a:lnTo>
                        <a:pt x="263347" y="250180"/>
                      </a:lnTo>
                      <a:lnTo>
                        <a:pt x="243596" y="270479"/>
                      </a:lnTo>
                      <a:lnTo>
                        <a:pt x="227137" y="275966"/>
                      </a:lnTo>
                      <a:lnTo>
                        <a:pt x="221651" y="280355"/>
                      </a:lnTo>
                      <a:lnTo>
                        <a:pt x="211775" y="276515"/>
                      </a:lnTo>
                      <a:lnTo>
                        <a:pt x="206837" y="279806"/>
                      </a:lnTo>
                      <a:lnTo>
                        <a:pt x="198608" y="273771"/>
                      </a:lnTo>
                      <a:lnTo>
                        <a:pt x="190927" y="272674"/>
                      </a:lnTo>
                      <a:lnTo>
                        <a:pt x="178308" y="266090"/>
                      </a:lnTo>
                      <a:lnTo>
                        <a:pt x="171176" y="267188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74" name="Graphic 7">
                  <a:extLst>
                    <a:ext uri="{FF2B5EF4-FFF2-40B4-BE49-F238E27FC236}">
                      <a16:creationId xmlns:a16="http://schemas.microsoft.com/office/drawing/2014/main" id="{81056FB6-EA85-F06A-F3A7-CA53802A0770}"/>
                    </a:ext>
                  </a:extLst>
                </p:cNvPr>
                <p:cNvSpPr/>
                <p:nvPr/>
              </p:nvSpPr>
              <p:spPr>
                <a:xfrm>
                  <a:off x="5652288" y="2545898"/>
                  <a:ext cx="291048" cy="273473"/>
                </a:xfrm>
                <a:custGeom>
                  <a:avLst/>
                  <a:gdLst>
                    <a:gd name="connsiteX0" fmla="*/ 351130 w 372526"/>
                    <a:gd name="connsiteY0" fmla="*/ 204643 h 350032"/>
                    <a:gd name="connsiteX1" fmla="*/ 362651 w 372526"/>
                    <a:gd name="connsiteY1" fmla="*/ 236464 h 350032"/>
                    <a:gd name="connsiteX2" fmla="*/ 369235 w 372526"/>
                    <a:gd name="connsiteY2" fmla="*/ 244693 h 350032"/>
                    <a:gd name="connsiteX3" fmla="*/ 368686 w 372526"/>
                    <a:gd name="connsiteY3" fmla="*/ 252374 h 350032"/>
                    <a:gd name="connsiteX4" fmla="*/ 372527 w 372526"/>
                    <a:gd name="connsiteY4" fmla="*/ 262250 h 350032"/>
                    <a:gd name="connsiteX5" fmla="*/ 369235 w 372526"/>
                    <a:gd name="connsiteY5" fmla="*/ 272125 h 350032"/>
                    <a:gd name="connsiteX6" fmla="*/ 343997 w 372526"/>
                    <a:gd name="connsiteY6" fmla="*/ 291328 h 350032"/>
                    <a:gd name="connsiteX7" fmla="*/ 321503 w 372526"/>
                    <a:gd name="connsiteY7" fmla="*/ 330281 h 350032"/>
                    <a:gd name="connsiteX8" fmla="*/ 319857 w 372526"/>
                    <a:gd name="connsiteY8" fmla="*/ 340157 h 350032"/>
                    <a:gd name="connsiteX9" fmla="*/ 322052 w 372526"/>
                    <a:gd name="connsiteY9" fmla="*/ 348935 h 350032"/>
                    <a:gd name="connsiteX10" fmla="*/ 314919 w 372526"/>
                    <a:gd name="connsiteY10" fmla="*/ 350032 h 350032"/>
                    <a:gd name="connsiteX11" fmla="*/ 304495 w 372526"/>
                    <a:gd name="connsiteY11" fmla="*/ 347289 h 350032"/>
                    <a:gd name="connsiteX12" fmla="*/ 284744 w 372526"/>
                    <a:gd name="connsiteY12" fmla="*/ 330830 h 350032"/>
                    <a:gd name="connsiteX13" fmla="*/ 266639 w 372526"/>
                    <a:gd name="connsiteY13" fmla="*/ 330830 h 350032"/>
                    <a:gd name="connsiteX14" fmla="*/ 254569 w 372526"/>
                    <a:gd name="connsiteY14" fmla="*/ 338511 h 350032"/>
                    <a:gd name="connsiteX15" fmla="*/ 247985 w 372526"/>
                    <a:gd name="connsiteY15" fmla="*/ 333573 h 350032"/>
                    <a:gd name="connsiteX16" fmla="*/ 234269 w 372526"/>
                    <a:gd name="connsiteY16" fmla="*/ 333573 h 350032"/>
                    <a:gd name="connsiteX17" fmla="*/ 228234 w 372526"/>
                    <a:gd name="connsiteY17" fmla="*/ 340157 h 350032"/>
                    <a:gd name="connsiteX18" fmla="*/ 221651 w 372526"/>
                    <a:gd name="connsiteY18" fmla="*/ 343449 h 350032"/>
                    <a:gd name="connsiteX19" fmla="*/ 216164 w 372526"/>
                    <a:gd name="connsiteY19" fmla="*/ 341803 h 350032"/>
                    <a:gd name="connsiteX20" fmla="*/ 199156 w 372526"/>
                    <a:gd name="connsiteY20" fmla="*/ 324246 h 350032"/>
                    <a:gd name="connsiteX21" fmla="*/ 184892 w 372526"/>
                    <a:gd name="connsiteY21" fmla="*/ 329184 h 350032"/>
                    <a:gd name="connsiteX22" fmla="*/ 164043 w 372526"/>
                    <a:gd name="connsiteY22" fmla="*/ 319857 h 350032"/>
                    <a:gd name="connsiteX23" fmla="*/ 150876 w 372526"/>
                    <a:gd name="connsiteY23" fmla="*/ 300106 h 350032"/>
                    <a:gd name="connsiteX24" fmla="*/ 144292 w 372526"/>
                    <a:gd name="connsiteY24" fmla="*/ 296814 h 350032"/>
                    <a:gd name="connsiteX25" fmla="*/ 141549 w 372526"/>
                    <a:gd name="connsiteY25" fmla="*/ 297911 h 350032"/>
                    <a:gd name="connsiteX26" fmla="*/ 134965 w 372526"/>
                    <a:gd name="connsiteY26" fmla="*/ 293522 h 350032"/>
                    <a:gd name="connsiteX27" fmla="*/ 134417 w 372526"/>
                    <a:gd name="connsiteY27" fmla="*/ 282550 h 350032"/>
                    <a:gd name="connsiteX28" fmla="*/ 104242 w 372526"/>
                    <a:gd name="connsiteY28" fmla="*/ 274869 h 350032"/>
                    <a:gd name="connsiteX29" fmla="*/ 103693 w 372526"/>
                    <a:gd name="connsiteY29" fmla="*/ 278709 h 350032"/>
                    <a:gd name="connsiteX30" fmla="*/ 105888 w 372526"/>
                    <a:gd name="connsiteY30" fmla="*/ 282550 h 350032"/>
                    <a:gd name="connsiteX31" fmla="*/ 97658 w 372526"/>
                    <a:gd name="connsiteY31" fmla="*/ 288036 h 350032"/>
                    <a:gd name="connsiteX32" fmla="*/ 92720 w 372526"/>
                    <a:gd name="connsiteY32" fmla="*/ 286390 h 350032"/>
                    <a:gd name="connsiteX33" fmla="*/ 79553 w 372526"/>
                    <a:gd name="connsiteY33" fmla="*/ 273771 h 350032"/>
                    <a:gd name="connsiteX34" fmla="*/ 82845 w 372526"/>
                    <a:gd name="connsiteY34" fmla="*/ 266090 h 350032"/>
                    <a:gd name="connsiteX35" fmla="*/ 82845 w 372526"/>
                    <a:gd name="connsiteY35" fmla="*/ 264444 h 350032"/>
                    <a:gd name="connsiteX36" fmla="*/ 82296 w 372526"/>
                    <a:gd name="connsiteY36" fmla="*/ 263347 h 350032"/>
                    <a:gd name="connsiteX37" fmla="*/ 74066 w 372526"/>
                    <a:gd name="connsiteY37" fmla="*/ 261701 h 350032"/>
                    <a:gd name="connsiteX38" fmla="*/ 68031 w 372526"/>
                    <a:gd name="connsiteY38" fmla="*/ 253472 h 350032"/>
                    <a:gd name="connsiteX39" fmla="*/ 48280 w 372526"/>
                    <a:gd name="connsiteY39" fmla="*/ 250728 h 350032"/>
                    <a:gd name="connsiteX40" fmla="*/ 44440 w 372526"/>
                    <a:gd name="connsiteY40" fmla="*/ 244693 h 350032"/>
                    <a:gd name="connsiteX41" fmla="*/ 37308 w 372526"/>
                    <a:gd name="connsiteY41" fmla="*/ 240853 h 350032"/>
                    <a:gd name="connsiteX42" fmla="*/ 27432 w 372526"/>
                    <a:gd name="connsiteY42" fmla="*/ 251277 h 350032"/>
                    <a:gd name="connsiteX43" fmla="*/ 23043 w 372526"/>
                    <a:gd name="connsiteY43" fmla="*/ 248534 h 350032"/>
                    <a:gd name="connsiteX44" fmla="*/ 28529 w 372526"/>
                    <a:gd name="connsiteY44" fmla="*/ 216713 h 350032"/>
                    <a:gd name="connsiteX45" fmla="*/ 27981 w 372526"/>
                    <a:gd name="connsiteY45" fmla="*/ 213970 h 350032"/>
                    <a:gd name="connsiteX46" fmla="*/ 17008 w 372526"/>
                    <a:gd name="connsiteY46" fmla="*/ 200802 h 350032"/>
                    <a:gd name="connsiteX47" fmla="*/ 9876 w 372526"/>
                    <a:gd name="connsiteY47" fmla="*/ 137709 h 350032"/>
                    <a:gd name="connsiteX48" fmla="*/ 0 w 372526"/>
                    <a:gd name="connsiteY48" fmla="*/ 130028 h 350032"/>
                    <a:gd name="connsiteX49" fmla="*/ 0 w 372526"/>
                    <a:gd name="connsiteY49" fmla="*/ 125090 h 350032"/>
                    <a:gd name="connsiteX50" fmla="*/ 6584 w 372526"/>
                    <a:gd name="connsiteY50" fmla="*/ 108082 h 350032"/>
                    <a:gd name="connsiteX51" fmla="*/ 7681 w 372526"/>
                    <a:gd name="connsiteY51" fmla="*/ 88331 h 350032"/>
                    <a:gd name="connsiteX52" fmla="*/ 549 w 372526"/>
                    <a:gd name="connsiteY52" fmla="*/ 70226 h 350032"/>
                    <a:gd name="connsiteX53" fmla="*/ 11521 w 372526"/>
                    <a:gd name="connsiteY53" fmla="*/ 75712 h 350032"/>
                    <a:gd name="connsiteX54" fmla="*/ 13716 w 372526"/>
                    <a:gd name="connsiteY54" fmla="*/ 71872 h 350032"/>
                    <a:gd name="connsiteX55" fmla="*/ 13716 w 372526"/>
                    <a:gd name="connsiteY55" fmla="*/ 66385 h 350032"/>
                    <a:gd name="connsiteX56" fmla="*/ 4938 w 372526"/>
                    <a:gd name="connsiteY56" fmla="*/ 63094 h 350032"/>
                    <a:gd name="connsiteX57" fmla="*/ 10424 w 372526"/>
                    <a:gd name="connsiteY57" fmla="*/ 59253 h 350032"/>
                    <a:gd name="connsiteX58" fmla="*/ 17008 w 372526"/>
                    <a:gd name="connsiteY58" fmla="*/ 56510 h 350032"/>
                    <a:gd name="connsiteX59" fmla="*/ 18105 w 372526"/>
                    <a:gd name="connsiteY59" fmla="*/ 59253 h 350032"/>
                    <a:gd name="connsiteX60" fmla="*/ 25786 w 372526"/>
                    <a:gd name="connsiteY60" fmla="*/ 51023 h 350032"/>
                    <a:gd name="connsiteX61" fmla="*/ 69129 w 372526"/>
                    <a:gd name="connsiteY61" fmla="*/ 36759 h 350032"/>
                    <a:gd name="connsiteX62" fmla="*/ 91623 w 372526"/>
                    <a:gd name="connsiteY62" fmla="*/ 18105 h 350032"/>
                    <a:gd name="connsiteX63" fmla="*/ 116860 w 372526"/>
                    <a:gd name="connsiteY63" fmla="*/ 6584 h 350032"/>
                    <a:gd name="connsiteX64" fmla="*/ 155814 w 372526"/>
                    <a:gd name="connsiteY64" fmla="*/ 0 h 350032"/>
                    <a:gd name="connsiteX65" fmla="*/ 169530 w 372526"/>
                    <a:gd name="connsiteY65" fmla="*/ 4938 h 350032"/>
                    <a:gd name="connsiteX66" fmla="*/ 174468 w 372526"/>
                    <a:gd name="connsiteY66" fmla="*/ 10424 h 350032"/>
                    <a:gd name="connsiteX67" fmla="*/ 173370 w 372526"/>
                    <a:gd name="connsiteY67" fmla="*/ 14813 h 350032"/>
                    <a:gd name="connsiteX68" fmla="*/ 161300 w 372526"/>
                    <a:gd name="connsiteY68" fmla="*/ 7132 h 350032"/>
                    <a:gd name="connsiteX69" fmla="*/ 170627 w 372526"/>
                    <a:gd name="connsiteY69" fmla="*/ 34016 h 350032"/>
                    <a:gd name="connsiteX70" fmla="*/ 175016 w 372526"/>
                    <a:gd name="connsiteY70" fmla="*/ 36210 h 350032"/>
                    <a:gd name="connsiteX71" fmla="*/ 176113 w 372526"/>
                    <a:gd name="connsiteY71" fmla="*/ 33467 h 350032"/>
                    <a:gd name="connsiteX72" fmla="*/ 178857 w 372526"/>
                    <a:gd name="connsiteY72" fmla="*/ 31272 h 350032"/>
                    <a:gd name="connsiteX73" fmla="*/ 181600 w 372526"/>
                    <a:gd name="connsiteY73" fmla="*/ 33467 h 350032"/>
                    <a:gd name="connsiteX74" fmla="*/ 198608 w 372526"/>
                    <a:gd name="connsiteY74" fmla="*/ 29078 h 350032"/>
                    <a:gd name="connsiteX75" fmla="*/ 204643 w 372526"/>
                    <a:gd name="connsiteY75" fmla="*/ 24689 h 350032"/>
                    <a:gd name="connsiteX76" fmla="*/ 258409 w 372526"/>
                    <a:gd name="connsiteY76" fmla="*/ 35662 h 350032"/>
                    <a:gd name="connsiteX77" fmla="*/ 325892 w 372526"/>
                    <a:gd name="connsiteY77" fmla="*/ 29078 h 350032"/>
                    <a:gd name="connsiteX78" fmla="*/ 348386 w 372526"/>
                    <a:gd name="connsiteY78" fmla="*/ 43343 h 350032"/>
                    <a:gd name="connsiteX79" fmla="*/ 364846 w 372526"/>
                    <a:gd name="connsiteY79" fmla="*/ 134417 h 350032"/>
                    <a:gd name="connsiteX80" fmla="*/ 357165 w 372526"/>
                    <a:gd name="connsiteY80" fmla="*/ 145390 h 350032"/>
                    <a:gd name="connsiteX81" fmla="*/ 346741 w 372526"/>
                    <a:gd name="connsiteY81" fmla="*/ 151425 h 350032"/>
                    <a:gd name="connsiteX82" fmla="*/ 339608 w 372526"/>
                    <a:gd name="connsiteY82" fmla="*/ 160203 h 350032"/>
                    <a:gd name="connsiteX83" fmla="*/ 343449 w 372526"/>
                    <a:gd name="connsiteY83" fmla="*/ 167884 h 350032"/>
                    <a:gd name="connsiteX84" fmla="*/ 353873 w 372526"/>
                    <a:gd name="connsiteY84" fmla="*/ 176662 h 350032"/>
                    <a:gd name="connsiteX85" fmla="*/ 351130 w 372526"/>
                    <a:gd name="connsiteY85" fmla="*/ 204643 h 3500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</a:cxnLst>
                  <a:rect l="l" t="t" r="r" b="b"/>
                  <a:pathLst>
                    <a:path w="372526" h="350032">
                      <a:moveTo>
                        <a:pt x="351130" y="204643"/>
                      </a:moveTo>
                      <a:lnTo>
                        <a:pt x="362651" y="236464"/>
                      </a:lnTo>
                      <a:lnTo>
                        <a:pt x="369235" y="244693"/>
                      </a:lnTo>
                      <a:lnTo>
                        <a:pt x="368686" y="252374"/>
                      </a:lnTo>
                      <a:lnTo>
                        <a:pt x="372527" y="262250"/>
                      </a:lnTo>
                      <a:lnTo>
                        <a:pt x="369235" y="272125"/>
                      </a:lnTo>
                      <a:lnTo>
                        <a:pt x="343997" y="291328"/>
                      </a:lnTo>
                      <a:lnTo>
                        <a:pt x="321503" y="330281"/>
                      </a:lnTo>
                      <a:lnTo>
                        <a:pt x="319857" y="340157"/>
                      </a:lnTo>
                      <a:lnTo>
                        <a:pt x="322052" y="348935"/>
                      </a:lnTo>
                      <a:lnTo>
                        <a:pt x="314919" y="350032"/>
                      </a:lnTo>
                      <a:lnTo>
                        <a:pt x="304495" y="347289"/>
                      </a:lnTo>
                      <a:lnTo>
                        <a:pt x="284744" y="330830"/>
                      </a:lnTo>
                      <a:lnTo>
                        <a:pt x="266639" y="330830"/>
                      </a:lnTo>
                      <a:lnTo>
                        <a:pt x="254569" y="338511"/>
                      </a:lnTo>
                      <a:lnTo>
                        <a:pt x="247985" y="333573"/>
                      </a:lnTo>
                      <a:lnTo>
                        <a:pt x="234269" y="333573"/>
                      </a:lnTo>
                      <a:lnTo>
                        <a:pt x="228234" y="340157"/>
                      </a:lnTo>
                      <a:lnTo>
                        <a:pt x="221651" y="343449"/>
                      </a:lnTo>
                      <a:lnTo>
                        <a:pt x="216164" y="341803"/>
                      </a:lnTo>
                      <a:lnTo>
                        <a:pt x="199156" y="324246"/>
                      </a:lnTo>
                      <a:lnTo>
                        <a:pt x="184892" y="329184"/>
                      </a:lnTo>
                      <a:lnTo>
                        <a:pt x="164043" y="319857"/>
                      </a:lnTo>
                      <a:lnTo>
                        <a:pt x="150876" y="300106"/>
                      </a:lnTo>
                      <a:lnTo>
                        <a:pt x="144292" y="296814"/>
                      </a:lnTo>
                      <a:lnTo>
                        <a:pt x="141549" y="297911"/>
                      </a:lnTo>
                      <a:lnTo>
                        <a:pt x="134965" y="293522"/>
                      </a:lnTo>
                      <a:lnTo>
                        <a:pt x="134417" y="282550"/>
                      </a:lnTo>
                      <a:lnTo>
                        <a:pt x="104242" y="274869"/>
                      </a:lnTo>
                      <a:lnTo>
                        <a:pt x="103693" y="278709"/>
                      </a:lnTo>
                      <a:lnTo>
                        <a:pt x="105888" y="282550"/>
                      </a:lnTo>
                      <a:lnTo>
                        <a:pt x="97658" y="288036"/>
                      </a:lnTo>
                      <a:lnTo>
                        <a:pt x="92720" y="286390"/>
                      </a:lnTo>
                      <a:lnTo>
                        <a:pt x="79553" y="273771"/>
                      </a:lnTo>
                      <a:lnTo>
                        <a:pt x="82845" y="266090"/>
                      </a:lnTo>
                      <a:lnTo>
                        <a:pt x="82845" y="264444"/>
                      </a:lnTo>
                      <a:lnTo>
                        <a:pt x="82296" y="263347"/>
                      </a:lnTo>
                      <a:lnTo>
                        <a:pt x="74066" y="261701"/>
                      </a:lnTo>
                      <a:lnTo>
                        <a:pt x="68031" y="253472"/>
                      </a:lnTo>
                      <a:lnTo>
                        <a:pt x="48280" y="250728"/>
                      </a:lnTo>
                      <a:lnTo>
                        <a:pt x="44440" y="244693"/>
                      </a:lnTo>
                      <a:lnTo>
                        <a:pt x="37308" y="240853"/>
                      </a:lnTo>
                      <a:lnTo>
                        <a:pt x="27432" y="251277"/>
                      </a:lnTo>
                      <a:lnTo>
                        <a:pt x="23043" y="248534"/>
                      </a:lnTo>
                      <a:lnTo>
                        <a:pt x="28529" y="216713"/>
                      </a:lnTo>
                      <a:lnTo>
                        <a:pt x="27981" y="213970"/>
                      </a:lnTo>
                      <a:lnTo>
                        <a:pt x="17008" y="200802"/>
                      </a:lnTo>
                      <a:lnTo>
                        <a:pt x="9876" y="137709"/>
                      </a:lnTo>
                      <a:lnTo>
                        <a:pt x="0" y="130028"/>
                      </a:lnTo>
                      <a:lnTo>
                        <a:pt x="0" y="125090"/>
                      </a:lnTo>
                      <a:lnTo>
                        <a:pt x="6584" y="108082"/>
                      </a:lnTo>
                      <a:lnTo>
                        <a:pt x="7681" y="88331"/>
                      </a:lnTo>
                      <a:lnTo>
                        <a:pt x="549" y="70226"/>
                      </a:lnTo>
                      <a:lnTo>
                        <a:pt x="11521" y="75712"/>
                      </a:lnTo>
                      <a:lnTo>
                        <a:pt x="13716" y="71872"/>
                      </a:lnTo>
                      <a:lnTo>
                        <a:pt x="13716" y="66385"/>
                      </a:lnTo>
                      <a:lnTo>
                        <a:pt x="4938" y="63094"/>
                      </a:lnTo>
                      <a:lnTo>
                        <a:pt x="10424" y="59253"/>
                      </a:lnTo>
                      <a:lnTo>
                        <a:pt x="17008" y="56510"/>
                      </a:lnTo>
                      <a:lnTo>
                        <a:pt x="18105" y="59253"/>
                      </a:lnTo>
                      <a:lnTo>
                        <a:pt x="25786" y="51023"/>
                      </a:lnTo>
                      <a:lnTo>
                        <a:pt x="69129" y="36759"/>
                      </a:lnTo>
                      <a:lnTo>
                        <a:pt x="91623" y="18105"/>
                      </a:lnTo>
                      <a:lnTo>
                        <a:pt x="116860" y="6584"/>
                      </a:lnTo>
                      <a:lnTo>
                        <a:pt x="155814" y="0"/>
                      </a:lnTo>
                      <a:lnTo>
                        <a:pt x="169530" y="4938"/>
                      </a:lnTo>
                      <a:lnTo>
                        <a:pt x="174468" y="10424"/>
                      </a:lnTo>
                      <a:lnTo>
                        <a:pt x="173370" y="14813"/>
                      </a:lnTo>
                      <a:lnTo>
                        <a:pt x="161300" y="7132"/>
                      </a:lnTo>
                      <a:lnTo>
                        <a:pt x="170627" y="34016"/>
                      </a:lnTo>
                      <a:lnTo>
                        <a:pt x="175016" y="36210"/>
                      </a:lnTo>
                      <a:lnTo>
                        <a:pt x="176113" y="33467"/>
                      </a:lnTo>
                      <a:lnTo>
                        <a:pt x="178857" y="31272"/>
                      </a:lnTo>
                      <a:lnTo>
                        <a:pt x="181600" y="33467"/>
                      </a:lnTo>
                      <a:lnTo>
                        <a:pt x="198608" y="29078"/>
                      </a:lnTo>
                      <a:lnTo>
                        <a:pt x="204643" y="24689"/>
                      </a:lnTo>
                      <a:lnTo>
                        <a:pt x="258409" y="35662"/>
                      </a:lnTo>
                      <a:lnTo>
                        <a:pt x="325892" y="29078"/>
                      </a:lnTo>
                      <a:lnTo>
                        <a:pt x="348386" y="43343"/>
                      </a:lnTo>
                      <a:lnTo>
                        <a:pt x="364846" y="134417"/>
                      </a:lnTo>
                      <a:lnTo>
                        <a:pt x="357165" y="145390"/>
                      </a:lnTo>
                      <a:lnTo>
                        <a:pt x="346741" y="151425"/>
                      </a:lnTo>
                      <a:lnTo>
                        <a:pt x="339608" y="160203"/>
                      </a:lnTo>
                      <a:lnTo>
                        <a:pt x="343449" y="167884"/>
                      </a:lnTo>
                      <a:lnTo>
                        <a:pt x="353873" y="176662"/>
                      </a:lnTo>
                      <a:lnTo>
                        <a:pt x="351130" y="204643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75" name="Graphic 7">
                  <a:extLst>
                    <a:ext uri="{FF2B5EF4-FFF2-40B4-BE49-F238E27FC236}">
                      <a16:creationId xmlns:a16="http://schemas.microsoft.com/office/drawing/2014/main" id="{06115EE0-0F61-DE28-5442-EEDEF1CCAA07}"/>
                    </a:ext>
                  </a:extLst>
                </p:cNvPr>
                <p:cNvSpPr/>
                <p:nvPr/>
              </p:nvSpPr>
              <p:spPr>
                <a:xfrm>
                  <a:off x="5852464" y="2375727"/>
                  <a:ext cx="216892" cy="128164"/>
                </a:xfrm>
                <a:custGeom>
                  <a:avLst/>
                  <a:gdLst>
                    <a:gd name="connsiteX0" fmla="*/ 2195 w 277611"/>
                    <a:gd name="connsiteY0" fmla="*/ 133868 h 164043"/>
                    <a:gd name="connsiteX1" fmla="*/ 0 w 277611"/>
                    <a:gd name="connsiteY1" fmla="*/ 126187 h 164043"/>
                    <a:gd name="connsiteX2" fmla="*/ 3292 w 277611"/>
                    <a:gd name="connsiteY2" fmla="*/ 91623 h 164043"/>
                    <a:gd name="connsiteX3" fmla="*/ 22494 w 277611"/>
                    <a:gd name="connsiteY3" fmla="*/ 42794 h 164043"/>
                    <a:gd name="connsiteX4" fmla="*/ 35662 w 277611"/>
                    <a:gd name="connsiteY4" fmla="*/ 30175 h 164043"/>
                    <a:gd name="connsiteX5" fmla="*/ 58704 w 277611"/>
                    <a:gd name="connsiteY5" fmla="*/ 22494 h 164043"/>
                    <a:gd name="connsiteX6" fmla="*/ 77358 w 277611"/>
                    <a:gd name="connsiteY6" fmla="*/ 46086 h 164043"/>
                    <a:gd name="connsiteX7" fmla="*/ 81199 w 277611"/>
                    <a:gd name="connsiteY7" fmla="*/ 58705 h 164043"/>
                    <a:gd name="connsiteX8" fmla="*/ 82296 w 277611"/>
                    <a:gd name="connsiteY8" fmla="*/ 51024 h 164043"/>
                    <a:gd name="connsiteX9" fmla="*/ 86136 w 277611"/>
                    <a:gd name="connsiteY9" fmla="*/ 62545 h 164043"/>
                    <a:gd name="connsiteX10" fmla="*/ 89977 w 277611"/>
                    <a:gd name="connsiteY10" fmla="*/ 68031 h 164043"/>
                    <a:gd name="connsiteX11" fmla="*/ 100950 w 277611"/>
                    <a:gd name="connsiteY11" fmla="*/ 74066 h 164043"/>
                    <a:gd name="connsiteX12" fmla="*/ 104790 w 277611"/>
                    <a:gd name="connsiteY12" fmla="*/ 74066 h 164043"/>
                    <a:gd name="connsiteX13" fmla="*/ 115763 w 277611"/>
                    <a:gd name="connsiteY13" fmla="*/ 69129 h 164043"/>
                    <a:gd name="connsiteX14" fmla="*/ 115763 w 277611"/>
                    <a:gd name="connsiteY14" fmla="*/ 72969 h 164043"/>
                    <a:gd name="connsiteX15" fmla="*/ 119055 w 277611"/>
                    <a:gd name="connsiteY15" fmla="*/ 77358 h 164043"/>
                    <a:gd name="connsiteX16" fmla="*/ 120152 w 277611"/>
                    <a:gd name="connsiteY16" fmla="*/ 66934 h 164043"/>
                    <a:gd name="connsiteX17" fmla="*/ 126736 w 277611"/>
                    <a:gd name="connsiteY17" fmla="*/ 57607 h 164043"/>
                    <a:gd name="connsiteX18" fmla="*/ 127284 w 277611"/>
                    <a:gd name="connsiteY18" fmla="*/ 14265 h 164043"/>
                    <a:gd name="connsiteX19" fmla="*/ 131125 w 277611"/>
                    <a:gd name="connsiteY19" fmla="*/ 10424 h 164043"/>
                    <a:gd name="connsiteX20" fmla="*/ 136611 w 277611"/>
                    <a:gd name="connsiteY20" fmla="*/ 9327 h 164043"/>
                    <a:gd name="connsiteX21" fmla="*/ 145938 w 277611"/>
                    <a:gd name="connsiteY21" fmla="*/ 2195 h 164043"/>
                    <a:gd name="connsiteX22" fmla="*/ 163495 w 277611"/>
                    <a:gd name="connsiteY22" fmla="*/ 0 h 164043"/>
                    <a:gd name="connsiteX23" fmla="*/ 175016 w 277611"/>
                    <a:gd name="connsiteY23" fmla="*/ 2195 h 164043"/>
                    <a:gd name="connsiteX24" fmla="*/ 183794 w 277611"/>
                    <a:gd name="connsiteY24" fmla="*/ 9327 h 164043"/>
                    <a:gd name="connsiteX25" fmla="*/ 194219 w 277611"/>
                    <a:gd name="connsiteY25" fmla="*/ 13167 h 164043"/>
                    <a:gd name="connsiteX26" fmla="*/ 197510 w 277611"/>
                    <a:gd name="connsiteY26" fmla="*/ 19751 h 164043"/>
                    <a:gd name="connsiteX27" fmla="*/ 212324 w 277611"/>
                    <a:gd name="connsiteY27" fmla="*/ 32918 h 164043"/>
                    <a:gd name="connsiteX28" fmla="*/ 217810 w 277611"/>
                    <a:gd name="connsiteY28" fmla="*/ 33467 h 164043"/>
                    <a:gd name="connsiteX29" fmla="*/ 223296 w 277611"/>
                    <a:gd name="connsiteY29" fmla="*/ 30724 h 164043"/>
                    <a:gd name="connsiteX30" fmla="*/ 234269 w 277611"/>
                    <a:gd name="connsiteY30" fmla="*/ 29627 h 164043"/>
                    <a:gd name="connsiteX31" fmla="*/ 245791 w 277611"/>
                    <a:gd name="connsiteY31" fmla="*/ 32918 h 164043"/>
                    <a:gd name="connsiteX32" fmla="*/ 249631 w 277611"/>
                    <a:gd name="connsiteY32" fmla="*/ 37308 h 164043"/>
                    <a:gd name="connsiteX33" fmla="*/ 252374 w 277611"/>
                    <a:gd name="connsiteY33" fmla="*/ 42245 h 164043"/>
                    <a:gd name="connsiteX34" fmla="*/ 256763 w 277611"/>
                    <a:gd name="connsiteY34" fmla="*/ 45537 h 164043"/>
                    <a:gd name="connsiteX35" fmla="*/ 260055 w 277611"/>
                    <a:gd name="connsiteY35" fmla="*/ 50475 h 164043"/>
                    <a:gd name="connsiteX36" fmla="*/ 261153 w 277611"/>
                    <a:gd name="connsiteY36" fmla="*/ 55413 h 164043"/>
                    <a:gd name="connsiteX37" fmla="*/ 255118 w 277611"/>
                    <a:gd name="connsiteY37" fmla="*/ 76810 h 164043"/>
                    <a:gd name="connsiteX38" fmla="*/ 260604 w 277611"/>
                    <a:gd name="connsiteY38" fmla="*/ 79004 h 164043"/>
                    <a:gd name="connsiteX39" fmla="*/ 264993 w 277611"/>
                    <a:gd name="connsiteY39" fmla="*/ 82296 h 164043"/>
                    <a:gd name="connsiteX40" fmla="*/ 264993 w 277611"/>
                    <a:gd name="connsiteY40" fmla="*/ 87782 h 164043"/>
                    <a:gd name="connsiteX41" fmla="*/ 277612 w 277611"/>
                    <a:gd name="connsiteY41" fmla="*/ 113020 h 164043"/>
                    <a:gd name="connsiteX42" fmla="*/ 277063 w 277611"/>
                    <a:gd name="connsiteY42" fmla="*/ 129479 h 164043"/>
                    <a:gd name="connsiteX43" fmla="*/ 270479 w 277611"/>
                    <a:gd name="connsiteY43" fmla="*/ 129479 h 164043"/>
                    <a:gd name="connsiteX44" fmla="*/ 257861 w 277611"/>
                    <a:gd name="connsiteY44" fmla="*/ 141001 h 164043"/>
                    <a:gd name="connsiteX45" fmla="*/ 256215 w 277611"/>
                    <a:gd name="connsiteY45" fmla="*/ 146487 h 164043"/>
                    <a:gd name="connsiteX46" fmla="*/ 249083 w 277611"/>
                    <a:gd name="connsiteY46" fmla="*/ 155265 h 164043"/>
                    <a:gd name="connsiteX47" fmla="*/ 243596 w 277611"/>
                    <a:gd name="connsiteY47" fmla="*/ 156362 h 164043"/>
                    <a:gd name="connsiteX48" fmla="*/ 233172 w 277611"/>
                    <a:gd name="connsiteY48" fmla="*/ 151973 h 164043"/>
                    <a:gd name="connsiteX49" fmla="*/ 228783 w 277611"/>
                    <a:gd name="connsiteY49" fmla="*/ 155265 h 164043"/>
                    <a:gd name="connsiteX50" fmla="*/ 227137 w 277611"/>
                    <a:gd name="connsiteY50" fmla="*/ 160752 h 164043"/>
                    <a:gd name="connsiteX51" fmla="*/ 222748 w 277611"/>
                    <a:gd name="connsiteY51" fmla="*/ 164043 h 164043"/>
                    <a:gd name="connsiteX52" fmla="*/ 217261 w 277611"/>
                    <a:gd name="connsiteY52" fmla="*/ 162397 h 164043"/>
                    <a:gd name="connsiteX53" fmla="*/ 212324 w 277611"/>
                    <a:gd name="connsiteY53" fmla="*/ 159654 h 164043"/>
                    <a:gd name="connsiteX54" fmla="*/ 207386 w 277611"/>
                    <a:gd name="connsiteY54" fmla="*/ 157460 h 164043"/>
                    <a:gd name="connsiteX55" fmla="*/ 194767 w 277611"/>
                    <a:gd name="connsiteY55" fmla="*/ 142098 h 164043"/>
                    <a:gd name="connsiteX56" fmla="*/ 176662 w 277611"/>
                    <a:gd name="connsiteY56" fmla="*/ 129479 h 164043"/>
                    <a:gd name="connsiteX57" fmla="*/ 165689 w 277611"/>
                    <a:gd name="connsiteY57" fmla="*/ 130028 h 164043"/>
                    <a:gd name="connsiteX58" fmla="*/ 160203 w 277611"/>
                    <a:gd name="connsiteY58" fmla="*/ 128382 h 164043"/>
                    <a:gd name="connsiteX59" fmla="*/ 153619 w 277611"/>
                    <a:gd name="connsiteY59" fmla="*/ 112471 h 164043"/>
                    <a:gd name="connsiteX60" fmla="*/ 149779 w 277611"/>
                    <a:gd name="connsiteY60" fmla="*/ 108631 h 164043"/>
                    <a:gd name="connsiteX61" fmla="*/ 144841 w 277611"/>
                    <a:gd name="connsiteY61" fmla="*/ 110277 h 164043"/>
                    <a:gd name="connsiteX62" fmla="*/ 136611 w 277611"/>
                    <a:gd name="connsiteY62" fmla="*/ 118506 h 164043"/>
                    <a:gd name="connsiteX63" fmla="*/ 126187 w 277611"/>
                    <a:gd name="connsiteY63" fmla="*/ 121249 h 164043"/>
                    <a:gd name="connsiteX64" fmla="*/ 104790 w 277611"/>
                    <a:gd name="connsiteY64" fmla="*/ 113020 h 164043"/>
                    <a:gd name="connsiteX65" fmla="*/ 88331 w 277611"/>
                    <a:gd name="connsiteY65" fmla="*/ 111923 h 164043"/>
                    <a:gd name="connsiteX66" fmla="*/ 83393 w 277611"/>
                    <a:gd name="connsiteY66" fmla="*/ 113020 h 164043"/>
                    <a:gd name="connsiteX67" fmla="*/ 78455 w 277611"/>
                    <a:gd name="connsiteY67" fmla="*/ 111923 h 164043"/>
                    <a:gd name="connsiteX68" fmla="*/ 73518 w 277611"/>
                    <a:gd name="connsiteY68" fmla="*/ 114117 h 164043"/>
                    <a:gd name="connsiteX69" fmla="*/ 67483 w 277611"/>
                    <a:gd name="connsiteY69" fmla="*/ 114117 h 164043"/>
                    <a:gd name="connsiteX70" fmla="*/ 62545 w 277611"/>
                    <a:gd name="connsiteY70" fmla="*/ 111374 h 164043"/>
                    <a:gd name="connsiteX71" fmla="*/ 45537 w 277611"/>
                    <a:gd name="connsiteY71" fmla="*/ 111374 h 164043"/>
                    <a:gd name="connsiteX72" fmla="*/ 20300 w 277611"/>
                    <a:gd name="connsiteY72" fmla="*/ 122347 h 164043"/>
                    <a:gd name="connsiteX73" fmla="*/ 13716 w 277611"/>
                    <a:gd name="connsiteY73" fmla="*/ 131674 h 164043"/>
                    <a:gd name="connsiteX74" fmla="*/ 9327 w 277611"/>
                    <a:gd name="connsiteY74" fmla="*/ 134965 h 164043"/>
                    <a:gd name="connsiteX75" fmla="*/ 2195 w 277611"/>
                    <a:gd name="connsiteY75" fmla="*/ 133868 h 1640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</a:cxnLst>
                  <a:rect l="l" t="t" r="r" b="b"/>
                  <a:pathLst>
                    <a:path w="277611" h="164043">
                      <a:moveTo>
                        <a:pt x="2195" y="133868"/>
                      </a:moveTo>
                      <a:lnTo>
                        <a:pt x="0" y="126187"/>
                      </a:lnTo>
                      <a:lnTo>
                        <a:pt x="3292" y="91623"/>
                      </a:lnTo>
                      <a:lnTo>
                        <a:pt x="22494" y="42794"/>
                      </a:lnTo>
                      <a:lnTo>
                        <a:pt x="35662" y="30175"/>
                      </a:lnTo>
                      <a:lnTo>
                        <a:pt x="58704" y="22494"/>
                      </a:lnTo>
                      <a:lnTo>
                        <a:pt x="77358" y="46086"/>
                      </a:lnTo>
                      <a:lnTo>
                        <a:pt x="81199" y="58705"/>
                      </a:lnTo>
                      <a:lnTo>
                        <a:pt x="82296" y="51024"/>
                      </a:lnTo>
                      <a:lnTo>
                        <a:pt x="86136" y="62545"/>
                      </a:lnTo>
                      <a:lnTo>
                        <a:pt x="89977" y="68031"/>
                      </a:lnTo>
                      <a:lnTo>
                        <a:pt x="100950" y="74066"/>
                      </a:lnTo>
                      <a:lnTo>
                        <a:pt x="104790" y="74066"/>
                      </a:lnTo>
                      <a:lnTo>
                        <a:pt x="115763" y="69129"/>
                      </a:lnTo>
                      <a:lnTo>
                        <a:pt x="115763" y="72969"/>
                      </a:lnTo>
                      <a:lnTo>
                        <a:pt x="119055" y="77358"/>
                      </a:lnTo>
                      <a:lnTo>
                        <a:pt x="120152" y="66934"/>
                      </a:lnTo>
                      <a:lnTo>
                        <a:pt x="126736" y="57607"/>
                      </a:lnTo>
                      <a:lnTo>
                        <a:pt x="127284" y="14265"/>
                      </a:lnTo>
                      <a:lnTo>
                        <a:pt x="131125" y="10424"/>
                      </a:lnTo>
                      <a:lnTo>
                        <a:pt x="136611" y="9327"/>
                      </a:lnTo>
                      <a:lnTo>
                        <a:pt x="145938" y="2195"/>
                      </a:lnTo>
                      <a:lnTo>
                        <a:pt x="163495" y="0"/>
                      </a:lnTo>
                      <a:lnTo>
                        <a:pt x="175016" y="2195"/>
                      </a:lnTo>
                      <a:lnTo>
                        <a:pt x="183794" y="9327"/>
                      </a:lnTo>
                      <a:lnTo>
                        <a:pt x="194219" y="13167"/>
                      </a:lnTo>
                      <a:lnTo>
                        <a:pt x="197510" y="19751"/>
                      </a:lnTo>
                      <a:lnTo>
                        <a:pt x="212324" y="32918"/>
                      </a:lnTo>
                      <a:lnTo>
                        <a:pt x="217810" y="33467"/>
                      </a:lnTo>
                      <a:lnTo>
                        <a:pt x="223296" y="30724"/>
                      </a:lnTo>
                      <a:lnTo>
                        <a:pt x="234269" y="29627"/>
                      </a:lnTo>
                      <a:lnTo>
                        <a:pt x="245791" y="32918"/>
                      </a:lnTo>
                      <a:lnTo>
                        <a:pt x="249631" y="37308"/>
                      </a:lnTo>
                      <a:lnTo>
                        <a:pt x="252374" y="42245"/>
                      </a:lnTo>
                      <a:lnTo>
                        <a:pt x="256763" y="45537"/>
                      </a:lnTo>
                      <a:lnTo>
                        <a:pt x="260055" y="50475"/>
                      </a:lnTo>
                      <a:lnTo>
                        <a:pt x="261153" y="55413"/>
                      </a:lnTo>
                      <a:lnTo>
                        <a:pt x="255118" y="76810"/>
                      </a:lnTo>
                      <a:lnTo>
                        <a:pt x="260604" y="79004"/>
                      </a:lnTo>
                      <a:lnTo>
                        <a:pt x="264993" y="82296"/>
                      </a:lnTo>
                      <a:lnTo>
                        <a:pt x="264993" y="87782"/>
                      </a:lnTo>
                      <a:lnTo>
                        <a:pt x="277612" y="113020"/>
                      </a:lnTo>
                      <a:lnTo>
                        <a:pt x="277063" y="129479"/>
                      </a:lnTo>
                      <a:lnTo>
                        <a:pt x="270479" y="129479"/>
                      </a:lnTo>
                      <a:lnTo>
                        <a:pt x="257861" y="141001"/>
                      </a:lnTo>
                      <a:lnTo>
                        <a:pt x="256215" y="146487"/>
                      </a:lnTo>
                      <a:lnTo>
                        <a:pt x="249083" y="155265"/>
                      </a:lnTo>
                      <a:lnTo>
                        <a:pt x="243596" y="156362"/>
                      </a:lnTo>
                      <a:lnTo>
                        <a:pt x="233172" y="151973"/>
                      </a:lnTo>
                      <a:lnTo>
                        <a:pt x="228783" y="155265"/>
                      </a:lnTo>
                      <a:lnTo>
                        <a:pt x="227137" y="160752"/>
                      </a:lnTo>
                      <a:lnTo>
                        <a:pt x="222748" y="164043"/>
                      </a:lnTo>
                      <a:lnTo>
                        <a:pt x="217261" y="162397"/>
                      </a:lnTo>
                      <a:lnTo>
                        <a:pt x="212324" y="159654"/>
                      </a:lnTo>
                      <a:lnTo>
                        <a:pt x="207386" y="157460"/>
                      </a:lnTo>
                      <a:lnTo>
                        <a:pt x="194767" y="142098"/>
                      </a:lnTo>
                      <a:lnTo>
                        <a:pt x="176662" y="129479"/>
                      </a:lnTo>
                      <a:lnTo>
                        <a:pt x="165689" y="130028"/>
                      </a:lnTo>
                      <a:lnTo>
                        <a:pt x="160203" y="128382"/>
                      </a:lnTo>
                      <a:lnTo>
                        <a:pt x="153619" y="112471"/>
                      </a:lnTo>
                      <a:lnTo>
                        <a:pt x="149779" y="108631"/>
                      </a:lnTo>
                      <a:lnTo>
                        <a:pt x="144841" y="110277"/>
                      </a:lnTo>
                      <a:lnTo>
                        <a:pt x="136611" y="118506"/>
                      </a:lnTo>
                      <a:lnTo>
                        <a:pt x="126187" y="121249"/>
                      </a:lnTo>
                      <a:lnTo>
                        <a:pt x="104790" y="113020"/>
                      </a:lnTo>
                      <a:lnTo>
                        <a:pt x="88331" y="111923"/>
                      </a:lnTo>
                      <a:lnTo>
                        <a:pt x="83393" y="113020"/>
                      </a:lnTo>
                      <a:lnTo>
                        <a:pt x="78455" y="111923"/>
                      </a:lnTo>
                      <a:lnTo>
                        <a:pt x="73518" y="114117"/>
                      </a:lnTo>
                      <a:lnTo>
                        <a:pt x="67483" y="114117"/>
                      </a:lnTo>
                      <a:lnTo>
                        <a:pt x="62545" y="111374"/>
                      </a:lnTo>
                      <a:lnTo>
                        <a:pt x="45537" y="111374"/>
                      </a:lnTo>
                      <a:lnTo>
                        <a:pt x="20300" y="122347"/>
                      </a:lnTo>
                      <a:lnTo>
                        <a:pt x="13716" y="131674"/>
                      </a:lnTo>
                      <a:lnTo>
                        <a:pt x="9327" y="134965"/>
                      </a:lnTo>
                      <a:lnTo>
                        <a:pt x="2195" y="133868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76" name="Graphic 7">
                  <a:extLst>
                    <a:ext uri="{FF2B5EF4-FFF2-40B4-BE49-F238E27FC236}">
                      <a16:creationId xmlns:a16="http://schemas.microsoft.com/office/drawing/2014/main" id="{68EF2E9A-706D-FA8E-9277-3748C7FF7ACD}"/>
                    </a:ext>
                  </a:extLst>
                </p:cNvPr>
                <p:cNvSpPr/>
                <p:nvPr/>
              </p:nvSpPr>
              <p:spPr>
                <a:xfrm>
                  <a:off x="5666861" y="2524465"/>
                  <a:ext cx="11573" cy="13716"/>
                </a:xfrm>
                <a:custGeom>
                  <a:avLst/>
                  <a:gdLst>
                    <a:gd name="connsiteX0" fmla="*/ 14813 w 14813"/>
                    <a:gd name="connsiteY0" fmla="*/ 17556 h 17556"/>
                    <a:gd name="connsiteX1" fmla="*/ 12619 w 14813"/>
                    <a:gd name="connsiteY1" fmla="*/ 7132 h 17556"/>
                    <a:gd name="connsiteX2" fmla="*/ 6584 w 14813"/>
                    <a:gd name="connsiteY2" fmla="*/ 2195 h 17556"/>
                    <a:gd name="connsiteX3" fmla="*/ 1646 w 14813"/>
                    <a:gd name="connsiteY3" fmla="*/ 0 h 17556"/>
                    <a:gd name="connsiteX4" fmla="*/ 0 w 14813"/>
                    <a:gd name="connsiteY4" fmla="*/ 11521 h 17556"/>
                    <a:gd name="connsiteX5" fmla="*/ 2743 w 14813"/>
                    <a:gd name="connsiteY5" fmla="*/ 15362 h 17556"/>
                    <a:gd name="connsiteX6" fmla="*/ 7681 w 14813"/>
                    <a:gd name="connsiteY6" fmla="*/ 17556 h 17556"/>
                    <a:gd name="connsiteX7" fmla="*/ 14813 w 14813"/>
                    <a:gd name="connsiteY7" fmla="*/ 17556 h 175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4813" h="17556">
                      <a:moveTo>
                        <a:pt x="14813" y="17556"/>
                      </a:moveTo>
                      <a:lnTo>
                        <a:pt x="12619" y="7132"/>
                      </a:lnTo>
                      <a:lnTo>
                        <a:pt x="6584" y="2195"/>
                      </a:lnTo>
                      <a:lnTo>
                        <a:pt x="1646" y="0"/>
                      </a:lnTo>
                      <a:lnTo>
                        <a:pt x="0" y="11521"/>
                      </a:lnTo>
                      <a:lnTo>
                        <a:pt x="2743" y="15362"/>
                      </a:lnTo>
                      <a:lnTo>
                        <a:pt x="7681" y="17556"/>
                      </a:lnTo>
                      <a:lnTo>
                        <a:pt x="14813" y="17556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77" name="Graphic 7">
                  <a:extLst>
                    <a:ext uri="{FF2B5EF4-FFF2-40B4-BE49-F238E27FC236}">
                      <a16:creationId xmlns:a16="http://schemas.microsoft.com/office/drawing/2014/main" id="{2366EE0D-3056-D734-BC3D-A0A4B8947F35}"/>
                    </a:ext>
                  </a:extLst>
                </p:cNvPr>
                <p:cNvSpPr/>
                <p:nvPr/>
              </p:nvSpPr>
              <p:spPr>
                <a:xfrm>
                  <a:off x="5584133" y="2540754"/>
                  <a:ext cx="11144" cy="19288"/>
                </a:xfrm>
                <a:custGeom>
                  <a:avLst/>
                  <a:gdLst>
                    <a:gd name="connsiteX0" fmla="*/ 2743 w 14264"/>
                    <a:gd name="connsiteY0" fmla="*/ 549 h 24688"/>
                    <a:gd name="connsiteX1" fmla="*/ 4389 w 14264"/>
                    <a:gd name="connsiteY1" fmla="*/ 0 h 24688"/>
                    <a:gd name="connsiteX2" fmla="*/ 7132 w 14264"/>
                    <a:gd name="connsiteY2" fmla="*/ 1097 h 24688"/>
                    <a:gd name="connsiteX3" fmla="*/ 8230 w 14264"/>
                    <a:gd name="connsiteY3" fmla="*/ 3841 h 24688"/>
                    <a:gd name="connsiteX4" fmla="*/ 13716 w 14264"/>
                    <a:gd name="connsiteY4" fmla="*/ 6584 h 24688"/>
                    <a:gd name="connsiteX5" fmla="*/ 14265 w 14264"/>
                    <a:gd name="connsiteY5" fmla="*/ 10424 h 24688"/>
                    <a:gd name="connsiteX6" fmla="*/ 10424 w 14264"/>
                    <a:gd name="connsiteY6" fmla="*/ 13716 h 24688"/>
                    <a:gd name="connsiteX7" fmla="*/ 9327 w 14264"/>
                    <a:gd name="connsiteY7" fmla="*/ 24689 h 24688"/>
                    <a:gd name="connsiteX8" fmla="*/ 6584 w 14264"/>
                    <a:gd name="connsiteY8" fmla="*/ 22494 h 24688"/>
                    <a:gd name="connsiteX9" fmla="*/ 6584 w 14264"/>
                    <a:gd name="connsiteY9" fmla="*/ 13716 h 24688"/>
                    <a:gd name="connsiteX10" fmla="*/ 4938 w 14264"/>
                    <a:gd name="connsiteY10" fmla="*/ 11521 h 24688"/>
                    <a:gd name="connsiteX11" fmla="*/ 3292 w 14264"/>
                    <a:gd name="connsiteY11" fmla="*/ 7681 h 24688"/>
                    <a:gd name="connsiteX12" fmla="*/ 2195 w 14264"/>
                    <a:gd name="connsiteY12" fmla="*/ 6035 h 24688"/>
                    <a:gd name="connsiteX13" fmla="*/ 0 w 14264"/>
                    <a:gd name="connsiteY13" fmla="*/ 1646 h 24688"/>
                    <a:gd name="connsiteX14" fmla="*/ 0 w 14264"/>
                    <a:gd name="connsiteY14" fmla="*/ 549 h 24688"/>
                    <a:gd name="connsiteX15" fmla="*/ 2743 w 14264"/>
                    <a:gd name="connsiteY15" fmla="*/ 549 h 246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14264" h="24688">
                      <a:moveTo>
                        <a:pt x="2743" y="549"/>
                      </a:moveTo>
                      <a:lnTo>
                        <a:pt x="4389" y="0"/>
                      </a:lnTo>
                      <a:lnTo>
                        <a:pt x="7132" y="1097"/>
                      </a:lnTo>
                      <a:lnTo>
                        <a:pt x="8230" y="3841"/>
                      </a:lnTo>
                      <a:lnTo>
                        <a:pt x="13716" y="6584"/>
                      </a:lnTo>
                      <a:lnTo>
                        <a:pt x="14265" y="10424"/>
                      </a:lnTo>
                      <a:lnTo>
                        <a:pt x="10424" y="13716"/>
                      </a:lnTo>
                      <a:lnTo>
                        <a:pt x="9327" y="24689"/>
                      </a:lnTo>
                      <a:lnTo>
                        <a:pt x="6584" y="22494"/>
                      </a:lnTo>
                      <a:lnTo>
                        <a:pt x="6584" y="13716"/>
                      </a:lnTo>
                      <a:lnTo>
                        <a:pt x="4938" y="11521"/>
                      </a:lnTo>
                      <a:lnTo>
                        <a:pt x="3292" y="7681"/>
                      </a:lnTo>
                      <a:lnTo>
                        <a:pt x="2195" y="6035"/>
                      </a:lnTo>
                      <a:lnTo>
                        <a:pt x="0" y="1646"/>
                      </a:lnTo>
                      <a:lnTo>
                        <a:pt x="0" y="549"/>
                      </a:lnTo>
                      <a:lnTo>
                        <a:pt x="2743" y="549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78" name="Graphic 7">
                  <a:extLst>
                    <a:ext uri="{FF2B5EF4-FFF2-40B4-BE49-F238E27FC236}">
                      <a16:creationId xmlns:a16="http://schemas.microsoft.com/office/drawing/2014/main" id="{DDF1B269-4D30-836E-A2BF-B01E60B1A5B9}"/>
                    </a:ext>
                  </a:extLst>
                </p:cNvPr>
                <p:cNvSpPr/>
                <p:nvPr/>
              </p:nvSpPr>
              <p:spPr>
                <a:xfrm>
                  <a:off x="5562701" y="2540754"/>
                  <a:ext cx="23146" cy="16716"/>
                </a:xfrm>
                <a:custGeom>
                  <a:avLst/>
                  <a:gdLst>
                    <a:gd name="connsiteX0" fmla="*/ 9327 w 29626"/>
                    <a:gd name="connsiteY0" fmla="*/ 0 h 21396"/>
                    <a:gd name="connsiteX1" fmla="*/ 10424 w 29626"/>
                    <a:gd name="connsiteY1" fmla="*/ 549 h 21396"/>
                    <a:gd name="connsiteX2" fmla="*/ 11521 w 29626"/>
                    <a:gd name="connsiteY2" fmla="*/ 3841 h 21396"/>
                    <a:gd name="connsiteX3" fmla="*/ 14265 w 29626"/>
                    <a:gd name="connsiteY3" fmla="*/ 4389 h 21396"/>
                    <a:gd name="connsiteX4" fmla="*/ 17008 w 29626"/>
                    <a:gd name="connsiteY4" fmla="*/ 7132 h 21396"/>
                    <a:gd name="connsiteX5" fmla="*/ 19202 w 29626"/>
                    <a:gd name="connsiteY5" fmla="*/ 7681 h 21396"/>
                    <a:gd name="connsiteX6" fmla="*/ 19202 w 29626"/>
                    <a:gd name="connsiteY6" fmla="*/ 6035 h 21396"/>
                    <a:gd name="connsiteX7" fmla="*/ 21397 w 29626"/>
                    <a:gd name="connsiteY7" fmla="*/ 6035 h 21396"/>
                    <a:gd name="connsiteX8" fmla="*/ 21397 w 29626"/>
                    <a:gd name="connsiteY8" fmla="*/ 4389 h 21396"/>
                    <a:gd name="connsiteX9" fmla="*/ 24140 w 29626"/>
                    <a:gd name="connsiteY9" fmla="*/ 4389 h 21396"/>
                    <a:gd name="connsiteX10" fmla="*/ 24689 w 29626"/>
                    <a:gd name="connsiteY10" fmla="*/ 6584 h 21396"/>
                    <a:gd name="connsiteX11" fmla="*/ 26883 w 29626"/>
                    <a:gd name="connsiteY11" fmla="*/ 9876 h 21396"/>
                    <a:gd name="connsiteX12" fmla="*/ 29627 w 29626"/>
                    <a:gd name="connsiteY12" fmla="*/ 18654 h 21396"/>
                    <a:gd name="connsiteX13" fmla="*/ 26883 w 29626"/>
                    <a:gd name="connsiteY13" fmla="*/ 19751 h 21396"/>
                    <a:gd name="connsiteX14" fmla="*/ 20300 w 29626"/>
                    <a:gd name="connsiteY14" fmla="*/ 18654 h 21396"/>
                    <a:gd name="connsiteX15" fmla="*/ 19202 w 29626"/>
                    <a:gd name="connsiteY15" fmla="*/ 20848 h 21396"/>
                    <a:gd name="connsiteX16" fmla="*/ 15362 w 29626"/>
                    <a:gd name="connsiteY16" fmla="*/ 21397 h 21396"/>
                    <a:gd name="connsiteX17" fmla="*/ 8778 w 29626"/>
                    <a:gd name="connsiteY17" fmla="*/ 15362 h 21396"/>
                    <a:gd name="connsiteX18" fmla="*/ 1646 w 29626"/>
                    <a:gd name="connsiteY18" fmla="*/ 12619 h 21396"/>
                    <a:gd name="connsiteX19" fmla="*/ 0 w 29626"/>
                    <a:gd name="connsiteY19" fmla="*/ 9327 h 21396"/>
                    <a:gd name="connsiteX20" fmla="*/ 2195 w 29626"/>
                    <a:gd name="connsiteY20" fmla="*/ 9327 h 21396"/>
                    <a:gd name="connsiteX21" fmla="*/ 4389 w 29626"/>
                    <a:gd name="connsiteY21" fmla="*/ 6035 h 21396"/>
                    <a:gd name="connsiteX22" fmla="*/ 2195 w 29626"/>
                    <a:gd name="connsiteY22" fmla="*/ 6035 h 21396"/>
                    <a:gd name="connsiteX23" fmla="*/ 549 w 29626"/>
                    <a:gd name="connsiteY23" fmla="*/ 2743 h 21396"/>
                    <a:gd name="connsiteX24" fmla="*/ 3292 w 29626"/>
                    <a:gd name="connsiteY24" fmla="*/ 1097 h 21396"/>
                    <a:gd name="connsiteX25" fmla="*/ 8230 w 29626"/>
                    <a:gd name="connsiteY25" fmla="*/ 1097 h 21396"/>
                    <a:gd name="connsiteX26" fmla="*/ 9327 w 29626"/>
                    <a:gd name="connsiteY26" fmla="*/ 0 h 213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</a:cxnLst>
                  <a:rect l="l" t="t" r="r" b="b"/>
                  <a:pathLst>
                    <a:path w="29626" h="21396">
                      <a:moveTo>
                        <a:pt x="9327" y="0"/>
                      </a:moveTo>
                      <a:lnTo>
                        <a:pt x="10424" y="549"/>
                      </a:lnTo>
                      <a:lnTo>
                        <a:pt x="11521" y="3841"/>
                      </a:lnTo>
                      <a:lnTo>
                        <a:pt x="14265" y="4389"/>
                      </a:lnTo>
                      <a:lnTo>
                        <a:pt x="17008" y="7132"/>
                      </a:lnTo>
                      <a:lnTo>
                        <a:pt x="19202" y="7681"/>
                      </a:lnTo>
                      <a:lnTo>
                        <a:pt x="19202" y="6035"/>
                      </a:lnTo>
                      <a:lnTo>
                        <a:pt x="21397" y="6035"/>
                      </a:lnTo>
                      <a:lnTo>
                        <a:pt x="21397" y="4389"/>
                      </a:lnTo>
                      <a:lnTo>
                        <a:pt x="24140" y="4389"/>
                      </a:lnTo>
                      <a:lnTo>
                        <a:pt x="24689" y="6584"/>
                      </a:lnTo>
                      <a:lnTo>
                        <a:pt x="26883" y="9876"/>
                      </a:lnTo>
                      <a:lnTo>
                        <a:pt x="29627" y="18654"/>
                      </a:lnTo>
                      <a:lnTo>
                        <a:pt x="26883" y="19751"/>
                      </a:lnTo>
                      <a:lnTo>
                        <a:pt x="20300" y="18654"/>
                      </a:lnTo>
                      <a:lnTo>
                        <a:pt x="19202" y="20848"/>
                      </a:lnTo>
                      <a:lnTo>
                        <a:pt x="15362" y="21397"/>
                      </a:lnTo>
                      <a:lnTo>
                        <a:pt x="8778" y="15362"/>
                      </a:lnTo>
                      <a:lnTo>
                        <a:pt x="1646" y="12619"/>
                      </a:lnTo>
                      <a:lnTo>
                        <a:pt x="0" y="9327"/>
                      </a:lnTo>
                      <a:lnTo>
                        <a:pt x="2195" y="9327"/>
                      </a:lnTo>
                      <a:lnTo>
                        <a:pt x="4389" y="6035"/>
                      </a:lnTo>
                      <a:lnTo>
                        <a:pt x="2195" y="6035"/>
                      </a:lnTo>
                      <a:lnTo>
                        <a:pt x="549" y="2743"/>
                      </a:lnTo>
                      <a:lnTo>
                        <a:pt x="3292" y="1097"/>
                      </a:lnTo>
                      <a:lnTo>
                        <a:pt x="8230" y="1097"/>
                      </a:lnTo>
                      <a:lnTo>
                        <a:pt x="9327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79" name="Graphic 7">
                  <a:extLst>
                    <a:ext uri="{FF2B5EF4-FFF2-40B4-BE49-F238E27FC236}">
                      <a16:creationId xmlns:a16="http://schemas.microsoft.com/office/drawing/2014/main" id="{90985A62-7F73-E32D-9E5A-19538015437E}"/>
                    </a:ext>
                  </a:extLst>
                </p:cNvPr>
                <p:cNvSpPr/>
                <p:nvPr/>
              </p:nvSpPr>
              <p:spPr>
                <a:xfrm>
                  <a:off x="5524981" y="2506891"/>
                  <a:ext cx="33433" cy="30004"/>
                </a:xfrm>
                <a:custGeom>
                  <a:avLst/>
                  <a:gdLst>
                    <a:gd name="connsiteX0" fmla="*/ 10973 w 42793"/>
                    <a:gd name="connsiteY0" fmla="*/ 5486 h 38404"/>
                    <a:gd name="connsiteX1" fmla="*/ 14265 w 42793"/>
                    <a:gd name="connsiteY1" fmla="*/ 3292 h 38404"/>
                    <a:gd name="connsiteX2" fmla="*/ 23043 w 42793"/>
                    <a:gd name="connsiteY2" fmla="*/ 2195 h 38404"/>
                    <a:gd name="connsiteX3" fmla="*/ 28529 w 42793"/>
                    <a:gd name="connsiteY3" fmla="*/ 6035 h 38404"/>
                    <a:gd name="connsiteX4" fmla="*/ 30175 w 42793"/>
                    <a:gd name="connsiteY4" fmla="*/ 5486 h 38404"/>
                    <a:gd name="connsiteX5" fmla="*/ 30175 w 42793"/>
                    <a:gd name="connsiteY5" fmla="*/ 1646 h 38404"/>
                    <a:gd name="connsiteX6" fmla="*/ 31821 w 42793"/>
                    <a:gd name="connsiteY6" fmla="*/ 0 h 38404"/>
                    <a:gd name="connsiteX7" fmla="*/ 37308 w 42793"/>
                    <a:gd name="connsiteY7" fmla="*/ 9327 h 38404"/>
                    <a:gd name="connsiteX8" fmla="*/ 36759 w 42793"/>
                    <a:gd name="connsiteY8" fmla="*/ 14813 h 38404"/>
                    <a:gd name="connsiteX9" fmla="*/ 38405 w 42793"/>
                    <a:gd name="connsiteY9" fmla="*/ 19202 h 38404"/>
                    <a:gd name="connsiteX10" fmla="*/ 39502 w 42793"/>
                    <a:gd name="connsiteY10" fmla="*/ 20848 h 38404"/>
                    <a:gd name="connsiteX11" fmla="*/ 42794 w 42793"/>
                    <a:gd name="connsiteY11" fmla="*/ 21946 h 38404"/>
                    <a:gd name="connsiteX12" fmla="*/ 42794 w 42793"/>
                    <a:gd name="connsiteY12" fmla="*/ 23043 h 38404"/>
                    <a:gd name="connsiteX13" fmla="*/ 40599 w 42793"/>
                    <a:gd name="connsiteY13" fmla="*/ 22494 h 38404"/>
                    <a:gd name="connsiteX14" fmla="*/ 38953 w 42793"/>
                    <a:gd name="connsiteY14" fmla="*/ 35662 h 38404"/>
                    <a:gd name="connsiteX15" fmla="*/ 34016 w 42793"/>
                    <a:gd name="connsiteY15" fmla="*/ 36210 h 38404"/>
                    <a:gd name="connsiteX16" fmla="*/ 29627 w 42793"/>
                    <a:gd name="connsiteY16" fmla="*/ 38405 h 38404"/>
                    <a:gd name="connsiteX17" fmla="*/ 26335 w 42793"/>
                    <a:gd name="connsiteY17" fmla="*/ 37856 h 38404"/>
                    <a:gd name="connsiteX18" fmla="*/ 20848 w 42793"/>
                    <a:gd name="connsiteY18" fmla="*/ 34564 h 38404"/>
                    <a:gd name="connsiteX19" fmla="*/ 14265 w 42793"/>
                    <a:gd name="connsiteY19" fmla="*/ 36210 h 38404"/>
                    <a:gd name="connsiteX20" fmla="*/ 14265 w 42793"/>
                    <a:gd name="connsiteY20" fmla="*/ 33467 h 38404"/>
                    <a:gd name="connsiteX21" fmla="*/ 16459 w 42793"/>
                    <a:gd name="connsiteY21" fmla="*/ 30175 h 38404"/>
                    <a:gd name="connsiteX22" fmla="*/ 13716 w 42793"/>
                    <a:gd name="connsiteY22" fmla="*/ 30175 h 38404"/>
                    <a:gd name="connsiteX23" fmla="*/ 6035 w 42793"/>
                    <a:gd name="connsiteY23" fmla="*/ 26883 h 38404"/>
                    <a:gd name="connsiteX24" fmla="*/ 5486 w 42793"/>
                    <a:gd name="connsiteY24" fmla="*/ 21946 h 38404"/>
                    <a:gd name="connsiteX25" fmla="*/ 2195 w 42793"/>
                    <a:gd name="connsiteY25" fmla="*/ 18654 h 38404"/>
                    <a:gd name="connsiteX26" fmla="*/ 3292 w 42793"/>
                    <a:gd name="connsiteY26" fmla="*/ 15362 h 38404"/>
                    <a:gd name="connsiteX27" fmla="*/ 549 w 42793"/>
                    <a:gd name="connsiteY27" fmla="*/ 12619 h 38404"/>
                    <a:gd name="connsiteX28" fmla="*/ 1646 w 42793"/>
                    <a:gd name="connsiteY28" fmla="*/ 12619 h 38404"/>
                    <a:gd name="connsiteX29" fmla="*/ 1646 w 42793"/>
                    <a:gd name="connsiteY29" fmla="*/ 11521 h 38404"/>
                    <a:gd name="connsiteX30" fmla="*/ 0 w 42793"/>
                    <a:gd name="connsiteY30" fmla="*/ 8778 h 38404"/>
                    <a:gd name="connsiteX31" fmla="*/ 0 w 42793"/>
                    <a:gd name="connsiteY31" fmla="*/ 7132 h 38404"/>
                    <a:gd name="connsiteX32" fmla="*/ 3292 w 42793"/>
                    <a:gd name="connsiteY32" fmla="*/ 7132 h 38404"/>
                    <a:gd name="connsiteX33" fmla="*/ 7132 w 42793"/>
                    <a:gd name="connsiteY33" fmla="*/ 8230 h 38404"/>
                    <a:gd name="connsiteX34" fmla="*/ 10973 w 42793"/>
                    <a:gd name="connsiteY34" fmla="*/ 5486 h 384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</a:cxnLst>
                  <a:rect l="l" t="t" r="r" b="b"/>
                  <a:pathLst>
                    <a:path w="42793" h="38404">
                      <a:moveTo>
                        <a:pt x="10973" y="5486"/>
                      </a:moveTo>
                      <a:lnTo>
                        <a:pt x="14265" y="3292"/>
                      </a:lnTo>
                      <a:lnTo>
                        <a:pt x="23043" y="2195"/>
                      </a:lnTo>
                      <a:lnTo>
                        <a:pt x="28529" y="6035"/>
                      </a:lnTo>
                      <a:lnTo>
                        <a:pt x="30175" y="5486"/>
                      </a:lnTo>
                      <a:lnTo>
                        <a:pt x="30175" y="1646"/>
                      </a:lnTo>
                      <a:lnTo>
                        <a:pt x="31821" y="0"/>
                      </a:lnTo>
                      <a:lnTo>
                        <a:pt x="37308" y="9327"/>
                      </a:lnTo>
                      <a:lnTo>
                        <a:pt x="36759" y="14813"/>
                      </a:lnTo>
                      <a:lnTo>
                        <a:pt x="38405" y="19202"/>
                      </a:lnTo>
                      <a:lnTo>
                        <a:pt x="39502" y="20848"/>
                      </a:lnTo>
                      <a:lnTo>
                        <a:pt x="42794" y="21946"/>
                      </a:lnTo>
                      <a:lnTo>
                        <a:pt x="42794" y="23043"/>
                      </a:lnTo>
                      <a:lnTo>
                        <a:pt x="40599" y="22494"/>
                      </a:lnTo>
                      <a:lnTo>
                        <a:pt x="38953" y="35662"/>
                      </a:lnTo>
                      <a:lnTo>
                        <a:pt x="34016" y="36210"/>
                      </a:lnTo>
                      <a:lnTo>
                        <a:pt x="29627" y="38405"/>
                      </a:lnTo>
                      <a:lnTo>
                        <a:pt x="26335" y="37856"/>
                      </a:lnTo>
                      <a:lnTo>
                        <a:pt x="20848" y="34564"/>
                      </a:lnTo>
                      <a:lnTo>
                        <a:pt x="14265" y="36210"/>
                      </a:lnTo>
                      <a:lnTo>
                        <a:pt x="14265" y="33467"/>
                      </a:lnTo>
                      <a:lnTo>
                        <a:pt x="16459" y="30175"/>
                      </a:lnTo>
                      <a:lnTo>
                        <a:pt x="13716" y="30175"/>
                      </a:lnTo>
                      <a:lnTo>
                        <a:pt x="6035" y="26883"/>
                      </a:lnTo>
                      <a:lnTo>
                        <a:pt x="5486" y="21946"/>
                      </a:lnTo>
                      <a:lnTo>
                        <a:pt x="2195" y="18654"/>
                      </a:lnTo>
                      <a:lnTo>
                        <a:pt x="3292" y="15362"/>
                      </a:lnTo>
                      <a:lnTo>
                        <a:pt x="549" y="12619"/>
                      </a:lnTo>
                      <a:lnTo>
                        <a:pt x="1646" y="12619"/>
                      </a:lnTo>
                      <a:lnTo>
                        <a:pt x="1646" y="11521"/>
                      </a:lnTo>
                      <a:lnTo>
                        <a:pt x="0" y="8778"/>
                      </a:lnTo>
                      <a:lnTo>
                        <a:pt x="0" y="7132"/>
                      </a:lnTo>
                      <a:lnTo>
                        <a:pt x="3292" y="7132"/>
                      </a:lnTo>
                      <a:lnTo>
                        <a:pt x="7132" y="8230"/>
                      </a:lnTo>
                      <a:lnTo>
                        <a:pt x="10973" y="5486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80" name="Graphic 7">
                  <a:extLst>
                    <a:ext uri="{FF2B5EF4-FFF2-40B4-BE49-F238E27FC236}">
                      <a16:creationId xmlns:a16="http://schemas.microsoft.com/office/drawing/2014/main" id="{DFDF3189-56A1-034E-0BE6-1EFB967F95C8}"/>
                    </a:ext>
                  </a:extLst>
                </p:cNvPr>
                <p:cNvSpPr/>
                <p:nvPr/>
              </p:nvSpPr>
              <p:spPr>
                <a:xfrm>
                  <a:off x="5551985" y="2530466"/>
                  <a:ext cx="9001" cy="22717"/>
                </a:xfrm>
                <a:custGeom>
                  <a:avLst/>
                  <a:gdLst>
                    <a:gd name="connsiteX0" fmla="*/ 7681 w 11521"/>
                    <a:gd name="connsiteY0" fmla="*/ 7132 h 29077"/>
                    <a:gd name="connsiteX1" fmla="*/ 7681 w 11521"/>
                    <a:gd name="connsiteY1" fmla="*/ 2195 h 29077"/>
                    <a:gd name="connsiteX2" fmla="*/ 8778 w 11521"/>
                    <a:gd name="connsiteY2" fmla="*/ 0 h 29077"/>
                    <a:gd name="connsiteX3" fmla="*/ 11521 w 11521"/>
                    <a:gd name="connsiteY3" fmla="*/ 0 h 29077"/>
                    <a:gd name="connsiteX4" fmla="*/ 11521 w 11521"/>
                    <a:gd name="connsiteY4" fmla="*/ 9875 h 29077"/>
                    <a:gd name="connsiteX5" fmla="*/ 7681 w 11521"/>
                    <a:gd name="connsiteY5" fmla="*/ 15911 h 29077"/>
                    <a:gd name="connsiteX6" fmla="*/ 7681 w 11521"/>
                    <a:gd name="connsiteY6" fmla="*/ 20300 h 29077"/>
                    <a:gd name="connsiteX7" fmla="*/ 6035 w 11521"/>
                    <a:gd name="connsiteY7" fmla="*/ 22494 h 29077"/>
                    <a:gd name="connsiteX8" fmla="*/ 4389 w 11521"/>
                    <a:gd name="connsiteY8" fmla="*/ 27981 h 29077"/>
                    <a:gd name="connsiteX9" fmla="*/ 2743 w 11521"/>
                    <a:gd name="connsiteY9" fmla="*/ 29078 h 29077"/>
                    <a:gd name="connsiteX10" fmla="*/ 2195 w 11521"/>
                    <a:gd name="connsiteY10" fmla="*/ 23591 h 29077"/>
                    <a:gd name="connsiteX11" fmla="*/ 0 w 11521"/>
                    <a:gd name="connsiteY11" fmla="*/ 19202 h 29077"/>
                    <a:gd name="connsiteX12" fmla="*/ 1646 w 11521"/>
                    <a:gd name="connsiteY12" fmla="*/ 18654 h 29077"/>
                    <a:gd name="connsiteX13" fmla="*/ 2743 w 11521"/>
                    <a:gd name="connsiteY13" fmla="*/ 12070 h 29077"/>
                    <a:gd name="connsiteX14" fmla="*/ 5486 w 11521"/>
                    <a:gd name="connsiteY14" fmla="*/ 7681 h 29077"/>
                    <a:gd name="connsiteX15" fmla="*/ 7681 w 11521"/>
                    <a:gd name="connsiteY15" fmla="*/ 7132 h 290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11521" h="29077">
                      <a:moveTo>
                        <a:pt x="7681" y="7132"/>
                      </a:moveTo>
                      <a:lnTo>
                        <a:pt x="7681" y="2195"/>
                      </a:lnTo>
                      <a:lnTo>
                        <a:pt x="8778" y="0"/>
                      </a:lnTo>
                      <a:lnTo>
                        <a:pt x="11521" y="0"/>
                      </a:lnTo>
                      <a:lnTo>
                        <a:pt x="11521" y="9875"/>
                      </a:lnTo>
                      <a:lnTo>
                        <a:pt x="7681" y="15911"/>
                      </a:lnTo>
                      <a:lnTo>
                        <a:pt x="7681" y="20300"/>
                      </a:lnTo>
                      <a:lnTo>
                        <a:pt x="6035" y="22494"/>
                      </a:lnTo>
                      <a:lnTo>
                        <a:pt x="4389" y="27981"/>
                      </a:lnTo>
                      <a:lnTo>
                        <a:pt x="2743" y="29078"/>
                      </a:lnTo>
                      <a:lnTo>
                        <a:pt x="2195" y="23591"/>
                      </a:lnTo>
                      <a:lnTo>
                        <a:pt x="0" y="19202"/>
                      </a:lnTo>
                      <a:lnTo>
                        <a:pt x="1646" y="18654"/>
                      </a:lnTo>
                      <a:lnTo>
                        <a:pt x="2743" y="12070"/>
                      </a:lnTo>
                      <a:lnTo>
                        <a:pt x="5486" y="7681"/>
                      </a:lnTo>
                      <a:lnTo>
                        <a:pt x="7681" y="7132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81" name="Graphic 7">
                  <a:extLst>
                    <a:ext uri="{FF2B5EF4-FFF2-40B4-BE49-F238E27FC236}">
                      <a16:creationId xmlns:a16="http://schemas.microsoft.com/office/drawing/2014/main" id="{C25C9104-A948-6AB7-D659-41FB8B9CEA6B}"/>
                    </a:ext>
                  </a:extLst>
                </p:cNvPr>
                <p:cNvSpPr/>
                <p:nvPr/>
              </p:nvSpPr>
              <p:spPr>
                <a:xfrm>
                  <a:off x="5560128" y="2479886"/>
                  <a:ext cx="51865" cy="59581"/>
                </a:xfrm>
                <a:custGeom>
                  <a:avLst/>
                  <a:gdLst>
                    <a:gd name="connsiteX0" fmla="*/ 17557 w 66385"/>
                    <a:gd name="connsiteY0" fmla="*/ 9875 h 76260"/>
                    <a:gd name="connsiteX1" fmla="*/ 32918 w 66385"/>
                    <a:gd name="connsiteY1" fmla="*/ 10973 h 76260"/>
                    <a:gd name="connsiteX2" fmla="*/ 32918 w 66385"/>
                    <a:gd name="connsiteY2" fmla="*/ 14265 h 76260"/>
                    <a:gd name="connsiteX3" fmla="*/ 30724 w 66385"/>
                    <a:gd name="connsiteY3" fmla="*/ 15362 h 76260"/>
                    <a:gd name="connsiteX4" fmla="*/ 30175 w 66385"/>
                    <a:gd name="connsiteY4" fmla="*/ 20848 h 76260"/>
                    <a:gd name="connsiteX5" fmla="*/ 28529 w 66385"/>
                    <a:gd name="connsiteY5" fmla="*/ 21946 h 76260"/>
                    <a:gd name="connsiteX6" fmla="*/ 29078 w 66385"/>
                    <a:gd name="connsiteY6" fmla="*/ 23043 h 76260"/>
                    <a:gd name="connsiteX7" fmla="*/ 31273 w 66385"/>
                    <a:gd name="connsiteY7" fmla="*/ 21946 h 76260"/>
                    <a:gd name="connsiteX8" fmla="*/ 31821 w 66385"/>
                    <a:gd name="connsiteY8" fmla="*/ 30724 h 76260"/>
                    <a:gd name="connsiteX9" fmla="*/ 34564 w 66385"/>
                    <a:gd name="connsiteY9" fmla="*/ 27981 h 76260"/>
                    <a:gd name="connsiteX10" fmla="*/ 35662 w 66385"/>
                    <a:gd name="connsiteY10" fmla="*/ 21946 h 76260"/>
                    <a:gd name="connsiteX11" fmla="*/ 37308 w 66385"/>
                    <a:gd name="connsiteY11" fmla="*/ 20848 h 76260"/>
                    <a:gd name="connsiteX12" fmla="*/ 37308 w 66385"/>
                    <a:gd name="connsiteY12" fmla="*/ 16459 h 76260"/>
                    <a:gd name="connsiteX13" fmla="*/ 36759 w 66385"/>
                    <a:gd name="connsiteY13" fmla="*/ 16459 h 76260"/>
                    <a:gd name="connsiteX14" fmla="*/ 37308 w 66385"/>
                    <a:gd name="connsiteY14" fmla="*/ 15362 h 76260"/>
                    <a:gd name="connsiteX15" fmla="*/ 38405 w 66385"/>
                    <a:gd name="connsiteY15" fmla="*/ 15362 h 76260"/>
                    <a:gd name="connsiteX16" fmla="*/ 41697 w 66385"/>
                    <a:gd name="connsiteY16" fmla="*/ 23043 h 76260"/>
                    <a:gd name="connsiteX17" fmla="*/ 41148 w 66385"/>
                    <a:gd name="connsiteY17" fmla="*/ 26883 h 76260"/>
                    <a:gd name="connsiteX18" fmla="*/ 40051 w 66385"/>
                    <a:gd name="connsiteY18" fmla="*/ 26883 h 76260"/>
                    <a:gd name="connsiteX19" fmla="*/ 38953 w 66385"/>
                    <a:gd name="connsiteY19" fmla="*/ 29078 h 76260"/>
                    <a:gd name="connsiteX20" fmla="*/ 40051 w 66385"/>
                    <a:gd name="connsiteY20" fmla="*/ 29078 h 76260"/>
                    <a:gd name="connsiteX21" fmla="*/ 40051 w 66385"/>
                    <a:gd name="connsiteY21" fmla="*/ 30724 h 76260"/>
                    <a:gd name="connsiteX22" fmla="*/ 42245 w 66385"/>
                    <a:gd name="connsiteY22" fmla="*/ 30724 h 76260"/>
                    <a:gd name="connsiteX23" fmla="*/ 42794 w 66385"/>
                    <a:gd name="connsiteY23" fmla="*/ 14813 h 76260"/>
                    <a:gd name="connsiteX24" fmla="*/ 41148 w 66385"/>
                    <a:gd name="connsiteY24" fmla="*/ 12619 h 76260"/>
                    <a:gd name="connsiteX25" fmla="*/ 37856 w 66385"/>
                    <a:gd name="connsiteY25" fmla="*/ 11521 h 76260"/>
                    <a:gd name="connsiteX26" fmla="*/ 37308 w 66385"/>
                    <a:gd name="connsiteY26" fmla="*/ 8778 h 76260"/>
                    <a:gd name="connsiteX27" fmla="*/ 42245 w 66385"/>
                    <a:gd name="connsiteY27" fmla="*/ 3292 h 76260"/>
                    <a:gd name="connsiteX28" fmla="*/ 48829 w 66385"/>
                    <a:gd name="connsiteY28" fmla="*/ 1646 h 76260"/>
                    <a:gd name="connsiteX29" fmla="*/ 49378 w 66385"/>
                    <a:gd name="connsiteY29" fmla="*/ 549 h 76260"/>
                    <a:gd name="connsiteX30" fmla="*/ 53767 w 66385"/>
                    <a:gd name="connsiteY30" fmla="*/ 0 h 76260"/>
                    <a:gd name="connsiteX31" fmla="*/ 57607 w 66385"/>
                    <a:gd name="connsiteY31" fmla="*/ 4389 h 76260"/>
                    <a:gd name="connsiteX32" fmla="*/ 60899 w 66385"/>
                    <a:gd name="connsiteY32" fmla="*/ 13167 h 76260"/>
                    <a:gd name="connsiteX33" fmla="*/ 62545 w 66385"/>
                    <a:gd name="connsiteY33" fmla="*/ 13716 h 76260"/>
                    <a:gd name="connsiteX34" fmla="*/ 61448 w 66385"/>
                    <a:gd name="connsiteY34" fmla="*/ 17008 h 76260"/>
                    <a:gd name="connsiteX35" fmla="*/ 62545 w 66385"/>
                    <a:gd name="connsiteY35" fmla="*/ 20300 h 76260"/>
                    <a:gd name="connsiteX36" fmla="*/ 63642 w 66385"/>
                    <a:gd name="connsiteY36" fmla="*/ 20848 h 76260"/>
                    <a:gd name="connsiteX37" fmla="*/ 63642 w 66385"/>
                    <a:gd name="connsiteY37" fmla="*/ 24689 h 76260"/>
                    <a:gd name="connsiteX38" fmla="*/ 66385 w 66385"/>
                    <a:gd name="connsiteY38" fmla="*/ 31821 h 76260"/>
                    <a:gd name="connsiteX39" fmla="*/ 61448 w 66385"/>
                    <a:gd name="connsiteY39" fmla="*/ 31821 h 76260"/>
                    <a:gd name="connsiteX40" fmla="*/ 59253 w 66385"/>
                    <a:gd name="connsiteY40" fmla="*/ 34016 h 76260"/>
                    <a:gd name="connsiteX41" fmla="*/ 55413 w 66385"/>
                    <a:gd name="connsiteY41" fmla="*/ 34016 h 76260"/>
                    <a:gd name="connsiteX42" fmla="*/ 50475 w 66385"/>
                    <a:gd name="connsiteY42" fmla="*/ 41697 h 76260"/>
                    <a:gd name="connsiteX43" fmla="*/ 49378 w 66385"/>
                    <a:gd name="connsiteY43" fmla="*/ 47183 h 76260"/>
                    <a:gd name="connsiteX44" fmla="*/ 53767 w 66385"/>
                    <a:gd name="connsiteY44" fmla="*/ 47183 h 76260"/>
                    <a:gd name="connsiteX45" fmla="*/ 57059 w 66385"/>
                    <a:gd name="connsiteY45" fmla="*/ 52121 h 76260"/>
                    <a:gd name="connsiteX46" fmla="*/ 57059 w 66385"/>
                    <a:gd name="connsiteY46" fmla="*/ 58704 h 76260"/>
                    <a:gd name="connsiteX47" fmla="*/ 47183 w 66385"/>
                    <a:gd name="connsiteY47" fmla="*/ 61448 h 76260"/>
                    <a:gd name="connsiteX48" fmla="*/ 46086 w 66385"/>
                    <a:gd name="connsiteY48" fmla="*/ 63094 h 76260"/>
                    <a:gd name="connsiteX49" fmla="*/ 46086 w 66385"/>
                    <a:gd name="connsiteY49" fmla="*/ 65837 h 76260"/>
                    <a:gd name="connsiteX50" fmla="*/ 46634 w 66385"/>
                    <a:gd name="connsiteY50" fmla="*/ 65837 h 76260"/>
                    <a:gd name="connsiteX51" fmla="*/ 47732 w 66385"/>
                    <a:gd name="connsiteY51" fmla="*/ 69129 h 76260"/>
                    <a:gd name="connsiteX52" fmla="*/ 46634 w 66385"/>
                    <a:gd name="connsiteY52" fmla="*/ 69129 h 76260"/>
                    <a:gd name="connsiteX53" fmla="*/ 46086 w 66385"/>
                    <a:gd name="connsiteY53" fmla="*/ 70775 h 76260"/>
                    <a:gd name="connsiteX54" fmla="*/ 46086 w 66385"/>
                    <a:gd name="connsiteY54" fmla="*/ 75164 h 76260"/>
                    <a:gd name="connsiteX55" fmla="*/ 42245 w 66385"/>
                    <a:gd name="connsiteY55" fmla="*/ 76261 h 76260"/>
                    <a:gd name="connsiteX56" fmla="*/ 40051 w 66385"/>
                    <a:gd name="connsiteY56" fmla="*/ 74066 h 76260"/>
                    <a:gd name="connsiteX57" fmla="*/ 30175 w 66385"/>
                    <a:gd name="connsiteY57" fmla="*/ 72420 h 76260"/>
                    <a:gd name="connsiteX58" fmla="*/ 27432 w 66385"/>
                    <a:gd name="connsiteY58" fmla="*/ 70226 h 76260"/>
                    <a:gd name="connsiteX59" fmla="*/ 27432 w 66385"/>
                    <a:gd name="connsiteY59" fmla="*/ 69129 h 76260"/>
                    <a:gd name="connsiteX60" fmla="*/ 31273 w 66385"/>
                    <a:gd name="connsiteY60" fmla="*/ 70226 h 76260"/>
                    <a:gd name="connsiteX61" fmla="*/ 30175 w 66385"/>
                    <a:gd name="connsiteY61" fmla="*/ 66385 h 76260"/>
                    <a:gd name="connsiteX62" fmla="*/ 31273 w 66385"/>
                    <a:gd name="connsiteY62" fmla="*/ 66385 h 76260"/>
                    <a:gd name="connsiteX63" fmla="*/ 31273 w 66385"/>
                    <a:gd name="connsiteY63" fmla="*/ 63642 h 76260"/>
                    <a:gd name="connsiteX64" fmla="*/ 22494 w 66385"/>
                    <a:gd name="connsiteY64" fmla="*/ 61448 h 76260"/>
                    <a:gd name="connsiteX65" fmla="*/ 13716 w 66385"/>
                    <a:gd name="connsiteY65" fmla="*/ 61996 h 76260"/>
                    <a:gd name="connsiteX66" fmla="*/ 13167 w 66385"/>
                    <a:gd name="connsiteY66" fmla="*/ 56510 h 76260"/>
                    <a:gd name="connsiteX67" fmla="*/ 8778 w 66385"/>
                    <a:gd name="connsiteY67" fmla="*/ 54864 h 76260"/>
                    <a:gd name="connsiteX68" fmla="*/ 7681 w 66385"/>
                    <a:gd name="connsiteY68" fmla="*/ 52669 h 76260"/>
                    <a:gd name="connsiteX69" fmla="*/ 7681 w 66385"/>
                    <a:gd name="connsiteY69" fmla="*/ 51572 h 76260"/>
                    <a:gd name="connsiteX70" fmla="*/ 8778 w 66385"/>
                    <a:gd name="connsiteY70" fmla="*/ 51023 h 76260"/>
                    <a:gd name="connsiteX71" fmla="*/ 9876 w 66385"/>
                    <a:gd name="connsiteY71" fmla="*/ 36210 h 76260"/>
                    <a:gd name="connsiteX72" fmla="*/ 7681 w 66385"/>
                    <a:gd name="connsiteY72" fmla="*/ 33467 h 76260"/>
                    <a:gd name="connsiteX73" fmla="*/ 2743 w 66385"/>
                    <a:gd name="connsiteY73" fmla="*/ 32918 h 76260"/>
                    <a:gd name="connsiteX74" fmla="*/ 1646 w 66385"/>
                    <a:gd name="connsiteY74" fmla="*/ 31821 h 76260"/>
                    <a:gd name="connsiteX75" fmla="*/ 4389 w 66385"/>
                    <a:gd name="connsiteY75" fmla="*/ 30175 h 76260"/>
                    <a:gd name="connsiteX76" fmla="*/ 0 w 66385"/>
                    <a:gd name="connsiteY76" fmla="*/ 28529 h 76260"/>
                    <a:gd name="connsiteX77" fmla="*/ 0 w 66385"/>
                    <a:gd name="connsiteY77" fmla="*/ 27432 h 76260"/>
                    <a:gd name="connsiteX78" fmla="*/ 2195 w 66385"/>
                    <a:gd name="connsiteY78" fmla="*/ 25786 h 76260"/>
                    <a:gd name="connsiteX79" fmla="*/ 12070 w 66385"/>
                    <a:gd name="connsiteY79" fmla="*/ 26335 h 76260"/>
                    <a:gd name="connsiteX80" fmla="*/ 15911 w 66385"/>
                    <a:gd name="connsiteY80" fmla="*/ 25237 h 76260"/>
                    <a:gd name="connsiteX81" fmla="*/ 17008 w 66385"/>
                    <a:gd name="connsiteY81" fmla="*/ 19751 h 76260"/>
                    <a:gd name="connsiteX82" fmla="*/ 20848 w 66385"/>
                    <a:gd name="connsiteY82" fmla="*/ 19751 h 76260"/>
                    <a:gd name="connsiteX83" fmla="*/ 23043 w 66385"/>
                    <a:gd name="connsiteY83" fmla="*/ 18105 h 76260"/>
                    <a:gd name="connsiteX84" fmla="*/ 23043 w 66385"/>
                    <a:gd name="connsiteY84" fmla="*/ 14813 h 76260"/>
                    <a:gd name="connsiteX85" fmla="*/ 17557 w 66385"/>
                    <a:gd name="connsiteY85" fmla="*/ 9875 h 762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</a:cxnLst>
                  <a:rect l="l" t="t" r="r" b="b"/>
                  <a:pathLst>
                    <a:path w="66385" h="76260">
                      <a:moveTo>
                        <a:pt x="17557" y="9875"/>
                      </a:moveTo>
                      <a:lnTo>
                        <a:pt x="32918" y="10973"/>
                      </a:lnTo>
                      <a:lnTo>
                        <a:pt x="32918" y="14265"/>
                      </a:lnTo>
                      <a:lnTo>
                        <a:pt x="30724" y="15362"/>
                      </a:lnTo>
                      <a:lnTo>
                        <a:pt x="30175" y="20848"/>
                      </a:lnTo>
                      <a:lnTo>
                        <a:pt x="28529" y="21946"/>
                      </a:lnTo>
                      <a:lnTo>
                        <a:pt x="29078" y="23043"/>
                      </a:lnTo>
                      <a:lnTo>
                        <a:pt x="31273" y="21946"/>
                      </a:lnTo>
                      <a:lnTo>
                        <a:pt x="31821" y="30724"/>
                      </a:lnTo>
                      <a:lnTo>
                        <a:pt x="34564" y="27981"/>
                      </a:lnTo>
                      <a:lnTo>
                        <a:pt x="35662" y="21946"/>
                      </a:lnTo>
                      <a:lnTo>
                        <a:pt x="37308" y="20848"/>
                      </a:lnTo>
                      <a:lnTo>
                        <a:pt x="37308" y="16459"/>
                      </a:lnTo>
                      <a:lnTo>
                        <a:pt x="36759" y="16459"/>
                      </a:lnTo>
                      <a:lnTo>
                        <a:pt x="37308" y="15362"/>
                      </a:lnTo>
                      <a:lnTo>
                        <a:pt x="38405" y="15362"/>
                      </a:lnTo>
                      <a:lnTo>
                        <a:pt x="41697" y="23043"/>
                      </a:lnTo>
                      <a:lnTo>
                        <a:pt x="41148" y="26883"/>
                      </a:lnTo>
                      <a:lnTo>
                        <a:pt x="40051" y="26883"/>
                      </a:lnTo>
                      <a:lnTo>
                        <a:pt x="38953" y="29078"/>
                      </a:lnTo>
                      <a:lnTo>
                        <a:pt x="40051" y="29078"/>
                      </a:lnTo>
                      <a:lnTo>
                        <a:pt x="40051" y="30724"/>
                      </a:lnTo>
                      <a:lnTo>
                        <a:pt x="42245" y="30724"/>
                      </a:lnTo>
                      <a:lnTo>
                        <a:pt x="42794" y="14813"/>
                      </a:lnTo>
                      <a:lnTo>
                        <a:pt x="41148" y="12619"/>
                      </a:lnTo>
                      <a:lnTo>
                        <a:pt x="37856" y="11521"/>
                      </a:lnTo>
                      <a:lnTo>
                        <a:pt x="37308" y="8778"/>
                      </a:lnTo>
                      <a:lnTo>
                        <a:pt x="42245" y="3292"/>
                      </a:lnTo>
                      <a:lnTo>
                        <a:pt x="48829" y="1646"/>
                      </a:lnTo>
                      <a:lnTo>
                        <a:pt x="49378" y="549"/>
                      </a:lnTo>
                      <a:lnTo>
                        <a:pt x="53767" y="0"/>
                      </a:lnTo>
                      <a:lnTo>
                        <a:pt x="57607" y="4389"/>
                      </a:lnTo>
                      <a:lnTo>
                        <a:pt x="60899" y="13167"/>
                      </a:lnTo>
                      <a:lnTo>
                        <a:pt x="62545" y="13716"/>
                      </a:lnTo>
                      <a:lnTo>
                        <a:pt x="61448" y="17008"/>
                      </a:lnTo>
                      <a:lnTo>
                        <a:pt x="62545" y="20300"/>
                      </a:lnTo>
                      <a:lnTo>
                        <a:pt x="63642" y="20848"/>
                      </a:lnTo>
                      <a:lnTo>
                        <a:pt x="63642" y="24689"/>
                      </a:lnTo>
                      <a:lnTo>
                        <a:pt x="66385" y="31821"/>
                      </a:lnTo>
                      <a:lnTo>
                        <a:pt x="61448" y="31821"/>
                      </a:lnTo>
                      <a:lnTo>
                        <a:pt x="59253" y="34016"/>
                      </a:lnTo>
                      <a:lnTo>
                        <a:pt x="55413" y="34016"/>
                      </a:lnTo>
                      <a:lnTo>
                        <a:pt x="50475" y="41697"/>
                      </a:lnTo>
                      <a:lnTo>
                        <a:pt x="49378" y="47183"/>
                      </a:lnTo>
                      <a:lnTo>
                        <a:pt x="53767" y="47183"/>
                      </a:lnTo>
                      <a:lnTo>
                        <a:pt x="57059" y="52121"/>
                      </a:lnTo>
                      <a:lnTo>
                        <a:pt x="57059" y="58704"/>
                      </a:lnTo>
                      <a:lnTo>
                        <a:pt x="47183" y="61448"/>
                      </a:lnTo>
                      <a:lnTo>
                        <a:pt x="46086" y="63094"/>
                      </a:lnTo>
                      <a:lnTo>
                        <a:pt x="46086" y="65837"/>
                      </a:lnTo>
                      <a:lnTo>
                        <a:pt x="46634" y="65837"/>
                      </a:lnTo>
                      <a:lnTo>
                        <a:pt x="47732" y="69129"/>
                      </a:lnTo>
                      <a:lnTo>
                        <a:pt x="46634" y="69129"/>
                      </a:lnTo>
                      <a:lnTo>
                        <a:pt x="46086" y="70775"/>
                      </a:lnTo>
                      <a:lnTo>
                        <a:pt x="46086" y="75164"/>
                      </a:lnTo>
                      <a:lnTo>
                        <a:pt x="42245" y="76261"/>
                      </a:lnTo>
                      <a:lnTo>
                        <a:pt x="40051" y="74066"/>
                      </a:lnTo>
                      <a:lnTo>
                        <a:pt x="30175" y="72420"/>
                      </a:lnTo>
                      <a:lnTo>
                        <a:pt x="27432" y="70226"/>
                      </a:lnTo>
                      <a:lnTo>
                        <a:pt x="27432" y="69129"/>
                      </a:lnTo>
                      <a:lnTo>
                        <a:pt x="31273" y="70226"/>
                      </a:lnTo>
                      <a:lnTo>
                        <a:pt x="30175" y="66385"/>
                      </a:lnTo>
                      <a:lnTo>
                        <a:pt x="31273" y="66385"/>
                      </a:lnTo>
                      <a:lnTo>
                        <a:pt x="31273" y="63642"/>
                      </a:lnTo>
                      <a:lnTo>
                        <a:pt x="22494" y="61448"/>
                      </a:lnTo>
                      <a:lnTo>
                        <a:pt x="13716" y="61996"/>
                      </a:lnTo>
                      <a:lnTo>
                        <a:pt x="13167" y="56510"/>
                      </a:lnTo>
                      <a:lnTo>
                        <a:pt x="8778" y="54864"/>
                      </a:lnTo>
                      <a:lnTo>
                        <a:pt x="7681" y="52669"/>
                      </a:lnTo>
                      <a:lnTo>
                        <a:pt x="7681" y="51572"/>
                      </a:lnTo>
                      <a:lnTo>
                        <a:pt x="8778" y="51023"/>
                      </a:lnTo>
                      <a:lnTo>
                        <a:pt x="9876" y="36210"/>
                      </a:lnTo>
                      <a:lnTo>
                        <a:pt x="7681" y="33467"/>
                      </a:lnTo>
                      <a:lnTo>
                        <a:pt x="2743" y="32918"/>
                      </a:lnTo>
                      <a:lnTo>
                        <a:pt x="1646" y="31821"/>
                      </a:lnTo>
                      <a:lnTo>
                        <a:pt x="4389" y="30175"/>
                      </a:lnTo>
                      <a:lnTo>
                        <a:pt x="0" y="28529"/>
                      </a:lnTo>
                      <a:lnTo>
                        <a:pt x="0" y="27432"/>
                      </a:lnTo>
                      <a:lnTo>
                        <a:pt x="2195" y="25786"/>
                      </a:lnTo>
                      <a:lnTo>
                        <a:pt x="12070" y="26335"/>
                      </a:lnTo>
                      <a:lnTo>
                        <a:pt x="15911" y="25237"/>
                      </a:lnTo>
                      <a:lnTo>
                        <a:pt x="17008" y="19751"/>
                      </a:lnTo>
                      <a:lnTo>
                        <a:pt x="20848" y="19751"/>
                      </a:lnTo>
                      <a:lnTo>
                        <a:pt x="23043" y="18105"/>
                      </a:lnTo>
                      <a:lnTo>
                        <a:pt x="23043" y="14813"/>
                      </a:lnTo>
                      <a:lnTo>
                        <a:pt x="17557" y="9875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82" name="Graphic 7">
                  <a:extLst>
                    <a:ext uri="{FF2B5EF4-FFF2-40B4-BE49-F238E27FC236}">
                      <a16:creationId xmlns:a16="http://schemas.microsoft.com/office/drawing/2014/main" id="{0E3BCE0D-33E1-5B9C-F77A-840F5E8A3927}"/>
                    </a:ext>
                  </a:extLst>
                </p:cNvPr>
                <p:cNvSpPr/>
                <p:nvPr/>
              </p:nvSpPr>
              <p:spPr>
                <a:xfrm>
                  <a:off x="5474401" y="2395444"/>
                  <a:ext cx="81870" cy="151310"/>
                </a:xfrm>
                <a:custGeom>
                  <a:avLst/>
                  <a:gdLst>
                    <a:gd name="connsiteX0" fmla="*/ 24140 w 104790"/>
                    <a:gd name="connsiteY0" fmla="*/ 190378 h 193669"/>
                    <a:gd name="connsiteX1" fmla="*/ 29627 w 104790"/>
                    <a:gd name="connsiteY1" fmla="*/ 189829 h 193669"/>
                    <a:gd name="connsiteX2" fmla="*/ 45537 w 104790"/>
                    <a:gd name="connsiteY2" fmla="*/ 193670 h 193669"/>
                    <a:gd name="connsiteX3" fmla="*/ 53767 w 104790"/>
                    <a:gd name="connsiteY3" fmla="*/ 190378 h 193669"/>
                    <a:gd name="connsiteX4" fmla="*/ 54315 w 104790"/>
                    <a:gd name="connsiteY4" fmla="*/ 188732 h 193669"/>
                    <a:gd name="connsiteX5" fmla="*/ 55961 w 104790"/>
                    <a:gd name="connsiteY5" fmla="*/ 188732 h 193669"/>
                    <a:gd name="connsiteX6" fmla="*/ 57059 w 104790"/>
                    <a:gd name="connsiteY6" fmla="*/ 190378 h 193669"/>
                    <a:gd name="connsiteX7" fmla="*/ 60899 w 104790"/>
                    <a:gd name="connsiteY7" fmla="*/ 190927 h 193669"/>
                    <a:gd name="connsiteX8" fmla="*/ 60899 w 104790"/>
                    <a:gd name="connsiteY8" fmla="*/ 187635 h 193669"/>
                    <a:gd name="connsiteX9" fmla="*/ 55961 w 104790"/>
                    <a:gd name="connsiteY9" fmla="*/ 182697 h 193669"/>
                    <a:gd name="connsiteX10" fmla="*/ 51572 w 104790"/>
                    <a:gd name="connsiteY10" fmla="*/ 182697 h 193669"/>
                    <a:gd name="connsiteX11" fmla="*/ 51024 w 104790"/>
                    <a:gd name="connsiteY11" fmla="*/ 173370 h 193669"/>
                    <a:gd name="connsiteX12" fmla="*/ 57607 w 104790"/>
                    <a:gd name="connsiteY12" fmla="*/ 168433 h 193669"/>
                    <a:gd name="connsiteX13" fmla="*/ 57607 w 104790"/>
                    <a:gd name="connsiteY13" fmla="*/ 166238 h 193669"/>
                    <a:gd name="connsiteX14" fmla="*/ 55961 w 104790"/>
                    <a:gd name="connsiteY14" fmla="*/ 166238 h 193669"/>
                    <a:gd name="connsiteX15" fmla="*/ 55413 w 104790"/>
                    <a:gd name="connsiteY15" fmla="*/ 160203 h 193669"/>
                    <a:gd name="connsiteX16" fmla="*/ 57059 w 104790"/>
                    <a:gd name="connsiteY16" fmla="*/ 153071 h 193669"/>
                    <a:gd name="connsiteX17" fmla="*/ 55413 w 104790"/>
                    <a:gd name="connsiteY17" fmla="*/ 150327 h 193669"/>
                    <a:gd name="connsiteX18" fmla="*/ 61996 w 104790"/>
                    <a:gd name="connsiteY18" fmla="*/ 143744 h 193669"/>
                    <a:gd name="connsiteX19" fmla="*/ 61448 w 104790"/>
                    <a:gd name="connsiteY19" fmla="*/ 141001 h 193669"/>
                    <a:gd name="connsiteX20" fmla="*/ 57059 w 104790"/>
                    <a:gd name="connsiteY20" fmla="*/ 136611 h 193669"/>
                    <a:gd name="connsiteX21" fmla="*/ 60899 w 104790"/>
                    <a:gd name="connsiteY21" fmla="*/ 134965 h 193669"/>
                    <a:gd name="connsiteX22" fmla="*/ 69677 w 104790"/>
                    <a:gd name="connsiteY22" fmla="*/ 136063 h 193669"/>
                    <a:gd name="connsiteX23" fmla="*/ 70775 w 104790"/>
                    <a:gd name="connsiteY23" fmla="*/ 131674 h 193669"/>
                    <a:gd name="connsiteX24" fmla="*/ 67483 w 104790"/>
                    <a:gd name="connsiteY24" fmla="*/ 126187 h 193669"/>
                    <a:gd name="connsiteX25" fmla="*/ 70226 w 104790"/>
                    <a:gd name="connsiteY25" fmla="*/ 123993 h 193669"/>
                    <a:gd name="connsiteX26" fmla="*/ 79004 w 104790"/>
                    <a:gd name="connsiteY26" fmla="*/ 124541 h 193669"/>
                    <a:gd name="connsiteX27" fmla="*/ 82296 w 104790"/>
                    <a:gd name="connsiteY27" fmla="*/ 119603 h 193669"/>
                    <a:gd name="connsiteX28" fmla="*/ 80650 w 104790"/>
                    <a:gd name="connsiteY28" fmla="*/ 111374 h 193669"/>
                    <a:gd name="connsiteX29" fmla="*/ 83393 w 104790"/>
                    <a:gd name="connsiteY29" fmla="*/ 103144 h 193669"/>
                    <a:gd name="connsiteX30" fmla="*/ 87234 w 104790"/>
                    <a:gd name="connsiteY30" fmla="*/ 101498 h 193669"/>
                    <a:gd name="connsiteX31" fmla="*/ 87234 w 104790"/>
                    <a:gd name="connsiteY31" fmla="*/ 105339 h 193669"/>
                    <a:gd name="connsiteX32" fmla="*/ 89428 w 104790"/>
                    <a:gd name="connsiteY32" fmla="*/ 109728 h 193669"/>
                    <a:gd name="connsiteX33" fmla="*/ 93817 w 104790"/>
                    <a:gd name="connsiteY33" fmla="*/ 104242 h 193669"/>
                    <a:gd name="connsiteX34" fmla="*/ 94366 w 104790"/>
                    <a:gd name="connsiteY34" fmla="*/ 106436 h 193669"/>
                    <a:gd name="connsiteX35" fmla="*/ 104242 w 104790"/>
                    <a:gd name="connsiteY35" fmla="*/ 97658 h 193669"/>
                    <a:gd name="connsiteX36" fmla="*/ 104790 w 104790"/>
                    <a:gd name="connsiteY36" fmla="*/ 90526 h 193669"/>
                    <a:gd name="connsiteX37" fmla="*/ 103693 w 104790"/>
                    <a:gd name="connsiteY37" fmla="*/ 85039 h 193669"/>
                    <a:gd name="connsiteX38" fmla="*/ 100401 w 104790"/>
                    <a:gd name="connsiteY38" fmla="*/ 83393 h 193669"/>
                    <a:gd name="connsiteX39" fmla="*/ 93817 w 104790"/>
                    <a:gd name="connsiteY39" fmla="*/ 84491 h 193669"/>
                    <a:gd name="connsiteX40" fmla="*/ 88880 w 104790"/>
                    <a:gd name="connsiteY40" fmla="*/ 86685 h 193669"/>
                    <a:gd name="connsiteX41" fmla="*/ 85588 w 104790"/>
                    <a:gd name="connsiteY41" fmla="*/ 82296 h 193669"/>
                    <a:gd name="connsiteX42" fmla="*/ 81199 w 104790"/>
                    <a:gd name="connsiteY42" fmla="*/ 82296 h 193669"/>
                    <a:gd name="connsiteX43" fmla="*/ 78456 w 104790"/>
                    <a:gd name="connsiteY43" fmla="*/ 86685 h 193669"/>
                    <a:gd name="connsiteX44" fmla="*/ 76810 w 104790"/>
                    <a:gd name="connsiteY44" fmla="*/ 83393 h 193669"/>
                    <a:gd name="connsiteX45" fmla="*/ 77358 w 104790"/>
                    <a:gd name="connsiteY45" fmla="*/ 79553 h 193669"/>
                    <a:gd name="connsiteX46" fmla="*/ 81747 w 104790"/>
                    <a:gd name="connsiteY46" fmla="*/ 74615 h 193669"/>
                    <a:gd name="connsiteX47" fmla="*/ 80650 w 104790"/>
                    <a:gd name="connsiteY47" fmla="*/ 72969 h 193669"/>
                    <a:gd name="connsiteX48" fmla="*/ 74066 w 104790"/>
                    <a:gd name="connsiteY48" fmla="*/ 75164 h 193669"/>
                    <a:gd name="connsiteX49" fmla="*/ 74066 w 104790"/>
                    <a:gd name="connsiteY49" fmla="*/ 71872 h 193669"/>
                    <a:gd name="connsiteX50" fmla="*/ 79553 w 104790"/>
                    <a:gd name="connsiteY50" fmla="*/ 69677 h 193669"/>
                    <a:gd name="connsiteX51" fmla="*/ 80101 w 104790"/>
                    <a:gd name="connsiteY51" fmla="*/ 63642 h 193669"/>
                    <a:gd name="connsiteX52" fmla="*/ 80650 w 104790"/>
                    <a:gd name="connsiteY52" fmla="*/ 63094 h 193669"/>
                    <a:gd name="connsiteX53" fmla="*/ 80650 w 104790"/>
                    <a:gd name="connsiteY53" fmla="*/ 54315 h 193669"/>
                    <a:gd name="connsiteX54" fmla="*/ 89977 w 104790"/>
                    <a:gd name="connsiteY54" fmla="*/ 32370 h 193669"/>
                    <a:gd name="connsiteX55" fmla="*/ 89977 w 104790"/>
                    <a:gd name="connsiteY55" fmla="*/ 26335 h 193669"/>
                    <a:gd name="connsiteX56" fmla="*/ 86137 w 104790"/>
                    <a:gd name="connsiteY56" fmla="*/ 13167 h 193669"/>
                    <a:gd name="connsiteX57" fmla="*/ 89428 w 104790"/>
                    <a:gd name="connsiteY57" fmla="*/ 1646 h 193669"/>
                    <a:gd name="connsiteX58" fmla="*/ 88331 w 104790"/>
                    <a:gd name="connsiteY58" fmla="*/ 0 h 193669"/>
                    <a:gd name="connsiteX59" fmla="*/ 69129 w 104790"/>
                    <a:gd name="connsiteY59" fmla="*/ 10973 h 193669"/>
                    <a:gd name="connsiteX60" fmla="*/ 58156 w 104790"/>
                    <a:gd name="connsiteY60" fmla="*/ 23591 h 193669"/>
                    <a:gd name="connsiteX61" fmla="*/ 55961 w 104790"/>
                    <a:gd name="connsiteY61" fmla="*/ 30724 h 193669"/>
                    <a:gd name="connsiteX62" fmla="*/ 48829 w 104790"/>
                    <a:gd name="connsiteY62" fmla="*/ 36210 h 193669"/>
                    <a:gd name="connsiteX63" fmla="*/ 19751 w 104790"/>
                    <a:gd name="connsiteY63" fmla="*/ 42245 h 193669"/>
                    <a:gd name="connsiteX64" fmla="*/ 13167 w 104790"/>
                    <a:gd name="connsiteY64" fmla="*/ 48829 h 193669"/>
                    <a:gd name="connsiteX65" fmla="*/ 0 w 104790"/>
                    <a:gd name="connsiteY65" fmla="*/ 91623 h 193669"/>
                    <a:gd name="connsiteX66" fmla="*/ 1646 w 104790"/>
                    <a:gd name="connsiteY66" fmla="*/ 119603 h 193669"/>
                    <a:gd name="connsiteX67" fmla="*/ 3841 w 104790"/>
                    <a:gd name="connsiteY67" fmla="*/ 126187 h 193669"/>
                    <a:gd name="connsiteX68" fmla="*/ 2195 w 104790"/>
                    <a:gd name="connsiteY68" fmla="*/ 147035 h 193669"/>
                    <a:gd name="connsiteX69" fmla="*/ 5486 w 104790"/>
                    <a:gd name="connsiteY69" fmla="*/ 147035 h 193669"/>
                    <a:gd name="connsiteX70" fmla="*/ 8230 w 104790"/>
                    <a:gd name="connsiteY70" fmla="*/ 145390 h 193669"/>
                    <a:gd name="connsiteX71" fmla="*/ 14813 w 104790"/>
                    <a:gd name="connsiteY71" fmla="*/ 149779 h 193669"/>
                    <a:gd name="connsiteX72" fmla="*/ 22494 w 104790"/>
                    <a:gd name="connsiteY72" fmla="*/ 161300 h 193669"/>
                    <a:gd name="connsiteX73" fmla="*/ 24140 w 104790"/>
                    <a:gd name="connsiteY73" fmla="*/ 190378 h 1936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</a:cxnLst>
                  <a:rect l="l" t="t" r="r" b="b"/>
                  <a:pathLst>
                    <a:path w="104790" h="193669">
                      <a:moveTo>
                        <a:pt x="24140" y="190378"/>
                      </a:moveTo>
                      <a:lnTo>
                        <a:pt x="29627" y="189829"/>
                      </a:lnTo>
                      <a:lnTo>
                        <a:pt x="45537" y="193670"/>
                      </a:lnTo>
                      <a:lnTo>
                        <a:pt x="53767" y="190378"/>
                      </a:lnTo>
                      <a:lnTo>
                        <a:pt x="54315" y="188732"/>
                      </a:lnTo>
                      <a:lnTo>
                        <a:pt x="55961" y="188732"/>
                      </a:lnTo>
                      <a:lnTo>
                        <a:pt x="57059" y="190378"/>
                      </a:lnTo>
                      <a:lnTo>
                        <a:pt x="60899" y="190927"/>
                      </a:lnTo>
                      <a:lnTo>
                        <a:pt x="60899" y="187635"/>
                      </a:lnTo>
                      <a:lnTo>
                        <a:pt x="55961" y="182697"/>
                      </a:lnTo>
                      <a:lnTo>
                        <a:pt x="51572" y="182697"/>
                      </a:lnTo>
                      <a:lnTo>
                        <a:pt x="51024" y="173370"/>
                      </a:lnTo>
                      <a:lnTo>
                        <a:pt x="57607" y="168433"/>
                      </a:lnTo>
                      <a:lnTo>
                        <a:pt x="57607" y="166238"/>
                      </a:lnTo>
                      <a:lnTo>
                        <a:pt x="55961" y="166238"/>
                      </a:lnTo>
                      <a:lnTo>
                        <a:pt x="55413" y="160203"/>
                      </a:lnTo>
                      <a:lnTo>
                        <a:pt x="57059" y="153071"/>
                      </a:lnTo>
                      <a:lnTo>
                        <a:pt x="55413" y="150327"/>
                      </a:lnTo>
                      <a:lnTo>
                        <a:pt x="61996" y="143744"/>
                      </a:lnTo>
                      <a:lnTo>
                        <a:pt x="61448" y="141001"/>
                      </a:lnTo>
                      <a:lnTo>
                        <a:pt x="57059" y="136611"/>
                      </a:lnTo>
                      <a:lnTo>
                        <a:pt x="60899" y="134965"/>
                      </a:lnTo>
                      <a:lnTo>
                        <a:pt x="69677" y="136063"/>
                      </a:lnTo>
                      <a:lnTo>
                        <a:pt x="70775" y="131674"/>
                      </a:lnTo>
                      <a:lnTo>
                        <a:pt x="67483" y="126187"/>
                      </a:lnTo>
                      <a:lnTo>
                        <a:pt x="70226" y="123993"/>
                      </a:lnTo>
                      <a:lnTo>
                        <a:pt x="79004" y="124541"/>
                      </a:lnTo>
                      <a:lnTo>
                        <a:pt x="82296" y="119603"/>
                      </a:lnTo>
                      <a:lnTo>
                        <a:pt x="80650" y="111374"/>
                      </a:lnTo>
                      <a:lnTo>
                        <a:pt x="83393" y="103144"/>
                      </a:lnTo>
                      <a:lnTo>
                        <a:pt x="87234" y="101498"/>
                      </a:lnTo>
                      <a:lnTo>
                        <a:pt x="87234" y="105339"/>
                      </a:lnTo>
                      <a:lnTo>
                        <a:pt x="89428" y="109728"/>
                      </a:lnTo>
                      <a:lnTo>
                        <a:pt x="93817" y="104242"/>
                      </a:lnTo>
                      <a:lnTo>
                        <a:pt x="94366" y="106436"/>
                      </a:lnTo>
                      <a:lnTo>
                        <a:pt x="104242" y="97658"/>
                      </a:lnTo>
                      <a:lnTo>
                        <a:pt x="104790" y="90526"/>
                      </a:lnTo>
                      <a:lnTo>
                        <a:pt x="103693" y="85039"/>
                      </a:lnTo>
                      <a:lnTo>
                        <a:pt x="100401" y="83393"/>
                      </a:lnTo>
                      <a:lnTo>
                        <a:pt x="93817" y="84491"/>
                      </a:lnTo>
                      <a:lnTo>
                        <a:pt x="88880" y="86685"/>
                      </a:lnTo>
                      <a:lnTo>
                        <a:pt x="85588" y="82296"/>
                      </a:lnTo>
                      <a:lnTo>
                        <a:pt x="81199" y="82296"/>
                      </a:lnTo>
                      <a:lnTo>
                        <a:pt x="78456" y="86685"/>
                      </a:lnTo>
                      <a:lnTo>
                        <a:pt x="76810" y="83393"/>
                      </a:lnTo>
                      <a:lnTo>
                        <a:pt x="77358" y="79553"/>
                      </a:lnTo>
                      <a:lnTo>
                        <a:pt x="81747" y="74615"/>
                      </a:lnTo>
                      <a:lnTo>
                        <a:pt x="80650" y="72969"/>
                      </a:lnTo>
                      <a:lnTo>
                        <a:pt x="74066" y="75164"/>
                      </a:lnTo>
                      <a:lnTo>
                        <a:pt x="74066" y="71872"/>
                      </a:lnTo>
                      <a:lnTo>
                        <a:pt x="79553" y="69677"/>
                      </a:lnTo>
                      <a:lnTo>
                        <a:pt x="80101" y="63642"/>
                      </a:lnTo>
                      <a:lnTo>
                        <a:pt x="80650" y="63094"/>
                      </a:lnTo>
                      <a:lnTo>
                        <a:pt x="80650" y="54315"/>
                      </a:lnTo>
                      <a:lnTo>
                        <a:pt x="89977" y="32370"/>
                      </a:lnTo>
                      <a:lnTo>
                        <a:pt x="89977" y="26335"/>
                      </a:lnTo>
                      <a:lnTo>
                        <a:pt x="86137" y="13167"/>
                      </a:lnTo>
                      <a:lnTo>
                        <a:pt x="89428" y="1646"/>
                      </a:lnTo>
                      <a:lnTo>
                        <a:pt x="88331" y="0"/>
                      </a:lnTo>
                      <a:lnTo>
                        <a:pt x="69129" y="10973"/>
                      </a:lnTo>
                      <a:lnTo>
                        <a:pt x="58156" y="23591"/>
                      </a:lnTo>
                      <a:lnTo>
                        <a:pt x="55961" y="30724"/>
                      </a:lnTo>
                      <a:lnTo>
                        <a:pt x="48829" y="36210"/>
                      </a:lnTo>
                      <a:lnTo>
                        <a:pt x="19751" y="42245"/>
                      </a:lnTo>
                      <a:lnTo>
                        <a:pt x="13167" y="48829"/>
                      </a:lnTo>
                      <a:lnTo>
                        <a:pt x="0" y="91623"/>
                      </a:lnTo>
                      <a:lnTo>
                        <a:pt x="1646" y="119603"/>
                      </a:lnTo>
                      <a:lnTo>
                        <a:pt x="3841" y="126187"/>
                      </a:lnTo>
                      <a:lnTo>
                        <a:pt x="2195" y="147035"/>
                      </a:lnTo>
                      <a:lnTo>
                        <a:pt x="5486" y="147035"/>
                      </a:lnTo>
                      <a:lnTo>
                        <a:pt x="8230" y="145390"/>
                      </a:lnTo>
                      <a:lnTo>
                        <a:pt x="14813" y="149779"/>
                      </a:lnTo>
                      <a:lnTo>
                        <a:pt x="22494" y="161300"/>
                      </a:lnTo>
                      <a:lnTo>
                        <a:pt x="24140" y="190378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83" name="Graphic 7">
                  <a:extLst>
                    <a:ext uri="{FF2B5EF4-FFF2-40B4-BE49-F238E27FC236}">
                      <a16:creationId xmlns:a16="http://schemas.microsoft.com/office/drawing/2014/main" id="{CCF81E32-5209-586F-E4E1-95AA6F984476}"/>
                    </a:ext>
                  </a:extLst>
                </p:cNvPr>
                <p:cNvSpPr/>
                <p:nvPr/>
              </p:nvSpPr>
              <p:spPr>
                <a:xfrm>
                  <a:off x="5404103" y="2772221"/>
                  <a:ext cx="20146" cy="28290"/>
                </a:xfrm>
                <a:custGeom>
                  <a:avLst/>
                  <a:gdLst>
                    <a:gd name="connsiteX0" fmla="*/ 14265 w 25786"/>
                    <a:gd name="connsiteY0" fmla="*/ 36210 h 36210"/>
                    <a:gd name="connsiteX1" fmla="*/ 22494 w 25786"/>
                    <a:gd name="connsiteY1" fmla="*/ 35662 h 36210"/>
                    <a:gd name="connsiteX2" fmla="*/ 25786 w 25786"/>
                    <a:gd name="connsiteY2" fmla="*/ 31273 h 36210"/>
                    <a:gd name="connsiteX3" fmla="*/ 24689 w 25786"/>
                    <a:gd name="connsiteY3" fmla="*/ 23043 h 36210"/>
                    <a:gd name="connsiteX4" fmla="*/ 19202 w 25786"/>
                    <a:gd name="connsiteY4" fmla="*/ 13167 h 36210"/>
                    <a:gd name="connsiteX5" fmla="*/ 18654 w 25786"/>
                    <a:gd name="connsiteY5" fmla="*/ 8230 h 36210"/>
                    <a:gd name="connsiteX6" fmla="*/ 20848 w 25786"/>
                    <a:gd name="connsiteY6" fmla="*/ 2743 h 36210"/>
                    <a:gd name="connsiteX7" fmla="*/ 15362 w 25786"/>
                    <a:gd name="connsiteY7" fmla="*/ 0 h 36210"/>
                    <a:gd name="connsiteX8" fmla="*/ 10424 w 25786"/>
                    <a:gd name="connsiteY8" fmla="*/ 0 h 36210"/>
                    <a:gd name="connsiteX9" fmla="*/ 3840 w 25786"/>
                    <a:gd name="connsiteY9" fmla="*/ 5486 h 36210"/>
                    <a:gd name="connsiteX10" fmla="*/ 0 w 25786"/>
                    <a:gd name="connsiteY10" fmla="*/ 13716 h 36210"/>
                    <a:gd name="connsiteX11" fmla="*/ 2743 w 25786"/>
                    <a:gd name="connsiteY11" fmla="*/ 22494 h 36210"/>
                    <a:gd name="connsiteX12" fmla="*/ 2743 w 25786"/>
                    <a:gd name="connsiteY12" fmla="*/ 32918 h 36210"/>
                    <a:gd name="connsiteX13" fmla="*/ 14265 w 25786"/>
                    <a:gd name="connsiteY13" fmla="*/ 36210 h 362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25786" h="36210">
                      <a:moveTo>
                        <a:pt x="14265" y="36210"/>
                      </a:moveTo>
                      <a:lnTo>
                        <a:pt x="22494" y="35662"/>
                      </a:lnTo>
                      <a:lnTo>
                        <a:pt x="25786" y="31273"/>
                      </a:lnTo>
                      <a:lnTo>
                        <a:pt x="24689" y="23043"/>
                      </a:lnTo>
                      <a:lnTo>
                        <a:pt x="19202" y="13167"/>
                      </a:lnTo>
                      <a:lnTo>
                        <a:pt x="18654" y="8230"/>
                      </a:lnTo>
                      <a:lnTo>
                        <a:pt x="20848" y="2743"/>
                      </a:lnTo>
                      <a:lnTo>
                        <a:pt x="15362" y="0"/>
                      </a:lnTo>
                      <a:lnTo>
                        <a:pt x="10424" y="0"/>
                      </a:lnTo>
                      <a:lnTo>
                        <a:pt x="3840" y="5486"/>
                      </a:lnTo>
                      <a:lnTo>
                        <a:pt x="0" y="13716"/>
                      </a:lnTo>
                      <a:lnTo>
                        <a:pt x="2743" y="22494"/>
                      </a:lnTo>
                      <a:lnTo>
                        <a:pt x="2743" y="32918"/>
                      </a:lnTo>
                      <a:lnTo>
                        <a:pt x="14265" y="3621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84" name="Graphic 7">
                  <a:extLst>
                    <a:ext uri="{FF2B5EF4-FFF2-40B4-BE49-F238E27FC236}">
                      <a16:creationId xmlns:a16="http://schemas.microsoft.com/office/drawing/2014/main" id="{C53A91AB-73FC-2D4E-030B-4FFA303479DF}"/>
                    </a:ext>
                  </a:extLst>
                </p:cNvPr>
                <p:cNvSpPr/>
                <p:nvPr/>
              </p:nvSpPr>
              <p:spPr>
                <a:xfrm>
                  <a:off x="5715298" y="2414304"/>
                  <a:ext cx="20145" cy="58723"/>
                </a:xfrm>
                <a:custGeom>
                  <a:avLst/>
                  <a:gdLst>
                    <a:gd name="connsiteX0" fmla="*/ 0 w 25785"/>
                    <a:gd name="connsiteY0" fmla="*/ 75164 h 75163"/>
                    <a:gd name="connsiteX1" fmla="*/ 5486 w 25785"/>
                    <a:gd name="connsiteY1" fmla="*/ 68580 h 75163"/>
                    <a:gd name="connsiteX2" fmla="*/ 23043 w 25785"/>
                    <a:gd name="connsiteY2" fmla="*/ 6035 h 75163"/>
                    <a:gd name="connsiteX3" fmla="*/ 25237 w 25785"/>
                    <a:gd name="connsiteY3" fmla="*/ 2743 h 75163"/>
                    <a:gd name="connsiteX4" fmla="*/ 25786 w 25785"/>
                    <a:gd name="connsiteY4" fmla="*/ 0 h 75163"/>
                    <a:gd name="connsiteX5" fmla="*/ 22494 w 25785"/>
                    <a:gd name="connsiteY5" fmla="*/ 3292 h 75163"/>
                    <a:gd name="connsiteX6" fmla="*/ 0 w 25785"/>
                    <a:gd name="connsiteY6" fmla="*/ 75164 h 751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5785" h="75163">
                      <a:moveTo>
                        <a:pt x="0" y="75164"/>
                      </a:moveTo>
                      <a:lnTo>
                        <a:pt x="5486" y="68580"/>
                      </a:lnTo>
                      <a:lnTo>
                        <a:pt x="23043" y="6035"/>
                      </a:lnTo>
                      <a:lnTo>
                        <a:pt x="25237" y="2743"/>
                      </a:lnTo>
                      <a:lnTo>
                        <a:pt x="25786" y="0"/>
                      </a:lnTo>
                      <a:lnTo>
                        <a:pt x="22494" y="3292"/>
                      </a:lnTo>
                      <a:lnTo>
                        <a:pt x="0" y="75164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85" name="Graphic 7">
                  <a:extLst>
                    <a:ext uri="{FF2B5EF4-FFF2-40B4-BE49-F238E27FC236}">
                      <a16:creationId xmlns:a16="http://schemas.microsoft.com/office/drawing/2014/main" id="{3DA5717B-D786-A3F0-DF91-57865DA82BD3}"/>
                    </a:ext>
                  </a:extLst>
                </p:cNvPr>
                <p:cNvSpPr/>
                <p:nvPr/>
              </p:nvSpPr>
              <p:spPr>
                <a:xfrm>
                  <a:off x="5766735" y="2383442"/>
                  <a:ext cx="26147" cy="53151"/>
                </a:xfrm>
                <a:custGeom>
                  <a:avLst/>
                  <a:gdLst>
                    <a:gd name="connsiteX0" fmla="*/ 1097 w 33467"/>
                    <a:gd name="connsiteY0" fmla="*/ 68031 h 68031"/>
                    <a:gd name="connsiteX1" fmla="*/ 5486 w 33467"/>
                    <a:gd name="connsiteY1" fmla="*/ 65288 h 68031"/>
                    <a:gd name="connsiteX2" fmla="*/ 10973 w 33467"/>
                    <a:gd name="connsiteY2" fmla="*/ 54315 h 68031"/>
                    <a:gd name="connsiteX3" fmla="*/ 21397 w 33467"/>
                    <a:gd name="connsiteY3" fmla="*/ 44440 h 68031"/>
                    <a:gd name="connsiteX4" fmla="*/ 21397 w 33467"/>
                    <a:gd name="connsiteY4" fmla="*/ 41697 h 68031"/>
                    <a:gd name="connsiteX5" fmla="*/ 29078 w 33467"/>
                    <a:gd name="connsiteY5" fmla="*/ 35662 h 68031"/>
                    <a:gd name="connsiteX6" fmla="*/ 26883 w 33467"/>
                    <a:gd name="connsiteY6" fmla="*/ 14813 h 68031"/>
                    <a:gd name="connsiteX7" fmla="*/ 28529 w 33467"/>
                    <a:gd name="connsiteY7" fmla="*/ 12070 h 68031"/>
                    <a:gd name="connsiteX8" fmla="*/ 32918 w 33467"/>
                    <a:gd name="connsiteY8" fmla="*/ 9875 h 68031"/>
                    <a:gd name="connsiteX9" fmla="*/ 33467 w 33467"/>
                    <a:gd name="connsiteY9" fmla="*/ 1646 h 68031"/>
                    <a:gd name="connsiteX10" fmla="*/ 29627 w 33467"/>
                    <a:gd name="connsiteY10" fmla="*/ 0 h 68031"/>
                    <a:gd name="connsiteX11" fmla="*/ 25237 w 33467"/>
                    <a:gd name="connsiteY11" fmla="*/ 3840 h 68031"/>
                    <a:gd name="connsiteX12" fmla="*/ 19751 w 33467"/>
                    <a:gd name="connsiteY12" fmla="*/ 1646 h 68031"/>
                    <a:gd name="connsiteX13" fmla="*/ 2743 w 33467"/>
                    <a:gd name="connsiteY13" fmla="*/ 25786 h 68031"/>
                    <a:gd name="connsiteX14" fmla="*/ 0 w 33467"/>
                    <a:gd name="connsiteY14" fmla="*/ 49378 h 68031"/>
                    <a:gd name="connsiteX15" fmla="*/ 2195 w 33467"/>
                    <a:gd name="connsiteY15" fmla="*/ 52669 h 68031"/>
                    <a:gd name="connsiteX16" fmla="*/ 1646 w 33467"/>
                    <a:gd name="connsiteY16" fmla="*/ 58156 h 68031"/>
                    <a:gd name="connsiteX17" fmla="*/ 5486 w 33467"/>
                    <a:gd name="connsiteY17" fmla="*/ 57607 h 68031"/>
                    <a:gd name="connsiteX18" fmla="*/ 4938 w 33467"/>
                    <a:gd name="connsiteY18" fmla="*/ 61996 h 68031"/>
                    <a:gd name="connsiteX19" fmla="*/ 1097 w 33467"/>
                    <a:gd name="connsiteY19" fmla="*/ 68031 h 680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33467" h="68031">
                      <a:moveTo>
                        <a:pt x="1097" y="68031"/>
                      </a:moveTo>
                      <a:lnTo>
                        <a:pt x="5486" y="65288"/>
                      </a:lnTo>
                      <a:lnTo>
                        <a:pt x="10973" y="54315"/>
                      </a:lnTo>
                      <a:lnTo>
                        <a:pt x="21397" y="44440"/>
                      </a:lnTo>
                      <a:lnTo>
                        <a:pt x="21397" y="41697"/>
                      </a:lnTo>
                      <a:lnTo>
                        <a:pt x="29078" y="35662"/>
                      </a:lnTo>
                      <a:lnTo>
                        <a:pt x="26883" y="14813"/>
                      </a:lnTo>
                      <a:lnTo>
                        <a:pt x="28529" y="12070"/>
                      </a:lnTo>
                      <a:lnTo>
                        <a:pt x="32918" y="9875"/>
                      </a:lnTo>
                      <a:lnTo>
                        <a:pt x="33467" y="1646"/>
                      </a:lnTo>
                      <a:lnTo>
                        <a:pt x="29627" y="0"/>
                      </a:lnTo>
                      <a:lnTo>
                        <a:pt x="25237" y="3840"/>
                      </a:lnTo>
                      <a:lnTo>
                        <a:pt x="19751" y="1646"/>
                      </a:lnTo>
                      <a:lnTo>
                        <a:pt x="2743" y="25786"/>
                      </a:lnTo>
                      <a:lnTo>
                        <a:pt x="0" y="49378"/>
                      </a:lnTo>
                      <a:lnTo>
                        <a:pt x="2195" y="52669"/>
                      </a:lnTo>
                      <a:lnTo>
                        <a:pt x="1646" y="58156"/>
                      </a:lnTo>
                      <a:lnTo>
                        <a:pt x="5486" y="57607"/>
                      </a:lnTo>
                      <a:lnTo>
                        <a:pt x="4938" y="61996"/>
                      </a:lnTo>
                      <a:lnTo>
                        <a:pt x="1097" y="68031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86" name="Graphic 7">
                  <a:extLst>
                    <a:ext uri="{FF2B5EF4-FFF2-40B4-BE49-F238E27FC236}">
                      <a16:creationId xmlns:a16="http://schemas.microsoft.com/office/drawing/2014/main" id="{381BA390-B841-2204-68A8-DEC812B69C45}"/>
                    </a:ext>
                  </a:extLst>
                </p:cNvPr>
                <p:cNvSpPr/>
                <p:nvPr/>
              </p:nvSpPr>
              <p:spPr>
                <a:xfrm>
                  <a:off x="5379242" y="2626482"/>
                  <a:ext cx="8572" cy="15431"/>
                </a:xfrm>
                <a:custGeom>
                  <a:avLst/>
                  <a:gdLst>
                    <a:gd name="connsiteX0" fmla="*/ 9876 w 10972"/>
                    <a:gd name="connsiteY0" fmla="*/ 6584 h 19751"/>
                    <a:gd name="connsiteX1" fmla="*/ 10973 w 10972"/>
                    <a:gd name="connsiteY1" fmla="*/ 0 h 19751"/>
                    <a:gd name="connsiteX2" fmla="*/ 10973 w 10972"/>
                    <a:gd name="connsiteY2" fmla="*/ 1097 h 19751"/>
                    <a:gd name="connsiteX3" fmla="*/ 0 w 10972"/>
                    <a:gd name="connsiteY3" fmla="*/ 19751 h 19751"/>
                    <a:gd name="connsiteX4" fmla="*/ 4938 w 10972"/>
                    <a:gd name="connsiteY4" fmla="*/ 16459 h 19751"/>
                    <a:gd name="connsiteX5" fmla="*/ 7681 w 10972"/>
                    <a:gd name="connsiteY5" fmla="*/ 9876 h 19751"/>
                    <a:gd name="connsiteX6" fmla="*/ 9876 w 10972"/>
                    <a:gd name="connsiteY6" fmla="*/ 6584 h 197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972" h="19751">
                      <a:moveTo>
                        <a:pt x="9876" y="6584"/>
                      </a:moveTo>
                      <a:lnTo>
                        <a:pt x="10973" y="0"/>
                      </a:lnTo>
                      <a:lnTo>
                        <a:pt x="10973" y="1097"/>
                      </a:lnTo>
                      <a:lnTo>
                        <a:pt x="0" y="19751"/>
                      </a:lnTo>
                      <a:lnTo>
                        <a:pt x="4938" y="16459"/>
                      </a:lnTo>
                      <a:lnTo>
                        <a:pt x="7681" y="9876"/>
                      </a:lnTo>
                      <a:lnTo>
                        <a:pt x="9876" y="6584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87" name="Graphic 7">
                  <a:extLst>
                    <a:ext uri="{FF2B5EF4-FFF2-40B4-BE49-F238E27FC236}">
                      <a16:creationId xmlns:a16="http://schemas.microsoft.com/office/drawing/2014/main" id="{CA61A9EF-492A-47D5-B6ED-FFEC04A12EBD}"/>
                    </a:ext>
                  </a:extLst>
                </p:cNvPr>
                <p:cNvSpPr/>
                <p:nvPr/>
              </p:nvSpPr>
              <p:spPr>
                <a:xfrm>
                  <a:off x="5356953" y="2696779"/>
                  <a:ext cx="9430" cy="6001"/>
                </a:xfrm>
                <a:custGeom>
                  <a:avLst/>
                  <a:gdLst>
                    <a:gd name="connsiteX0" fmla="*/ 1646 w 12070"/>
                    <a:gd name="connsiteY0" fmla="*/ 2195 h 7681"/>
                    <a:gd name="connsiteX1" fmla="*/ 0 w 12070"/>
                    <a:gd name="connsiteY1" fmla="*/ 549 h 7681"/>
                    <a:gd name="connsiteX2" fmla="*/ 4389 w 12070"/>
                    <a:gd name="connsiteY2" fmla="*/ 0 h 7681"/>
                    <a:gd name="connsiteX3" fmla="*/ 10973 w 12070"/>
                    <a:gd name="connsiteY3" fmla="*/ 6035 h 7681"/>
                    <a:gd name="connsiteX4" fmla="*/ 12070 w 12070"/>
                    <a:gd name="connsiteY4" fmla="*/ 7681 h 7681"/>
                    <a:gd name="connsiteX5" fmla="*/ 1646 w 12070"/>
                    <a:gd name="connsiteY5" fmla="*/ 2195 h 76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2070" h="7681">
                      <a:moveTo>
                        <a:pt x="1646" y="2195"/>
                      </a:moveTo>
                      <a:lnTo>
                        <a:pt x="0" y="549"/>
                      </a:lnTo>
                      <a:lnTo>
                        <a:pt x="4389" y="0"/>
                      </a:lnTo>
                      <a:lnTo>
                        <a:pt x="10973" y="6035"/>
                      </a:lnTo>
                      <a:lnTo>
                        <a:pt x="12070" y="7681"/>
                      </a:lnTo>
                      <a:lnTo>
                        <a:pt x="1646" y="2195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88" name="Graphic 7">
                  <a:extLst>
                    <a:ext uri="{FF2B5EF4-FFF2-40B4-BE49-F238E27FC236}">
                      <a16:creationId xmlns:a16="http://schemas.microsoft.com/office/drawing/2014/main" id="{F93174A2-80FD-2B0C-82EA-9AABD7648355}"/>
                    </a:ext>
                  </a:extLst>
                </p:cNvPr>
                <p:cNvSpPr/>
                <p:nvPr/>
              </p:nvSpPr>
              <p:spPr>
                <a:xfrm>
                  <a:off x="5351380" y="2700208"/>
                  <a:ext cx="8144" cy="3857"/>
                </a:xfrm>
                <a:custGeom>
                  <a:avLst/>
                  <a:gdLst>
                    <a:gd name="connsiteX0" fmla="*/ 0 w 10424"/>
                    <a:gd name="connsiteY0" fmla="*/ 1646 h 4937"/>
                    <a:gd name="connsiteX1" fmla="*/ 3840 w 10424"/>
                    <a:gd name="connsiteY1" fmla="*/ 0 h 4937"/>
                    <a:gd name="connsiteX2" fmla="*/ 9876 w 10424"/>
                    <a:gd name="connsiteY2" fmla="*/ 2743 h 4937"/>
                    <a:gd name="connsiteX3" fmla="*/ 10424 w 10424"/>
                    <a:gd name="connsiteY3" fmla="*/ 4938 h 4937"/>
                    <a:gd name="connsiteX4" fmla="*/ 0 w 10424"/>
                    <a:gd name="connsiteY4" fmla="*/ 1646 h 49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424" h="4937">
                      <a:moveTo>
                        <a:pt x="0" y="1646"/>
                      </a:moveTo>
                      <a:lnTo>
                        <a:pt x="3840" y="0"/>
                      </a:lnTo>
                      <a:lnTo>
                        <a:pt x="9876" y="2743"/>
                      </a:lnTo>
                      <a:lnTo>
                        <a:pt x="10424" y="4938"/>
                      </a:lnTo>
                      <a:lnTo>
                        <a:pt x="0" y="1646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89" name="Graphic 7">
                  <a:extLst>
                    <a:ext uri="{FF2B5EF4-FFF2-40B4-BE49-F238E27FC236}">
                      <a16:creationId xmlns:a16="http://schemas.microsoft.com/office/drawing/2014/main" id="{71AD8704-A1D4-8709-6BAD-92717D58AA8E}"/>
                    </a:ext>
                  </a:extLst>
                </p:cNvPr>
                <p:cNvSpPr/>
                <p:nvPr/>
              </p:nvSpPr>
              <p:spPr>
                <a:xfrm>
                  <a:off x="5345808" y="2708781"/>
                  <a:ext cx="3000" cy="5143"/>
                </a:xfrm>
                <a:custGeom>
                  <a:avLst/>
                  <a:gdLst>
                    <a:gd name="connsiteX0" fmla="*/ 549 w 3840"/>
                    <a:gd name="connsiteY0" fmla="*/ 0 h 6583"/>
                    <a:gd name="connsiteX1" fmla="*/ 0 w 3840"/>
                    <a:gd name="connsiteY1" fmla="*/ 6584 h 6583"/>
                    <a:gd name="connsiteX2" fmla="*/ 2195 w 3840"/>
                    <a:gd name="connsiteY2" fmla="*/ 6584 h 6583"/>
                    <a:gd name="connsiteX3" fmla="*/ 3841 w 3840"/>
                    <a:gd name="connsiteY3" fmla="*/ 4389 h 6583"/>
                    <a:gd name="connsiteX4" fmla="*/ 3841 w 3840"/>
                    <a:gd name="connsiteY4" fmla="*/ 2195 h 6583"/>
                    <a:gd name="connsiteX5" fmla="*/ 549 w 3840"/>
                    <a:gd name="connsiteY5" fmla="*/ 0 h 65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840" h="6583">
                      <a:moveTo>
                        <a:pt x="549" y="0"/>
                      </a:moveTo>
                      <a:lnTo>
                        <a:pt x="0" y="6584"/>
                      </a:lnTo>
                      <a:lnTo>
                        <a:pt x="2195" y="6584"/>
                      </a:lnTo>
                      <a:lnTo>
                        <a:pt x="3841" y="4389"/>
                      </a:lnTo>
                      <a:lnTo>
                        <a:pt x="3841" y="2195"/>
                      </a:lnTo>
                      <a:lnTo>
                        <a:pt x="549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90" name="Graphic 7">
                  <a:extLst>
                    <a:ext uri="{FF2B5EF4-FFF2-40B4-BE49-F238E27FC236}">
                      <a16:creationId xmlns:a16="http://schemas.microsoft.com/office/drawing/2014/main" id="{2CE9D70A-F4F6-0D1C-A3EF-6257A7C51D31}"/>
                    </a:ext>
                  </a:extLst>
                </p:cNvPr>
                <p:cNvSpPr/>
                <p:nvPr/>
              </p:nvSpPr>
              <p:spPr>
                <a:xfrm>
                  <a:off x="5491547" y="3076556"/>
                  <a:ext cx="27433" cy="65153"/>
                </a:xfrm>
                <a:custGeom>
                  <a:avLst/>
                  <a:gdLst>
                    <a:gd name="connsiteX0" fmla="*/ 27432 w 35113"/>
                    <a:gd name="connsiteY0" fmla="*/ 0 h 83393"/>
                    <a:gd name="connsiteX1" fmla="*/ 30724 w 35113"/>
                    <a:gd name="connsiteY1" fmla="*/ 1646 h 83393"/>
                    <a:gd name="connsiteX2" fmla="*/ 35113 w 35113"/>
                    <a:gd name="connsiteY2" fmla="*/ 40599 h 83393"/>
                    <a:gd name="connsiteX3" fmla="*/ 22494 w 35113"/>
                    <a:gd name="connsiteY3" fmla="*/ 83393 h 83393"/>
                    <a:gd name="connsiteX4" fmla="*/ 19202 w 35113"/>
                    <a:gd name="connsiteY4" fmla="*/ 78455 h 83393"/>
                    <a:gd name="connsiteX5" fmla="*/ 15362 w 35113"/>
                    <a:gd name="connsiteY5" fmla="*/ 77358 h 83393"/>
                    <a:gd name="connsiteX6" fmla="*/ 10973 w 35113"/>
                    <a:gd name="connsiteY6" fmla="*/ 74615 h 83393"/>
                    <a:gd name="connsiteX7" fmla="*/ 8778 w 35113"/>
                    <a:gd name="connsiteY7" fmla="*/ 71323 h 83393"/>
                    <a:gd name="connsiteX8" fmla="*/ 9327 w 35113"/>
                    <a:gd name="connsiteY8" fmla="*/ 65288 h 83393"/>
                    <a:gd name="connsiteX9" fmla="*/ 4938 w 35113"/>
                    <a:gd name="connsiteY9" fmla="*/ 63642 h 83393"/>
                    <a:gd name="connsiteX10" fmla="*/ 2743 w 35113"/>
                    <a:gd name="connsiteY10" fmla="*/ 44988 h 83393"/>
                    <a:gd name="connsiteX11" fmla="*/ 0 w 35113"/>
                    <a:gd name="connsiteY11" fmla="*/ 41148 h 83393"/>
                    <a:gd name="connsiteX12" fmla="*/ 0 w 35113"/>
                    <a:gd name="connsiteY12" fmla="*/ 30175 h 83393"/>
                    <a:gd name="connsiteX13" fmla="*/ 3292 w 35113"/>
                    <a:gd name="connsiteY13" fmla="*/ 21397 h 83393"/>
                    <a:gd name="connsiteX14" fmla="*/ 6584 w 35113"/>
                    <a:gd name="connsiteY14" fmla="*/ 21946 h 83393"/>
                    <a:gd name="connsiteX15" fmla="*/ 10973 w 35113"/>
                    <a:gd name="connsiteY15" fmla="*/ 20299 h 83393"/>
                    <a:gd name="connsiteX16" fmla="*/ 18105 w 35113"/>
                    <a:gd name="connsiteY16" fmla="*/ 14813 h 83393"/>
                    <a:gd name="connsiteX17" fmla="*/ 24689 w 35113"/>
                    <a:gd name="connsiteY17" fmla="*/ 13167 h 83393"/>
                    <a:gd name="connsiteX18" fmla="*/ 26335 w 35113"/>
                    <a:gd name="connsiteY18" fmla="*/ 9875 h 83393"/>
                    <a:gd name="connsiteX19" fmla="*/ 27432 w 35113"/>
                    <a:gd name="connsiteY19" fmla="*/ 0 h 833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35113" h="83393">
                      <a:moveTo>
                        <a:pt x="27432" y="0"/>
                      </a:moveTo>
                      <a:lnTo>
                        <a:pt x="30724" y="1646"/>
                      </a:lnTo>
                      <a:lnTo>
                        <a:pt x="35113" y="40599"/>
                      </a:lnTo>
                      <a:lnTo>
                        <a:pt x="22494" y="83393"/>
                      </a:lnTo>
                      <a:lnTo>
                        <a:pt x="19202" y="78455"/>
                      </a:lnTo>
                      <a:lnTo>
                        <a:pt x="15362" y="77358"/>
                      </a:lnTo>
                      <a:lnTo>
                        <a:pt x="10973" y="74615"/>
                      </a:lnTo>
                      <a:lnTo>
                        <a:pt x="8778" y="71323"/>
                      </a:lnTo>
                      <a:lnTo>
                        <a:pt x="9327" y="65288"/>
                      </a:lnTo>
                      <a:lnTo>
                        <a:pt x="4938" y="63642"/>
                      </a:lnTo>
                      <a:lnTo>
                        <a:pt x="2743" y="44988"/>
                      </a:lnTo>
                      <a:lnTo>
                        <a:pt x="0" y="41148"/>
                      </a:lnTo>
                      <a:lnTo>
                        <a:pt x="0" y="30175"/>
                      </a:lnTo>
                      <a:lnTo>
                        <a:pt x="3292" y="21397"/>
                      </a:lnTo>
                      <a:lnTo>
                        <a:pt x="6584" y="21946"/>
                      </a:lnTo>
                      <a:lnTo>
                        <a:pt x="10973" y="20299"/>
                      </a:lnTo>
                      <a:lnTo>
                        <a:pt x="18105" y="14813"/>
                      </a:lnTo>
                      <a:lnTo>
                        <a:pt x="24689" y="13167"/>
                      </a:lnTo>
                      <a:lnTo>
                        <a:pt x="26335" y="9875"/>
                      </a:lnTo>
                      <a:lnTo>
                        <a:pt x="27432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91" name="Graphic 7">
                  <a:extLst>
                    <a:ext uri="{FF2B5EF4-FFF2-40B4-BE49-F238E27FC236}">
                      <a16:creationId xmlns:a16="http://schemas.microsoft.com/office/drawing/2014/main" id="{49E41F8C-7414-628B-C2CA-59635689D66E}"/>
                    </a:ext>
                  </a:extLst>
                </p:cNvPr>
                <p:cNvSpPr/>
                <p:nvPr/>
              </p:nvSpPr>
              <p:spPr>
                <a:xfrm>
                  <a:off x="4937741" y="2527894"/>
                  <a:ext cx="125163" cy="184744"/>
                </a:xfrm>
                <a:custGeom>
                  <a:avLst/>
                  <a:gdLst>
                    <a:gd name="connsiteX0" fmla="*/ 155265 w 160202"/>
                    <a:gd name="connsiteY0" fmla="*/ 80101 h 236463"/>
                    <a:gd name="connsiteX1" fmla="*/ 153619 w 160202"/>
                    <a:gd name="connsiteY1" fmla="*/ 76810 h 236463"/>
                    <a:gd name="connsiteX2" fmla="*/ 152522 w 160202"/>
                    <a:gd name="connsiteY2" fmla="*/ 61996 h 236463"/>
                    <a:gd name="connsiteX3" fmla="*/ 143195 w 160202"/>
                    <a:gd name="connsiteY3" fmla="*/ 52121 h 236463"/>
                    <a:gd name="connsiteX4" fmla="*/ 122347 w 160202"/>
                    <a:gd name="connsiteY4" fmla="*/ 57059 h 236463"/>
                    <a:gd name="connsiteX5" fmla="*/ 118506 w 160202"/>
                    <a:gd name="connsiteY5" fmla="*/ 64740 h 236463"/>
                    <a:gd name="connsiteX6" fmla="*/ 109728 w 160202"/>
                    <a:gd name="connsiteY6" fmla="*/ 72421 h 236463"/>
                    <a:gd name="connsiteX7" fmla="*/ 102047 w 160202"/>
                    <a:gd name="connsiteY7" fmla="*/ 68580 h 236463"/>
                    <a:gd name="connsiteX8" fmla="*/ 97109 w 160202"/>
                    <a:gd name="connsiteY8" fmla="*/ 56510 h 236463"/>
                    <a:gd name="connsiteX9" fmla="*/ 86137 w 160202"/>
                    <a:gd name="connsiteY9" fmla="*/ 48829 h 236463"/>
                    <a:gd name="connsiteX10" fmla="*/ 93817 w 160202"/>
                    <a:gd name="connsiteY10" fmla="*/ 42794 h 236463"/>
                    <a:gd name="connsiteX11" fmla="*/ 93817 w 160202"/>
                    <a:gd name="connsiteY11" fmla="*/ 34564 h 236463"/>
                    <a:gd name="connsiteX12" fmla="*/ 100950 w 160202"/>
                    <a:gd name="connsiteY12" fmla="*/ 34016 h 236463"/>
                    <a:gd name="connsiteX13" fmla="*/ 104790 w 160202"/>
                    <a:gd name="connsiteY13" fmla="*/ 26883 h 236463"/>
                    <a:gd name="connsiteX14" fmla="*/ 104790 w 160202"/>
                    <a:gd name="connsiteY14" fmla="*/ 1646 h 236463"/>
                    <a:gd name="connsiteX15" fmla="*/ 104242 w 160202"/>
                    <a:gd name="connsiteY15" fmla="*/ 0 h 236463"/>
                    <a:gd name="connsiteX16" fmla="*/ 99853 w 160202"/>
                    <a:gd name="connsiteY16" fmla="*/ 549 h 236463"/>
                    <a:gd name="connsiteX17" fmla="*/ 93269 w 160202"/>
                    <a:gd name="connsiteY17" fmla="*/ 4389 h 236463"/>
                    <a:gd name="connsiteX18" fmla="*/ 90526 w 160202"/>
                    <a:gd name="connsiteY18" fmla="*/ 2195 h 236463"/>
                    <a:gd name="connsiteX19" fmla="*/ 77907 w 160202"/>
                    <a:gd name="connsiteY19" fmla="*/ 12619 h 236463"/>
                    <a:gd name="connsiteX20" fmla="*/ 74615 w 160202"/>
                    <a:gd name="connsiteY20" fmla="*/ 13716 h 236463"/>
                    <a:gd name="connsiteX21" fmla="*/ 72421 w 160202"/>
                    <a:gd name="connsiteY21" fmla="*/ 20300 h 236463"/>
                    <a:gd name="connsiteX22" fmla="*/ 74615 w 160202"/>
                    <a:gd name="connsiteY22" fmla="*/ 23592 h 236463"/>
                    <a:gd name="connsiteX23" fmla="*/ 73518 w 160202"/>
                    <a:gd name="connsiteY23" fmla="*/ 25786 h 236463"/>
                    <a:gd name="connsiteX24" fmla="*/ 60899 w 160202"/>
                    <a:gd name="connsiteY24" fmla="*/ 36210 h 236463"/>
                    <a:gd name="connsiteX25" fmla="*/ 62545 w 160202"/>
                    <a:gd name="connsiteY25" fmla="*/ 40051 h 236463"/>
                    <a:gd name="connsiteX26" fmla="*/ 68580 w 160202"/>
                    <a:gd name="connsiteY26" fmla="*/ 40051 h 236463"/>
                    <a:gd name="connsiteX27" fmla="*/ 72421 w 160202"/>
                    <a:gd name="connsiteY27" fmla="*/ 41697 h 236463"/>
                    <a:gd name="connsiteX28" fmla="*/ 75712 w 160202"/>
                    <a:gd name="connsiteY28" fmla="*/ 40051 h 236463"/>
                    <a:gd name="connsiteX29" fmla="*/ 82296 w 160202"/>
                    <a:gd name="connsiteY29" fmla="*/ 40051 h 236463"/>
                    <a:gd name="connsiteX30" fmla="*/ 82296 w 160202"/>
                    <a:gd name="connsiteY30" fmla="*/ 42794 h 236463"/>
                    <a:gd name="connsiteX31" fmla="*/ 80101 w 160202"/>
                    <a:gd name="connsiteY31" fmla="*/ 48829 h 236463"/>
                    <a:gd name="connsiteX32" fmla="*/ 68031 w 160202"/>
                    <a:gd name="connsiteY32" fmla="*/ 57607 h 236463"/>
                    <a:gd name="connsiteX33" fmla="*/ 68580 w 160202"/>
                    <a:gd name="connsiteY33" fmla="*/ 60350 h 236463"/>
                    <a:gd name="connsiteX34" fmla="*/ 67483 w 160202"/>
                    <a:gd name="connsiteY34" fmla="*/ 64191 h 236463"/>
                    <a:gd name="connsiteX35" fmla="*/ 44989 w 160202"/>
                    <a:gd name="connsiteY35" fmla="*/ 65837 h 236463"/>
                    <a:gd name="connsiteX36" fmla="*/ 42245 w 160202"/>
                    <a:gd name="connsiteY36" fmla="*/ 61996 h 236463"/>
                    <a:gd name="connsiteX37" fmla="*/ 25237 w 160202"/>
                    <a:gd name="connsiteY37" fmla="*/ 60350 h 236463"/>
                    <a:gd name="connsiteX38" fmla="*/ 18105 w 160202"/>
                    <a:gd name="connsiteY38" fmla="*/ 71872 h 236463"/>
                    <a:gd name="connsiteX39" fmla="*/ 20300 w 160202"/>
                    <a:gd name="connsiteY39" fmla="*/ 82296 h 236463"/>
                    <a:gd name="connsiteX40" fmla="*/ 16459 w 160202"/>
                    <a:gd name="connsiteY40" fmla="*/ 80650 h 236463"/>
                    <a:gd name="connsiteX41" fmla="*/ 10424 w 160202"/>
                    <a:gd name="connsiteY41" fmla="*/ 82296 h 236463"/>
                    <a:gd name="connsiteX42" fmla="*/ 15362 w 160202"/>
                    <a:gd name="connsiteY42" fmla="*/ 87782 h 236463"/>
                    <a:gd name="connsiteX43" fmla="*/ 29627 w 160202"/>
                    <a:gd name="connsiteY43" fmla="*/ 88880 h 236463"/>
                    <a:gd name="connsiteX44" fmla="*/ 30724 w 160202"/>
                    <a:gd name="connsiteY44" fmla="*/ 93269 h 236463"/>
                    <a:gd name="connsiteX45" fmla="*/ 20300 w 160202"/>
                    <a:gd name="connsiteY45" fmla="*/ 99853 h 236463"/>
                    <a:gd name="connsiteX46" fmla="*/ 17557 w 160202"/>
                    <a:gd name="connsiteY46" fmla="*/ 105339 h 236463"/>
                    <a:gd name="connsiteX47" fmla="*/ 12070 w 160202"/>
                    <a:gd name="connsiteY47" fmla="*/ 108631 h 236463"/>
                    <a:gd name="connsiteX48" fmla="*/ 12070 w 160202"/>
                    <a:gd name="connsiteY48" fmla="*/ 114117 h 236463"/>
                    <a:gd name="connsiteX49" fmla="*/ 16459 w 160202"/>
                    <a:gd name="connsiteY49" fmla="*/ 118506 h 236463"/>
                    <a:gd name="connsiteX50" fmla="*/ 19751 w 160202"/>
                    <a:gd name="connsiteY50" fmla="*/ 119604 h 236463"/>
                    <a:gd name="connsiteX51" fmla="*/ 19751 w 160202"/>
                    <a:gd name="connsiteY51" fmla="*/ 122895 h 236463"/>
                    <a:gd name="connsiteX52" fmla="*/ 28529 w 160202"/>
                    <a:gd name="connsiteY52" fmla="*/ 122347 h 236463"/>
                    <a:gd name="connsiteX53" fmla="*/ 29627 w 160202"/>
                    <a:gd name="connsiteY53" fmla="*/ 127285 h 236463"/>
                    <a:gd name="connsiteX54" fmla="*/ 52121 w 160202"/>
                    <a:gd name="connsiteY54" fmla="*/ 127833 h 236463"/>
                    <a:gd name="connsiteX55" fmla="*/ 53767 w 160202"/>
                    <a:gd name="connsiteY55" fmla="*/ 131674 h 236463"/>
                    <a:gd name="connsiteX56" fmla="*/ 51024 w 160202"/>
                    <a:gd name="connsiteY56" fmla="*/ 134417 h 236463"/>
                    <a:gd name="connsiteX57" fmla="*/ 42245 w 160202"/>
                    <a:gd name="connsiteY57" fmla="*/ 137709 h 236463"/>
                    <a:gd name="connsiteX58" fmla="*/ 37308 w 160202"/>
                    <a:gd name="connsiteY58" fmla="*/ 143195 h 236463"/>
                    <a:gd name="connsiteX59" fmla="*/ 36210 w 160202"/>
                    <a:gd name="connsiteY59" fmla="*/ 153071 h 236463"/>
                    <a:gd name="connsiteX60" fmla="*/ 33467 w 160202"/>
                    <a:gd name="connsiteY60" fmla="*/ 159654 h 236463"/>
                    <a:gd name="connsiteX61" fmla="*/ 22494 w 160202"/>
                    <a:gd name="connsiteY61" fmla="*/ 170078 h 236463"/>
                    <a:gd name="connsiteX62" fmla="*/ 44989 w 160202"/>
                    <a:gd name="connsiteY62" fmla="*/ 166238 h 236463"/>
                    <a:gd name="connsiteX63" fmla="*/ 55413 w 160202"/>
                    <a:gd name="connsiteY63" fmla="*/ 155265 h 236463"/>
                    <a:gd name="connsiteX64" fmla="*/ 55961 w 160202"/>
                    <a:gd name="connsiteY64" fmla="*/ 163495 h 236463"/>
                    <a:gd name="connsiteX65" fmla="*/ 61996 w 160202"/>
                    <a:gd name="connsiteY65" fmla="*/ 164043 h 236463"/>
                    <a:gd name="connsiteX66" fmla="*/ 61996 w 160202"/>
                    <a:gd name="connsiteY66" fmla="*/ 165141 h 236463"/>
                    <a:gd name="connsiteX67" fmla="*/ 28529 w 160202"/>
                    <a:gd name="connsiteY67" fmla="*/ 171724 h 236463"/>
                    <a:gd name="connsiteX68" fmla="*/ 21397 w 160202"/>
                    <a:gd name="connsiteY68" fmla="*/ 183246 h 236463"/>
                    <a:gd name="connsiteX69" fmla="*/ 20848 w 160202"/>
                    <a:gd name="connsiteY69" fmla="*/ 188184 h 236463"/>
                    <a:gd name="connsiteX70" fmla="*/ 18654 w 160202"/>
                    <a:gd name="connsiteY70" fmla="*/ 189829 h 236463"/>
                    <a:gd name="connsiteX71" fmla="*/ 14813 w 160202"/>
                    <a:gd name="connsiteY71" fmla="*/ 189281 h 236463"/>
                    <a:gd name="connsiteX72" fmla="*/ 10424 w 160202"/>
                    <a:gd name="connsiteY72" fmla="*/ 190927 h 236463"/>
                    <a:gd name="connsiteX73" fmla="*/ 6035 w 160202"/>
                    <a:gd name="connsiteY73" fmla="*/ 189829 h 236463"/>
                    <a:gd name="connsiteX74" fmla="*/ 1646 w 160202"/>
                    <a:gd name="connsiteY74" fmla="*/ 193670 h 236463"/>
                    <a:gd name="connsiteX75" fmla="*/ 0 w 160202"/>
                    <a:gd name="connsiteY75" fmla="*/ 199705 h 236463"/>
                    <a:gd name="connsiteX76" fmla="*/ 17008 w 160202"/>
                    <a:gd name="connsiteY76" fmla="*/ 197510 h 236463"/>
                    <a:gd name="connsiteX77" fmla="*/ 18654 w 160202"/>
                    <a:gd name="connsiteY77" fmla="*/ 200802 h 236463"/>
                    <a:gd name="connsiteX78" fmla="*/ 9876 w 160202"/>
                    <a:gd name="connsiteY78" fmla="*/ 204643 h 236463"/>
                    <a:gd name="connsiteX79" fmla="*/ 3841 w 160202"/>
                    <a:gd name="connsiteY79" fmla="*/ 211775 h 236463"/>
                    <a:gd name="connsiteX80" fmla="*/ 3292 w 160202"/>
                    <a:gd name="connsiteY80" fmla="*/ 215616 h 236463"/>
                    <a:gd name="connsiteX81" fmla="*/ 7681 w 160202"/>
                    <a:gd name="connsiteY81" fmla="*/ 215067 h 236463"/>
                    <a:gd name="connsiteX82" fmla="*/ 9876 w 160202"/>
                    <a:gd name="connsiteY82" fmla="*/ 218907 h 236463"/>
                    <a:gd name="connsiteX83" fmla="*/ 10973 w 160202"/>
                    <a:gd name="connsiteY83" fmla="*/ 218907 h 236463"/>
                    <a:gd name="connsiteX84" fmla="*/ 26335 w 160202"/>
                    <a:gd name="connsiteY84" fmla="*/ 213970 h 236463"/>
                    <a:gd name="connsiteX85" fmla="*/ 26883 w 160202"/>
                    <a:gd name="connsiteY85" fmla="*/ 217810 h 236463"/>
                    <a:gd name="connsiteX86" fmla="*/ 11521 w 160202"/>
                    <a:gd name="connsiteY86" fmla="*/ 228783 h 236463"/>
                    <a:gd name="connsiteX87" fmla="*/ 14265 w 160202"/>
                    <a:gd name="connsiteY87" fmla="*/ 228783 h 236463"/>
                    <a:gd name="connsiteX88" fmla="*/ 31273 w 160202"/>
                    <a:gd name="connsiteY88" fmla="*/ 222748 h 236463"/>
                    <a:gd name="connsiteX89" fmla="*/ 32918 w 160202"/>
                    <a:gd name="connsiteY89" fmla="*/ 224942 h 236463"/>
                    <a:gd name="connsiteX90" fmla="*/ 31273 w 160202"/>
                    <a:gd name="connsiteY90" fmla="*/ 228783 h 236463"/>
                    <a:gd name="connsiteX91" fmla="*/ 26883 w 160202"/>
                    <a:gd name="connsiteY91" fmla="*/ 229332 h 236463"/>
                    <a:gd name="connsiteX92" fmla="*/ 23043 w 160202"/>
                    <a:gd name="connsiteY92" fmla="*/ 231526 h 236463"/>
                    <a:gd name="connsiteX93" fmla="*/ 24140 w 160202"/>
                    <a:gd name="connsiteY93" fmla="*/ 233172 h 236463"/>
                    <a:gd name="connsiteX94" fmla="*/ 24140 w 160202"/>
                    <a:gd name="connsiteY94" fmla="*/ 236464 h 236463"/>
                    <a:gd name="connsiteX95" fmla="*/ 30175 w 160202"/>
                    <a:gd name="connsiteY95" fmla="*/ 233172 h 236463"/>
                    <a:gd name="connsiteX96" fmla="*/ 35662 w 160202"/>
                    <a:gd name="connsiteY96" fmla="*/ 232623 h 236463"/>
                    <a:gd name="connsiteX97" fmla="*/ 38405 w 160202"/>
                    <a:gd name="connsiteY97" fmla="*/ 234269 h 236463"/>
                    <a:gd name="connsiteX98" fmla="*/ 41697 w 160202"/>
                    <a:gd name="connsiteY98" fmla="*/ 234818 h 236463"/>
                    <a:gd name="connsiteX99" fmla="*/ 46634 w 160202"/>
                    <a:gd name="connsiteY99" fmla="*/ 231526 h 236463"/>
                    <a:gd name="connsiteX100" fmla="*/ 50475 w 160202"/>
                    <a:gd name="connsiteY100" fmla="*/ 231526 h 236463"/>
                    <a:gd name="connsiteX101" fmla="*/ 70226 w 160202"/>
                    <a:gd name="connsiteY101" fmla="*/ 224942 h 236463"/>
                    <a:gd name="connsiteX102" fmla="*/ 75164 w 160202"/>
                    <a:gd name="connsiteY102" fmla="*/ 221102 h 236463"/>
                    <a:gd name="connsiteX103" fmla="*/ 75712 w 160202"/>
                    <a:gd name="connsiteY103" fmla="*/ 211775 h 236463"/>
                    <a:gd name="connsiteX104" fmla="*/ 77907 w 160202"/>
                    <a:gd name="connsiteY104" fmla="*/ 212324 h 236463"/>
                    <a:gd name="connsiteX105" fmla="*/ 79553 w 160202"/>
                    <a:gd name="connsiteY105" fmla="*/ 216164 h 236463"/>
                    <a:gd name="connsiteX106" fmla="*/ 82296 w 160202"/>
                    <a:gd name="connsiteY106" fmla="*/ 217261 h 236463"/>
                    <a:gd name="connsiteX107" fmla="*/ 90526 w 160202"/>
                    <a:gd name="connsiteY107" fmla="*/ 212872 h 236463"/>
                    <a:gd name="connsiteX108" fmla="*/ 93269 w 160202"/>
                    <a:gd name="connsiteY108" fmla="*/ 208483 h 236463"/>
                    <a:gd name="connsiteX109" fmla="*/ 99304 w 160202"/>
                    <a:gd name="connsiteY109" fmla="*/ 209581 h 236463"/>
                    <a:gd name="connsiteX110" fmla="*/ 102047 w 160202"/>
                    <a:gd name="connsiteY110" fmla="*/ 206837 h 236463"/>
                    <a:gd name="connsiteX111" fmla="*/ 103693 w 160202"/>
                    <a:gd name="connsiteY111" fmla="*/ 201351 h 236463"/>
                    <a:gd name="connsiteX112" fmla="*/ 105339 w 160202"/>
                    <a:gd name="connsiteY112" fmla="*/ 199156 h 236463"/>
                    <a:gd name="connsiteX113" fmla="*/ 138257 w 160202"/>
                    <a:gd name="connsiteY113" fmla="*/ 192573 h 236463"/>
                    <a:gd name="connsiteX114" fmla="*/ 143744 w 160202"/>
                    <a:gd name="connsiteY114" fmla="*/ 194767 h 236463"/>
                    <a:gd name="connsiteX115" fmla="*/ 148133 w 160202"/>
                    <a:gd name="connsiteY115" fmla="*/ 194767 h 236463"/>
                    <a:gd name="connsiteX116" fmla="*/ 150327 w 160202"/>
                    <a:gd name="connsiteY116" fmla="*/ 190378 h 236463"/>
                    <a:gd name="connsiteX117" fmla="*/ 148133 w 160202"/>
                    <a:gd name="connsiteY117" fmla="*/ 183794 h 236463"/>
                    <a:gd name="connsiteX118" fmla="*/ 160203 w 160202"/>
                    <a:gd name="connsiteY118" fmla="*/ 148133 h 236463"/>
                    <a:gd name="connsiteX119" fmla="*/ 156362 w 160202"/>
                    <a:gd name="connsiteY119" fmla="*/ 121798 h 236463"/>
                    <a:gd name="connsiteX120" fmla="*/ 158557 w 160202"/>
                    <a:gd name="connsiteY120" fmla="*/ 120701 h 236463"/>
                    <a:gd name="connsiteX121" fmla="*/ 159654 w 160202"/>
                    <a:gd name="connsiteY121" fmla="*/ 109728 h 236463"/>
                    <a:gd name="connsiteX122" fmla="*/ 150876 w 160202"/>
                    <a:gd name="connsiteY122" fmla="*/ 87782 h 236463"/>
                    <a:gd name="connsiteX123" fmla="*/ 151425 w 160202"/>
                    <a:gd name="connsiteY123" fmla="*/ 82296 h 236463"/>
                    <a:gd name="connsiteX124" fmla="*/ 155265 w 160202"/>
                    <a:gd name="connsiteY124" fmla="*/ 80101 h 2364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</a:cxnLst>
                  <a:rect l="l" t="t" r="r" b="b"/>
                  <a:pathLst>
                    <a:path w="160202" h="236463">
                      <a:moveTo>
                        <a:pt x="155265" y="80101"/>
                      </a:moveTo>
                      <a:lnTo>
                        <a:pt x="153619" y="76810"/>
                      </a:lnTo>
                      <a:lnTo>
                        <a:pt x="152522" y="61996"/>
                      </a:lnTo>
                      <a:lnTo>
                        <a:pt x="143195" y="52121"/>
                      </a:lnTo>
                      <a:lnTo>
                        <a:pt x="122347" y="57059"/>
                      </a:lnTo>
                      <a:lnTo>
                        <a:pt x="118506" y="64740"/>
                      </a:lnTo>
                      <a:lnTo>
                        <a:pt x="109728" y="72421"/>
                      </a:lnTo>
                      <a:lnTo>
                        <a:pt x="102047" y="68580"/>
                      </a:lnTo>
                      <a:lnTo>
                        <a:pt x="97109" y="56510"/>
                      </a:lnTo>
                      <a:lnTo>
                        <a:pt x="86137" y="48829"/>
                      </a:lnTo>
                      <a:lnTo>
                        <a:pt x="93817" y="42794"/>
                      </a:lnTo>
                      <a:lnTo>
                        <a:pt x="93817" y="34564"/>
                      </a:lnTo>
                      <a:lnTo>
                        <a:pt x="100950" y="34016"/>
                      </a:lnTo>
                      <a:lnTo>
                        <a:pt x="104790" y="26883"/>
                      </a:lnTo>
                      <a:lnTo>
                        <a:pt x="104790" y="1646"/>
                      </a:lnTo>
                      <a:lnTo>
                        <a:pt x="104242" y="0"/>
                      </a:lnTo>
                      <a:lnTo>
                        <a:pt x="99853" y="549"/>
                      </a:lnTo>
                      <a:lnTo>
                        <a:pt x="93269" y="4389"/>
                      </a:lnTo>
                      <a:lnTo>
                        <a:pt x="90526" y="2195"/>
                      </a:lnTo>
                      <a:lnTo>
                        <a:pt x="77907" y="12619"/>
                      </a:lnTo>
                      <a:lnTo>
                        <a:pt x="74615" y="13716"/>
                      </a:lnTo>
                      <a:lnTo>
                        <a:pt x="72421" y="20300"/>
                      </a:lnTo>
                      <a:lnTo>
                        <a:pt x="74615" y="23592"/>
                      </a:lnTo>
                      <a:lnTo>
                        <a:pt x="73518" y="25786"/>
                      </a:lnTo>
                      <a:lnTo>
                        <a:pt x="60899" y="36210"/>
                      </a:lnTo>
                      <a:lnTo>
                        <a:pt x="62545" y="40051"/>
                      </a:lnTo>
                      <a:lnTo>
                        <a:pt x="68580" y="40051"/>
                      </a:lnTo>
                      <a:lnTo>
                        <a:pt x="72421" y="41697"/>
                      </a:lnTo>
                      <a:lnTo>
                        <a:pt x="75712" y="40051"/>
                      </a:lnTo>
                      <a:lnTo>
                        <a:pt x="82296" y="40051"/>
                      </a:lnTo>
                      <a:lnTo>
                        <a:pt x="82296" y="42794"/>
                      </a:lnTo>
                      <a:lnTo>
                        <a:pt x="80101" y="48829"/>
                      </a:lnTo>
                      <a:lnTo>
                        <a:pt x="68031" y="57607"/>
                      </a:lnTo>
                      <a:lnTo>
                        <a:pt x="68580" y="60350"/>
                      </a:lnTo>
                      <a:lnTo>
                        <a:pt x="67483" y="64191"/>
                      </a:lnTo>
                      <a:lnTo>
                        <a:pt x="44989" y="65837"/>
                      </a:lnTo>
                      <a:lnTo>
                        <a:pt x="42245" y="61996"/>
                      </a:lnTo>
                      <a:lnTo>
                        <a:pt x="25237" y="60350"/>
                      </a:lnTo>
                      <a:lnTo>
                        <a:pt x="18105" y="71872"/>
                      </a:lnTo>
                      <a:lnTo>
                        <a:pt x="20300" y="82296"/>
                      </a:lnTo>
                      <a:lnTo>
                        <a:pt x="16459" y="80650"/>
                      </a:lnTo>
                      <a:lnTo>
                        <a:pt x="10424" y="82296"/>
                      </a:lnTo>
                      <a:lnTo>
                        <a:pt x="15362" y="87782"/>
                      </a:lnTo>
                      <a:lnTo>
                        <a:pt x="29627" y="88880"/>
                      </a:lnTo>
                      <a:lnTo>
                        <a:pt x="30724" y="93269"/>
                      </a:lnTo>
                      <a:lnTo>
                        <a:pt x="20300" y="99853"/>
                      </a:lnTo>
                      <a:lnTo>
                        <a:pt x="17557" y="105339"/>
                      </a:lnTo>
                      <a:lnTo>
                        <a:pt x="12070" y="108631"/>
                      </a:lnTo>
                      <a:lnTo>
                        <a:pt x="12070" y="114117"/>
                      </a:lnTo>
                      <a:lnTo>
                        <a:pt x="16459" y="118506"/>
                      </a:lnTo>
                      <a:lnTo>
                        <a:pt x="19751" y="119604"/>
                      </a:lnTo>
                      <a:lnTo>
                        <a:pt x="19751" y="122895"/>
                      </a:lnTo>
                      <a:lnTo>
                        <a:pt x="28529" y="122347"/>
                      </a:lnTo>
                      <a:lnTo>
                        <a:pt x="29627" y="127285"/>
                      </a:lnTo>
                      <a:lnTo>
                        <a:pt x="52121" y="127833"/>
                      </a:lnTo>
                      <a:lnTo>
                        <a:pt x="53767" y="131674"/>
                      </a:lnTo>
                      <a:lnTo>
                        <a:pt x="51024" y="134417"/>
                      </a:lnTo>
                      <a:lnTo>
                        <a:pt x="42245" y="137709"/>
                      </a:lnTo>
                      <a:lnTo>
                        <a:pt x="37308" y="143195"/>
                      </a:lnTo>
                      <a:lnTo>
                        <a:pt x="36210" y="153071"/>
                      </a:lnTo>
                      <a:lnTo>
                        <a:pt x="33467" y="159654"/>
                      </a:lnTo>
                      <a:lnTo>
                        <a:pt x="22494" y="170078"/>
                      </a:lnTo>
                      <a:lnTo>
                        <a:pt x="44989" y="166238"/>
                      </a:lnTo>
                      <a:lnTo>
                        <a:pt x="55413" y="155265"/>
                      </a:lnTo>
                      <a:lnTo>
                        <a:pt x="55961" y="163495"/>
                      </a:lnTo>
                      <a:lnTo>
                        <a:pt x="61996" y="164043"/>
                      </a:lnTo>
                      <a:lnTo>
                        <a:pt x="61996" y="165141"/>
                      </a:lnTo>
                      <a:lnTo>
                        <a:pt x="28529" y="171724"/>
                      </a:lnTo>
                      <a:lnTo>
                        <a:pt x="21397" y="183246"/>
                      </a:lnTo>
                      <a:lnTo>
                        <a:pt x="20848" y="188184"/>
                      </a:lnTo>
                      <a:lnTo>
                        <a:pt x="18654" y="189829"/>
                      </a:lnTo>
                      <a:lnTo>
                        <a:pt x="14813" y="189281"/>
                      </a:lnTo>
                      <a:lnTo>
                        <a:pt x="10424" y="190927"/>
                      </a:lnTo>
                      <a:lnTo>
                        <a:pt x="6035" y="189829"/>
                      </a:lnTo>
                      <a:lnTo>
                        <a:pt x="1646" y="193670"/>
                      </a:lnTo>
                      <a:lnTo>
                        <a:pt x="0" y="199705"/>
                      </a:lnTo>
                      <a:lnTo>
                        <a:pt x="17008" y="197510"/>
                      </a:lnTo>
                      <a:lnTo>
                        <a:pt x="18654" y="200802"/>
                      </a:lnTo>
                      <a:lnTo>
                        <a:pt x="9876" y="204643"/>
                      </a:lnTo>
                      <a:lnTo>
                        <a:pt x="3841" y="211775"/>
                      </a:lnTo>
                      <a:lnTo>
                        <a:pt x="3292" y="215616"/>
                      </a:lnTo>
                      <a:lnTo>
                        <a:pt x="7681" y="215067"/>
                      </a:lnTo>
                      <a:lnTo>
                        <a:pt x="9876" y="218907"/>
                      </a:lnTo>
                      <a:lnTo>
                        <a:pt x="10973" y="218907"/>
                      </a:lnTo>
                      <a:lnTo>
                        <a:pt x="26335" y="213970"/>
                      </a:lnTo>
                      <a:lnTo>
                        <a:pt x="26883" y="217810"/>
                      </a:lnTo>
                      <a:lnTo>
                        <a:pt x="11521" y="228783"/>
                      </a:lnTo>
                      <a:lnTo>
                        <a:pt x="14265" y="228783"/>
                      </a:lnTo>
                      <a:lnTo>
                        <a:pt x="31273" y="222748"/>
                      </a:lnTo>
                      <a:lnTo>
                        <a:pt x="32918" y="224942"/>
                      </a:lnTo>
                      <a:lnTo>
                        <a:pt x="31273" y="228783"/>
                      </a:lnTo>
                      <a:lnTo>
                        <a:pt x="26883" y="229332"/>
                      </a:lnTo>
                      <a:lnTo>
                        <a:pt x="23043" y="231526"/>
                      </a:lnTo>
                      <a:lnTo>
                        <a:pt x="24140" y="233172"/>
                      </a:lnTo>
                      <a:lnTo>
                        <a:pt x="24140" y="236464"/>
                      </a:lnTo>
                      <a:lnTo>
                        <a:pt x="30175" y="233172"/>
                      </a:lnTo>
                      <a:lnTo>
                        <a:pt x="35662" y="232623"/>
                      </a:lnTo>
                      <a:lnTo>
                        <a:pt x="38405" y="234269"/>
                      </a:lnTo>
                      <a:lnTo>
                        <a:pt x="41697" y="234818"/>
                      </a:lnTo>
                      <a:lnTo>
                        <a:pt x="46634" y="231526"/>
                      </a:lnTo>
                      <a:lnTo>
                        <a:pt x="50475" y="231526"/>
                      </a:lnTo>
                      <a:lnTo>
                        <a:pt x="70226" y="224942"/>
                      </a:lnTo>
                      <a:lnTo>
                        <a:pt x="75164" y="221102"/>
                      </a:lnTo>
                      <a:lnTo>
                        <a:pt x="75712" y="211775"/>
                      </a:lnTo>
                      <a:lnTo>
                        <a:pt x="77907" y="212324"/>
                      </a:lnTo>
                      <a:lnTo>
                        <a:pt x="79553" y="216164"/>
                      </a:lnTo>
                      <a:lnTo>
                        <a:pt x="82296" y="217261"/>
                      </a:lnTo>
                      <a:lnTo>
                        <a:pt x="90526" y="212872"/>
                      </a:lnTo>
                      <a:lnTo>
                        <a:pt x="93269" y="208483"/>
                      </a:lnTo>
                      <a:lnTo>
                        <a:pt x="99304" y="209581"/>
                      </a:lnTo>
                      <a:lnTo>
                        <a:pt x="102047" y="206837"/>
                      </a:lnTo>
                      <a:lnTo>
                        <a:pt x="103693" y="201351"/>
                      </a:lnTo>
                      <a:lnTo>
                        <a:pt x="105339" y="199156"/>
                      </a:lnTo>
                      <a:lnTo>
                        <a:pt x="138257" y="192573"/>
                      </a:lnTo>
                      <a:lnTo>
                        <a:pt x="143744" y="194767"/>
                      </a:lnTo>
                      <a:lnTo>
                        <a:pt x="148133" y="194767"/>
                      </a:lnTo>
                      <a:lnTo>
                        <a:pt x="150327" y="190378"/>
                      </a:lnTo>
                      <a:lnTo>
                        <a:pt x="148133" y="183794"/>
                      </a:lnTo>
                      <a:lnTo>
                        <a:pt x="160203" y="148133"/>
                      </a:lnTo>
                      <a:lnTo>
                        <a:pt x="156362" y="121798"/>
                      </a:lnTo>
                      <a:lnTo>
                        <a:pt x="158557" y="120701"/>
                      </a:lnTo>
                      <a:lnTo>
                        <a:pt x="159654" y="109728"/>
                      </a:lnTo>
                      <a:lnTo>
                        <a:pt x="150876" y="87782"/>
                      </a:lnTo>
                      <a:lnTo>
                        <a:pt x="151425" y="82296"/>
                      </a:lnTo>
                      <a:lnTo>
                        <a:pt x="155265" y="80101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92" name="Graphic 7">
                  <a:extLst>
                    <a:ext uri="{FF2B5EF4-FFF2-40B4-BE49-F238E27FC236}">
                      <a16:creationId xmlns:a16="http://schemas.microsoft.com/office/drawing/2014/main" id="{6F5696AD-0D9F-2306-EC69-53E5A8E869B7}"/>
                    </a:ext>
                  </a:extLst>
                </p:cNvPr>
                <p:cNvSpPr/>
                <p:nvPr/>
              </p:nvSpPr>
              <p:spPr>
                <a:xfrm>
                  <a:off x="5562271" y="1641891"/>
                  <a:ext cx="382348" cy="877859"/>
                </a:xfrm>
                <a:custGeom>
                  <a:avLst/>
                  <a:gdLst>
                    <a:gd name="connsiteX0" fmla="*/ 4938 w 489386"/>
                    <a:gd name="connsiteY0" fmla="*/ 865754 h 1123614"/>
                    <a:gd name="connsiteX1" fmla="*/ 0 w 489386"/>
                    <a:gd name="connsiteY1" fmla="*/ 873984 h 1123614"/>
                    <a:gd name="connsiteX2" fmla="*/ 4938 w 489386"/>
                    <a:gd name="connsiteY2" fmla="*/ 912937 h 1123614"/>
                    <a:gd name="connsiteX3" fmla="*/ 8230 w 489386"/>
                    <a:gd name="connsiteY3" fmla="*/ 914034 h 1123614"/>
                    <a:gd name="connsiteX4" fmla="*/ 9876 w 489386"/>
                    <a:gd name="connsiteY4" fmla="*/ 917326 h 1123614"/>
                    <a:gd name="connsiteX5" fmla="*/ 10424 w 489386"/>
                    <a:gd name="connsiteY5" fmla="*/ 922264 h 1123614"/>
                    <a:gd name="connsiteX6" fmla="*/ 9327 w 489386"/>
                    <a:gd name="connsiteY6" fmla="*/ 925007 h 1123614"/>
                    <a:gd name="connsiteX7" fmla="*/ 13716 w 489386"/>
                    <a:gd name="connsiteY7" fmla="*/ 920069 h 1123614"/>
                    <a:gd name="connsiteX8" fmla="*/ 14813 w 489386"/>
                    <a:gd name="connsiteY8" fmla="*/ 914583 h 1123614"/>
                    <a:gd name="connsiteX9" fmla="*/ 17557 w 489386"/>
                    <a:gd name="connsiteY9" fmla="*/ 917875 h 1123614"/>
                    <a:gd name="connsiteX10" fmla="*/ 15362 w 489386"/>
                    <a:gd name="connsiteY10" fmla="*/ 924459 h 1123614"/>
                    <a:gd name="connsiteX11" fmla="*/ 18654 w 489386"/>
                    <a:gd name="connsiteY11" fmla="*/ 923910 h 1123614"/>
                    <a:gd name="connsiteX12" fmla="*/ 20300 w 489386"/>
                    <a:gd name="connsiteY12" fmla="*/ 925556 h 1123614"/>
                    <a:gd name="connsiteX13" fmla="*/ 17008 w 489386"/>
                    <a:gd name="connsiteY13" fmla="*/ 928299 h 1123614"/>
                    <a:gd name="connsiteX14" fmla="*/ 12070 w 489386"/>
                    <a:gd name="connsiteY14" fmla="*/ 935431 h 1123614"/>
                    <a:gd name="connsiteX15" fmla="*/ 22494 w 489386"/>
                    <a:gd name="connsiteY15" fmla="*/ 939272 h 1123614"/>
                    <a:gd name="connsiteX16" fmla="*/ 24689 w 489386"/>
                    <a:gd name="connsiteY16" fmla="*/ 945855 h 1123614"/>
                    <a:gd name="connsiteX17" fmla="*/ 22494 w 489386"/>
                    <a:gd name="connsiteY17" fmla="*/ 957377 h 1123614"/>
                    <a:gd name="connsiteX18" fmla="*/ 30175 w 489386"/>
                    <a:gd name="connsiteY18" fmla="*/ 955182 h 1123614"/>
                    <a:gd name="connsiteX19" fmla="*/ 31821 w 489386"/>
                    <a:gd name="connsiteY19" fmla="*/ 963960 h 1123614"/>
                    <a:gd name="connsiteX20" fmla="*/ 27432 w 489386"/>
                    <a:gd name="connsiteY20" fmla="*/ 969447 h 1123614"/>
                    <a:gd name="connsiteX21" fmla="*/ 29078 w 489386"/>
                    <a:gd name="connsiteY21" fmla="*/ 979871 h 1123614"/>
                    <a:gd name="connsiteX22" fmla="*/ 28529 w 489386"/>
                    <a:gd name="connsiteY22" fmla="*/ 988101 h 1123614"/>
                    <a:gd name="connsiteX23" fmla="*/ 34016 w 489386"/>
                    <a:gd name="connsiteY23" fmla="*/ 988101 h 1123614"/>
                    <a:gd name="connsiteX24" fmla="*/ 43343 w 489386"/>
                    <a:gd name="connsiteY24" fmla="*/ 1017727 h 1123614"/>
                    <a:gd name="connsiteX25" fmla="*/ 51024 w 489386"/>
                    <a:gd name="connsiteY25" fmla="*/ 1024860 h 1123614"/>
                    <a:gd name="connsiteX26" fmla="*/ 54315 w 489386"/>
                    <a:gd name="connsiteY26" fmla="*/ 1032540 h 1123614"/>
                    <a:gd name="connsiteX27" fmla="*/ 61996 w 489386"/>
                    <a:gd name="connsiteY27" fmla="*/ 1038027 h 1123614"/>
                    <a:gd name="connsiteX28" fmla="*/ 66934 w 489386"/>
                    <a:gd name="connsiteY28" fmla="*/ 1045159 h 1123614"/>
                    <a:gd name="connsiteX29" fmla="*/ 66934 w 489386"/>
                    <a:gd name="connsiteY29" fmla="*/ 1050646 h 1123614"/>
                    <a:gd name="connsiteX30" fmla="*/ 63094 w 489386"/>
                    <a:gd name="connsiteY30" fmla="*/ 1052840 h 1123614"/>
                    <a:gd name="connsiteX31" fmla="*/ 58156 w 489386"/>
                    <a:gd name="connsiteY31" fmla="*/ 1052292 h 1123614"/>
                    <a:gd name="connsiteX32" fmla="*/ 57059 w 489386"/>
                    <a:gd name="connsiteY32" fmla="*/ 1055035 h 1123614"/>
                    <a:gd name="connsiteX33" fmla="*/ 61996 w 489386"/>
                    <a:gd name="connsiteY33" fmla="*/ 1065459 h 1123614"/>
                    <a:gd name="connsiteX34" fmla="*/ 56510 w 489386"/>
                    <a:gd name="connsiteY34" fmla="*/ 1065459 h 1123614"/>
                    <a:gd name="connsiteX35" fmla="*/ 52121 w 489386"/>
                    <a:gd name="connsiteY35" fmla="*/ 1062716 h 1123614"/>
                    <a:gd name="connsiteX36" fmla="*/ 51572 w 489386"/>
                    <a:gd name="connsiteY36" fmla="*/ 1067653 h 1123614"/>
                    <a:gd name="connsiteX37" fmla="*/ 70226 w 489386"/>
                    <a:gd name="connsiteY37" fmla="*/ 1105510 h 1123614"/>
                    <a:gd name="connsiteX38" fmla="*/ 68031 w 489386"/>
                    <a:gd name="connsiteY38" fmla="*/ 1109350 h 1123614"/>
                    <a:gd name="connsiteX39" fmla="*/ 66934 w 489386"/>
                    <a:gd name="connsiteY39" fmla="*/ 1117031 h 1123614"/>
                    <a:gd name="connsiteX40" fmla="*/ 65288 w 489386"/>
                    <a:gd name="connsiteY40" fmla="*/ 1118128 h 1123614"/>
                    <a:gd name="connsiteX41" fmla="*/ 64191 w 489386"/>
                    <a:gd name="connsiteY41" fmla="*/ 1121420 h 1123614"/>
                    <a:gd name="connsiteX42" fmla="*/ 72969 w 489386"/>
                    <a:gd name="connsiteY42" fmla="*/ 1120872 h 1123614"/>
                    <a:gd name="connsiteX43" fmla="*/ 81199 w 489386"/>
                    <a:gd name="connsiteY43" fmla="*/ 1123615 h 1123614"/>
                    <a:gd name="connsiteX44" fmla="*/ 93269 w 489386"/>
                    <a:gd name="connsiteY44" fmla="*/ 1118677 h 1123614"/>
                    <a:gd name="connsiteX45" fmla="*/ 104790 w 489386"/>
                    <a:gd name="connsiteY45" fmla="*/ 1118677 h 1123614"/>
                    <a:gd name="connsiteX46" fmla="*/ 111923 w 489386"/>
                    <a:gd name="connsiteY46" fmla="*/ 1121969 h 1123614"/>
                    <a:gd name="connsiteX47" fmla="*/ 115214 w 489386"/>
                    <a:gd name="connsiteY47" fmla="*/ 1118677 h 1123614"/>
                    <a:gd name="connsiteX48" fmla="*/ 118506 w 489386"/>
                    <a:gd name="connsiteY48" fmla="*/ 1109350 h 1123614"/>
                    <a:gd name="connsiteX49" fmla="*/ 116312 w 489386"/>
                    <a:gd name="connsiteY49" fmla="*/ 1094537 h 1123614"/>
                    <a:gd name="connsiteX50" fmla="*/ 123444 w 489386"/>
                    <a:gd name="connsiteY50" fmla="*/ 1077529 h 1123614"/>
                    <a:gd name="connsiteX51" fmla="*/ 130028 w 489386"/>
                    <a:gd name="connsiteY51" fmla="*/ 1079175 h 1123614"/>
                    <a:gd name="connsiteX52" fmla="*/ 133320 w 489386"/>
                    <a:gd name="connsiteY52" fmla="*/ 1072591 h 1123614"/>
                    <a:gd name="connsiteX53" fmla="*/ 140452 w 489386"/>
                    <a:gd name="connsiteY53" fmla="*/ 1067653 h 1123614"/>
                    <a:gd name="connsiteX54" fmla="*/ 150327 w 489386"/>
                    <a:gd name="connsiteY54" fmla="*/ 1068202 h 1123614"/>
                    <a:gd name="connsiteX55" fmla="*/ 156362 w 489386"/>
                    <a:gd name="connsiteY55" fmla="*/ 1070945 h 1123614"/>
                    <a:gd name="connsiteX56" fmla="*/ 164043 w 489386"/>
                    <a:gd name="connsiteY56" fmla="*/ 1068751 h 1123614"/>
                    <a:gd name="connsiteX57" fmla="*/ 172273 w 489386"/>
                    <a:gd name="connsiteY57" fmla="*/ 1070945 h 1123614"/>
                    <a:gd name="connsiteX58" fmla="*/ 179954 w 489386"/>
                    <a:gd name="connsiteY58" fmla="*/ 1070945 h 1123614"/>
                    <a:gd name="connsiteX59" fmla="*/ 195316 w 489386"/>
                    <a:gd name="connsiteY59" fmla="*/ 1030895 h 1123614"/>
                    <a:gd name="connsiteX60" fmla="*/ 196413 w 489386"/>
                    <a:gd name="connsiteY60" fmla="*/ 1016630 h 1123614"/>
                    <a:gd name="connsiteX61" fmla="*/ 199156 w 489386"/>
                    <a:gd name="connsiteY61" fmla="*/ 1007303 h 1123614"/>
                    <a:gd name="connsiteX62" fmla="*/ 198608 w 489386"/>
                    <a:gd name="connsiteY62" fmla="*/ 997976 h 1123614"/>
                    <a:gd name="connsiteX63" fmla="*/ 205191 w 489386"/>
                    <a:gd name="connsiteY63" fmla="*/ 982614 h 1123614"/>
                    <a:gd name="connsiteX64" fmla="*/ 204643 w 489386"/>
                    <a:gd name="connsiteY64" fmla="*/ 974933 h 1123614"/>
                    <a:gd name="connsiteX65" fmla="*/ 201900 w 489386"/>
                    <a:gd name="connsiteY65" fmla="*/ 970544 h 1123614"/>
                    <a:gd name="connsiteX66" fmla="*/ 205740 w 489386"/>
                    <a:gd name="connsiteY66" fmla="*/ 963960 h 1123614"/>
                    <a:gd name="connsiteX67" fmla="*/ 204643 w 489386"/>
                    <a:gd name="connsiteY67" fmla="*/ 957377 h 1123614"/>
                    <a:gd name="connsiteX68" fmla="*/ 201351 w 489386"/>
                    <a:gd name="connsiteY68" fmla="*/ 952988 h 1123614"/>
                    <a:gd name="connsiteX69" fmla="*/ 200802 w 489386"/>
                    <a:gd name="connsiteY69" fmla="*/ 949696 h 1123614"/>
                    <a:gd name="connsiteX70" fmla="*/ 201351 w 489386"/>
                    <a:gd name="connsiteY70" fmla="*/ 946404 h 1123614"/>
                    <a:gd name="connsiteX71" fmla="*/ 205740 w 489386"/>
                    <a:gd name="connsiteY71" fmla="*/ 948599 h 1123614"/>
                    <a:gd name="connsiteX72" fmla="*/ 208483 w 489386"/>
                    <a:gd name="connsiteY72" fmla="*/ 948050 h 1123614"/>
                    <a:gd name="connsiteX73" fmla="*/ 206837 w 489386"/>
                    <a:gd name="connsiteY73" fmla="*/ 943661 h 1123614"/>
                    <a:gd name="connsiteX74" fmla="*/ 207386 w 489386"/>
                    <a:gd name="connsiteY74" fmla="*/ 940918 h 1123614"/>
                    <a:gd name="connsiteX75" fmla="*/ 209032 w 489386"/>
                    <a:gd name="connsiteY75" fmla="*/ 936528 h 1123614"/>
                    <a:gd name="connsiteX76" fmla="*/ 208483 w 489386"/>
                    <a:gd name="connsiteY76" fmla="*/ 933237 h 1123614"/>
                    <a:gd name="connsiteX77" fmla="*/ 210678 w 489386"/>
                    <a:gd name="connsiteY77" fmla="*/ 921715 h 1123614"/>
                    <a:gd name="connsiteX78" fmla="*/ 209581 w 489386"/>
                    <a:gd name="connsiteY78" fmla="*/ 918423 h 1123614"/>
                    <a:gd name="connsiteX79" fmla="*/ 197510 w 489386"/>
                    <a:gd name="connsiteY79" fmla="*/ 910194 h 1123614"/>
                    <a:gd name="connsiteX80" fmla="*/ 199156 w 489386"/>
                    <a:gd name="connsiteY80" fmla="*/ 909645 h 1123614"/>
                    <a:gd name="connsiteX81" fmla="*/ 205740 w 489386"/>
                    <a:gd name="connsiteY81" fmla="*/ 911840 h 1123614"/>
                    <a:gd name="connsiteX82" fmla="*/ 212324 w 489386"/>
                    <a:gd name="connsiteY82" fmla="*/ 910743 h 1123614"/>
                    <a:gd name="connsiteX83" fmla="*/ 213421 w 489386"/>
                    <a:gd name="connsiteY83" fmla="*/ 907451 h 1123614"/>
                    <a:gd name="connsiteX84" fmla="*/ 207386 w 489386"/>
                    <a:gd name="connsiteY84" fmla="*/ 901964 h 1123614"/>
                    <a:gd name="connsiteX85" fmla="*/ 188184 w 489386"/>
                    <a:gd name="connsiteY85" fmla="*/ 899221 h 1123614"/>
                    <a:gd name="connsiteX86" fmla="*/ 189281 w 489386"/>
                    <a:gd name="connsiteY86" fmla="*/ 896478 h 1123614"/>
                    <a:gd name="connsiteX87" fmla="*/ 204643 w 489386"/>
                    <a:gd name="connsiteY87" fmla="*/ 894832 h 1123614"/>
                    <a:gd name="connsiteX88" fmla="*/ 213421 w 489386"/>
                    <a:gd name="connsiteY88" fmla="*/ 898124 h 1123614"/>
                    <a:gd name="connsiteX89" fmla="*/ 218359 w 489386"/>
                    <a:gd name="connsiteY89" fmla="*/ 895380 h 1123614"/>
                    <a:gd name="connsiteX90" fmla="*/ 219456 w 489386"/>
                    <a:gd name="connsiteY90" fmla="*/ 889345 h 1123614"/>
                    <a:gd name="connsiteX91" fmla="*/ 228783 w 489386"/>
                    <a:gd name="connsiteY91" fmla="*/ 888797 h 1123614"/>
                    <a:gd name="connsiteX92" fmla="*/ 240304 w 489386"/>
                    <a:gd name="connsiteY92" fmla="*/ 876178 h 1123614"/>
                    <a:gd name="connsiteX93" fmla="*/ 240304 w 489386"/>
                    <a:gd name="connsiteY93" fmla="*/ 867948 h 1123614"/>
                    <a:gd name="connsiteX94" fmla="*/ 245791 w 489386"/>
                    <a:gd name="connsiteY94" fmla="*/ 869595 h 1123614"/>
                    <a:gd name="connsiteX95" fmla="*/ 245791 w 489386"/>
                    <a:gd name="connsiteY95" fmla="*/ 877824 h 1123614"/>
                    <a:gd name="connsiteX96" fmla="*/ 254020 w 489386"/>
                    <a:gd name="connsiteY96" fmla="*/ 876727 h 1123614"/>
                    <a:gd name="connsiteX97" fmla="*/ 258958 w 489386"/>
                    <a:gd name="connsiteY97" fmla="*/ 868497 h 1123614"/>
                    <a:gd name="connsiteX98" fmla="*/ 268834 w 489386"/>
                    <a:gd name="connsiteY98" fmla="*/ 860268 h 1123614"/>
                    <a:gd name="connsiteX99" fmla="*/ 266639 w 489386"/>
                    <a:gd name="connsiteY99" fmla="*/ 851489 h 1123614"/>
                    <a:gd name="connsiteX100" fmla="*/ 270480 w 489386"/>
                    <a:gd name="connsiteY100" fmla="*/ 854781 h 1123614"/>
                    <a:gd name="connsiteX101" fmla="*/ 274869 w 489386"/>
                    <a:gd name="connsiteY101" fmla="*/ 854781 h 1123614"/>
                    <a:gd name="connsiteX102" fmla="*/ 274869 w 489386"/>
                    <a:gd name="connsiteY102" fmla="*/ 850392 h 1123614"/>
                    <a:gd name="connsiteX103" fmla="*/ 278709 w 489386"/>
                    <a:gd name="connsiteY103" fmla="*/ 847100 h 1123614"/>
                    <a:gd name="connsiteX104" fmla="*/ 278161 w 489386"/>
                    <a:gd name="connsiteY104" fmla="*/ 843808 h 1123614"/>
                    <a:gd name="connsiteX105" fmla="*/ 241950 w 489386"/>
                    <a:gd name="connsiteY105" fmla="*/ 851489 h 1123614"/>
                    <a:gd name="connsiteX106" fmla="*/ 233721 w 489386"/>
                    <a:gd name="connsiteY106" fmla="*/ 849843 h 1123614"/>
                    <a:gd name="connsiteX107" fmla="*/ 230429 w 489386"/>
                    <a:gd name="connsiteY107" fmla="*/ 852587 h 1123614"/>
                    <a:gd name="connsiteX108" fmla="*/ 228783 w 489386"/>
                    <a:gd name="connsiteY108" fmla="*/ 847649 h 1123614"/>
                    <a:gd name="connsiteX109" fmla="*/ 224942 w 489386"/>
                    <a:gd name="connsiteY109" fmla="*/ 844357 h 1123614"/>
                    <a:gd name="connsiteX110" fmla="*/ 207935 w 489386"/>
                    <a:gd name="connsiteY110" fmla="*/ 836676 h 1123614"/>
                    <a:gd name="connsiteX111" fmla="*/ 198608 w 489386"/>
                    <a:gd name="connsiteY111" fmla="*/ 838322 h 1123614"/>
                    <a:gd name="connsiteX112" fmla="*/ 194767 w 489386"/>
                    <a:gd name="connsiteY112" fmla="*/ 836676 h 1123614"/>
                    <a:gd name="connsiteX113" fmla="*/ 198608 w 489386"/>
                    <a:gd name="connsiteY113" fmla="*/ 834481 h 1123614"/>
                    <a:gd name="connsiteX114" fmla="*/ 201351 w 489386"/>
                    <a:gd name="connsiteY114" fmla="*/ 830092 h 1123614"/>
                    <a:gd name="connsiteX115" fmla="*/ 205740 w 489386"/>
                    <a:gd name="connsiteY115" fmla="*/ 831190 h 1123614"/>
                    <a:gd name="connsiteX116" fmla="*/ 211226 w 489386"/>
                    <a:gd name="connsiteY116" fmla="*/ 829544 h 1123614"/>
                    <a:gd name="connsiteX117" fmla="*/ 219456 w 489386"/>
                    <a:gd name="connsiteY117" fmla="*/ 830641 h 1123614"/>
                    <a:gd name="connsiteX118" fmla="*/ 220553 w 489386"/>
                    <a:gd name="connsiteY118" fmla="*/ 830092 h 1123614"/>
                    <a:gd name="connsiteX119" fmla="*/ 227137 w 489386"/>
                    <a:gd name="connsiteY119" fmla="*/ 836676 h 1123614"/>
                    <a:gd name="connsiteX120" fmla="*/ 231526 w 489386"/>
                    <a:gd name="connsiteY120" fmla="*/ 833933 h 1123614"/>
                    <a:gd name="connsiteX121" fmla="*/ 232075 w 489386"/>
                    <a:gd name="connsiteY121" fmla="*/ 831190 h 1123614"/>
                    <a:gd name="connsiteX122" fmla="*/ 236464 w 489386"/>
                    <a:gd name="connsiteY122" fmla="*/ 835030 h 1123614"/>
                    <a:gd name="connsiteX123" fmla="*/ 241950 w 489386"/>
                    <a:gd name="connsiteY123" fmla="*/ 837225 h 1123614"/>
                    <a:gd name="connsiteX124" fmla="*/ 244145 w 489386"/>
                    <a:gd name="connsiteY124" fmla="*/ 833384 h 1123614"/>
                    <a:gd name="connsiteX125" fmla="*/ 246339 w 489386"/>
                    <a:gd name="connsiteY125" fmla="*/ 835030 h 1123614"/>
                    <a:gd name="connsiteX126" fmla="*/ 249083 w 489386"/>
                    <a:gd name="connsiteY126" fmla="*/ 842711 h 1123614"/>
                    <a:gd name="connsiteX127" fmla="*/ 254569 w 489386"/>
                    <a:gd name="connsiteY127" fmla="*/ 844357 h 1123614"/>
                    <a:gd name="connsiteX128" fmla="*/ 276515 w 489386"/>
                    <a:gd name="connsiteY128" fmla="*/ 832836 h 1123614"/>
                    <a:gd name="connsiteX129" fmla="*/ 283647 w 489386"/>
                    <a:gd name="connsiteY129" fmla="*/ 820217 h 1123614"/>
                    <a:gd name="connsiteX130" fmla="*/ 286939 w 489386"/>
                    <a:gd name="connsiteY130" fmla="*/ 816925 h 1123614"/>
                    <a:gd name="connsiteX131" fmla="*/ 289682 w 489386"/>
                    <a:gd name="connsiteY131" fmla="*/ 805404 h 1123614"/>
                    <a:gd name="connsiteX132" fmla="*/ 285293 w 489386"/>
                    <a:gd name="connsiteY132" fmla="*/ 794979 h 1123614"/>
                    <a:gd name="connsiteX133" fmla="*/ 276515 w 489386"/>
                    <a:gd name="connsiteY133" fmla="*/ 788944 h 1123614"/>
                    <a:gd name="connsiteX134" fmla="*/ 270480 w 489386"/>
                    <a:gd name="connsiteY134" fmla="*/ 779069 h 1123614"/>
                    <a:gd name="connsiteX135" fmla="*/ 275966 w 489386"/>
                    <a:gd name="connsiteY135" fmla="*/ 778520 h 1123614"/>
                    <a:gd name="connsiteX136" fmla="*/ 275417 w 489386"/>
                    <a:gd name="connsiteY136" fmla="*/ 775777 h 1123614"/>
                    <a:gd name="connsiteX137" fmla="*/ 260604 w 489386"/>
                    <a:gd name="connsiteY137" fmla="*/ 769193 h 1123614"/>
                    <a:gd name="connsiteX138" fmla="*/ 256764 w 489386"/>
                    <a:gd name="connsiteY138" fmla="*/ 755477 h 1123614"/>
                    <a:gd name="connsiteX139" fmla="*/ 245242 w 489386"/>
                    <a:gd name="connsiteY139" fmla="*/ 757672 h 1123614"/>
                    <a:gd name="connsiteX140" fmla="*/ 240853 w 489386"/>
                    <a:gd name="connsiteY140" fmla="*/ 749991 h 1123614"/>
                    <a:gd name="connsiteX141" fmla="*/ 238110 w 489386"/>
                    <a:gd name="connsiteY141" fmla="*/ 749442 h 1123614"/>
                    <a:gd name="connsiteX142" fmla="*/ 238110 w 489386"/>
                    <a:gd name="connsiteY142" fmla="*/ 752734 h 1123614"/>
                    <a:gd name="connsiteX143" fmla="*/ 233721 w 489386"/>
                    <a:gd name="connsiteY143" fmla="*/ 765353 h 1123614"/>
                    <a:gd name="connsiteX144" fmla="*/ 211226 w 489386"/>
                    <a:gd name="connsiteY144" fmla="*/ 786201 h 1123614"/>
                    <a:gd name="connsiteX145" fmla="*/ 205191 w 489386"/>
                    <a:gd name="connsiteY145" fmla="*/ 786201 h 1123614"/>
                    <a:gd name="connsiteX146" fmla="*/ 196962 w 489386"/>
                    <a:gd name="connsiteY146" fmla="*/ 788396 h 1123614"/>
                    <a:gd name="connsiteX147" fmla="*/ 192024 w 489386"/>
                    <a:gd name="connsiteY147" fmla="*/ 786750 h 1123614"/>
                    <a:gd name="connsiteX148" fmla="*/ 197510 w 489386"/>
                    <a:gd name="connsiteY148" fmla="*/ 782909 h 1123614"/>
                    <a:gd name="connsiteX149" fmla="*/ 205740 w 489386"/>
                    <a:gd name="connsiteY149" fmla="*/ 780715 h 1123614"/>
                    <a:gd name="connsiteX150" fmla="*/ 212324 w 489386"/>
                    <a:gd name="connsiteY150" fmla="*/ 774680 h 1123614"/>
                    <a:gd name="connsiteX151" fmla="*/ 218907 w 489386"/>
                    <a:gd name="connsiteY151" fmla="*/ 771936 h 1123614"/>
                    <a:gd name="connsiteX152" fmla="*/ 230429 w 489386"/>
                    <a:gd name="connsiteY152" fmla="*/ 760964 h 1123614"/>
                    <a:gd name="connsiteX153" fmla="*/ 232623 w 489386"/>
                    <a:gd name="connsiteY153" fmla="*/ 754380 h 1123614"/>
                    <a:gd name="connsiteX154" fmla="*/ 232623 w 489386"/>
                    <a:gd name="connsiteY154" fmla="*/ 745602 h 1123614"/>
                    <a:gd name="connsiteX155" fmla="*/ 226588 w 489386"/>
                    <a:gd name="connsiteY155" fmla="*/ 744504 h 1123614"/>
                    <a:gd name="connsiteX156" fmla="*/ 229332 w 489386"/>
                    <a:gd name="connsiteY156" fmla="*/ 739018 h 1123614"/>
                    <a:gd name="connsiteX157" fmla="*/ 229332 w 489386"/>
                    <a:gd name="connsiteY157" fmla="*/ 732435 h 1123614"/>
                    <a:gd name="connsiteX158" fmla="*/ 227137 w 489386"/>
                    <a:gd name="connsiteY158" fmla="*/ 725851 h 1123614"/>
                    <a:gd name="connsiteX159" fmla="*/ 223297 w 489386"/>
                    <a:gd name="connsiteY159" fmla="*/ 679216 h 1123614"/>
                    <a:gd name="connsiteX160" fmla="*/ 226040 w 489386"/>
                    <a:gd name="connsiteY160" fmla="*/ 668792 h 1123614"/>
                    <a:gd name="connsiteX161" fmla="*/ 225491 w 489386"/>
                    <a:gd name="connsiteY161" fmla="*/ 664952 h 1123614"/>
                    <a:gd name="connsiteX162" fmla="*/ 235915 w 489386"/>
                    <a:gd name="connsiteY162" fmla="*/ 670438 h 1123614"/>
                    <a:gd name="connsiteX163" fmla="*/ 236464 w 489386"/>
                    <a:gd name="connsiteY163" fmla="*/ 664952 h 1123614"/>
                    <a:gd name="connsiteX164" fmla="*/ 233721 w 489386"/>
                    <a:gd name="connsiteY164" fmla="*/ 650139 h 1123614"/>
                    <a:gd name="connsiteX165" fmla="*/ 239756 w 489386"/>
                    <a:gd name="connsiteY165" fmla="*/ 623255 h 1123614"/>
                    <a:gd name="connsiteX166" fmla="*/ 234818 w 489386"/>
                    <a:gd name="connsiteY166" fmla="*/ 617220 h 1123614"/>
                    <a:gd name="connsiteX167" fmla="*/ 233172 w 489386"/>
                    <a:gd name="connsiteY167" fmla="*/ 611185 h 1123614"/>
                    <a:gd name="connsiteX168" fmla="*/ 233721 w 489386"/>
                    <a:gd name="connsiteY168" fmla="*/ 601309 h 1123614"/>
                    <a:gd name="connsiteX169" fmla="*/ 244145 w 489386"/>
                    <a:gd name="connsiteY169" fmla="*/ 607344 h 1123614"/>
                    <a:gd name="connsiteX170" fmla="*/ 244693 w 489386"/>
                    <a:gd name="connsiteY170" fmla="*/ 605699 h 1123614"/>
                    <a:gd name="connsiteX171" fmla="*/ 247985 w 489386"/>
                    <a:gd name="connsiteY171" fmla="*/ 603504 h 1123614"/>
                    <a:gd name="connsiteX172" fmla="*/ 251826 w 489386"/>
                    <a:gd name="connsiteY172" fmla="*/ 597469 h 1123614"/>
                    <a:gd name="connsiteX173" fmla="*/ 252374 w 489386"/>
                    <a:gd name="connsiteY173" fmla="*/ 595275 h 1123614"/>
                    <a:gd name="connsiteX174" fmla="*/ 251277 w 489386"/>
                    <a:gd name="connsiteY174" fmla="*/ 593080 h 1123614"/>
                    <a:gd name="connsiteX175" fmla="*/ 252923 w 489386"/>
                    <a:gd name="connsiteY175" fmla="*/ 582107 h 1123614"/>
                    <a:gd name="connsiteX176" fmla="*/ 250180 w 489386"/>
                    <a:gd name="connsiteY176" fmla="*/ 574975 h 1123614"/>
                    <a:gd name="connsiteX177" fmla="*/ 250729 w 489386"/>
                    <a:gd name="connsiteY177" fmla="*/ 568940 h 1123614"/>
                    <a:gd name="connsiteX178" fmla="*/ 252374 w 489386"/>
                    <a:gd name="connsiteY178" fmla="*/ 575523 h 1123614"/>
                    <a:gd name="connsiteX179" fmla="*/ 258409 w 489386"/>
                    <a:gd name="connsiteY179" fmla="*/ 580461 h 1123614"/>
                    <a:gd name="connsiteX180" fmla="*/ 261153 w 489386"/>
                    <a:gd name="connsiteY180" fmla="*/ 579912 h 1123614"/>
                    <a:gd name="connsiteX181" fmla="*/ 264993 w 489386"/>
                    <a:gd name="connsiteY181" fmla="*/ 572780 h 1123614"/>
                    <a:gd name="connsiteX182" fmla="*/ 269382 w 489386"/>
                    <a:gd name="connsiteY182" fmla="*/ 575523 h 1123614"/>
                    <a:gd name="connsiteX183" fmla="*/ 270480 w 489386"/>
                    <a:gd name="connsiteY183" fmla="*/ 570037 h 1123614"/>
                    <a:gd name="connsiteX184" fmla="*/ 272674 w 489386"/>
                    <a:gd name="connsiteY184" fmla="*/ 566196 h 1123614"/>
                    <a:gd name="connsiteX185" fmla="*/ 264993 w 489386"/>
                    <a:gd name="connsiteY185" fmla="*/ 562905 h 1123614"/>
                    <a:gd name="connsiteX186" fmla="*/ 270480 w 489386"/>
                    <a:gd name="connsiteY186" fmla="*/ 563453 h 1123614"/>
                    <a:gd name="connsiteX187" fmla="*/ 276515 w 489386"/>
                    <a:gd name="connsiteY187" fmla="*/ 559064 h 1123614"/>
                    <a:gd name="connsiteX188" fmla="*/ 275966 w 489386"/>
                    <a:gd name="connsiteY188" fmla="*/ 556321 h 1123614"/>
                    <a:gd name="connsiteX189" fmla="*/ 281452 w 489386"/>
                    <a:gd name="connsiteY189" fmla="*/ 553578 h 1123614"/>
                    <a:gd name="connsiteX190" fmla="*/ 282001 w 489386"/>
                    <a:gd name="connsiteY190" fmla="*/ 546994 h 1123614"/>
                    <a:gd name="connsiteX191" fmla="*/ 285841 w 489386"/>
                    <a:gd name="connsiteY191" fmla="*/ 545348 h 1123614"/>
                    <a:gd name="connsiteX192" fmla="*/ 286390 w 489386"/>
                    <a:gd name="connsiteY192" fmla="*/ 537119 h 1123614"/>
                    <a:gd name="connsiteX193" fmla="*/ 290779 w 489386"/>
                    <a:gd name="connsiteY193" fmla="*/ 536021 h 1123614"/>
                    <a:gd name="connsiteX194" fmla="*/ 297912 w 489386"/>
                    <a:gd name="connsiteY194" fmla="*/ 537667 h 1123614"/>
                    <a:gd name="connsiteX195" fmla="*/ 306141 w 489386"/>
                    <a:gd name="connsiteY195" fmla="*/ 531084 h 1123614"/>
                    <a:gd name="connsiteX196" fmla="*/ 308336 w 489386"/>
                    <a:gd name="connsiteY196" fmla="*/ 523951 h 1123614"/>
                    <a:gd name="connsiteX197" fmla="*/ 317663 w 489386"/>
                    <a:gd name="connsiteY197" fmla="*/ 515722 h 1123614"/>
                    <a:gd name="connsiteX198" fmla="*/ 322600 w 489386"/>
                    <a:gd name="connsiteY198" fmla="*/ 520659 h 1123614"/>
                    <a:gd name="connsiteX199" fmla="*/ 329733 w 489386"/>
                    <a:gd name="connsiteY199" fmla="*/ 515173 h 1123614"/>
                    <a:gd name="connsiteX200" fmla="*/ 331927 w 489386"/>
                    <a:gd name="connsiteY200" fmla="*/ 509138 h 1123614"/>
                    <a:gd name="connsiteX201" fmla="*/ 337414 w 489386"/>
                    <a:gd name="connsiteY201" fmla="*/ 504200 h 1123614"/>
                    <a:gd name="connsiteX202" fmla="*/ 342351 w 489386"/>
                    <a:gd name="connsiteY202" fmla="*/ 506395 h 1123614"/>
                    <a:gd name="connsiteX203" fmla="*/ 345095 w 489386"/>
                    <a:gd name="connsiteY203" fmla="*/ 503103 h 1123614"/>
                    <a:gd name="connsiteX204" fmla="*/ 353324 w 489386"/>
                    <a:gd name="connsiteY204" fmla="*/ 498165 h 1123614"/>
                    <a:gd name="connsiteX205" fmla="*/ 357165 w 489386"/>
                    <a:gd name="connsiteY205" fmla="*/ 492130 h 1123614"/>
                    <a:gd name="connsiteX206" fmla="*/ 361554 w 489386"/>
                    <a:gd name="connsiteY206" fmla="*/ 489936 h 1123614"/>
                    <a:gd name="connsiteX207" fmla="*/ 388437 w 489386"/>
                    <a:gd name="connsiteY207" fmla="*/ 442204 h 1123614"/>
                    <a:gd name="connsiteX208" fmla="*/ 388986 w 489386"/>
                    <a:gd name="connsiteY208" fmla="*/ 446044 h 1123614"/>
                    <a:gd name="connsiteX209" fmla="*/ 388437 w 489386"/>
                    <a:gd name="connsiteY209" fmla="*/ 453177 h 1123614"/>
                    <a:gd name="connsiteX210" fmla="*/ 395569 w 489386"/>
                    <a:gd name="connsiteY210" fmla="*/ 441107 h 1123614"/>
                    <a:gd name="connsiteX211" fmla="*/ 391729 w 489386"/>
                    <a:gd name="connsiteY211" fmla="*/ 437266 h 1123614"/>
                    <a:gd name="connsiteX212" fmla="*/ 391729 w 489386"/>
                    <a:gd name="connsiteY212" fmla="*/ 433426 h 1123614"/>
                    <a:gd name="connsiteX213" fmla="*/ 381853 w 489386"/>
                    <a:gd name="connsiteY213" fmla="*/ 423001 h 1123614"/>
                    <a:gd name="connsiteX214" fmla="*/ 380756 w 489386"/>
                    <a:gd name="connsiteY214" fmla="*/ 418612 h 1123614"/>
                    <a:gd name="connsiteX215" fmla="*/ 382402 w 489386"/>
                    <a:gd name="connsiteY215" fmla="*/ 416966 h 1123614"/>
                    <a:gd name="connsiteX216" fmla="*/ 381305 w 489386"/>
                    <a:gd name="connsiteY216" fmla="*/ 412577 h 1123614"/>
                    <a:gd name="connsiteX217" fmla="*/ 378013 w 489386"/>
                    <a:gd name="connsiteY217" fmla="*/ 408737 h 1123614"/>
                    <a:gd name="connsiteX218" fmla="*/ 378013 w 489386"/>
                    <a:gd name="connsiteY218" fmla="*/ 405994 h 1123614"/>
                    <a:gd name="connsiteX219" fmla="*/ 381305 w 489386"/>
                    <a:gd name="connsiteY219" fmla="*/ 403250 h 1123614"/>
                    <a:gd name="connsiteX220" fmla="*/ 382402 w 489386"/>
                    <a:gd name="connsiteY220" fmla="*/ 398861 h 1123614"/>
                    <a:gd name="connsiteX221" fmla="*/ 388437 w 489386"/>
                    <a:gd name="connsiteY221" fmla="*/ 396118 h 1123614"/>
                    <a:gd name="connsiteX222" fmla="*/ 395569 w 489386"/>
                    <a:gd name="connsiteY222" fmla="*/ 374721 h 1123614"/>
                    <a:gd name="connsiteX223" fmla="*/ 388986 w 489386"/>
                    <a:gd name="connsiteY223" fmla="*/ 362651 h 1123614"/>
                    <a:gd name="connsiteX224" fmla="*/ 389534 w 489386"/>
                    <a:gd name="connsiteY224" fmla="*/ 361005 h 1123614"/>
                    <a:gd name="connsiteX225" fmla="*/ 397215 w 489386"/>
                    <a:gd name="connsiteY225" fmla="*/ 356067 h 1123614"/>
                    <a:gd name="connsiteX226" fmla="*/ 397215 w 489386"/>
                    <a:gd name="connsiteY226" fmla="*/ 350581 h 1123614"/>
                    <a:gd name="connsiteX227" fmla="*/ 400507 w 489386"/>
                    <a:gd name="connsiteY227" fmla="*/ 350032 h 1123614"/>
                    <a:gd name="connsiteX228" fmla="*/ 405994 w 489386"/>
                    <a:gd name="connsiteY228" fmla="*/ 352227 h 1123614"/>
                    <a:gd name="connsiteX229" fmla="*/ 408188 w 489386"/>
                    <a:gd name="connsiteY229" fmla="*/ 351678 h 1123614"/>
                    <a:gd name="connsiteX230" fmla="*/ 409285 w 489386"/>
                    <a:gd name="connsiteY230" fmla="*/ 347289 h 1123614"/>
                    <a:gd name="connsiteX231" fmla="*/ 407091 w 489386"/>
                    <a:gd name="connsiteY231" fmla="*/ 343997 h 1123614"/>
                    <a:gd name="connsiteX232" fmla="*/ 413675 w 489386"/>
                    <a:gd name="connsiteY232" fmla="*/ 342900 h 1123614"/>
                    <a:gd name="connsiteX233" fmla="*/ 414223 w 489386"/>
                    <a:gd name="connsiteY233" fmla="*/ 339608 h 1123614"/>
                    <a:gd name="connsiteX234" fmla="*/ 407091 w 489386"/>
                    <a:gd name="connsiteY234" fmla="*/ 328635 h 1123614"/>
                    <a:gd name="connsiteX235" fmla="*/ 407091 w 489386"/>
                    <a:gd name="connsiteY235" fmla="*/ 325892 h 1123614"/>
                    <a:gd name="connsiteX236" fmla="*/ 414772 w 489386"/>
                    <a:gd name="connsiteY236" fmla="*/ 331927 h 1123614"/>
                    <a:gd name="connsiteX237" fmla="*/ 418064 w 489386"/>
                    <a:gd name="connsiteY237" fmla="*/ 337414 h 1123614"/>
                    <a:gd name="connsiteX238" fmla="*/ 420807 w 489386"/>
                    <a:gd name="connsiteY238" fmla="*/ 337414 h 1123614"/>
                    <a:gd name="connsiteX239" fmla="*/ 420258 w 489386"/>
                    <a:gd name="connsiteY239" fmla="*/ 325892 h 1123614"/>
                    <a:gd name="connsiteX240" fmla="*/ 420807 w 489386"/>
                    <a:gd name="connsiteY240" fmla="*/ 327538 h 1123614"/>
                    <a:gd name="connsiteX241" fmla="*/ 423001 w 489386"/>
                    <a:gd name="connsiteY241" fmla="*/ 325892 h 1123614"/>
                    <a:gd name="connsiteX242" fmla="*/ 424099 w 489386"/>
                    <a:gd name="connsiteY242" fmla="*/ 311628 h 1123614"/>
                    <a:gd name="connsiteX243" fmla="*/ 426842 w 489386"/>
                    <a:gd name="connsiteY243" fmla="*/ 311079 h 1123614"/>
                    <a:gd name="connsiteX244" fmla="*/ 429585 w 489386"/>
                    <a:gd name="connsiteY244" fmla="*/ 311079 h 1123614"/>
                    <a:gd name="connsiteX245" fmla="*/ 429585 w 489386"/>
                    <a:gd name="connsiteY245" fmla="*/ 314919 h 1123614"/>
                    <a:gd name="connsiteX246" fmla="*/ 432328 w 489386"/>
                    <a:gd name="connsiteY246" fmla="*/ 318211 h 1123614"/>
                    <a:gd name="connsiteX247" fmla="*/ 435072 w 489386"/>
                    <a:gd name="connsiteY247" fmla="*/ 319857 h 1123614"/>
                    <a:gd name="connsiteX248" fmla="*/ 438363 w 489386"/>
                    <a:gd name="connsiteY248" fmla="*/ 310530 h 1123614"/>
                    <a:gd name="connsiteX249" fmla="*/ 442204 w 489386"/>
                    <a:gd name="connsiteY249" fmla="*/ 313273 h 1123614"/>
                    <a:gd name="connsiteX250" fmla="*/ 446044 w 489386"/>
                    <a:gd name="connsiteY250" fmla="*/ 320406 h 1123614"/>
                    <a:gd name="connsiteX251" fmla="*/ 448788 w 489386"/>
                    <a:gd name="connsiteY251" fmla="*/ 320406 h 1123614"/>
                    <a:gd name="connsiteX252" fmla="*/ 452628 w 489386"/>
                    <a:gd name="connsiteY252" fmla="*/ 323698 h 1123614"/>
                    <a:gd name="connsiteX253" fmla="*/ 455920 w 489386"/>
                    <a:gd name="connsiteY253" fmla="*/ 315468 h 1123614"/>
                    <a:gd name="connsiteX254" fmla="*/ 473476 w 489386"/>
                    <a:gd name="connsiteY254" fmla="*/ 314371 h 1123614"/>
                    <a:gd name="connsiteX255" fmla="*/ 480060 w 489386"/>
                    <a:gd name="connsiteY255" fmla="*/ 317663 h 1123614"/>
                    <a:gd name="connsiteX256" fmla="*/ 483901 w 489386"/>
                    <a:gd name="connsiteY256" fmla="*/ 323149 h 1123614"/>
                    <a:gd name="connsiteX257" fmla="*/ 486644 w 489386"/>
                    <a:gd name="connsiteY257" fmla="*/ 317663 h 1123614"/>
                    <a:gd name="connsiteX258" fmla="*/ 489387 w 489386"/>
                    <a:gd name="connsiteY258" fmla="*/ 316017 h 1123614"/>
                    <a:gd name="connsiteX259" fmla="*/ 475122 w 489386"/>
                    <a:gd name="connsiteY259" fmla="*/ 270480 h 1123614"/>
                    <a:gd name="connsiteX260" fmla="*/ 478414 w 489386"/>
                    <a:gd name="connsiteY260" fmla="*/ 258409 h 1123614"/>
                    <a:gd name="connsiteX261" fmla="*/ 483901 w 489386"/>
                    <a:gd name="connsiteY261" fmla="*/ 249083 h 1123614"/>
                    <a:gd name="connsiteX262" fmla="*/ 484998 w 489386"/>
                    <a:gd name="connsiteY262" fmla="*/ 233721 h 1123614"/>
                    <a:gd name="connsiteX263" fmla="*/ 470185 w 489386"/>
                    <a:gd name="connsiteY263" fmla="*/ 202997 h 1123614"/>
                    <a:gd name="connsiteX264" fmla="*/ 468539 w 489386"/>
                    <a:gd name="connsiteY264" fmla="*/ 190927 h 1123614"/>
                    <a:gd name="connsiteX265" fmla="*/ 472928 w 489386"/>
                    <a:gd name="connsiteY265" fmla="*/ 177211 h 1123614"/>
                    <a:gd name="connsiteX266" fmla="*/ 471830 w 489386"/>
                    <a:gd name="connsiteY266" fmla="*/ 167335 h 1123614"/>
                    <a:gd name="connsiteX267" fmla="*/ 468539 w 489386"/>
                    <a:gd name="connsiteY267" fmla="*/ 162397 h 1123614"/>
                    <a:gd name="connsiteX268" fmla="*/ 466893 w 489386"/>
                    <a:gd name="connsiteY268" fmla="*/ 138257 h 1123614"/>
                    <a:gd name="connsiteX269" fmla="*/ 471830 w 489386"/>
                    <a:gd name="connsiteY269" fmla="*/ 118506 h 1123614"/>
                    <a:gd name="connsiteX270" fmla="*/ 447690 w 489386"/>
                    <a:gd name="connsiteY270" fmla="*/ 74615 h 1123614"/>
                    <a:gd name="connsiteX271" fmla="*/ 435072 w 489386"/>
                    <a:gd name="connsiteY271" fmla="*/ 63642 h 1123614"/>
                    <a:gd name="connsiteX272" fmla="*/ 410931 w 489386"/>
                    <a:gd name="connsiteY272" fmla="*/ 55961 h 1123614"/>
                    <a:gd name="connsiteX273" fmla="*/ 361554 w 489386"/>
                    <a:gd name="connsiteY273" fmla="*/ 3840 h 1123614"/>
                    <a:gd name="connsiteX274" fmla="*/ 359908 w 489386"/>
                    <a:gd name="connsiteY274" fmla="*/ 549 h 1123614"/>
                    <a:gd name="connsiteX275" fmla="*/ 342900 w 489386"/>
                    <a:gd name="connsiteY275" fmla="*/ 0 h 1123614"/>
                    <a:gd name="connsiteX276" fmla="*/ 339060 w 489386"/>
                    <a:gd name="connsiteY276" fmla="*/ 2195 h 1123614"/>
                    <a:gd name="connsiteX277" fmla="*/ 339608 w 489386"/>
                    <a:gd name="connsiteY277" fmla="*/ 8778 h 1123614"/>
                    <a:gd name="connsiteX278" fmla="*/ 343449 w 489386"/>
                    <a:gd name="connsiteY278" fmla="*/ 12070 h 1123614"/>
                    <a:gd name="connsiteX279" fmla="*/ 343997 w 489386"/>
                    <a:gd name="connsiteY279" fmla="*/ 19751 h 1123614"/>
                    <a:gd name="connsiteX280" fmla="*/ 342900 w 489386"/>
                    <a:gd name="connsiteY280" fmla="*/ 25786 h 1123614"/>
                    <a:gd name="connsiteX281" fmla="*/ 339608 w 489386"/>
                    <a:gd name="connsiteY281" fmla="*/ 29627 h 1123614"/>
                    <a:gd name="connsiteX282" fmla="*/ 337414 w 489386"/>
                    <a:gd name="connsiteY282" fmla="*/ 40051 h 1123614"/>
                    <a:gd name="connsiteX283" fmla="*/ 333025 w 489386"/>
                    <a:gd name="connsiteY283" fmla="*/ 47183 h 1123614"/>
                    <a:gd name="connsiteX284" fmla="*/ 334122 w 489386"/>
                    <a:gd name="connsiteY284" fmla="*/ 54315 h 1123614"/>
                    <a:gd name="connsiteX285" fmla="*/ 340705 w 489386"/>
                    <a:gd name="connsiteY285" fmla="*/ 60899 h 1123614"/>
                    <a:gd name="connsiteX286" fmla="*/ 336316 w 489386"/>
                    <a:gd name="connsiteY286" fmla="*/ 66385 h 1123614"/>
                    <a:gd name="connsiteX287" fmla="*/ 330281 w 489386"/>
                    <a:gd name="connsiteY287" fmla="*/ 68031 h 1123614"/>
                    <a:gd name="connsiteX288" fmla="*/ 279258 w 489386"/>
                    <a:gd name="connsiteY288" fmla="*/ 54864 h 1123614"/>
                    <a:gd name="connsiteX289" fmla="*/ 273223 w 489386"/>
                    <a:gd name="connsiteY289" fmla="*/ 55961 h 1123614"/>
                    <a:gd name="connsiteX290" fmla="*/ 269382 w 489386"/>
                    <a:gd name="connsiteY290" fmla="*/ 58704 h 1123614"/>
                    <a:gd name="connsiteX291" fmla="*/ 266090 w 489386"/>
                    <a:gd name="connsiteY291" fmla="*/ 65837 h 1123614"/>
                    <a:gd name="connsiteX292" fmla="*/ 267736 w 489386"/>
                    <a:gd name="connsiteY292" fmla="*/ 81747 h 1123614"/>
                    <a:gd name="connsiteX293" fmla="*/ 262250 w 489386"/>
                    <a:gd name="connsiteY293" fmla="*/ 103144 h 1123614"/>
                    <a:gd name="connsiteX294" fmla="*/ 256215 w 489386"/>
                    <a:gd name="connsiteY294" fmla="*/ 114117 h 1123614"/>
                    <a:gd name="connsiteX295" fmla="*/ 253472 w 489386"/>
                    <a:gd name="connsiteY295" fmla="*/ 113020 h 1123614"/>
                    <a:gd name="connsiteX296" fmla="*/ 246888 w 489386"/>
                    <a:gd name="connsiteY296" fmla="*/ 104242 h 1123614"/>
                    <a:gd name="connsiteX297" fmla="*/ 238658 w 489386"/>
                    <a:gd name="connsiteY297" fmla="*/ 99852 h 1123614"/>
                    <a:gd name="connsiteX298" fmla="*/ 230429 w 489386"/>
                    <a:gd name="connsiteY298" fmla="*/ 101498 h 1123614"/>
                    <a:gd name="connsiteX299" fmla="*/ 211226 w 489386"/>
                    <a:gd name="connsiteY299" fmla="*/ 122895 h 1123614"/>
                    <a:gd name="connsiteX300" fmla="*/ 207386 w 489386"/>
                    <a:gd name="connsiteY300" fmla="*/ 143195 h 1123614"/>
                    <a:gd name="connsiteX301" fmla="*/ 193670 w 489386"/>
                    <a:gd name="connsiteY301" fmla="*/ 161849 h 1123614"/>
                    <a:gd name="connsiteX302" fmla="*/ 191475 w 489386"/>
                    <a:gd name="connsiteY302" fmla="*/ 171176 h 1123614"/>
                    <a:gd name="connsiteX303" fmla="*/ 200254 w 489386"/>
                    <a:gd name="connsiteY303" fmla="*/ 186538 h 1123614"/>
                    <a:gd name="connsiteX304" fmla="*/ 201351 w 489386"/>
                    <a:gd name="connsiteY304" fmla="*/ 195864 h 1123614"/>
                    <a:gd name="connsiteX305" fmla="*/ 165689 w 489386"/>
                    <a:gd name="connsiteY305" fmla="*/ 249631 h 1123614"/>
                    <a:gd name="connsiteX306" fmla="*/ 156911 w 489386"/>
                    <a:gd name="connsiteY306" fmla="*/ 283098 h 1123614"/>
                    <a:gd name="connsiteX307" fmla="*/ 144841 w 489386"/>
                    <a:gd name="connsiteY307" fmla="*/ 291876 h 1123614"/>
                    <a:gd name="connsiteX308" fmla="*/ 137160 w 489386"/>
                    <a:gd name="connsiteY308" fmla="*/ 291876 h 1123614"/>
                    <a:gd name="connsiteX309" fmla="*/ 132222 w 489386"/>
                    <a:gd name="connsiteY309" fmla="*/ 295168 h 1123614"/>
                    <a:gd name="connsiteX310" fmla="*/ 126187 w 489386"/>
                    <a:gd name="connsiteY310" fmla="*/ 374721 h 1123614"/>
                    <a:gd name="connsiteX311" fmla="*/ 101498 w 489386"/>
                    <a:gd name="connsiteY311" fmla="*/ 421356 h 1123614"/>
                    <a:gd name="connsiteX312" fmla="*/ 102047 w 489386"/>
                    <a:gd name="connsiteY312" fmla="*/ 427939 h 1123614"/>
                    <a:gd name="connsiteX313" fmla="*/ 116860 w 489386"/>
                    <a:gd name="connsiteY313" fmla="*/ 446593 h 1123614"/>
                    <a:gd name="connsiteX314" fmla="*/ 114666 w 489386"/>
                    <a:gd name="connsiteY314" fmla="*/ 467990 h 1123614"/>
                    <a:gd name="connsiteX315" fmla="*/ 107533 w 489386"/>
                    <a:gd name="connsiteY315" fmla="*/ 476768 h 1123614"/>
                    <a:gd name="connsiteX316" fmla="*/ 86137 w 489386"/>
                    <a:gd name="connsiteY316" fmla="*/ 473476 h 1123614"/>
                    <a:gd name="connsiteX317" fmla="*/ 71323 w 489386"/>
                    <a:gd name="connsiteY317" fmla="*/ 477317 h 1123614"/>
                    <a:gd name="connsiteX318" fmla="*/ 59802 w 489386"/>
                    <a:gd name="connsiteY318" fmla="*/ 484998 h 1123614"/>
                    <a:gd name="connsiteX319" fmla="*/ 42794 w 489386"/>
                    <a:gd name="connsiteY319" fmla="*/ 506395 h 1123614"/>
                    <a:gd name="connsiteX320" fmla="*/ 35662 w 489386"/>
                    <a:gd name="connsiteY320" fmla="*/ 529986 h 1123614"/>
                    <a:gd name="connsiteX321" fmla="*/ 37856 w 489386"/>
                    <a:gd name="connsiteY321" fmla="*/ 542605 h 1123614"/>
                    <a:gd name="connsiteX322" fmla="*/ 42794 w 489386"/>
                    <a:gd name="connsiteY322" fmla="*/ 551932 h 1123614"/>
                    <a:gd name="connsiteX323" fmla="*/ 46086 w 489386"/>
                    <a:gd name="connsiteY323" fmla="*/ 555224 h 1123614"/>
                    <a:gd name="connsiteX324" fmla="*/ 41697 w 489386"/>
                    <a:gd name="connsiteY324" fmla="*/ 561807 h 1123614"/>
                    <a:gd name="connsiteX325" fmla="*/ 36210 w 489386"/>
                    <a:gd name="connsiteY325" fmla="*/ 604601 h 1123614"/>
                    <a:gd name="connsiteX326" fmla="*/ 38405 w 489386"/>
                    <a:gd name="connsiteY326" fmla="*/ 607344 h 1123614"/>
                    <a:gd name="connsiteX327" fmla="*/ 41148 w 489386"/>
                    <a:gd name="connsiteY327" fmla="*/ 617220 h 1123614"/>
                    <a:gd name="connsiteX328" fmla="*/ 41148 w 489386"/>
                    <a:gd name="connsiteY328" fmla="*/ 660563 h 1123614"/>
                    <a:gd name="connsiteX329" fmla="*/ 47183 w 489386"/>
                    <a:gd name="connsiteY329" fmla="*/ 670987 h 1123614"/>
                    <a:gd name="connsiteX330" fmla="*/ 61448 w 489386"/>
                    <a:gd name="connsiteY330" fmla="*/ 681411 h 1123614"/>
                    <a:gd name="connsiteX331" fmla="*/ 63642 w 489386"/>
                    <a:gd name="connsiteY331" fmla="*/ 695676 h 1123614"/>
                    <a:gd name="connsiteX332" fmla="*/ 59253 w 489386"/>
                    <a:gd name="connsiteY332" fmla="*/ 708294 h 1123614"/>
                    <a:gd name="connsiteX333" fmla="*/ 52121 w 489386"/>
                    <a:gd name="connsiteY333" fmla="*/ 715975 h 1123614"/>
                    <a:gd name="connsiteX334" fmla="*/ 42245 w 489386"/>
                    <a:gd name="connsiteY334" fmla="*/ 720364 h 1123614"/>
                    <a:gd name="connsiteX335" fmla="*/ 40599 w 489386"/>
                    <a:gd name="connsiteY335" fmla="*/ 724753 h 1123614"/>
                    <a:gd name="connsiteX336" fmla="*/ 47183 w 489386"/>
                    <a:gd name="connsiteY336" fmla="*/ 733532 h 1123614"/>
                    <a:gd name="connsiteX337" fmla="*/ 53218 w 489386"/>
                    <a:gd name="connsiteY337" fmla="*/ 756026 h 1123614"/>
                    <a:gd name="connsiteX338" fmla="*/ 47732 w 489386"/>
                    <a:gd name="connsiteY338" fmla="*/ 776326 h 1123614"/>
                    <a:gd name="connsiteX339" fmla="*/ 51024 w 489386"/>
                    <a:gd name="connsiteY339" fmla="*/ 782361 h 1123614"/>
                    <a:gd name="connsiteX340" fmla="*/ 49926 w 489386"/>
                    <a:gd name="connsiteY340" fmla="*/ 792785 h 1123614"/>
                    <a:gd name="connsiteX341" fmla="*/ 45537 w 489386"/>
                    <a:gd name="connsiteY341" fmla="*/ 799917 h 1123614"/>
                    <a:gd name="connsiteX342" fmla="*/ 27432 w 489386"/>
                    <a:gd name="connsiteY342" fmla="*/ 807598 h 1123614"/>
                    <a:gd name="connsiteX343" fmla="*/ 27432 w 489386"/>
                    <a:gd name="connsiteY343" fmla="*/ 816925 h 1123614"/>
                    <a:gd name="connsiteX344" fmla="*/ 18654 w 489386"/>
                    <a:gd name="connsiteY344" fmla="*/ 831190 h 1123614"/>
                    <a:gd name="connsiteX345" fmla="*/ 22494 w 489386"/>
                    <a:gd name="connsiteY345" fmla="*/ 850941 h 1123614"/>
                    <a:gd name="connsiteX346" fmla="*/ 17008 w 489386"/>
                    <a:gd name="connsiteY346" fmla="*/ 876727 h 1123614"/>
                    <a:gd name="connsiteX347" fmla="*/ 11521 w 489386"/>
                    <a:gd name="connsiteY347" fmla="*/ 880567 h 1123614"/>
                    <a:gd name="connsiteX348" fmla="*/ 8230 w 489386"/>
                    <a:gd name="connsiteY348" fmla="*/ 875081 h 1123614"/>
                    <a:gd name="connsiteX349" fmla="*/ 6584 w 489386"/>
                    <a:gd name="connsiteY349" fmla="*/ 883859 h 1123614"/>
                    <a:gd name="connsiteX350" fmla="*/ 6584 w 489386"/>
                    <a:gd name="connsiteY350" fmla="*/ 868497 h 1123614"/>
                    <a:gd name="connsiteX351" fmla="*/ 4938 w 489386"/>
                    <a:gd name="connsiteY351" fmla="*/ 865754 h 11236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  <a:cxn ang="0">
                      <a:pos x="connsiteX328" y="connsiteY328"/>
                    </a:cxn>
                    <a:cxn ang="0">
                      <a:pos x="connsiteX329" y="connsiteY329"/>
                    </a:cxn>
                    <a:cxn ang="0">
                      <a:pos x="connsiteX330" y="connsiteY330"/>
                    </a:cxn>
                    <a:cxn ang="0">
                      <a:pos x="connsiteX331" y="connsiteY331"/>
                    </a:cxn>
                    <a:cxn ang="0">
                      <a:pos x="connsiteX332" y="connsiteY332"/>
                    </a:cxn>
                    <a:cxn ang="0">
                      <a:pos x="connsiteX333" y="connsiteY333"/>
                    </a:cxn>
                    <a:cxn ang="0">
                      <a:pos x="connsiteX334" y="connsiteY334"/>
                    </a:cxn>
                    <a:cxn ang="0">
                      <a:pos x="connsiteX335" y="connsiteY335"/>
                    </a:cxn>
                    <a:cxn ang="0">
                      <a:pos x="connsiteX336" y="connsiteY336"/>
                    </a:cxn>
                    <a:cxn ang="0">
                      <a:pos x="connsiteX337" y="connsiteY337"/>
                    </a:cxn>
                    <a:cxn ang="0">
                      <a:pos x="connsiteX338" y="connsiteY338"/>
                    </a:cxn>
                    <a:cxn ang="0">
                      <a:pos x="connsiteX339" y="connsiteY339"/>
                    </a:cxn>
                    <a:cxn ang="0">
                      <a:pos x="connsiteX340" y="connsiteY340"/>
                    </a:cxn>
                    <a:cxn ang="0">
                      <a:pos x="connsiteX341" y="connsiteY341"/>
                    </a:cxn>
                    <a:cxn ang="0">
                      <a:pos x="connsiteX342" y="connsiteY342"/>
                    </a:cxn>
                    <a:cxn ang="0">
                      <a:pos x="connsiteX343" y="connsiteY343"/>
                    </a:cxn>
                    <a:cxn ang="0">
                      <a:pos x="connsiteX344" y="connsiteY344"/>
                    </a:cxn>
                    <a:cxn ang="0">
                      <a:pos x="connsiteX345" y="connsiteY345"/>
                    </a:cxn>
                    <a:cxn ang="0">
                      <a:pos x="connsiteX346" y="connsiteY346"/>
                    </a:cxn>
                    <a:cxn ang="0">
                      <a:pos x="connsiteX347" y="connsiteY347"/>
                    </a:cxn>
                    <a:cxn ang="0">
                      <a:pos x="connsiteX348" y="connsiteY348"/>
                    </a:cxn>
                    <a:cxn ang="0">
                      <a:pos x="connsiteX349" y="connsiteY349"/>
                    </a:cxn>
                    <a:cxn ang="0">
                      <a:pos x="connsiteX350" y="connsiteY350"/>
                    </a:cxn>
                    <a:cxn ang="0">
                      <a:pos x="connsiteX351" y="connsiteY351"/>
                    </a:cxn>
                  </a:cxnLst>
                  <a:rect l="l" t="t" r="r" b="b"/>
                  <a:pathLst>
                    <a:path w="489386" h="1123614">
                      <a:moveTo>
                        <a:pt x="4938" y="865754"/>
                      </a:moveTo>
                      <a:lnTo>
                        <a:pt x="0" y="873984"/>
                      </a:lnTo>
                      <a:lnTo>
                        <a:pt x="4938" y="912937"/>
                      </a:lnTo>
                      <a:lnTo>
                        <a:pt x="8230" y="914034"/>
                      </a:lnTo>
                      <a:lnTo>
                        <a:pt x="9876" y="917326"/>
                      </a:lnTo>
                      <a:lnTo>
                        <a:pt x="10424" y="922264"/>
                      </a:lnTo>
                      <a:lnTo>
                        <a:pt x="9327" y="925007"/>
                      </a:lnTo>
                      <a:lnTo>
                        <a:pt x="13716" y="920069"/>
                      </a:lnTo>
                      <a:lnTo>
                        <a:pt x="14813" y="914583"/>
                      </a:lnTo>
                      <a:lnTo>
                        <a:pt x="17557" y="917875"/>
                      </a:lnTo>
                      <a:lnTo>
                        <a:pt x="15362" y="924459"/>
                      </a:lnTo>
                      <a:lnTo>
                        <a:pt x="18654" y="923910"/>
                      </a:lnTo>
                      <a:lnTo>
                        <a:pt x="20300" y="925556"/>
                      </a:lnTo>
                      <a:lnTo>
                        <a:pt x="17008" y="928299"/>
                      </a:lnTo>
                      <a:lnTo>
                        <a:pt x="12070" y="935431"/>
                      </a:lnTo>
                      <a:lnTo>
                        <a:pt x="22494" y="939272"/>
                      </a:lnTo>
                      <a:lnTo>
                        <a:pt x="24689" y="945855"/>
                      </a:lnTo>
                      <a:lnTo>
                        <a:pt x="22494" y="957377"/>
                      </a:lnTo>
                      <a:lnTo>
                        <a:pt x="30175" y="955182"/>
                      </a:lnTo>
                      <a:lnTo>
                        <a:pt x="31821" y="963960"/>
                      </a:lnTo>
                      <a:lnTo>
                        <a:pt x="27432" y="969447"/>
                      </a:lnTo>
                      <a:lnTo>
                        <a:pt x="29078" y="979871"/>
                      </a:lnTo>
                      <a:lnTo>
                        <a:pt x="28529" y="988101"/>
                      </a:lnTo>
                      <a:lnTo>
                        <a:pt x="34016" y="988101"/>
                      </a:lnTo>
                      <a:lnTo>
                        <a:pt x="43343" y="1017727"/>
                      </a:lnTo>
                      <a:lnTo>
                        <a:pt x="51024" y="1024860"/>
                      </a:lnTo>
                      <a:lnTo>
                        <a:pt x="54315" y="1032540"/>
                      </a:lnTo>
                      <a:lnTo>
                        <a:pt x="61996" y="1038027"/>
                      </a:lnTo>
                      <a:lnTo>
                        <a:pt x="66934" y="1045159"/>
                      </a:lnTo>
                      <a:lnTo>
                        <a:pt x="66934" y="1050646"/>
                      </a:lnTo>
                      <a:lnTo>
                        <a:pt x="63094" y="1052840"/>
                      </a:lnTo>
                      <a:lnTo>
                        <a:pt x="58156" y="1052292"/>
                      </a:lnTo>
                      <a:lnTo>
                        <a:pt x="57059" y="1055035"/>
                      </a:lnTo>
                      <a:lnTo>
                        <a:pt x="61996" y="1065459"/>
                      </a:lnTo>
                      <a:lnTo>
                        <a:pt x="56510" y="1065459"/>
                      </a:lnTo>
                      <a:lnTo>
                        <a:pt x="52121" y="1062716"/>
                      </a:lnTo>
                      <a:lnTo>
                        <a:pt x="51572" y="1067653"/>
                      </a:lnTo>
                      <a:lnTo>
                        <a:pt x="70226" y="1105510"/>
                      </a:lnTo>
                      <a:lnTo>
                        <a:pt x="68031" y="1109350"/>
                      </a:lnTo>
                      <a:lnTo>
                        <a:pt x="66934" y="1117031"/>
                      </a:lnTo>
                      <a:lnTo>
                        <a:pt x="65288" y="1118128"/>
                      </a:lnTo>
                      <a:lnTo>
                        <a:pt x="64191" y="1121420"/>
                      </a:lnTo>
                      <a:lnTo>
                        <a:pt x="72969" y="1120872"/>
                      </a:lnTo>
                      <a:lnTo>
                        <a:pt x="81199" y="1123615"/>
                      </a:lnTo>
                      <a:lnTo>
                        <a:pt x="93269" y="1118677"/>
                      </a:lnTo>
                      <a:lnTo>
                        <a:pt x="104790" y="1118677"/>
                      </a:lnTo>
                      <a:lnTo>
                        <a:pt x="111923" y="1121969"/>
                      </a:lnTo>
                      <a:lnTo>
                        <a:pt x="115214" y="1118677"/>
                      </a:lnTo>
                      <a:lnTo>
                        <a:pt x="118506" y="1109350"/>
                      </a:lnTo>
                      <a:lnTo>
                        <a:pt x="116312" y="1094537"/>
                      </a:lnTo>
                      <a:lnTo>
                        <a:pt x="123444" y="1077529"/>
                      </a:lnTo>
                      <a:lnTo>
                        <a:pt x="130028" y="1079175"/>
                      </a:lnTo>
                      <a:lnTo>
                        <a:pt x="133320" y="1072591"/>
                      </a:lnTo>
                      <a:lnTo>
                        <a:pt x="140452" y="1067653"/>
                      </a:lnTo>
                      <a:lnTo>
                        <a:pt x="150327" y="1068202"/>
                      </a:lnTo>
                      <a:lnTo>
                        <a:pt x="156362" y="1070945"/>
                      </a:lnTo>
                      <a:lnTo>
                        <a:pt x="164043" y="1068751"/>
                      </a:lnTo>
                      <a:lnTo>
                        <a:pt x="172273" y="1070945"/>
                      </a:lnTo>
                      <a:lnTo>
                        <a:pt x="179954" y="1070945"/>
                      </a:lnTo>
                      <a:lnTo>
                        <a:pt x="195316" y="1030895"/>
                      </a:lnTo>
                      <a:lnTo>
                        <a:pt x="196413" y="1016630"/>
                      </a:lnTo>
                      <a:lnTo>
                        <a:pt x="199156" y="1007303"/>
                      </a:lnTo>
                      <a:lnTo>
                        <a:pt x="198608" y="997976"/>
                      </a:lnTo>
                      <a:lnTo>
                        <a:pt x="205191" y="982614"/>
                      </a:lnTo>
                      <a:lnTo>
                        <a:pt x="204643" y="974933"/>
                      </a:lnTo>
                      <a:lnTo>
                        <a:pt x="201900" y="970544"/>
                      </a:lnTo>
                      <a:lnTo>
                        <a:pt x="205740" y="963960"/>
                      </a:lnTo>
                      <a:lnTo>
                        <a:pt x="204643" y="957377"/>
                      </a:lnTo>
                      <a:lnTo>
                        <a:pt x="201351" y="952988"/>
                      </a:lnTo>
                      <a:lnTo>
                        <a:pt x="200802" y="949696"/>
                      </a:lnTo>
                      <a:lnTo>
                        <a:pt x="201351" y="946404"/>
                      </a:lnTo>
                      <a:lnTo>
                        <a:pt x="205740" y="948599"/>
                      </a:lnTo>
                      <a:lnTo>
                        <a:pt x="208483" y="948050"/>
                      </a:lnTo>
                      <a:lnTo>
                        <a:pt x="206837" y="943661"/>
                      </a:lnTo>
                      <a:lnTo>
                        <a:pt x="207386" y="940918"/>
                      </a:lnTo>
                      <a:lnTo>
                        <a:pt x="209032" y="936528"/>
                      </a:lnTo>
                      <a:lnTo>
                        <a:pt x="208483" y="933237"/>
                      </a:lnTo>
                      <a:lnTo>
                        <a:pt x="210678" y="921715"/>
                      </a:lnTo>
                      <a:lnTo>
                        <a:pt x="209581" y="918423"/>
                      </a:lnTo>
                      <a:lnTo>
                        <a:pt x="197510" y="910194"/>
                      </a:lnTo>
                      <a:lnTo>
                        <a:pt x="199156" y="909645"/>
                      </a:lnTo>
                      <a:lnTo>
                        <a:pt x="205740" y="911840"/>
                      </a:lnTo>
                      <a:lnTo>
                        <a:pt x="212324" y="910743"/>
                      </a:lnTo>
                      <a:lnTo>
                        <a:pt x="213421" y="907451"/>
                      </a:lnTo>
                      <a:lnTo>
                        <a:pt x="207386" y="901964"/>
                      </a:lnTo>
                      <a:lnTo>
                        <a:pt x="188184" y="899221"/>
                      </a:lnTo>
                      <a:lnTo>
                        <a:pt x="189281" y="896478"/>
                      </a:lnTo>
                      <a:lnTo>
                        <a:pt x="204643" y="894832"/>
                      </a:lnTo>
                      <a:lnTo>
                        <a:pt x="213421" y="898124"/>
                      </a:lnTo>
                      <a:lnTo>
                        <a:pt x="218359" y="895380"/>
                      </a:lnTo>
                      <a:lnTo>
                        <a:pt x="219456" y="889345"/>
                      </a:lnTo>
                      <a:lnTo>
                        <a:pt x="228783" y="888797"/>
                      </a:lnTo>
                      <a:lnTo>
                        <a:pt x="240304" y="876178"/>
                      </a:lnTo>
                      <a:lnTo>
                        <a:pt x="240304" y="867948"/>
                      </a:lnTo>
                      <a:lnTo>
                        <a:pt x="245791" y="869595"/>
                      </a:lnTo>
                      <a:lnTo>
                        <a:pt x="245791" y="877824"/>
                      </a:lnTo>
                      <a:lnTo>
                        <a:pt x="254020" y="876727"/>
                      </a:lnTo>
                      <a:lnTo>
                        <a:pt x="258958" y="868497"/>
                      </a:lnTo>
                      <a:lnTo>
                        <a:pt x="268834" y="860268"/>
                      </a:lnTo>
                      <a:lnTo>
                        <a:pt x="266639" y="851489"/>
                      </a:lnTo>
                      <a:lnTo>
                        <a:pt x="270480" y="854781"/>
                      </a:lnTo>
                      <a:lnTo>
                        <a:pt x="274869" y="854781"/>
                      </a:lnTo>
                      <a:lnTo>
                        <a:pt x="274869" y="850392"/>
                      </a:lnTo>
                      <a:lnTo>
                        <a:pt x="278709" y="847100"/>
                      </a:lnTo>
                      <a:lnTo>
                        <a:pt x="278161" y="843808"/>
                      </a:lnTo>
                      <a:lnTo>
                        <a:pt x="241950" y="851489"/>
                      </a:lnTo>
                      <a:lnTo>
                        <a:pt x="233721" y="849843"/>
                      </a:lnTo>
                      <a:lnTo>
                        <a:pt x="230429" y="852587"/>
                      </a:lnTo>
                      <a:lnTo>
                        <a:pt x="228783" y="847649"/>
                      </a:lnTo>
                      <a:lnTo>
                        <a:pt x="224942" y="844357"/>
                      </a:lnTo>
                      <a:lnTo>
                        <a:pt x="207935" y="836676"/>
                      </a:lnTo>
                      <a:lnTo>
                        <a:pt x="198608" y="838322"/>
                      </a:lnTo>
                      <a:lnTo>
                        <a:pt x="194767" y="836676"/>
                      </a:lnTo>
                      <a:lnTo>
                        <a:pt x="198608" y="834481"/>
                      </a:lnTo>
                      <a:lnTo>
                        <a:pt x="201351" y="830092"/>
                      </a:lnTo>
                      <a:lnTo>
                        <a:pt x="205740" y="831190"/>
                      </a:lnTo>
                      <a:lnTo>
                        <a:pt x="211226" y="829544"/>
                      </a:lnTo>
                      <a:lnTo>
                        <a:pt x="219456" y="830641"/>
                      </a:lnTo>
                      <a:lnTo>
                        <a:pt x="220553" y="830092"/>
                      </a:lnTo>
                      <a:lnTo>
                        <a:pt x="227137" y="836676"/>
                      </a:lnTo>
                      <a:lnTo>
                        <a:pt x="231526" y="833933"/>
                      </a:lnTo>
                      <a:lnTo>
                        <a:pt x="232075" y="831190"/>
                      </a:lnTo>
                      <a:lnTo>
                        <a:pt x="236464" y="835030"/>
                      </a:lnTo>
                      <a:lnTo>
                        <a:pt x="241950" y="837225"/>
                      </a:lnTo>
                      <a:lnTo>
                        <a:pt x="244145" y="833384"/>
                      </a:lnTo>
                      <a:lnTo>
                        <a:pt x="246339" y="835030"/>
                      </a:lnTo>
                      <a:lnTo>
                        <a:pt x="249083" y="842711"/>
                      </a:lnTo>
                      <a:lnTo>
                        <a:pt x="254569" y="844357"/>
                      </a:lnTo>
                      <a:lnTo>
                        <a:pt x="276515" y="832836"/>
                      </a:lnTo>
                      <a:lnTo>
                        <a:pt x="283647" y="820217"/>
                      </a:lnTo>
                      <a:lnTo>
                        <a:pt x="286939" y="816925"/>
                      </a:lnTo>
                      <a:lnTo>
                        <a:pt x="289682" y="805404"/>
                      </a:lnTo>
                      <a:lnTo>
                        <a:pt x="285293" y="794979"/>
                      </a:lnTo>
                      <a:lnTo>
                        <a:pt x="276515" y="788944"/>
                      </a:lnTo>
                      <a:lnTo>
                        <a:pt x="270480" y="779069"/>
                      </a:lnTo>
                      <a:lnTo>
                        <a:pt x="275966" y="778520"/>
                      </a:lnTo>
                      <a:lnTo>
                        <a:pt x="275417" y="775777"/>
                      </a:lnTo>
                      <a:lnTo>
                        <a:pt x="260604" y="769193"/>
                      </a:lnTo>
                      <a:lnTo>
                        <a:pt x="256764" y="755477"/>
                      </a:lnTo>
                      <a:lnTo>
                        <a:pt x="245242" y="757672"/>
                      </a:lnTo>
                      <a:lnTo>
                        <a:pt x="240853" y="749991"/>
                      </a:lnTo>
                      <a:lnTo>
                        <a:pt x="238110" y="749442"/>
                      </a:lnTo>
                      <a:lnTo>
                        <a:pt x="238110" y="752734"/>
                      </a:lnTo>
                      <a:lnTo>
                        <a:pt x="233721" y="765353"/>
                      </a:lnTo>
                      <a:lnTo>
                        <a:pt x="211226" y="786201"/>
                      </a:lnTo>
                      <a:lnTo>
                        <a:pt x="205191" y="786201"/>
                      </a:lnTo>
                      <a:lnTo>
                        <a:pt x="196962" y="788396"/>
                      </a:lnTo>
                      <a:lnTo>
                        <a:pt x="192024" y="786750"/>
                      </a:lnTo>
                      <a:lnTo>
                        <a:pt x="197510" y="782909"/>
                      </a:lnTo>
                      <a:lnTo>
                        <a:pt x="205740" y="780715"/>
                      </a:lnTo>
                      <a:lnTo>
                        <a:pt x="212324" y="774680"/>
                      </a:lnTo>
                      <a:lnTo>
                        <a:pt x="218907" y="771936"/>
                      </a:lnTo>
                      <a:lnTo>
                        <a:pt x="230429" y="760964"/>
                      </a:lnTo>
                      <a:lnTo>
                        <a:pt x="232623" y="754380"/>
                      </a:lnTo>
                      <a:lnTo>
                        <a:pt x="232623" y="745602"/>
                      </a:lnTo>
                      <a:lnTo>
                        <a:pt x="226588" y="744504"/>
                      </a:lnTo>
                      <a:lnTo>
                        <a:pt x="229332" y="739018"/>
                      </a:lnTo>
                      <a:lnTo>
                        <a:pt x="229332" y="732435"/>
                      </a:lnTo>
                      <a:lnTo>
                        <a:pt x="227137" y="725851"/>
                      </a:lnTo>
                      <a:lnTo>
                        <a:pt x="223297" y="679216"/>
                      </a:lnTo>
                      <a:lnTo>
                        <a:pt x="226040" y="668792"/>
                      </a:lnTo>
                      <a:lnTo>
                        <a:pt x="225491" y="664952"/>
                      </a:lnTo>
                      <a:lnTo>
                        <a:pt x="235915" y="670438"/>
                      </a:lnTo>
                      <a:lnTo>
                        <a:pt x="236464" y="664952"/>
                      </a:lnTo>
                      <a:lnTo>
                        <a:pt x="233721" y="650139"/>
                      </a:lnTo>
                      <a:lnTo>
                        <a:pt x="239756" y="623255"/>
                      </a:lnTo>
                      <a:lnTo>
                        <a:pt x="234818" y="617220"/>
                      </a:lnTo>
                      <a:lnTo>
                        <a:pt x="233172" y="611185"/>
                      </a:lnTo>
                      <a:lnTo>
                        <a:pt x="233721" y="601309"/>
                      </a:lnTo>
                      <a:lnTo>
                        <a:pt x="244145" y="607344"/>
                      </a:lnTo>
                      <a:lnTo>
                        <a:pt x="244693" y="605699"/>
                      </a:lnTo>
                      <a:lnTo>
                        <a:pt x="247985" y="603504"/>
                      </a:lnTo>
                      <a:lnTo>
                        <a:pt x="251826" y="597469"/>
                      </a:lnTo>
                      <a:lnTo>
                        <a:pt x="252374" y="595275"/>
                      </a:lnTo>
                      <a:lnTo>
                        <a:pt x="251277" y="593080"/>
                      </a:lnTo>
                      <a:lnTo>
                        <a:pt x="252923" y="582107"/>
                      </a:lnTo>
                      <a:lnTo>
                        <a:pt x="250180" y="574975"/>
                      </a:lnTo>
                      <a:lnTo>
                        <a:pt x="250729" y="568940"/>
                      </a:lnTo>
                      <a:lnTo>
                        <a:pt x="252374" y="575523"/>
                      </a:lnTo>
                      <a:lnTo>
                        <a:pt x="258409" y="580461"/>
                      </a:lnTo>
                      <a:lnTo>
                        <a:pt x="261153" y="579912"/>
                      </a:lnTo>
                      <a:lnTo>
                        <a:pt x="264993" y="572780"/>
                      </a:lnTo>
                      <a:lnTo>
                        <a:pt x="269382" y="575523"/>
                      </a:lnTo>
                      <a:lnTo>
                        <a:pt x="270480" y="570037"/>
                      </a:lnTo>
                      <a:lnTo>
                        <a:pt x="272674" y="566196"/>
                      </a:lnTo>
                      <a:lnTo>
                        <a:pt x="264993" y="562905"/>
                      </a:lnTo>
                      <a:lnTo>
                        <a:pt x="270480" y="563453"/>
                      </a:lnTo>
                      <a:lnTo>
                        <a:pt x="276515" y="559064"/>
                      </a:lnTo>
                      <a:lnTo>
                        <a:pt x="275966" y="556321"/>
                      </a:lnTo>
                      <a:lnTo>
                        <a:pt x="281452" y="553578"/>
                      </a:lnTo>
                      <a:lnTo>
                        <a:pt x="282001" y="546994"/>
                      </a:lnTo>
                      <a:lnTo>
                        <a:pt x="285841" y="545348"/>
                      </a:lnTo>
                      <a:lnTo>
                        <a:pt x="286390" y="537119"/>
                      </a:lnTo>
                      <a:lnTo>
                        <a:pt x="290779" y="536021"/>
                      </a:lnTo>
                      <a:lnTo>
                        <a:pt x="297912" y="537667"/>
                      </a:lnTo>
                      <a:lnTo>
                        <a:pt x="306141" y="531084"/>
                      </a:lnTo>
                      <a:lnTo>
                        <a:pt x="308336" y="523951"/>
                      </a:lnTo>
                      <a:lnTo>
                        <a:pt x="317663" y="515722"/>
                      </a:lnTo>
                      <a:lnTo>
                        <a:pt x="322600" y="520659"/>
                      </a:lnTo>
                      <a:lnTo>
                        <a:pt x="329733" y="515173"/>
                      </a:lnTo>
                      <a:lnTo>
                        <a:pt x="331927" y="509138"/>
                      </a:lnTo>
                      <a:lnTo>
                        <a:pt x="337414" y="504200"/>
                      </a:lnTo>
                      <a:lnTo>
                        <a:pt x="342351" y="506395"/>
                      </a:lnTo>
                      <a:lnTo>
                        <a:pt x="345095" y="503103"/>
                      </a:lnTo>
                      <a:lnTo>
                        <a:pt x="353324" y="498165"/>
                      </a:lnTo>
                      <a:lnTo>
                        <a:pt x="357165" y="492130"/>
                      </a:lnTo>
                      <a:lnTo>
                        <a:pt x="361554" y="489936"/>
                      </a:lnTo>
                      <a:lnTo>
                        <a:pt x="388437" y="442204"/>
                      </a:lnTo>
                      <a:lnTo>
                        <a:pt x="388986" y="446044"/>
                      </a:lnTo>
                      <a:lnTo>
                        <a:pt x="388437" y="453177"/>
                      </a:lnTo>
                      <a:lnTo>
                        <a:pt x="395569" y="441107"/>
                      </a:lnTo>
                      <a:lnTo>
                        <a:pt x="391729" y="437266"/>
                      </a:lnTo>
                      <a:lnTo>
                        <a:pt x="391729" y="433426"/>
                      </a:lnTo>
                      <a:lnTo>
                        <a:pt x="381853" y="423001"/>
                      </a:lnTo>
                      <a:lnTo>
                        <a:pt x="380756" y="418612"/>
                      </a:lnTo>
                      <a:lnTo>
                        <a:pt x="382402" y="416966"/>
                      </a:lnTo>
                      <a:lnTo>
                        <a:pt x="381305" y="412577"/>
                      </a:lnTo>
                      <a:lnTo>
                        <a:pt x="378013" y="408737"/>
                      </a:lnTo>
                      <a:lnTo>
                        <a:pt x="378013" y="405994"/>
                      </a:lnTo>
                      <a:lnTo>
                        <a:pt x="381305" y="403250"/>
                      </a:lnTo>
                      <a:lnTo>
                        <a:pt x="382402" y="398861"/>
                      </a:lnTo>
                      <a:lnTo>
                        <a:pt x="388437" y="396118"/>
                      </a:lnTo>
                      <a:lnTo>
                        <a:pt x="395569" y="374721"/>
                      </a:lnTo>
                      <a:lnTo>
                        <a:pt x="388986" y="362651"/>
                      </a:lnTo>
                      <a:lnTo>
                        <a:pt x="389534" y="361005"/>
                      </a:lnTo>
                      <a:lnTo>
                        <a:pt x="397215" y="356067"/>
                      </a:lnTo>
                      <a:lnTo>
                        <a:pt x="397215" y="350581"/>
                      </a:lnTo>
                      <a:lnTo>
                        <a:pt x="400507" y="350032"/>
                      </a:lnTo>
                      <a:lnTo>
                        <a:pt x="405994" y="352227"/>
                      </a:lnTo>
                      <a:lnTo>
                        <a:pt x="408188" y="351678"/>
                      </a:lnTo>
                      <a:lnTo>
                        <a:pt x="409285" y="347289"/>
                      </a:lnTo>
                      <a:lnTo>
                        <a:pt x="407091" y="343997"/>
                      </a:lnTo>
                      <a:lnTo>
                        <a:pt x="413675" y="342900"/>
                      </a:lnTo>
                      <a:lnTo>
                        <a:pt x="414223" y="339608"/>
                      </a:lnTo>
                      <a:lnTo>
                        <a:pt x="407091" y="328635"/>
                      </a:lnTo>
                      <a:lnTo>
                        <a:pt x="407091" y="325892"/>
                      </a:lnTo>
                      <a:lnTo>
                        <a:pt x="414772" y="331927"/>
                      </a:lnTo>
                      <a:lnTo>
                        <a:pt x="418064" y="337414"/>
                      </a:lnTo>
                      <a:lnTo>
                        <a:pt x="420807" y="337414"/>
                      </a:lnTo>
                      <a:lnTo>
                        <a:pt x="420258" y="325892"/>
                      </a:lnTo>
                      <a:lnTo>
                        <a:pt x="420807" y="327538"/>
                      </a:lnTo>
                      <a:lnTo>
                        <a:pt x="423001" y="325892"/>
                      </a:lnTo>
                      <a:lnTo>
                        <a:pt x="424099" y="311628"/>
                      </a:lnTo>
                      <a:lnTo>
                        <a:pt x="426842" y="311079"/>
                      </a:lnTo>
                      <a:lnTo>
                        <a:pt x="429585" y="311079"/>
                      </a:lnTo>
                      <a:lnTo>
                        <a:pt x="429585" y="314919"/>
                      </a:lnTo>
                      <a:lnTo>
                        <a:pt x="432328" y="318211"/>
                      </a:lnTo>
                      <a:lnTo>
                        <a:pt x="435072" y="319857"/>
                      </a:lnTo>
                      <a:lnTo>
                        <a:pt x="438363" y="310530"/>
                      </a:lnTo>
                      <a:lnTo>
                        <a:pt x="442204" y="313273"/>
                      </a:lnTo>
                      <a:lnTo>
                        <a:pt x="446044" y="320406"/>
                      </a:lnTo>
                      <a:lnTo>
                        <a:pt x="448788" y="320406"/>
                      </a:lnTo>
                      <a:lnTo>
                        <a:pt x="452628" y="323698"/>
                      </a:lnTo>
                      <a:lnTo>
                        <a:pt x="455920" y="315468"/>
                      </a:lnTo>
                      <a:lnTo>
                        <a:pt x="473476" y="314371"/>
                      </a:lnTo>
                      <a:lnTo>
                        <a:pt x="480060" y="317663"/>
                      </a:lnTo>
                      <a:lnTo>
                        <a:pt x="483901" y="323149"/>
                      </a:lnTo>
                      <a:lnTo>
                        <a:pt x="486644" y="317663"/>
                      </a:lnTo>
                      <a:lnTo>
                        <a:pt x="489387" y="316017"/>
                      </a:lnTo>
                      <a:lnTo>
                        <a:pt x="475122" y="270480"/>
                      </a:lnTo>
                      <a:lnTo>
                        <a:pt x="478414" y="258409"/>
                      </a:lnTo>
                      <a:lnTo>
                        <a:pt x="483901" y="249083"/>
                      </a:lnTo>
                      <a:lnTo>
                        <a:pt x="484998" y="233721"/>
                      </a:lnTo>
                      <a:lnTo>
                        <a:pt x="470185" y="202997"/>
                      </a:lnTo>
                      <a:lnTo>
                        <a:pt x="468539" y="190927"/>
                      </a:lnTo>
                      <a:lnTo>
                        <a:pt x="472928" y="177211"/>
                      </a:lnTo>
                      <a:lnTo>
                        <a:pt x="471830" y="167335"/>
                      </a:lnTo>
                      <a:lnTo>
                        <a:pt x="468539" y="162397"/>
                      </a:lnTo>
                      <a:lnTo>
                        <a:pt x="466893" y="138257"/>
                      </a:lnTo>
                      <a:lnTo>
                        <a:pt x="471830" y="118506"/>
                      </a:lnTo>
                      <a:lnTo>
                        <a:pt x="447690" y="74615"/>
                      </a:lnTo>
                      <a:lnTo>
                        <a:pt x="435072" y="63642"/>
                      </a:lnTo>
                      <a:lnTo>
                        <a:pt x="410931" y="55961"/>
                      </a:lnTo>
                      <a:lnTo>
                        <a:pt x="361554" y="3840"/>
                      </a:lnTo>
                      <a:lnTo>
                        <a:pt x="359908" y="549"/>
                      </a:lnTo>
                      <a:lnTo>
                        <a:pt x="342900" y="0"/>
                      </a:lnTo>
                      <a:lnTo>
                        <a:pt x="339060" y="2195"/>
                      </a:lnTo>
                      <a:lnTo>
                        <a:pt x="339608" y="8778"/>
                      </a:lnTo>
                      <a:lnTo>
                        <a:pt x="343449" y="12070"/>
                      </a:lnTo>
                      <a:lnTo>
                        <a:pt x="343997" y="19751"/>
                      </a:lnTo>
                      <a:lnTo>
                        <a:pt x="342900" y="25786"/>
                      </a:lnTo>
                      <a:lnTo>
                        <a:pt x="339608" y="29627"/>
                      </a:lnTo>
                      <a:lnTo>
                        <a:pt x="337414" y="40051"/>
                      </a:lnTo>
                      <a:lnTo>
                        <a:pt x="333025" y="47183"/>
                      </a:lnTo>
                      <a:lnTo>
                        <a:pt x="334122" y="54315"/>
                      </a:lnTo>
                      <a:lnTo>
                        <a:pt x="340705" y="60899"/>
                      </a:lnTo>
                      <a:lnTo>
                        <a:pt x="336316" y="66385"/>
                      </a:lnTo>
                      <a:lnTo>
                        <a:pt x="330281" y="68031"/>
                      </a:lnTo>
                      <a:lnTo>
                        <a:pt x="279258" y="54864"/>
                      </a:lnTo>
                      <a:lnTo>
                        <a:pt x="273223" y="55961"/>
                      </a:lnTo>
                      <a:lnTo>
                        <a:pt x="269382" y="58704"/>
                      </a:lnTo>
                      <a:lnTo>
                        <a:pt x="266090" y="65837"/>
                      </a:lnTo>
                      <a:lnTo>
                        <a:pt x="267736" y="81747"/>
                      </a:lnTo>
                      <a:lnTo>
                        <a:pt x="262250" y="103144"/>
                      </a:lnTo>
                      <a:lnTo>
                        <a:pt x="256215" y="114117"/>
                      </a:lnTo>
                      <a:lnTo>
                        <a:pt x="253472" y="113020"/>
                      </a:lnTo>
                      <a:lnTo>
                        <a:pt x="246888" y="104242"/>
                      </a:lnTo>
                      <a:lnTo>
                        <a:pt x="238658" y="99852"/>
                      </a:lnTo>
                      <a:lnTo>
                        <a:pt x="230429" y="101498"/>
                      </a:lnTo>
                      <a:lnTo>
                        <a:pt x="211226" y="122895"/>
                      </a:lnTo>
                      <a:lnTo>
                        <a:pt x="207386" y="143195"/>
                      </a:lnTo>
                      <a:lnTo>
                        <a:pt x="193670" y="161849"/>
                      </a:lnTo>
                      <a:lnTo>
                        <a:pt x="191475" y="171176"/>
                      </a:lnTo>
                      <a:lnTo>
                        <a:pt x="200254" y="186538"/>
                      </a:lnTo>
                      <a:lnTo>
                        <a:pt x="201351" y="195864"/>
                      </a:lnTo>
                      <a:lnTo>
                        <a:pt x="165689" y="249631"/>
                      </a:lnTo>
                      <a:lnTo>
                        <a:pt x="156911" y="283098"/>
                      </a:lnTo>
                      <a:lnTo>
                        <a:pt x="144841" y="291876"/>
                      </a:lnTo>
                      <a:lnTo>
                        <a:pt x="137160" y="291876"/>
                      </a:lnTo>
                      <a:lnTo>
                        <a:pt x="132222" y="295168"/>
                      </a:lnTo>
                      <a:lnTo>
                        <a:pt x="126187" y="374721"/>
                      </a:lnTo>
                      <a:lnTo>
                        <a:pt x="101498" y="421356"/>
                      </a:lnTo>
                      <a:lnTo>
                        <a:pt x="102047" y="427939"/>
                      </a:lnTo>
                      <a:lnTo>
                        <a:pt x="116860" y="446593"/>
                      </a:lnTo>
                      <a:lnTo>
                        <a:pt x="114666" y="467990"/>
                      </a:lnTo>
                      <a:lnTo>
                        <a:pt x="107533" y="476768"/>
                      </a:lnTo>
                      <a:lnTo>
                        <a:pt x="86137" y="473476"/>
                      </a:lnTo>
                      <a:lnTo>
                        <a:pt x="71323" y="477317"/>
                      </a:lnTo>
                      <a:lnTo>
                        <a:pt x="59802" y="484998"/>
                      </a:lnTo>
                      <a:lnTo>
                        <a:pt x="42794" y="506395"/>
                      </a:lnTo>
                      <a:lnTo>
                        <a:pt x="35662" y="529986"/>
                      </a:lnTo>
                      <a:lnTo>
                        <a:pt x="37856" y="542605"/>
                      </a:lnTo>
                      <a:lnTo>
                        <a:pt x="42794" y="551932"/>
                      </a:lnTo>
                      <a:lnTo>
                        <a:pt x="46086" y="555224"/>
                      </a:lnTo>
                      <a:lnTo>
                        <a:pt x="41697" y="561807"/>
                      </a:lnTo>
                      <a:lnTo>
                        <a:pt x="36210" y="604601"/>
                      </a:lnTo>
                      <a:lnTo>
                        <a:pt x="38405" y="607344"/>
                      </a:lnTo>
                      <a:lnTo>
                        <a:pt x="41148" y="617220"/>
                      </a:lnTo>
                      <a:lnTo>
                        <a:pt x="41148" y="660563"/>
                      </a:lnTo>
                      <a:lnTo>
                        <a:pt x="47183" y="670987"/>
                      </a:lnTo>
                      <a:lnTo>
                        <a:pt x="61448" y="681411"/>
                      </a:lnTo>
                      <a:lnTo>
                        <a:pt x="63642" y="695676"/>
                      </a:lnTo>
                      <a:lnTo>
                        <a:pt x="59253" y="708294"/>
                      </a:lnTo>
                      <a:lnTo>
                        <a:pt x="52121" y="715975"/>
                      </a:lnTo>
                      <a:lnTo>
                        <a:pt x="42245" y="720364"/>
                      </a:lnTo>
                      <a:lnTo>
                        <a:pt x="40599" y="724753"/>
                      </a:lnTo>
                      <a:lnTo>
                        <a:pt x="47183" y="733532"/>
                      </a:lnTo>
                      <a:lnTo>
                        <a:pt x="53218" y="756026"/>
                      </a:lnTo>
                      <a:lnTo>
                        <a:pt x="47732" y="776326"/>
                      </a:lnTo>
                      <a:lnTo>
                        <a:pt x="51024" y="782361"/>
                      </a:lnTo>
                      <a:lnTo>
                        <a:pt x="49926" y="792785"/>
                      </a:lnTo>
                      <a:lnTo>
                        <a:pt x="45537" y="799917"/>
                      </a:lnTo>
                      <a:lnTo>
                        <a:pt x="27432" y="807598"/>
                      </a:lnTo>
                      <a:lnTo>
                        <a:pt x="27432" y="816925"/>
                      </a:lnTo>
                      <a:lnTo>
                        <a:pt x="18654" y="831190"/>
                      </a:lnTo>
                      <a:lnTo>
                        <a:pt x="22494" y="850941"/>
                      </a:lnTo>
                      <a:lnTo>
                        <a:pt x="17008" y="876727"/>
                      </a:lnTo>
                      <a:lnTo>
                        <a:pt x="11521" y="880567"/>
                      </a:lnTo>
                      <a:lnTo>
                        <a:pt x="8230" y="875081"/>
                      </a:lnTo>
                      <a:lnTo>
                        <a:pt x="6584" y="883859"/>
                      </a:lnTo>
                      <a:lnTo>
                        <a:pt x="6584" y="868497"/>
                      </a:lnTo>
                      <a:lnTo>
                        <a:pt x="4938" y="865754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93" name="Graphic 7">
                  <a:extLst>
                    <a:ext uri="{FF2B5EF4-FFF2-40B4-BE49-F238E27FC236}">
                      <a16:creationId xmlns:a16="http://schemas.microsoft.com/office/drawing/2014/main" id="{91102800-4732-38F4-1CA6-5235695EF1F1}"/>
                    </a:ext>
                  </a:extLst>
                </p:cNvPr>
                <p:cNvSpPr/>
                <p:nvPr/>
              </p:nvSpPr>
              <p:spPr>
                <a:xfrm>
                  <a:off x="6018777" y="2846376"/>
                  <a:ext cx="99874" cy="128593"/>
                </a:xfrm>
                <a:custGeom>
                  <a:avLst/>
                  <a:gdLst>
                    <a:gd name="connsiteX0" fmla="*/ 59802 w 127833"/>
                    <a:gd name="connsiteY0" fmla="*/ 164592 h 164592"/>
                    <a:gd name="connsiteX1" fmla="*/ 55413 w 127833"/>
                    <a:gd name="connsiteY1" fmla="*/ 93269 h 164592"/>
                    <a:gd name="connsiteX2" fmla="*/ 30175 w 127833"/>
                    <a:gd name="connsiteY2" fmla="*/ 50475 h 164592"/>
                    <a:gd name="connsiteX3" fmla="*/ 28529 w 127833"/>
                    <a:gd name="connsiteY3" fmla="*/ 38953 h 164592"/>
                    <a:gd name="connsiteX4" fmla="*/ 4938 w 127833"/>
                    <a:gd name="connsiteY4" fmla="*/ 13716 h 164592"/>
                    <a:gd name="connsiteX5" fmla="*/ 0 w 127833"/>
                    <a:gd name="connsiteY5" fmla="*/ 13716 h 164592"/>
                    <a:gd name="connsiteX6" fmla="*/ 3841 w 127833"/>
                    <a:gd name="connsiteY6" fmla="*/ 6035 h 164592"/>
                    <a:gd name="connsiteX7" fmla="*/ 8778 w 127833"/>
                    <a:gd name="connsiteY7" fmla="*/ 3292 h 164592"/>
                    <a:gd name="connsiteX8" fmla="*/ 14265 w 127833"/>
                    <a:gd name="connsiteY8" fmla="*/ 4389 h 164592"/>
                    <a:gd name="connsiteX9" fmla="*/ 30724 w 127833"/>
                    <a:gd name="connsiteY9" fmla="*/ 0 h 164592"/>
                    <a:gd name="connsiteX10" fmla="*/ 46634 w 127833"/>
                    <a:gd name="connsiteY10" fmla="*/ 6035 h 164592"/>
                    <a:gd name="connsiteX11" fmla="*/ 59802 w 127833"/>
                    <a:gd name="connsiteY11" fmla="*/ 17008 h 164592"/>
                    <a:gd name="connsiteX12" fmla="*/ 64740 w 127833"/>
                    <a:gd name="connsiteY12" fmla="*/ 18654 h 164592"/>
                    <a:gd name="connsiteX13" fmla="*/ 75712 w 127833"/>
                    <a:gd name="connsiteY13" fmla="*/ 16459 h 164592"/>
                    <a:gd name="connsiteX14" fmla="*/ 81199 w 127833"/>
                    <a:gd name="connsiteY14" fmla="*/ 18105 h 164592"/>
                    <a:gd name="connsiteX15" fmla="*/ 89428 w 127833"/>
                    <a:gd name="connsiteY15" fmla="*/ 25786 h 164592"/>
                    <a:gd name="connsiteX16" fmla="*/ 94915 w 127833"/>
                    <a:gd name="connsiteY16" fmla="*/ 24689 h 164592"/>
                    <a:gd name="connsiteX17" fmla="*/ 97658 w 127833"/>
                    <a:gd name="connsiteY17" fmla="*/ 29627 h 164592"/>
                    <a:gd name="connsiteX18" fmla="*/ 95463 w 127833"/>
                    <a:gd name="connsiteY18" fmla="*/ 51572 h 164592"/>
                    <a:gd name="connsiteX19" fmla="*/ 99304 w 127833"/>
                    <a:gd name="connsiteY19" fmla="*/ 55413 h 164592"/>
                    <a:gd name="connsiteX20" fmla="*/ 102047 w 127833"/>
                    <a:gd name="connsiteY20" fmla="*/ 60350 h 164592"/>
                    <a:gd name="connsiteX21" fmla="*/ 107533 w 127833"/>
                    <a:gd name="connsiteY21" fmla="*/ 61448 h 164592"/>
                    <a:gd name="connsiteX22" fmla="*/ 109728 w 127833"/>
                    <a:gd name="connsiteY22" fmla="*/ 66934 h 164592"/>
                    <a:gd name="connsiteX23" fmla="*/ 108082 w 127833"/>
                    <a:gd name="connsiteY23" fmla="*/ 72420 h 164592"/>
                    <a:gd name="connsiteX24" fmla="*/ 113020 w 127833"/>
                    <a:gd name="connsiteY24" fmla="*/ 82296 h 164592"/>
                    <a:gd name="connsiteX25" fmla="*/ 122895 w 127833"/>
                    <a:gd name="connsiteY25" fmla="*/ 87234 h 164592"/>
                    <a:gd name="connsiteX26" fmla="*/ 125639 w 127833"/>
                    <a:gd name="connsiteY26" fmla="*/ 92171 h 164592"/>
                    <a:gd name="connsiteX27" fmla="*/ 126187 w 127833"/>
                    <a:gd name="connsiteY27" fmla="*/ 97109 h 164592"/>
                    <a:gd name="connsiteX28" fmla="*/ 125639 w 127833"/>
                    <a:gd name="connsiteY28" fmla="*/ 103144 h 164592"/>
                    <a:gd name="connsiteX29" fmla="*/ 127833 w 127833"/>
                    <a:gd name="connsiteY29" fmla="*/ 108082 h 164592"/>
                    <a:gd name="connsiteX30" fmla="*/ 125639 w 127833"/>
                    <a:gd name="connsiteY30" fmla="*/ 113569 h 164592"/>
                    <a:gd name="connsiteX31" fmla="*/ 120701 w 127833"/>
                    <a:gd name="connsiteY31" fmla="*/ 116312 h 164592"/>
                    <a:gd name="connsiteX32" fmla="*/ 104790 w 127833"/>
                    <a:gd name="connsiteY32" fmla="*/ 112471 h 164592"/>
                    <a:gd name="connsiteX33" fmla="*/ 99853 w 127833"/>
                    <a:gd name="connsiteY33" fmla="*/ 115214 h 164592"/>
                    <a:gd name="connsiteX34" fmla="*/ 97109 w 127833"/>
                    <a:gd name="connsiteY34" fmla="*/ 110277 h 164592"/>
                    <a:gd name="connsiteX35" fmla="*/ 91623 w 127833"/>
                    <a:gd name="connsiteY35" fmla="*/ 112471 h 164592"/>
                    <a:gd name="connsiteX36" fmla="*/ 89428 w 127833"/>
                    <a:gd name="connsiteY36" fmla="*/ 117958 h 164592"/>
                    <a:gd name="connsiteX37" fmla="*/ 87234 w 127833"/>
                    <a:gd name="connsiteY37" fmla="*/ 134417 h 164592"/>
                    <a:gd name="connsiteX38" fmla="*/ 82296 w 127833"/>
                    <a:gd name="connsiteY38" fmla="*/ 137160 h 164592"/>
                    <a:gd name="connsiteX39" fmla="*/ 78456 w 127833"/>
                    <a:gd name="connsiteY39" fmla="*/ 141001 h 164592"/>
                    <a:gd name="connsiteX40" fmla="*/ 77907 w 127833"/>
                    <a:gd name="connsiteY40" fmla="*/ 146487 h 164592"/>
                    <a:gd name="connsiteX41" fmla="*/ 72421 w 127833"/>
                    <a:gd name="connsiteY41" fmla="*/ 149779 h 164592"/>
                    <a:gd name="connsiteX42" fmla="*/ 70775 w 127833"/>
                    <a:gd name="connsiteY42" fmla="*/ 154717 h 164592"/>
                    <a:gd name="connsiteX43" fmla="*/ 70226 w 127833"/>
                    <a:gd name="connsiteY43" fmla="*/ 160203 h 164592"/>
                    <a:gd name="connsiteX44" fmla="*/ 66385 w 127833"/>
                    <a:gd name="connsiteY44" fmla="*/ 164592 h 164592"/>
                    <a:gd name="connsiteX45" fmla="*/ 59802 w 127833"/>
                    <a:gd name="connsiteY45" fmla="*/ 164592 h 1645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</a:cxnLst>
                  <a:rect l="l" t="t" r="r" b="b"/>
                  <a:pathLst>
                    <a:path w="127833" h="164592">
                      <a:moveTo>
                        <a:pt x="59802" y="164592"/>
                      </a:moveTo>
                      <a:lnTo>
                        <a:pt x="55413" y="93269"/>
                      </a:lnTo>
                      <a:lnTo>
                        <a:pt x="30175" y="50475"/>
                      </a:lnTo>
                      <a:lnTo>
                        <a:pt x="28529" y="38953"/>
                      </a:lnTo>
                      <a:lnTo>
                        <a:pt x="4938" y="13716"/>
                      </a:lnTo>
                      <a:lnTo>
                        <a:pt x="0" y="13716"/>
                      </a:lnTo>
                      <a:lnTo>
                        <a:pt x="3841" y="6035"/>
                      </a:lnTo>
                      <a:lnTo>
                        <a:pt x="8778" y="3292"/>
                      </a:lnTo>
                      <a:lnTo>
                        <a:pt x="14265" y="4389"/>
                      </a:lnTo>
                      <a:lnTo>
                        <a:pt x="30724" y="0"/>
                      </a:lnTo>
                      <a:lnTo>
                        <a:pt x="46634" y="6035"/>
                      </a:lnTo>
                      <a:lnTo>
                        <a:pt x="59802" y="17008"/>
                      </a:lnTo>
                      <a:lnTo>
                        <a:pt x="64740" y="18654"/>
                      </a:lnTo>
                      <a:lnTo>
                        <a:pt x="75712" y="16459"/>
                      </a:lnTo>
                      <a:lnTo>
                        <a:pt x="81199" y="18105"/>
                      </a:lnTo>
                      <a:lnTo>
                        <a:pt x="89428" y="25786"/>
                      </a:lnTo>
                      <a:lnTo>
                        <a:pt x="94915" y="24689"/>
                      </a:lnTo>
                      <a:lnTo>
                        <a:pt x="97658" y="29627"/>
                      </a:lnTo>
                      <a:lnTo>
                        <a:pt x="95463" y="51572"/>
                      </a:lnTo>
                      <a:lnTo>
                        <a:pt x="99304" y="55413"/>
                      </a:lnTo>
                      <a:lnTo>
                        <a:pt x="102047" y="60350"/>
                      </a:lnTo>
                      <a:lnTo>
                        <a:pt x="107533" y="61448"/>
                      </a:lnTo>
                      <a:lnTo>
                        <a:pt x="109728" y="66934"/>
                      </a:lnTo>
                      <a:lnTo>
                        <a:pt x="108082" y="72420"/>
                      </a:lnTo>
                      <a:lnTo>
                        <a:pt x="113020" y="82296"/>
                      </a:lnTo>
                      <a:lnTo>
                        <a:pt x="122895" y="87234"/>
                      </a:lnTo>
                      <a:lnTo>
                        <a:pt x="125639" y="92171"/>
                      </a:lnTo>
                      <a:lnTo>
                        <a:pt x="126187" y="97109"/>
                      </a:lnTo>
                      <a:lnTo>
                        <a:pt x="125639" y="103144"/>
                      </a:lnTo>
                      <a:lnTo>
                        <a:pt x="127833" y="108082"/>
                      </a:lnTo>
                      <a:lnTo>
                        <a:pt x="125639" y="113569"/>
                      </a:lnTo>
                      <a:lnTo>
                        <a:pt x="120701" y="116312"/>
                      </a:lnTo>
                      <a:lnTo>
                        <a:pt x="104790" y="112471"/>
                      </a:lnTo>
                      <a:lnTo>
                        <a:pt x="99853" y="115214"/>
                      </a:lnTo>
                      <a:lnTo>
                        <a:pt x="97109" y="110277"/>
                      </a:lnTo>
                      <a:lnTo>
                        <a:pt x="91623" y="112471"/>
                      </a:lnTo>
                      <a:lnTo>
                        <a:pt x="89428" y="117958"/>
                      </a:lnTo>
                      <a:lnTo>
                        <a:pt x="87234" y="134417"/>
                      </a:lnTo>
                      <a:lnTo>
                        <a:pt x="82296" y="137160"/>
                      </a:lnTo>
                      <a:lnTo>
                        <a:pt x="78456" y="141001"/>
                      </a:lnTo>
                      <a:lnTo>
                        <a:pt x="77907" y="146487"/>
                      </a:lnTo>
                      <a:lnTo>
                        <a:pt x="72421" y="149779"/>
                      </a:lnTo>
                      <a:lnTo>
                        <a:pt x="70775" y="154717"/>
                      </a:lnTo>
                      <a:lnTo>
                        <a:pt x="70226" y="160203"/>
                      </a:lnTo>
                      <a:lnTo>
                        <a:pt x="66385" y="164592"/>
                      </a:lnTo>
                      <a:lnTo>
                        <a:pt x="59802" y="164592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94" name="Graphic 7">
                  <a:extLst>
                    <a:ext uri="{FF2B5EF4-FFF2-40B4-BE49-F238E27FC236}">
                      <a16:creationId xmlns:a16="http://schemas.microsoft.com/office/drawing/2014/main" id="{F0BC1BA8-54E3-2508-C028-4C91DE004127}"/>
                    </a:ext>
                  </a:extLst>
                </p:cNvPr>
                <p:cNvSpPr/>
                <p:nvPr/>
              </p:nvSpPr>
              <p:spPr>
                <a:xfrm>
                  <a:off x="5515979" y="2824515"/>
                  <a:ext cx="224179" cy="110590"/>
                </a:xfrm>
                <a:custGeom>
                  <a:avLst/>
                  <a:gdLst>
                    <a:gd name="connsiteX0" fmla="*/ 161849 w 286938"/>
                    <a:gd name="connsiteY0" fmla="*/ 13716 h 141549"/>
                    <a:gd name="connsiteX1" fmla="*/ 160751 w 286938"/>
                    <a:gd name="connsiteY1" fmla="*/ 19202 h 141549"/>
                    <a:gd name="connsiteX2" fmla="*/ 148681 w 286938"/>
                    <a:gd name="connsiteY2" fmla="*/ 24140 h 141549"/>
                    <a:gd name="connsiteX3" fmla="*/ 143744 w 286938"/>
                    <a:gd name="connsiteY3" fmla="*/ 36210 h 141549"/>
                    <a:gd name="connsiteX4" fmla="*/ 128382 w 286938"/>
                    <a:gd name="connsiteY4" fmla="*/ 42794 h 141549"/>
                    <a:gd name="connsiteX5" fmla="*/ 125639 w 286938"/>
                    <a:gd name="connsiteY5" fmla="*/ 50475 h 141549"/>
                    <a:gd name="connsiteX6" fmla="*/ 126187 w 286938"/>
                    <a:gd name="connsiteY6" fmla="*/ 61996 h 141549"/>
                    <a:gd name="connsiteX7" fmla="*/ 130576 w 286938"/>
                    <a:gd name="connsiteY7" fmla="*/ 72420 h 141549"/>
                    <a:gd name="connsiteX8" fmla="*/ 131125 w 286938"/>
                    <a:gd name="connsiteY8" fmla="*/ 77907 h 141549"/>
                    <a:gd name="connsiteX9" fmla="*/ 125639 w 286938"/>
                    <a:gd name="connsiteY9" fmla="*/ 80101 h 141549"/>
                    <a:gd name="connsiteX10" fmla="*/ 122895 w 286938"/>
                    <a:gd name="connsiteY10" fmla="*/ 75164 h 141549"/>
                    <a:gd name="connsiteX11" fmla="*/ 113020 w 286938"/>
                    <a:gd name="connsiteY11" fmla="*/ 75164 h 141549"/>
                    <a:gd name="connsiteX12" fmla="*/ 104790 w 286938"/>
                    <a:gd name="connsiteY12" fmla="*/ 72420 h 141549"/>
                    <a:gd name="connsiteX13" fmla="*/ 102047 w 286938"/>
                    <a:gd name="connsiteY13" fmla="*/ 75712 h 141549"/>
                    <a:gd name="connsiteX14" fmla="*/ 79553 w 286938"/>
                    <a:gd name="connsiteY14" fmla="*/ 79004 h 141549"/>
                    <a:gd name="connsiteX15" fmla="*/ 66385 w 286938"/>
                    <a:gd name="connsiteY15" fmla="*/ 87782 h 141549"/>
                    <a:gd name="connsiteX16" fmla="*/ 57059 w 286938"/>
                    <a:gd name="connsiteY16" fmla="*/ 87782 h 141549"/>
                    <a:gd name="connsiteX17" fmla="*/ 48280 w 286938"/>
                    <a:gd name="connsiteY17" fmla="*/ 82296 h 141549"/>
                    <a:gd name="connsiteX18" fmla="*/ 40051 w 286938"/>
                    <a:gd name="connsiteY18" fmla="*/ 81199 h 141549"/>
                    <a:gd name="connsiteX19" fmla="*/ 35662 w 286938"/>
                    <a:gd name="connsiteY19" fmla="*/ 85588 h 141549"/>
                    <a:gd name="connsiteX20" fmla="*/ 33467 w 286938"/>
                    <a:gd name="connsiteY20" fmla="*/ 90526 h 141549"/>
                    <a:gd name="connsiteX21" fmla="*/ 29627 w 286938"/>
                    <a:gd name="connsiteY21" fmla="*/ 92171 h 141549"/>
                    <a:gd name="connsiteX22" fmla="*/ 23043 w 286938"/>
                    <a:gd name="connsiteY22" fmla="*/ 89428 h 141549"/>
                    <a:gd name="connsiteX23" fmla="*/ 19202 w 286938"/>
                    <a:gd name="connsiteY23" fmla="*/ 83393 h 141549"/>
                    <a:gd name="connsiteX24" fmla="*/ 13716 w 286938"/>
                    <a:gd name="connsiteY24" fmla="*/ 81747 h 141549"/>
                    <a:gd name="connsiteX25" fmla="*/ 7132 w 286938"/>
                    <a:gd name="connsiteY25" fmla="*/ 82296 h 141549"/>
                    <a:gd name="connsiteX26" fmla="*/ 0 w 286938"/>
                    <a:gd name="connsiteY26" fmla="*/ 85039 h 141549"/>
                    <a:gd name="connsiteX27" fmla="*/ 4938 w 286938"/>
                    <a:gd name="connsiteY27" fmla="*/ 90526 h 141549"/>
                    <a:gd name="connsiteX28" fmla="*/ 10424 w 286938"/>
                    <a:gd name="connsiteY28" fmla="*/ 93269 h 141549"/>
                    <a:gd name="connsiteX29" fmla="*/ 11521 w 286938"/>
                    <a:gd name="connsiteY29" fmla="*/ 106436 h 141549"/>
                    <a:gd name="connsiteX30" fmla="*/ 7132 w 286938"/>
                    <a:gd name="connsiteY30" fmla="*/ 111374 h 141549"/>
                    <a:gd name="connsiteX31" fmla="*/ 11521 w 286938"/>
                    <a:gd name="connsiteY31" fmla="*/ 114666 h 141549"/>
                    <a:gd name="connsiteX32" fmla="*/ 25237 w 286938"/>
                    <a:gd name="connsiteY32" fmla="*/ 118506 h 141549"/>
                    <a:gd name="connsiteX33" fmla="*/ 30175 w 286938"/>
                    <a:gd name="connsiteY33" fmla="*/ 115763 h 141549"/>
                    <a:gd name="connsiteX34" fmla="*/ 35662 w 286938"/>
                    <a:gd name="connsiteY34" fmla="*/ 119603 h 141549"/>
                    <a:gd name="connsiteX35" fmla="*/ 43891 w 286938"/>
                    <a:gd name="connsiteY35" fmla="*/ 122347 h 141549"/>
                    <a:gd name="connsiteX36" fmla="*/ 91074 w 286938"/>
                    <a:gd name="connsiteY36" fmla="*/ 110825 h 141549"/>
                    <a:gd name="connsiteX37" fmla="*/ 94366 w 286938"/>
                    <a:gd name="connsiteY37" fmla="*/ 108082 h 141549"/>
                    <a:gd name="connsiteX38" fmla="*/ 98207 w 286938"/>
                    <a:gd name="connsiteY38" fmla="*/ 107533 h 141549"/>
                    <a:gd name="connsiteX39" fmla="*/ 100401 w 286938"/>
                    <a:gd name="connsiteY39" fmla="*/ 108631 h 141549"/>
                    <a:gd name="connsiteX40" fmla="*/ 101498 w 286938"/>
                    <a:gd name="connsiteY40" fmla="*/ 117958 h 141549"/>
                    <a:gd name="connsiteX41" fmla="*/ 103693 w 286938"/>
                    <a:gd name="connsiteY41" fmla="*/ 122895 h 141549"/>
                    <a:gd name="connsiteX42" fmla="*/ 111923 w 286938"/>
                    <a:gd name="connsiteY42" fmla="*/ 127833 h 141549"/>
                    <a:gd name="connsiteX43" fmla="*/ 115214 w 286938"/>
                    <a:gd name="connsiteY43" fmla="*/ 128382 h 141549"/>
                    <a:gd name="connsiteX44" fmla="*/ 121249 w 286938"/>
                    <a:gd name="connsiteY44" fmla="*/ 133319 h 141549"/>
                    <a:gd name="connsiteX45" fmla="*/ 188732 w 286938"/>
                    <a:gd name="connsiteY45" fmla="*/ 141549 h 141549"/>
                    <a:gd name="connsiteX46" fmla="*/ 194767 w 286938"/>
                    <a:gd name="connsiteY46" fmla="*/ 137709 h 141549"/>
                    <a:gd name="connsiteX47" fmla="*/ 200254 w 286938"/>
                    <a:gd name="connsiteY47" fmla="*/ 130576 h 141549"/>
                    <a:gd name="connsiteX48" fmla="*/ 209580 w 286938"/>
                    <a:gd name="connsiteY48" fmla="*/ 127833 h 141549"/>
                    <a:gd name="connsiteX49" fmla="*/ 222748 w 286938"/>
                    <a:gd name="connsiteY49" fmla="*/ 131125 h 141549"/>
                    <a:gd name="connsiteX50" fmla="*/ 226040 w 286938"/>
                    <a:gd name="connsiteY50" fmla="*/ 125090 h 141549"/>
                    <a:gd name="connsiteX51" fmla="*/ 228783 w 286938"/>
                    <a:gd name="connsiteY51" fmla="*/ 125090 h 141549"/>
                    <a:gd name="connsiteX52" fmla="*/ 240853 w 286938"/>
                    <a:gd name="connsiteY52" fmla="*/ 126187 h 141549"/>
                    <a:gd name="connsiteX53" fmla="*/ 241950 w 286938"/>
                    <a:gd name="connsiteY53" fmla="*/ 121249 h 141549"/>
                    <a:gd name="connsiteX54" fmla="*/ 247985 w 286938"/>
                    <a:gd name="connsiteY54" fmla="*/ 117958 h 141549"/>
                    <a:gd name="connsiteX55" fmla="*/ 254569 w 286938"/>
                    <a:gd name="connsiteY55" fmla="*/ 110825 h 141549"/>
                    <a:gd name="connsiteX56" fmla="*/ 262250 w 286938"/>
                    <a:gd name="connsiteY56" fmla="*/ 108631 h 141549"/>
                    <a:gd name="connsiteX57" fmla="*/ 261701 w 286938"/>
                    <a:gd name="connsiteY57" fmla="*/ 94915 h 141549"/>
                    <a:gd name="connsiteX58" fmla="*/ 267736 w 286938"/>
                    <a:gd name="connsiteY58" fmla="*/ 82296 h 141549"/>
                    <a:gd name="connsiteX59" fmla="*/ 263347 w 286938"/>
                    <a:gd name="connsiteY59" fmla="*/ 76810 h 141549"/>
                    <a:gd name="connsiteX60" fmla="*/ 266090 w 286938"/>
                    <a:gd name="connsiteY60" fmla="*/ 71323 h 141549"/>
                    <a:gd name="connsiteX61" fmla="*/ 284195 w 286938"/>
                    <a:gd name="connsiteY61" fmla="*/ 70775 h 141549"/>
                    <a:gd name="connsiteX62" fmla="*/ 286939 w 286938"/>
                    <a:gd name="connsiteY62" fmla="*/ 65288 h 141549"/>
                    <a:gd name="connsiteX63" fmla="*/ 286939 w 286938"/>
                    <a:gd name="connsiteY63" fmla="*/ 51572 h 141549"/>
                    <a:gd name="connsiteX64" fmla="*/ 278160 w 286938"/>
                    <a:gd name="connsiteY64" fmla="*/ 27432 h 141549"/>
                    <a:gd name="connsiteX65" fmla="*/ 278160 w 286938"/>
                    <a:gd name="connsiteY65" fmla="*/ 27432 h 141549"/>
                    <a:gd name="connsiteX66" fmla="*/ 278160 w 286938"/>
                    <a:gd name="connsiteY66" fmla="*/ 18105 h 141549"/>
                    <a:gd name="connsiteX67" fmla="*/ 272674 w 286938"/>
                    <a:gd name="connsiteY67" fmla="*/ 10973 h 141549"/>
                    <a:gd name="connsiteX68" fmla="*/ 248534 w 286938"/>
                    <a:gd name="connsiteY68" fmla="*/ 13167 h 141549"/>
                    <a:gd name="connsiteX69" fmla="*/ 233172 w 286938"/>
                    <a:gd name="connsiteY69" fmla="*/ 1646 h 141549"/>
                    <a:gd name="connsiteX70" fmla="*/ 209580 w 286938"/>
                    <a:gd name="connsiteY70" fmla="*/ 0 h 141549"/>
                    <a:gd name="connsiteX71" fmla="*/ 203545 w 286938"/>
                    <a:gd name="connsiteY71" fmla="*/ 13167 h 141549"/>
                    <a:gd name="connsiteX72" fmla="*/ 196962 w 286938"/>
                    <a:gd name="connsiteY72" fmla="*/ 18654 h 141549"/>
                    <a:gd name="connsiteX73" fmla="*/ 183246 w 286938"/>
                    <a:gd name="connsiteY73" fmla="*/ 22494 h 141549"/>
                    <a:gd name="connsiteX74" fmla="*/ 175565 w 286938"/>
                    <a:gd name="connsiteY74" fmla="*/ 21397 h 141549"/>
                    <a:gd name="connsiteX75" fmla="*/ 161849 w 286938"/>
                    <a:gd name="connsiteY75" fmla="*/ 13716 h 1415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</a:cxnLst>
                  <a:rect l="l" t="t" r="r" b="b"/>
                  <a:pathLst>
                    <a:path w="286938" h="141549">
                      <a:moveTo>
                        <a:pt x="161849" y="13716"/>
                      </a:moveTo>
                      <a:lnTo>
                        <a:pt x="160751" y="19202"/>
                      </a:lnTo>
                      <a:lnTo>
                        <a:pt x="148681" y="24140"/>
                      </a:lnTo>
                      <a:lnTo>
                        <a:pt x="143744" y="36210"/>
                      </a:lnTo>
                      <a:lnTo>
                        <a:pt x="128382" y="42794"/>
                      </a:lnTo>
                      <a:lnTo>
                        <a:pt x="125639" y="50475"/>
                      </a:lnTo>
                      <a:lnTo>
                        <a:pt x="126187" y="61996"/>
                      </a:lnTo>
                      <a:lnTo>
                        <a:pt x="130576" y="72420"/>
                      </a:lnTo>
                      <a:lnTo>
                        <a:pt x="131125" y="77907"/>
                      </a:lnTo>
                      <a:lnTo>
                        <a:pt x="125639" y="80101"/>
                      </a:lnTo>
                      <a:lnTo>
                        <a:pt x="122895" y="75164"/>
                      </a:lnTo>
                      <a:lnTo>
                        <a:pt x="113020" y="75164"/>
                      </a:lnTo>
                      <a:lnTo>
                        <a:pt x="104790" y="72420"/>
                      </a:lnTo>
                      <a:lnTo>
                        <a:pt x="102047" y="75712"/>
                      </a:lnTo>
                      <a:lnTo>
                        <a:pt x="79553" y="79004"/>
                      </a:lnTo>
                      <a:lnTo>
                        <a:pt x="66385" y="87782"/>
                      </a:lnTo>
                      <a:lnTo>
                        <a:pt x="57059" y="87782"/>
                      </a:lnTo>
                      <a:lnTo>
                        <a:pt x="48280" y="82296"/>
                      </a:lnTo>
                      <a:lnTo>
                        <a:pt x="40051" y="81199"/>
                      </a:lnTo>
                      <a:lnTo>
                        <a:pt x="35662" y="85588"/>
                      </a:lnTo>
                      <a:lnTo>
                        <a:pt x="33467" y="90526"/>
                      </a:lnTo>
                      <a:lnTo>
                        <a:pt x="29627" y="92171"/>
                      </a:lnTo>
                      <a:lnTo>
                        <a:pt x="23043" y="89428"/>
                      </a:lnTo>
                      <a:lnTo>
                        <a:pt x="19202" y="83393"/>
                      </a:lnTo>
                      <a:lnTo>
                        <a:pt x="13716" y="81747"/>
                      </a:lnTo>
                      <a:lnTo>
                        <a:pt x="7132" y="82296"/>
                      </a:lnTo>
                      <a:lnTo>
                        <a:pt x="0" y="85039"/>
                      </a:lnTo>
                      <a:lnTo>
                        <a:pt x="4938" y="90526"/>
                      </a:lnTo>
                      <a:lnTo>
                        <a:pt x="10424" y="93269"/>
                      </a:lnTo>
                      <a:lnTo>
                        <a:pt x="11521" y="106436"/>
                      </a:lnTo>
                      <a:lnTo>
                        <a:pt x="7132" y="111374"/>
                      </a:lnTo>
                      <a:lnTo>
                        <a:pt x="11521" y="114666"/>
                      </a:lnTo>
                      <a:lnTo>
                        <a:pt x="25237" y="118506"/>
                      </a:lnTo>
                      <a:lnTo>
                        <a:pt x="30175" y="115763"/>
                      </a:lnTo>
                      <a:lnTo>
                        <a:pt x="35662" y="119603"/>
                      </a:lnTo>
                      <a:lnTo>
                        <a:pt x="43891" y="122347"/>
                      </a:lnTo>
                      <a:lnTo>
                        <a:pt x="91074" y="110825"/>
                      </a:lnTo>
                      <a:lnTo>
                        <a:pt x="94366" y="108082"/>
                      </a:lnTo>
                      <a:lnTo>
                        <a:pt x="98207" y="107533"/>
                      </a:lnTo>
                      <a:lnTo>
                        <a:pt x="100401" y="108631"/>
                      </a:lnTo>
                      <a:lnTo>
                        <a:pt x="101498" y="117958"/>
                      </a:lnTo>
                      <a:lnTo>
                        <a:pt x="103693" y="122895"/>
                      </a:lnTo>
                      <a:lnTo>
                        <a:pt x="111923" y="127833"/>
                      </a:lnTo>
                      <a:lnTo>
                        <a:pt x="115214" y="128382"/>
                      </a:lnTo>
                      <a:lnTo>
                        <a:pt x="121249" y="133319"/>
                      </a:lnTo>
                      <a:lnTo>
                        <a:pt x="188732" y="141549"/>
                      </a:lnTo>
                      <a:lnTo>
                        <a:pt x="194767" y="137709"/>
                      </a:lnTo>
                      <a:lnTo>
                        <a:pt x="200254" y="130576"/>
                      </a:lnTo>
                      <a:lnTo>
                        <a:pt x="209580" y="127833"/>
                      </a:lnTo>
                      <a:lnTo>
                        <a:pt x="222748" y="131125"/>
                      </a:lnTo>
                      <a:lnTo>
                        <a:pt x="226040" y="125090"/>
                      </a:lnTo>
                      <a:lnTo>
                        <a:pt x="228783" y="125090"/>
                      </a:lnTo>
                      <a:lnTo>
                        <a:pt x="240853" y="126187"/>
                      </a:lnTo>
                      <a:lnTo>
                        <a:pt x="241950" y="121249"/>
                      </a:lnTo>
                      <a:lnTo>
                        <a:pt x="247985" y="117958"/>
                      </a:lnTo>
                      <a:lnTo>
                        <a:pt x="254569" y="110825"/>
                      </a:lnTo>
                      <a:lnTo>
                        <a:pt x="262250" y="108631"/>
                      </a:lnTo>
                      <a:lnTo>
                        <a:pt x="261701" y="94915"/>
                      </a:lnTo>
                      <a:lnTo>
                        <a:pt x="267736" y="82296"/>
                      </a:lnTo>
                      <a:lnTo>
                        <a:pt x="263347" y="76810"/>
                      </a:lnTo>
                      <a:lnTo>
                        <a:pt x="266090" y="71323"/>
                      </a:lnTo>
                      <a:lnTo>
                        <a:pt x="284195" y="70775"/>
                      </a:lnTo>
                      <a:lnTo>
                        <a:pt x="286939" y="65288"/>
                      </a:lnTo>
                      <a:lnTo>
                        <a:pt x="286939" y="51572"/>
                      </a:lnTo>
                      <a:lnTo>
                        <a:pt x="278160" y="27432"/>
                      </a:lnTo>
                      <a:lnTo>
                        <a:pt x="278160" y="27432"/>
                      </a:lnTo>
                      <a:lnTo>
                        <a:pt x="278160" y="18105"/>
                      </a:lnTo>
                      <a:lnTo>
                        <a:pt x="272674" y="10973"/>
                      </a:lnTo>
                      <a:lnTo>
                        <a:pt x="248534" y="13167"/>
                      </a:lnTo>
                      <a:lnTo>
                        <a:pt x="233172" y="1646"/>
                      </a:lnTo>
                      <a:lnTo>
                        <a:pt x="209580" y="0"/>
                      </a:lnTo>
                      <a:lnTo>
                        <a:pt x="203545" y="13167"/>
                      </a:lnTo>
                      <a:lnTo>
                        <a:pt x="196962" y="18654"/>
                      </a:lnTo>
                      <a:lnTo>
                        <a:pt x="183246" y="22494"/>
                      </a:lnTo>
                      <a:lnTo>
                        <a:pt x="175565" y="21397"/>
                      </a:lnTo>
                      <a:lnTo>
                        <a:pt x="161849" y="13716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95" name="Graphic 7">
                  <a:extLst>
                    <a:ext uri="{FF2B5EF4-FFF2-40B4-BE49-F238E27FC236}">
                      <a16:creationId xmlns:a16="http://schemas.microsoft.com/office/drawing/2014/main" id="{8B39E891-0A16-D1D9-ED00-7E248201B055}"/>
                    </a:ext>
                  </a:extLst>
                </p:cNvPr>
                <p:cNvSpPr/>
                <p:nvPr/>
              </p:nvSpPr>
              <p:spPr>
                <a:xfrm>
                  <a:off x="5342808" y="2617909"/>
                  <a:ext cx="104160" cy="127307"/>
                </a:xfrm>
                <a:custGeom>
                  <a:avLst/>
                  <a:gdLst>
                    <a:gd name="connsiteX0" fmla="*/ 92720 w 133319"/>
                    <a:gd name="connsiteY0" fmla="*/ 162946 h 162946"/>
                    <a:gd name="connsiteX1" fmla="*/ 84491 w 133319"/>
                    <a:gd name="connsiteY1" fmla="*/ 162946 h 162946"/>
                    <a:gd name="connsiteX2" fmla="*/ 79004 w 133319"/>
                    <a:gd name="connsiteY2" fmla="*/ 158557 h 162946"/>
                    <a:gd name="connsiteX3" fmla="*/ 78456 w 133319"/>
                    <a:gd name="connsiteY3" fmla="*/ 137160 h 162946"/>
                    <a:gd name="connsiteX4" fmla="*/ 72969 w 133319"/>
                    <a:gd name="connsiteY4" fmla="*/ 133320 h 162946"/>
                    <a:gd name="connsiteX5" fmla="*/ 66385 w 133319"/>
                    <a:gd name="connsiteY5" fmla="*/ 133320 h 162946"/>
                    <a:gd name="connsiteX6" fmla="*/ 60899 w 133319"/>
                    <a:gd name="connsiteY6" fmla="*/ 130028 h 162946"/>
                    <a:gd name="connsiteX7" fmla="*/ 59253 w 133319"/>
                    <a:gd name="connsiteY7" fmla="*/ 125639 h 162946"/>
                    <a:gd name="connsiteX8" fmla="*/ 57059 w 133319"/>
                    <a:gd name="connsiteY8" fmla="*/ 125639 h 162946"/>
                    <a:gd name="connsiteX9" fmla="*/ 53767 w 133319"/>
                    <a:gd name="connsiteY9" fmla="*/ 121249 h 162946"/>
                    <a:gd name="connsiteX10" fmla="*/ 35113 w 133319"/>
                    <a:gd name="connsiteY10" fmla="*/ 123993 h 162946"/>
                    <a:gd name="connsiteX11" fmla="*/ 11521 w 133319"/>
                    <a:gd name="connsiteY11" fmla="*/ 134965 h 162946"/>
                    <a:gd name="connsiteX12" fmla="*/ 0 w 133319"/>
                    <a:gd name="connsiteY12" fmla="*/ 128382 h 162946"/>
                    <a:gd name="connsiteX13" fmla="*/ 0 w 133319"/>
                    <a:gd name="connsiteY13" fmla="*/ 127833 h 162946"/>
                    <a:gd name="connsiteX14" fmla="*/ 1646 w 133319"/>
                    <a:gd name="connsiteY14" fmla="*/ 126187 h 162946"/>
                    <a:gd name="connsiteX15" fmla="*/ 6035 w 133319"/>
                    <a:gd name="connsiteY15" fmla="*/ 126187 h 162946"/>
                    <a:gd name="connsiteX16" fmla="*/ 13167 w 133319"/>
                    <a:gd name="connsiteY16" fmla="*/ 130576 h 162946"/>
                    <a:gd name="connsiteX17" fmla="*/ 19751 w 133319"/>
                    <a:gd name="connsiteY17" fmla="*/ 127285 h 162946"/>
                    <a:gd name="connsiteX18" fmla="*/ 25237 w 133319"/>
                    <a:gd name="connsiteY18" fmla="*/ 127285 h 162946"/>
                    <a:gd name="connsiteX19" fmla="*/ 27981 w 133319"/>
                    <a:gd name="connsiteY19" fmla="*/ 124541 h 162946"/>
                    <a:gd name="connsiteX20" fmla="*/ 22494 w 133319"/>
                    <a:gd name="connsiteY20" fmla="*/ 123993 h 162946"/>
                    <a:gd name="connsiteX21" fmla="*/ 16459 w 133319"/>
                    <a:gd name="connsiteY21" fmla="*/ 124541 h 162946"/>
                    <a:gd name="connsiteX22" fmla="*/ 12619 w 133319"/>
                    <a:gd name="connsiteY22" fmla="*/ 123444 h 162946"/>
                    <a:gd name="connsiteX23" fmla="*/ 14813 w 133319"/>
                    <a:gd name="connsiteY23" fmla="*/ 117958 h 162946"/>
                    <a:gd name="connsiteX24" fmla="*/ 29078 w 133319"/>
                    <a:gd name="connsiteY24" fmla="*/ 114666 h 162946"/>
                    <a:gd name="connsiteX25" fmla="*/ 36210 w 133319"/>
                    <a:gd name="connsiteY25" fmla="*/ 110825 h 162946"/>
                    <a:gd name="connsiteX26" fmla="*/ 48280 w 133319"/>
                    <a:gd name="connsiteY26" fmla="*/ 108082 h 162946"/>
                    <a:gd name="connsiteX27" fmla="*/ 52121 w 133319"/>
                    <a:gd name="connsiteY27" fmla="*/ 105888 h 162946"/>
                    <a:gd name="connsiteX28" fmla="*/ 49378 w 133319"/>
                    <a:gd name="connsiteY28" fmla="*/ 103144 h 162946"/>
                    <a:gd name="connsiteX29" fmla="*/ 41148 w 133319"/>
                    <a:gd name="connsiteY29" fmla="*/ 106985 h 162946"/>
                    <a:gd name="connsiteX30" fmla="*/ 35113 w 133319"/>
                    <a:gd name="connsiteY30" fmla="*/ 106436 h 162946"/>
                    <a:gd name="connsiteX31" fmla="*/ 29627 w 133319"/>
                    <a:gd name="connsiteY31" fmla="*/ 104242 h 162946"/>
                    <a:gd name="connsiteX32" fmla="*/ 25237 w 133319"/>
                    <a:gd name="connsiteY32" fmla="*/ 100401 h 162946"/>
                    <a:gd name="connsiteX33" fmla="*/ 25237 w 133319"/>
                    <a:gd name="connsiteY33" fmla="*/ 94366 h 162946"/>
                    <a:gd name="connsiteX34" fmla="*/ 26335 w 133319"/>
                    <a:gd name="connsiteY34" fmla="*/ 90526 h 162946"/>
                    <a:gd name="connsiteX35" fmla="*/ 41148 w 133319"/>
                    <a:gd name="connsiteY35" fmla="*/ 72969 h 162946"/>
                    <a:gd name="connsiteX36" fmla="*/ 50475 w 133319"/>
                    <a:gd name="connsiteY36" fmla="*/ 35662 h 162946"/>
                    <a:gd name="connsiteX37" fmla="*/ 56510 w 133319"/>
                    <a:gd name="connsiteY37" fmla="*/ 32918 h 162946"/>
                    <a:gd name="connsiteX38" fmla="*/ 58704 w 133319"/>
                    <a:gd name="connsiteY38" fmla="*/ 38405 h 162946"/>
                    <a:gd name="connsiteX39" fmla="*/ 63094 w 133319"/>
                    <a:gd name="connsiteY39" fmla="*/ 41697 h 162946"/>
                    <a:gd name="connsiteX40" fmla="*/ 63094 w 133319"/>
                    <a:gd name="connsiteY40" fmla="*/ 44440 h 162946"/>
                    <a:gd name="connsiteX41" fmla="*/ 63094 w 133319"/>
                    <a:gd name="connsiteY41" fmla="*/ 45537 h 162946"/>
                    <a:gd name="connsiteX42" fmla="*/ 57059 w 133319"/>
                    <a:gd name="connsiteY42" fmla="*/ 47183 h 162946"/>
                    <a:gd name="connsiteX43" fmla="*/ 56510 w 133319"/>
                    <a:gd name="connsiteY43" fmla="*/ 49378 h 162946"/>
                    <a:gd name="connsiteX44" fmla="*/ 55961 w 133319"/>
                    <a:gd name="connsiteY44" fmla="*/ 53767 h 162946"/>
                    <a:gd name="connsiteX45" fmla="*/ 56510 w 133319"/>
                    <a:gd name="connsiteY45" fmla="*/ 61448 h 162946"/>
                    <a:gd name="connsiteX46" fmla="*/ 56510 w 133319"/>
                    <a:gd name="connsiteY46" fmla="*/ 64191 h 162946"/>
                    <a:gd name="connsiteX47" fmla="*/ 60350 w 133319"/>
                    <a:gd name="connsiteY47" fmla="*/ 68031 h 162946"/>
                    <a:gd name="connsiteX48" fmla="*/ 66934 w 133319"/>
                    <a:gd name="connsiteY48" fmla="*/ 70775 h 162946"/>
                    <a:gd name="connsiteX49" fmla="*/ 70775 w 133319"/>
                    <a:gd name="connsiteY49" fmla="*/ 70775 h 162946"/>
                    <a:gd name="connsiteX50" fmla="*/ 71872 w 133319"/>
                    <a:gd name="connsiteY50" fmla="*/ 69129 h 162946"/>
                    <a:gd name="connsiteX51" fmla="*/ 70775 w 133319"/>
                    <a:gd name="connsiteY51" fmla="*/ 63642 h 162946"/>
                    <a:gd name="connsiteX52" fmla="*/ 68031 w 133319"/>
                    <a:gd name="connsiteY52" fmla="*/ 59802 h 162946"/>
                    <a:gd name="connsiteX53" fmla="*/ 67483 w 133319"/>
                    <a:gd name="connsiteY53" fmla="*/ 56510 h 162946"/>
                    <a:gd name="connsiteX54" fmla="*/ 70226 w 133319"/>
                    <a:gd name="connsiteY54" fmla="*/ 55961 h 162946"/>
                    <a:gd name="connsiteX55" fmla="*/ 74066 w 133319"/>
                    <a:gd name="connsiteY55" fmla="*/ 52121 h 162946"/>
                    <a:gd name="connsiteX56" fmla="*/ 77907 w 133319"/>
                    <a:gd name="connsiteY56" fmla="*/ 35662 h 162946"/>
                    <a:gd name="connsiteX57" fmla="*/ 76261 w 133319"/>
                    <a:gd name="connsiteY57" fmla="*/ 34564 h 162946"/>
                    <a:gd name="connsiteX58" fmla="*/ 71323 w 133319"/>
                    <a:gd name="connsiteY58" fmla="*/ 35113 h 162946"/>
                    <a:gd name="connsiteX59" fmla="*/ 70775 w 133319"/>
                    <a:gd name="connsiteY59" fmla="*/ 32370 h 162946"/>
                    <a:gd name="connsiteX60" fmla="*/ 69677 w 133319"/>
                    <a:gd name="connsiteY60" fmla="*/ 21397 h 162946"/>
                    <a:gd name="connsiteX61" fmla="*/ 70226 w 133319"/>
                    <a:gd name="connsiteY61" fmla="*/ 18105 h 162946"/>
                    <a:gd name="connsiteX62" fmla="*/ 72969 w 133319"/>
                    <a:gd name="connsiteY62" fmla="*/ 12619 h 162946"/>
                    <a:gd name="connsiteX63" fmla="*/ 86685 w 133319"/>
                    <a:gd name="connsiteY63" fmla="*/ 3841 h 162946"/>
                    <a:gd name="connsiteX64" fmla="*/ 93817 w 133319"/>
                    <a:gd name="connsiteY64" fmla="*/ 2743 h 162946"/>
                    <a:gd name="connsiteX65" fmla="*/ 102596 w 133319"/>
                    <a:gd name="connsiteY65" fmla="*/ 4389 h 162946"/>
                    <a:gd name="connsiteX66" fmla="*/ 109728 w 133319"/>
                    <a:gd name="connsiteY66" fmla="*/ 549 h 162946"/>
                    <a:gd name="connsiteX67" fmla="*/ 117958 w 133319"/>
                    <a:gd name="connsiteY67" fmla="*/ 0 h 162946"/>
                    <a:gd name="connsiteX68" fmla="*/ 123993 w 133319"/>
                    <a:gd name="connsiteY68" fmla="*/ 1646 h 162946"/>
                    <a:gd name="connsiteX69" fmla="*/ 133320 w 133319"/>
                    <a:gd name="connsiteY69" fmla="*/ 10973 h 162946"/>
                    <a:gd name="connsiteX70" fmla="*/ 126187 w 133319"/>
                    <a:gd name="connsiteY70" fmla="*/ 42245 h 162946"/>
                    <a:gd name="connsiteX71" fmla="*/ 115763 w 133319"/>
                    <a:gd name="connsiteY71" fmla="*/ 49378 h 162946"/>
                    <a:gd name="connsiteX72" fmla="*/ 117409 w 133319"/>
                    <a:gd name="connsiteY72" fmla="*/ 55961 h 162946"/>
                    <a:gd name="connsiteX73" fmla="*/ 129479 w 133319"/>
                    <a:gd name="connsiteY73" fmla="*/ 61448 h 162946"/>
                    <a:gd name="connsiteX74" fmla="*/ 128930 w 133319"/>
                    <a:gd name="connsiteY74" fmla="*/ 69129 h 162946"/>
                    <a:gd name="connsiteX75" fmla="*/ 123993 w 133319"/>
                    <a:gd name="connsiteY75" fmla="*/ 75712 h 162946"/>
                    <a:gd name="connsiteX76" fmla="*/ 117409 w 133319"/>
                    <a:gd name="connsiteY76" fmla="*/ 80650 h 162946"/>
                    <a:gd name="connsiteX77" fmla="*/ 115763 w 133319"/>
                    <a:gd name="connsiteY77" fmla="*/ 88331 h 162946"/>
                    <a:gd name="connsiteX78" fmla="*/ 113020 w 133319"/>
                    <a:gd name="connsiteY78" fmla="*/ 95463 h 162946"/>
                    <a:gd name="connsiteX79" fmla="*/ 107533 w 133319"/>
                    <a:gd name="connsiteY79" fmla="*/ 96561 h 162946"/>
                    <a:gd name="connsiteX80" fmla="*/ 98755 w 133319"/>
                    <a:gd name="connsiteY80" fmla="*/ 93269 h 162946"/>
                    <a:gd name="connsiteX81" fmla="*/ 91623 w 133319"/>
                    <a:gd name="connsiteY81" fmla="*/ 93269 h 162946"/>
                    <a:gd name="connsiteX82" fmla="*/ 93817 w 133319"/>
                    <a:gd name="connsiteY82" fmla="*/ 137160 h 162946"/>
                    <a:gd name="connsiteX83" fmla="*/ 89428 w 133319"/>
                    <a:gd name="connsiteY83" fmla="*/ 142646 h 162946"/>
                    <a:gd name="connsiteX84" fmla="*/ 88880 w 133319"/>
                    <a:gd name="connsiteY84" fmla="*/ 147036 h 162946"/>
                    <a:gd name="connsiteX85" fmla="*/ 92720 w 133319"/>
                    <a:gd name="connsiteY85" fmla="*/ 159106 h 162946"/>
                    <a:gd name="connsiteX86" fmla="*/ 92720 w 133319"/>
                    <a:gd name="connsiteY86" fmla="*/ 162946 h 1629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</a:cxnLst>
                  <a:rect l="l" t="t" r="r" b="b"/>
                  <a:pathLst>
                    <a:path w="133319" h="162946">
                      <a:moveTo>
                        <a:pt x="92720" y="162946"/>
                      </a:moveTo>
                      <a:lnTo>
                        <a:pt x="84491" y="162946"/>
                      </a:lnTo>
                      <a:lnTo>
                        <a:pt x="79004" y="158557"/>
                      </a:lnTo>
                      <a:lnTo>
                        <a:pt x="78456" y="137160"/>
                      </a:lnTo>
                      <a:lnTo>
                        <a:pt x="72969" y="133320"/>
                      </a:lnTo>
                      <a:lnTo>
                        <a:pt x="66385" y="133320"/>
                      </a:lnTo>
                      <a:lnTo>
                        <a:pt x="60899" y="130028"/>
                      </a:lnTo>
                      <a:lnTo>
                        <a:pt x="59253" y="125639"/>
                      </a:lnTo>
                      <a:lnTo>
                        <a:pt x="57059" y="125639"/>
                      </a:lnTo>
                      <a:lnTo>
                        <a:pt x="53767" y="121249"/>
                      </a:lnTo>
                      <a:lnTo>
                        <a:pt x="35113" y="123993"/>
                      </a:lnTo>
                      <a:lnTo>
                        <a:pt x="11521" y="134965"/>
                      </a:lnTo>
                      <a:lnTo>
                        <a:pt x="0" y="128382"/>
                      </a:lnTo>
                      <a:lnTo>
                        <a:pt x="0" y="127833"/>
                      </a:lnTo>
                      <a:lnTo>
                        <a:pt x="1646" y="126187"/>
                      </a:lnTo>
                      <a:lnTo>
                        <a:pt x="6035" y="126187"/>
                      </a:lnTo>
                      <a:lnTo>
                        <a:pt x="13167" y="130576"/>
                      </a:lnTo>
                      <a:lnTo>
                        <a:pt x="19751" y="127285"/>
                      </a:lnTo>
                      <a:lnTo>
                        <a:pt x="25237" y="127285"/>
                      </a:lnTo>
                      <a:lnTo>
                        <a:pt x="27981" y="124541"/>
                      </a:lnTo>
                      <a:lnTo>
                        <a:pt x="22494" y="123993"/>
                      </a:lnTo>
                      <a:lnTo>
                        <a:pt x="16459" y="124541"/>
                      </a:lnTo>
                      <a:lnTo>
                        <a:pt x="12619" y="123444"/>
                      </a:lnTo>
                      <a:lnTo>
                        <a:pt x="14813" y="117958"/>
                      </a:lnTo>
                      <a:lnTo>
                        <a:pt x="29078" y="114666"/>
                      </a:lnTo>
                      <a:lnTo>
                        <a:pt x="36210" y="110825"/>
                      </a:lnTo>
                      <a:lnTo>
                        <a:pt x="48280" y="108082"/>
                      </a:lnTo>
                      <a:lnTo>
                        <a:pt x="52121" y="105888"/>
                      </a:lnTo>
                      <a:lnTo>
                        <a:pt x="49378" y="103144"/>
                      </a:lnTo>
                      <a:lnTo>
                        <a:pt x="41148" y="106985"/>
                      </a:lnTo>
                      <a:lnTo>
                        <a:pt x="35113" y="106436"/>
                      </a:lnTo>
                      <a:lnTo>
                        <a:pt x="29627" y="104242"/>
                      </a:lnTo>
                      <a:lnTo>
                        <a:pt x="25237" y="100401"/>
                      </a:lnTo>
                      <a:lnTo>
                        <a:pt x="25237" y="94366"/>
                      </a:lnTo>
                      <a:lnTo>
                        <a:pt x="26335" y="90526"/>
                      </a:lnTo>
                      <a:lnTo>
                        <a:pt x="41148" y="72969"/>
                      </a:lnTo>
                      <a:lnTo>
                        <a:pt x="50475" y="35662"/>
                      </a:lnTo>
                      <a:lnTo>
                        <a:pt x="56510" y="32918"/>
                      </a:lnTo>
                      <a:lnTo>
                        <a:pt x="58704" y="38405"/>
                      </a:lnTo>
                      <a:lnTo>
                        <a:pt x="63094" y="41697"/>
                      </a:lnTo>
                      <a:lnTo>
                        <a:pt x="63094" y="44440"/>
                      </a:lnTo>
                      <a:lnTo>
                        <a:pt x="63094" y="45537"/>
                      </a:lnTo>
                      <a:lnTo>
                        <a:pt x="57059" y="47183"/>
                      </a:lnTo>
                      <a:lnTo>
                        <a:pt x="56510" y="49378"/>
                      </a:lnTo>
                      <a:lnTo>
                        <a:pt x="55961" y="53767"/>
                      </a:lnTo>
                      <a:lnTo>
                        <a:pt x="56510" y="61448"/>
                      </a:lnTo>
                      <a:lnTo>
                        <a:pt x="56510" y="64191"/>
                      </a:lnTo>
                      <a:lnTo>
                        <a:pt x="60350" y="68031"/>
                      </a:lnTo>
                      <a:lnTo>
                        <a:pt x="66934" y="70775"/>
                      </a:lnTo>
                      <a:lnTo>
                        <a:pt x="70775" y="70775"/>
                      </a:lnTo>
                      <a:lnTo>
                        <a:pt x="71872" y="69129"/>
                      </a:lnTo>
                      <a:lnTo>
                        <a:pt x="70775" y="63642"/>
                      </a:lnTo>
                      <a:lnTo>
                        <a:pt x="68031" y="59802"/>
                      </a:lnTo>
                      <a:lnTo>
                        <a:pt x="67483" y="56510"/>
                      </a:lnTo>
                      <a:lnTo>
                        <a:pt x="70226" y="55961"/>
                      </a:lnTo>
                      <a:lnTo>
                        <a:pt x="74066" y="52121"/>
                      </a:lnTo>
                      <a:lnTo>
                        <a:pt x="77907" y="35662"/>
                      </a:lnTo>
                      <a:lnTo>
                        <a:pt x="76261" y="34564"/>
                      </a:lnTo>
                      <a:lnTo>
                        <a:pt x="71323" y="35113"/>
                      </a:lnTo>
                      <a:lnTo>
                        <a:pt x="70775" y="32370"/>
                      </a:lnTo>
                      <a:lnTo>
                        <a:pt x="69677" y="21397"/>
                      </a:lnTo>
                      <a:lnTo>
                        <a:pt x="70226" y="18105"/>
                      </a:lnTo>
                      <a:lnTo>
                        <a:pt x="72969" y="12619"/>
                      </a:lnTo>
                      <a:lnTo>
                        <a:pt x="86685" y="3841"/>
                      </a:lnTo>
                      <a:lnTo>
                        <a:pt x="93817" y="2743"/>
                      </a:lnTo>
                      <a:lnTo>
                        <a:pt x="102596" y="4389"/>
                      </a:lnTo>
                      <a:lnTo>
                        <a:pt x="109728" y="549"/>
                      </a:lnTo>
                      <a:lnTo>
                        <a:pt x="117958" y="0"/>
                      </a:lnTo>
                      <a:lnTo>
                        <a:pt x="123993" y="1646"/>
                      </a:lnTo>
                      <a:lnTo>
                        <a:pt x="133320" y="10973"/>
                      </a:lnTo>
                      <a:lnTo>
                        <a:pt x="126187" y="42245"/>
                      </a:lnTo>
                      <a:lnTo>
                        <a:pt x="115763" y="49378"/>
                      </a:lnTo>
                      <a:lnTo>
                        <a:pt x="117409" y="55961"/>
                      </a:lnTo>
                      <a:lnTo>
                        <a:pt x="129479" y="61448"/>
                      </a:lnTo>
                      <a:lnTo>
                        <a:pt x="128930" y="69129"/>
                      </a:lnTo>
                      <a:lnTo>
                        <a:pt x="123993" y="75712"/>
                      </a:lnTo>
                      <a:lnTo>
                        <a:pt x="117409" y="80650"/>
                      </a:lnTo>
                      <a:lnTo>
                        <a:pt x="115763" y="88331"/>
                      </a:lnTo>
                      <a:lnTo>
                        <a:pt x="113020" y="95463"/>
                      </a:lnTo>
                      <a:lnTo>
                        <a:pt x="107533" y="96561"/>
                      </a:lnTo>
                      <a:lnTo>
                        <a:pt x="98755" y="93269"/>
                      </a:lnTo>
                      <a:lnTo>
                        <a:pt x="91623" y="93269"/>
                      </a:lnTo>
                      <a:lnTo>
                        <a:pt x="93817" y="137160"/>
                      </a:lnTo>
                      <a:lnTo>
                        <a:pt x="89428" y="142646"/>
                      </a:lnTo>
                      <a:lnTo>
                        <a:pt x="88880" y="147036"/>
                      </a:lnTo>
                      <a:lnTo>
                        <a:pt x="92720" y="159106"/>
                      </a:lnTo>
                      <a:lnTo>
                        <a:pt x="92720" y="162946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96" name="Graphic 7">
                  <a:extLst>
                    <a:ext uri="{FF2B5EF4-FFF2-40B4-BE49-F238E27FC236}">
                      <a16:creationId xmlns:a16="http://schemas.microsoft.com/office/drawing/2014/main" id="{D6523B87-A8E0-017C-B6E5-6A80D81819D6}"/>
                    </a:ext>
                  </a:extLst>
                </p:cNvPr>
                <p:cNvSpPr/>
                <p:nvPr/>
              </p:nvSpPr>
              <p:spPr>
                <a:xfrm>
                  <a:off x="5102768" y="2729785"/>
                  <a:ext cx="371632" cy="374204"/>
                </a:xfrm>
                <a:custGeom>
                  <a:avLst/>
                  <a:gdLst>
                    <a:gd name="connsiteX0" fmla="*/ 279806 w 475670"/>
                    <a:gd name="connsiteY0" fmla="*/ 0 h 478962"/>
                    <a:gd name="connsiteX1" fmla="*/ 275966 w 475670"/>
                    <a:gd name="connsiteY1" fmla="*/ 2195 h 478962"/>
                    <a:gd name="connsiteX2" fmla="*/ 243596 w 475670"/>
                    <a:gd name="connsiteY2" fmla="*/ 11521 h 478962"/>
                    <a:gd name="connsiteX3" fmla="*/ 236464 w 475670"/>
                    <a:gd name="connsiteY3" fmla="*/ 44989 h 478962"/>
                    <a:gd name="connsiteX4" fmla="*/ 239207 w 475670"/>
                    <a:gd name="connsiteY4" fmla="*/ 47732 h 478962"/>
                    <a:gd name="connsiteX5" fmla="*/ 238658 w 475670"/>
                    <a:gd name="connsiteY5" fmla="*/ 52121 h 478962"/>
                    <a:gd name="connsiteX6" fmla="*/ 221102 w 475670"/>
                    <a:gd name="connsiteY6" fmla="*/ 67483 h 478962"/>
                    <a:gd name="connsiteX7" fmla="*/ 198608 w 475670"/>
                    <a:gd name="connsiteY7" fmla="*/ 74615 h 478962"/>
                    <a:gd name="connsiteX8" fmla="*/ 188732 w 475670"/>
                    <a:gd name="connsiteY8" fmla="*/ 81199 h 478962"/>
                    <a:gd name="connsiteX9" fmla="*/ 183794 w 475670"/>
                    <a:gd name="connsiteY9" fmla="*/ 89977 h 478962"/>
                    <a:gd name="connsiteX10" fmla="*/ 184343 w 475670"/>
                    <a:gd name="connsiteY10" fmla="*/ 93817 h 478962"/>
                    <a:gd name="connsiteX11" fmla="*/ 194219 w 475670"/>
                    <a:gd name="connsiteY11" fmla="*/ 93817 h 478962"/>
                    <a:gd name="connsiteX12" fmla="*/ 198608 w 475670"/>
                    <a:gd name="connsiteY12" fmla="*/ 95463 h 478962"/>
                    <a:gd name="connsiteX13" fmla="*/ 196962 w 475670"/>
                    <a:gd name="connsiteY13" fmla="*/ 97658 h 478962"/>
                    <a:gd name="connsiteX14" fmla="*/ 183246 w 475670"/>
                    <a:gd name="connsiteY14" fmla="*/ 99304 h 478962"/>
                    <a:gd name="connsiteX15" fmla="*/ 176113 w 475670"/>
                    <a:gd name="connsiteY15" fmla="*/ 103693 h 478962"/>
                    <a:gd name="connsiteX16" fmla="*/ 162946 w 475670"/>
                    <a:gd name="connsiteY16" fmla="*/ 105339 h 478962"/>
                    <a:gd name="connsiteX17" fmla="*/ 142646 w 475670"/>
                    <a:gd name="connsiteY17" fmla="*/ 100950 h 478962"/>
                    <a:gd name="connsiteX18" fmla="*/ 138806 w 475670"/>
                    <a:gd name="connsiteY18" fmla="*/ 101498 h 478962"/>
                    <a:gd name="connsiteX19" fmla="*/ 130576 w 475670"/>
                    <a:gd name="connsiteY19" fmla="*/ 90526 h 478962"/>
                    <a:gd name="connsiteX20" fmla="*/ 131125 w 475670"/>
                    <a:gd name="connsiteY20" fmla="*/ 84491 h 478962"/>
                    <a:gd name="connsiteX21" fmla="*/ 128930 w 475670"/>
                    <a:gd name="connsiteY21" fmla="*/ 83393 h 478962"/>
                    <a:gd name="connsiteX22" fmla="*/ 114117 w 475670"/>
                    <a:gd name="connsiteY22" fmla="*/ 83942 h 478962"/>
                    <a:gd name="connsiteX23" fmla="*/ 107533 w 475670"/>
                    <a:gd name="connsiteY23" fmla="*/ 82296 h 478962"/>
                    <a:gd name="connsiteX24" fmla="*/ 111374 w 475670"/>
                    <a:gd name="connsiteY24" fmla="*/ 102047 h 478962"/>
                    <a:gd name="connsiteX25" fmla="*/ 115763 w 475670"/>
                    <a:gd name="connsiteY25" fmla="*/ 105339 h 478962"/>
                    <a:gd name="connsiteX26" fmla="*/ 121249 w 475670"/>
                    <a:gd name="connsiteY26" fmla="*/ 137709 h 478962"/>
                    <a:gd name="connsiteX27" fmla="*/ 126187 w 475670"/>
                    <a:gd name="connsiteY27" fmla="*/ 141001 h 478962"/>
                    <a:gd name="connsiteX28" fmla="*/ 122895 w 475670"/>
                    <a:gd name="connsiteY28" fmla="*/ 144292 h 478962"/>
                    <a:gd name="connsiteX29" fmla="*/ 115214 w 475670"/>
                    <a:gd name="connsiteY29" fmla="*/ 144292 h 478962"/>
                    <a:gd name="connsiteX30" fmla="*/ 113020 w 475670"/>
                    <a:gd name="connsiteY30" fmla="*/ 141549 h 478962"/>
                    <a:gd name="connsiteX31" fmla="*/ 109728 w 475670"/>
                    <a:gd name="connsiteY31" fmla="*/ 140452 h 478962"/>
                    <a:gd name="connsiteX32" fmla="*/ 99304 w 475670"/>
                    <a:gd name="connsiteY32" fmla="*/ 144292 h 478962"/>
                    <a:gd name="connsiteX33" fmla="*/ 93817 w 475670"/>
                    <a:gd name="connsiteY33" fmla="*/ 142646 h 478962"/>
                    <a:gd name="connsiteX34" fmla="*/ 81199 w 475670"/>
                    <a:gd name="connsiteY34" fmla="*/ 147035 h 478962"/>
                    <a:gd name="connsiteX35" fmla="*/ 64191 w 475670"/>
                    <a:gd name="connsiteY35" fmla="*/ 132222 h 478962"/>
                    <a:gd name="connsiteX36" fmla="*/ 52121 w 475670"/>
                    <a:gd name="connsiteY36" fmla="*/ 133319 h 478962"/>
                    <a:gd name="connsiteX37" fmla="*/ 49378 w 475670"/>
                    <a:gd name="connsiteY37" fmla="*/ 132222 h 478962"/>
                    <a:gd name="connsiteX38" fmla="*/ 45537 w 475670"/>
                    <a:gd name="connsiteY38" fmla="*/ 134417 h 478962"/>
                    <a:gd name="connsiteX39" fmla="*/ 44988 w 475670"/>
                    <a:gd name="connsiteY39" fmla="*/ 137709 h 478962"/>
                    <a:gd name="connsiteX40" fmla="*/ 2743 w 475670"/>
                    <a:gd name="connsiteY40" fmla="*/ 149779 h 478962"/>
                    <a:gd name="connsiteX41" fmla="*/ 0 w 475670"/>
                    <a:gd name="connsiteY41" fmla="*/ 156362 h 478962"/>
                    <a:gd name="connsiteX42" fmla="*/ 0 w 475670"/>
                    <a:gd name="connsiteY42" fmla="*/ 160203 h 478962"/>
                    <a:gd name="connsiteX43" fmla="*/ 14265 w 475670"/>
                    <a:gd name="connsiteY43" fmla="*/ 158557 h 478962"/>
                    <a:gd name="connsiteX44" fmla="*/ 13167 w 475670"/>
                    <a:gd name="connsiteY44" fmla="*/ 161849 h 478962"/>
                    <a:gd name="connsiteX45" fmla="*/ 9327 w 475670"/>
                    <a:gd name="connsiteY45" fmla="*/ 162397 h 478962"/>
                    <a:gd name="connsiteX46" fmla="*/ 6584 w 475670"/>
                    <a:gd name="connsiteY46" fmla="*/ 166238 h 478962"/>
                    <a:gd name="connsiteX47" fmla="*/ 7681 w 475670"/>
                    <a:gd name="connsiteY47" fmla="*/ 170078 h 478962"/>
                    <a:gd name="connsiteX48" fmla="*/ 19202 w 475670"/>
                    <a:gd name="connsiteY48" fmla="*/ 168981 h 478962"/>
                    <a:gd name="connsiteX49" fmla="*/ 18105 w 475670"/>
                    <a:gd name="connsiteY49" fmla="*/ 173919 h 478962"/>
                    <a:gd name="connsiteX50" fmla="*/ 3840 w 475670"/>
                    <a:gd name="connsiteY50" fmla="*/ 176662 h 478962"/>
                    <a:gd name="connsiteX51" fmla="*/ 7132 w 475670"/>
                    <a:gd name="connsiteY51" fmla="*/ 179954 h 478962"/>
                    <a:gd name="connsiteX52" fmla="*/ 15911 w 475670"/>
                    <a:gd name="connsiteY52" fmla="*/ 183246 h 478962"/>
                    <a:gd name="connsiteX53" fmla="*/ 15911 w 475670"/>
                    <a:gd name="connsiteY53" fmla="*/ 190378 h 478962"/>
                    <a:gd name="connsiteX54" fmla="*/ 24140 w 475670"/>
                    <a:gd name="connsiteY54" fmla="*/ 191475 h 478962"/>
                    <a:gd name="connsiteX55" fmla="*/ 23592 w 475670"/>
                    <a:gd name="connsiteY55" fmla="*/ 187086 h 478962"/>
                    <a:gd name="connsiteX56" fmla="*/ 30175 w 475670"/>
                    <a:gd name="connsiteY56" fmla="*/ 186538 h 478962"/>
                    <a:gd name="connsiteX57" fmla="*/ 57059 w 475670"/>
                    <a:gd name="connsiteY57" fmla="*/ 199156 h 478962"/>
                    <a:gd name="connsiteX58" fmla="*/ 59253 w 475670"/>
                    <a:gd name="connsiteY58" fmla="*/ 202997 h 478962"/>
                    <a:gd name="connsiteX59" fmla="*/ 63094 w 475670"/>
                    <a:gd name="connsiteY59" fmla="*/ 204094 h 478962"/>
                    <a:gd name="connsiteX60" fmla="*/ 71323 w 475670"/>
                    <a:gd name="connsiteY60" fmla="*/ 200802 h 478962"/>
                    <a:gd name="connsiteX61" fmla="*/ 76261 w 475670"/>
                    <a:gd name="connsiteY61" fmla="*/ 202997 h 478962"/>
                    <a:gd name="connsiteX62" fmla="*/ 72969 w 475670"/>
                    <a:gd name="connsiteY62" fmla="*/ 205191 h 478962"/>
                    <a:gd name="connsiteX63" fmla="*/ 81199 w 475670"/>
                    <a:gd name="connsiteY63" fmla="*/ 208483 h 478962"/>
                    <a:gd name="connsiteX64" fmla="*/ 85588 w 475670"/>
                    <a:gd name="connsiteY64" fmla="*/ 205191 h 478962"/>
                    <a:gd name="connsiteX65" fmla="*/ 87782 w 475670"/>
                    <a:gd name="connsiteY65" fmla="*/ 206289 h 478962"/>
                    <a:gd name="connsiteX66" fmla="*/ 86136 w 475670"/>
                    <a:gd name="connsiteY66" fmla="*/ 218359 h 478962"/>
                    <a:gd name="connsiteX67" fmla="*/ 96012 w 475670"/>
                    <a:gd name="connsiteY67" fmla="*/ 220553 h 478962"/>
                    <a:gd name="connsiteX68" fmla="*/ 105888 w 475670"/>
                    <a:gd name="connsiteY68" fmla="*/ 218359 h 478962"/>
                    <a:gd name="connsiteX69" fmla="*/ 113020 w 475670"/>
                    <a:gd name="connsiteY69" fmla="*/ 221102 h 478962"/>
                    <a:gd name="connsiteX70" fmla="*/ 101498 w 475670"/>
                    <a:gd name="connsiteY70" fmla="*/ 224942 h 478962"/>
                    <a:gd name="connsiteX71" fmla="*/ 101498 w 475670"/>
                    <a:gd name="connsiteY71" fmla="*/ 228234 h 478962"/>
                    <a:gd name="connsiteX72" fmla="*/ 106436 w 475670"/>
                    <a:gd name="connsiteY72" fmla="*/ 233721 h 478962"/>
                    <a:gd name="connsiteX73" fmla="*/ 103144 w 475670"/>
                    <a:gd name="connsiteY73" fmla="*/ 239207 h 478962"/>
                    <a:gd name="connsiteX74" fmla="*/ 98755 w 475670"/>
                    <a:gd name="connsiteY74" fmla="*/ 234818 h 478962"/>
                    <a:gd name="connsiteX75" fmla="*/ 98755 w 475670"/>
                    <a:gd name="connsiteY75" fmla="*/ 240853 h 478962"/>
                    <a:gd name="connsiteX76" fmla="*/ 110825 w 475670"/>
                    <a:gd name="connsiteY76" fmla="*/ 255118 h 478962"/>
                    <a:gd name="connsiteX77" fmla="*/ 112471 w 475670"/>
                    <a:gd name="connsiteY77" fmla="*/ 260604 h 478962"/>
                    <a:gd name="connsiteX78" fmla="*/ 129479 w 475670"/>
                    <a:gd name="connsiteY78" fmla="*/ 271028 h 478962"/>
                    <a:gd name="connsiteX79" fmla="*/ 139355 w 475670"/>
                    <a:gd name="connsiteY79" fmla="*/ 273772 h 478962"/>
                    <a:gd name="connsiteX80" fmla="*/ 137160 w 475670"/>
                    <a:gd name="connsiteY80" fmla="*/ 278709 h 478962"/>
                    <a:gd name="connsiteX81" fmla="*/ 139903 w 475670"/>
                    <a:gd name="connsiteY81" fmla="*/ 284744 h 478962"/>
                    <a:gd name="connsiteX82" fmla="*/ 139903 w 475670"/>
                    <a:gd name="connsiteY82" fmla="*/ 293522 h 478962"/>
                    <a:gd name="connsiteX83" fmla="*/ 136611 w 475670"/>
                    <a:gd name="connsiteY83" fmla="*/ 301204 h 478962"/>
                    <a:gd name="connsiteX84" fmla="*/ 138806 w 475670"/>
                    <a:gd name="connsiteY84" fmla="*/ 307787 h 478962"/>
                    <a:gd name="connsiteX85" fmla="*/ 145938 w 475670"/>
                    <a:gd name="connsiteY85" fmla="*/ 312176 h 478962"/>
                    <a:gd name="connsiteX86" fmla="*/ 151425 w 475670"/>
                    <a:gd name="connsiteY86" fmla="*/ 319309 h 478962"/>
                    <a:gd name="connsiteX87" fmla="*/ 153071 w 475670"/>
                    <a:gd name="connsiteY87" fmla="*/ 328636 h 478962"/>
                    <a:gd name="connsiteX88" fmla="*/ 141549 w 475670"/>
                    <a:gd name="connsiteY88" fmla="*/ 314371 h 478962"/>
                    <a:gd name="connsiteX89" fmla="*/ 139355 w 475670"/>
                    <a:gd name="connsiteY89" fmla="*/ 319309 h 478962"/>
                    <a:gd name="connsiteX90" fmla="*/ 134965 w 475670"/>
                    <a:gd name="connsiteY90" fmla="*/ 360457 h 478962"/>
                    <a:gd name="connsiteX91" fmla="*/ 138806 w 475670"/>
                    <a:gd name="connsiteY91" fmla="*/ 354970 h 478962"/>
                    <a:gd name="connsiteX92" fmla="*/ 141549 w 475670"/>
                    <a:gd name="connsiteY92" fmla="*/ 359908 h 478962"/>
                    <a:gd name="connsiteX93" fmla="*/ 134965 w 475670"/>
                    <a:gd name="connsiteY93" fmla="*/ 365943 h 478962"/>
                    <a:gd name="connsiteX94" fmla="*/ 123993 w 475670"/>
                    <a:gd name="connsiteY94" fmla="*/ 423001 h 478962"/>
                    <a:gd name="connsiteX95" fmla="*/ 117409 w 475670"/>
                    <a:gd name="connsiteY95" fmla="*/ 427391 h 478962"/>
                    <a:gd name="connsiteX96" fmla="*/ 110277 w 475670"/>
                    <a:gd name="connsiteY96" fmla="*/ 426842 h 478962"/>
                    <a:gd name="connsiteX97" fmla="*/ 111374 w 475670"/>
                    <a:gd name="connsiteY97" fmla="*/ 430134 h 478962"/>
                    <a:gd name="connsiteX98" fmla="*/ 132771 w 475670"/>
                    <a:gd name="connsiteY98" fmla="*/ 444947 h 478962"/>
                    <a:gd name="connsiteX99" fmla="*/ 139903 w 475670"/>
                    <a:gd name="connsiteY99" fmla="*/ 446593 h 478962"/>
                    <a:gd name="connsiteX100" fmla="*/ 152522 w 475670"/>
                    <a:gd name="connsiteY100" fmla="*/ 455920 h 478962"/>
                    <a:gd name="connsiteX101" fmla="*/ 194219 w 475670"/>
                    <a:gd name="connsiteY101" fmla="*/ 465247 h 478962"/>
                    <a:gd name="connsiteX102" fmla="*/ 198608 w 475670"/>
                    <a:gd name="connsiteY102" fmla="*/ 464149 h 478962"/>
                    <a:gd name="connsiteX103" fmla="*/ 205740 w 475670"/>
                    <a:gd name="connsiteY103" fmla="*/ 459212 h 478962"/>
                    <a:gd name="connsiteX104" fmla="*/ 211775 w 475670"/>
                    <a:gd name="connsiteY104" fmla="*/ 458114 h 478962"/>
                    <a:gd name="connsiteX105" fmla="*/ 227137 w 475670"/>
                    <a:gd name="connsiteY105" fmla="*/ 466893 h 478962"/>
                    <a:gd name="connsiteX106" fmla="*/ 236464 w 475670"/>
                    <a:gd name="connsiteY106" fmla="*/ 467990 h 478962"/>
                    <a:gd name="connsiteX107" fmla="*/ 247985 w 475670"/>
                    <a:gd name="connsiteY107" fmla="*/ 477317 h 478962"/>
                    <a:gd name="connsiteX108" fmla="*/ 252923 w 475670"/>
                    <a:gd name="connsiteY108" fmla="*/ 478963 h 478962"/>
                    <a:gd name="connsiteX109" fmla="*/ 295168 w 475670"/>
                    <a:gd name="connsiteY109" fmla="*/ 476768 h 478962"/>
                    <a:gd name="connsiteX110" fmla="*/ 294071 w 475670"/>
                    <a:gd name="connsiteY110" fmla="*/ 456469 h 478962"/>
                    <a:gd name="connsiteX111" fmla="*/ 291328 w 475670"/>
                    <a:gd name="connsiteY111" fmla="*/ 453725 h 478962"/>
                    <a:gd name="connsiteX112" fmla="*/ 292974 w 475670"/>
                    <a:gd name="connsiteY112" fmla="*/ 443850 h 478962"/>
                    <a:gd name="connsiteX113" fmla="*/ 296814 w 475670"/>
                    <a:gd name="connsiteY113" fmla="*/ 436717 h 478962"/>
                    <a:gd name="connsiteX114" fmla="*/ 317663 w 475670"/>
                    <a:gd name="connsiteY114" fmla="*/ 425745 h 478962"/>
                    <a:gd name="connsiteX115" fmla="*/ 321503 w 475670"/>
                    <a:gd name="connsiteY115" fmla="*/ 421904 h 478962"/>
                    <a:gd name="connsiteX116" fmla="*/ 327538 w 475670"/>
                    <a:gd name="connsiteY116" fmla="*/ 418612 h 478962"/>
                    <a:gd name="connsiteX117" fmla="*/ 331379 w 475670"/>
                    <a:gd name="connsiteY117" fmla="*/ 418612 h 478962"/>
                    <a:gd name="connsiteX118" fmla="*/ 334122 w 475670"/>
                    <a:gd name="connsiteY118" fmla="*/ 421355 h 478962"/>
                    <a:gd name="connsiteX119" fmla="*/ 343997 w 475670"/>
                    <a:gd name="connsiteY119" fmla="*/ 423001 h 478962"/>
                    <a:gd name="connsiteX120" fmla="*/ 346192 w 475670"/>
                    <a:gd name="connsiteY120" fmla="*/ 424099 h 478962"/>
                    <a:gd name="connsiteX121" fmla="*/ 347838 w 475670"/>
                    <a:gd name="connsiteY121" fmla="*/ 426842 h 478962"/>
                    <a:gd name="connsiteX122" fmla="*/ 359359 w 475670"/>
                    <a:gd name="connsiteY122" fmla="*/ 427939 h 478962"/>
                    <a:gd name="connsiteX123" fmla="*/ 361005 w 475670"/>
                    <a:gd name="connsiteY123" fmla="*/ 425745 h 478962"/>
                    <a:gd name="connsiteX124" fmla="*/ 367040 w 475670"/>
                    <a:gd name="connsiteY124" fmla="*/ 426293 h 478962"/>
                    <a:gd name="connsiteX125" fmla="*/ 368686 w 475670"/>
                    <a:gd name="connsiteY125" fmla="*/ 427391 h 478962"/>
                    <a:gd name="connsiteX126" fmla="*/ 373624 w 475670"/>
                    <a:gd name="connsiteY126" fmla="*/ 427939 h 478962"/>
                    <a:gd name="connsiteX127" fmla="*/ 378013 w 475670"/>
                    <a:gd name="connsiteY127" fmla="*/ 429585 h 478962"/>
                    <a:gd name="connsiteX128" fmla="*/ 379110 w 475670"/>
                    <a:gd name="connsiteY128" fmla="*/ 432877 h 478962"/>
                    <a:gd name="connsiteX129" fmla="*/ 381853 w 475670"/>
                    <a:gd name="connsiteY129" fmla="*/ 433974 h 478962"/>
                    <a:gd name="connsiteX130" fmla="*/ 389534 w 475670"/>
                    <a:gd name="connsiteY130" fmla="*/ 434523 h 478962"/>
                    <a:gd name="connsiteX131" fmla="*/ 396118 w 475670"/>
                    <a:gd name="connsiteY131" fmla="*/ 440558 h 478962"/>
                    <a:gd name="connsiteX132" fmla="*/ 406542 w 475670"/>
                    <a:gd name="connsiteY132" fmla="*/ 441107 h 478962"/>
                    <a:gd name="connsiteX133" fmla="*/ 423001 w 475670"/>
                    <a:gd name="connsiteY133" fmla="*/ 433974 h 478962"/>
                    <a:gd name="connsiteX134" fmla="*/ 424647 w 475670"/>
                    <a:gd name="connsiteY134" fmla="*/ 432328 h 478962"/>
                    <a:gd name="connsiteX135" fmla="*/ 425196 w 475670"/>
                    <a:gd name="connsiteY135" fmla="*/ 427939 h 478962"/>
                    <a:gd name="connsiteX136" fmla="*/ 443301 w 475670"/>
                    <a:gd name="connsiteY136" fmla="*/ 413675 h 478962"/>
                    <a:gd name="connsiteX137" fmla="*/ 443850 w 475670"/>
                    <a:gd name="connsiteY137" fmla="*/ 410383 h 478962"/>
                    <a:gd name="connsiteX138" fmla="*/ 456468 w 475670"/>
                    <a:gd name="connsiteY138" fmla="*/ 403799 h 478962"/>
                    <a:gd name="connsiteX139" fmla="*/ 457566 w 475670"/>
                    <a:gd name="connsiteY139" fmla="*/ 402702 h 478962"/>
                    <a:gd name="connsiteX140" fmla="*/ 457017 w 475670"/>
                    <a:gd name="connsiteY140" fmla="*/ 400507 h 478962"/>
                    <a:gd name="connsiteX141" fmla="*/ 458663 w 475670"/>
                    <a:gd name="connsiteY141" fmla="*/ 395569 h 478962"/>
                    <a:gd name="connsiteX142" fmla="*/ 458663 w 475670"/>
                    <a:gd name="connsiteY142" fmla="*/ 390083 h 478962"/>
                    <a:gd name="connsiteX143" fmla="*/ 456468 w 475670"/>
                    <a:gd name="connsiteY143" fmla="*/ 384597 h 478962"/>
                    <a:gd name="connsiteX144" fmla="*/ 439461 w 475670"/>
                    <a:gd name="connsiteY144" fmla="*/ 382402 h 478962"/>
                    <a:gd name="connsiteX145" fmla="*/ 435072 w 475670"/>
                    <a:gd name="connsiteY145" fmla="*/ 376916 h 478962"/>
                    <a:gd name="connsiteX146" fmla="*/ 432877 w 475670"/>
                    <a:gd name="connsiteY146" fmla="*/ 361554 h 478962"/>
                    <a:gd name="connsiteX147" fmla="*/ 433974 w 475670"/>
                    <a:gd name="connsiteY147" fmla="*/ 355519 h 478962"/>
                    <a:gd name="connsiteX148" fmla="*/ 433426 w 475670"/>
                    <a:gd name="connsiteY148" fmla="*/ 350032 h 478962"/>
                    <a:gd name="connsiteX149" fmla="*/ 427939 w 475670"/>
                    <a:gd name="connsiteY149" fmla="*/ 347838 h 478962"/>
                    <a:gd name="connsiteX150" fmla="*/ 426293 w 475670"/>
                    <a:gd name="connsiteY150" fmla="*/ 344546 h 478962"/>
                    <a:gd name="connsiteX151" fmla="*/ 426293 w 475670"/>
                    <a:gd name="connsiteY151" fmla="*/ 341254 h 478962"/>
                    <a:gd name="connsiteX152" fmla="*/ 427391 w 475670"/>
                    <a:gd name="connsiteY152" fmla="*/ 335768 h 478962"/>
                    <a:gd name="connsiteX153" fmla="*/ 431231 w 475670"/>
                    <a:gd name="connsiteY153" fmla="*/ 331379 h 478962"/>
                    <a:gd name="connsiteX154" fmla="*/ 438363 w 475670"/>
                    <a:gd name="connsiteY154" fmla="*/ 325892 h 478962"/>
                    <a:gd name="connsiteX155" fmla="*/ 429036 w 475670"/>
                    <a:gd name="connsiteY155" fmla="*/ 298460 h 478962"/>
                    <a:gd name="connsiteX156" fmla="*/ 429036 w 475670"/>
                    <a:gd name="connsiteY156" fmla="*/ 294620 h 478962"/>
                    <a:gd name="connsiteX157" fmla="*/ 436169 w 475670"/>
                    <a:gd name="connsiteY157" fmla="*/ 294620 h 478962"/>
                    <a:gd name="connsiteX158" fmla="*/ 433974 w 475670"/>
                    <a:gd name="connsiteY158" fmla="*/ 286939 h 478962"/>
                    <a:gd name="connsiteX159" fmla="*/ 429036 w 475670"/>
                    <a:gd name="connsiteY159" fmla="*/ 285841 h 478962"/>
                    <a:gd name="connsiteX160" fmla="*/ 427391 w 475670"/>
                    <a:gd name="connsiteY160" fmla="*/ 266639 h 478962"/>
                    <a:gd name="connsiteX161" fmla="*/ 425196 w 475670"/>
                    <a:gd name="connsiteY161" fmla="*/ 265542 h 478962"/>
                    <a:gd name="connsiteX162" fmla="*/ 413126 w 475670"/>
                    <a:gd name="connsiteY162" fmla="*/ 265542 h 478962"/>
                    <a:gd name="connsiteX163" fmla="*/ 405994 w 475670"/>
                    <a:gd name="connsiteY163" fmla="*/ 277063 h 478962"/>
                    <a:gd name="connsiteX164" fmla="*/ 401604 w 475670"/>
                    <a:gd name="connsiteY164" fmla="*/ 279806 h 478962"/>
                    <a:gd name="connsiteX165" fmla="*/ 398861 w 475670"/>
                    <a:gd name="connsiteY165" fmla="*/ 278161 h 478962"/>
                    <a:gd name="connsiteX166" fmla="*/ 402153 w 475670"/>
                    <a:gd name="connsiteY166" fmla="*/ 254569 h 478962"/>
                    <a:gd name="connsiteX167" fmla="*/ 404896 w 475670"/>
                    <a:gd name="connsiteY167" fmla="*/ 252374 h 478962"/>
                    <a:gd name="connsiteX168" fmla="*/ 407640 w 475670"/>
                    <a:gd name="connsiteY168" fmla="*/ 247437 h 478962"/>
                    <a:gd name="connsiteX169" fmla="*/ 412029 w 475670"/>
                    <a:gd name="connsiteY169" fmla="*/ 244693 h 478962"/>
                    <a:gd name="connsiteX170" fmla="*/ 413126 w 475670"/>
                    <a:gd name="connsiteY170" fmla="*/ 243047 h 478962"/>
                    <a:gd name="connsiteX171" fmla="*/ 415320 w 475670"/>
                    <a:gd name="connsiteY171" fmla="*/ 235915 h 478962"/>
                    <a:gd name="connsiteX172" fmla="*/ 435072 w 475670"/>
                    <a:gd name="connsiteY172" fmla="*/ 212872 h 478962"/>
                    <a:gd name="connsiteX173" fmla="*/ 432328 w 475670"/>
                    <a:gd name="connsiteY173" fmla="*/ 209032 h 478962"/>
                    <a:gd name="connsiteX174" fmla="*/ 435072 w 475670"/>
                    <a:gd name="connsiteY174" fmla="*/ 204643 h 478962"/>
                    <a:gd name="connsiteX175" fmla="*/ 447142 w 475670"/>
                    <a:gd name="connsiteY175" fmla="*/ 205740 h 478962"/>
                    <a:gd name="connsiteX176" fmla="*/ 456468 w 475670"/>
                    <a:gd name="connsiteY176" fmla="*/ 199156 h 478962"/>
                    <a:gd name="connsiteX177" fmla="*/ 455371 w 475670"/>
                    <a:gd name="connsiteY177" fmla="*/ 196962 h 478962"/>
                    <a:gd name="connsiteX178" fmla="*/ 455371 w 475670"/>
                    <a:gd name="connsiteY178" fmla="*/ 171724 h 478962"/>
                    <a:gd name="connsiteX179" fmla="*/ 461955 w 475670"/>
                    <a:gd name="connsiteY179" fmla="*/ 146487 h 478962"/>
                    <a:gd name="connsiteX180" fmla="*/ 474025 w 475670"/>
                    <a:gd name="connsiteY180" fmla="*/ 130576 h 478962"/>
                    <a:gd name="connsiteX181" fmla="*/ 475671 w 475670"/>
                    <a:gd name="connsiteY181" fmla="*/ 122895 h 478962"/>
                    <a:gd name="connsiteX182" fmla="*/ 425745 w 475670"/>
                    <a:gd name="connsiteY182" fmla="*/ 109179 h 478962"/>
                    <a:gd name="connsiteX183" fmla="*/ 416966 w 475670"/>
                    <a:gd name="connsiteY183" fmla="*/ 97109 h 478962"/>
                    <a:gd name="connsiteX184" fmla="*/ 408188 w 475670"/>
                    <a:gd name="connsiteY184" fmla="*/ 89977 h 478962"/>
                    <a:gd name="connsiteX185" fmla="*/ 399959 w 475670"/>
                    <a:gd name="connsiteY185" fmla="*/ 90526 h 478962"/>
                    <a:gd name="connsiteX186" fmla="*/ 388437 w 475670"/>
                    <a:gd name="connsiteY186" fmla="*/ 87234 h 478962"/>
                    <a:gd name="connsiteX187" fmla="*/ 382402 w 475670"/>
                    <a:gd name="connsiteY187" fmla="*/ 88331 h 478962"/>
                    <a:gd name="connsiteX188" fmla="*/ 375270 w 475670"/>
                    <a:gd name="connsiteY188" fmla="*/ 86685 h 478962"/>
                    <a:gd name="connsiteX189" fmla="*/ 362102 w 475670"/>
                    <a:gd name="connsiteY189" fmla="*/ 77358 h 478962"/>
                    <a:gd name="connsiteX190" fmla="*/ 363748 w 475670"/>
                    <a:gd name="connsiteY190" fmla="*/ 73518 h 478962"/>
                    <a:gd name="connsiteX191" fmla="*/ 360456 w 475670"/>
                    <a:gd name="connsiteY191" fmla="*/ 72421 h 478962"/>
                    <a:gd name="connsiteX192" fmla="*/ 360456 w 475670"/>
                    <a:gd name="connsiteY192" fmla="*/ 55961 h 478962"/>
                    <a:gd name="connsiteX193" fmla="*/ 356067 w 475670"/>
                    <a:gd name="connsiteY193" fmla="*/ 55961 h 478962"/>
                    <a:gd name="connsiteX194" fmla="*/ 348935 w 475670"/>
                    <a:gd name="connsiteY194" fmla="*/ 66385 h 478962"/>
                    <a:gd name="connsiteX195" fmla="*/ 341803 w 475670"/>
                    <a:gd name="connsiteY195" fmla="*/ 66385 h 478962"/>
                    <a:gd name="connsiteX196" fmla="*/ 335219 w 475670"/>
                    <a:gd name="connsiteY196" fmla="*/ 63642 h 478962"/>
                    <a:gd name="connsiteX197" fmla="*/ 331927 w 475670"/>
                    <a:gd name="connsiteY197" fmla="*/ 47183 h 478962"/>
                    <a:gd name="connsiteX198" fmla="*/ 328087 w 475670"/>
                    <a:gd name="connsiteY198" fmla="*/ 43343 h 478962"/>
                    <a:gd name="connsiteX199" fmla="*/ 302849 w 475670"/>
                    <a:gd name="connsiteY199" fmla="*/ 32918 h 478962"/>
                    <a:gd name="connsiteX200" fmla="*/ 296266 w 475670"/>
                    <a:gd name="connsiteY200" fmla="*/ 20300 h 478962"/>
                    <a:gd name="connsiteX201" fmla="*/ 289133 w 475670"/>
                    <a:gd name="connsiteY201" fmla="*/ 20848 h 478962"/>
                    <a:gd name="connsiteX202" fmla="*/ 281452 w 475670"/>
                    <a:gd name="connsiteY202" fmla="*/ 17008 h 478962"/>
                    <a:gd name="connsiteX203" fmla="*/ 279806 w 475670"/>
                    <a:gd name="connsiteY203" fmla="*/ 0 h 4789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</a:cxnLst>
                  <a:rect l="l" t="t" r="r" b="b"/>
                  <a:pathLst>
                    <a:path w="475670" h="478962">
                      <a:moveTo>
                        <a:pt x="279806" y="0"/>
                      </a:moveTo>
                      <a:lnTo>
                        <a:pt x="275966" y="2195"/>
                      </a:lnTo>
                      <a:lnTo>
                        <a:pt x="243596" y="11521"/>
                      </a:lnTo>
                      <a:lnTo>
                        <a:pt x="236464" y="44989"/>
                      </a:lnTo>
                      <a:lnTo>
                        <a:pt x="239207" y="47732"/>
                      </a:lnTo>
                      <a:lnTo>
                        <a:pt x="238658" y="52121"/>
                      </a:lnTo>
                      <a:lnTo>
                        <a:pt x="221102" y="67483"/>
                      </a:lnTo>
                      <a:lnTo>
                        <a:pt x="198608" y="74615"/>
                      </a:lnTo>
                      <a:lnTo>
                        <a:pt x="188732" y="81199"/>
                      </a:lnTo>
                      <a:lnTo>
                        <a:pt x="183794" y="89977"/>
                      </a:lnTo>
                      <a:lnTo>
                        <a:pt x="184343" y="93817"/>
                      </a:lnTo>
                      <a:lnTo>
                        <a:pt x="194219" y="93817"/>
                      </a:lnTo>
                      <a:lnTo>
                        <a:pt x="198608" y="95463"/>
                      </a:lnTo>
                      <a:lnTo>
                        <a:pt x="196962" y="97658"/>
                      </a:lnTo>
                      <a:lnTo>
                        <a:pt x="183246" y="99304"/>
                      </a:lnTo>
                      <a:lnTo>
                        <a:pt x="176113" y="103693"/>
                      </a:lnTo>
                      <a:lnTo>
                        <a:pt x="162946" y="105339"/>
                      </a:lnTo>
                      <a:lnTo>
                        <a:pt x="142646" y="100950"/>
                      </a:lnTo>
                      <a:lnTo>
                        <a:pt x="138806" y="101498"/>
                      </a:lnTo>
                      <a:lnTo>
                        <a:pt x="130576" y="90526"/>
                      </a:lnTo>
                      <a:lnTo>
                        <a:pt x="131125" y="84491"/>
                      </a:lnTo>
                      <a:lnTo>
                        <a:pt x="128930" y="83393"/>
                      </a:lnTo>
                      <a:lnTo>
                        <a:pt x="114117" y="83942"/>
                      </a:lnTo>
                      <a:lnTo>
                        <a:pt x="107533" y="82296"/>
                      </a:lnTo>
                      <a:lnTo>
                        <a:pt x="111374" y="102047"/>
                      </a:lnTo>
                      <a:lnTo>
                        <a:pt x="115763" y="105339"/>
                      </a:lnTo>
                      <a:lnTo>
                        <a:pt x="121249" y="137709"/>
                      </a:lnTo>
                      <a:lnTo>
                        <a:pt x="126187" y="141001"/>
                      </a:lnTo>
                      <a:lnTo>
                        <a:pt x="122895" y="144292"/>
                      </a:lnTo>
                      <a:lnTo>
                        <a:pt x="115214" y="144292"/>
                      </a:lnTo>
                      <a:lnTo>
                        <a:pt x="113020" y="141549"/>
                      </a:lnTo>
                      <a:lnTo>
                        <a:pt x="109728" y="140452"/>
                      </a:lnTo>
                      <a:lnTo>
                        <a:pt x="99304" y="144292"/>
                      </a:lnTo>
                      <a:lnTo>
                        <a:pt x="93817" y="142646"/>
                      </a:lnTo>
                      <a:lnTo>
                        <a:pt x="81199" y="147035"/>
                      </a:lnTo>
                      <a:lnTo>
                        <a:pt x="64191" y="132222"/>
                      </a:lnTo>
                      <a:lnTo>
                        <a:pt x="52121" y="133319"/>
                      </a:lnTo>
                      <a:lnTo>
                        <a:pt x="49378" y="132222"/>
                      </a:lnTo>
                      <a:lnTo>
                        <a:pt x="45537" y="134417"/>
                      </a:lnTo>
                      <a:lnTo>
                        <a:pt x="44988" y="137709"/>
                      </a:lnTo>
                      <a:lnTo>
                        <a:pt x="2743" y="149779"/>
                      </a:lnTo>
                      <a:lnTo>
                        <a:pt x="0" y="156362"/>
                      </a:lnTo>
                      <a:lnTo>
                        <a:pt x="0" y="160203"/>
                      </a:lnTo>
                      <a:lnTo>
                        <a:pt x="14265" y="158557"/>
                      </a:lnTo>
                      <a:lnTo>
                        <a:pt x="13167" y="161849"/>
                      </a:lnTo>
                      <a:lnTo>
                        <a:pt x="9327" y="162397"/>
                      </a:lnTo>
                      <a:lnTo>
                        <a:pt x="6584" y="166238"/>
                      </a:lnTo>
                      <a:lnTo>
                        <a:pt x="7681" y="170078"/>
                      </a:lnTo>
                      <a:lnTo>
                        <a:pt x="19202" y="168981"/>
                      </a:lnTo>
                      <a:lnTo>
                        <a:pt x="18105" y="173919"/>
                      </a:lnTo>
                      <a:lnTo>
                        <a:pt x="3840" y="176662"/>
                      </a:lnTo>
                      <a:lnTo>
                        <a:pt x="7132" y="179954"/>
                      </a:lnTo>
                      <a:lnTo>
                        <a:pt x="15911" y="183246"/>
                      </a:lnTo>
                      <a:lnTo>
                        <a:pt x="15911" y="190378"/>
                      </a:lnTo>
                      <a:lnTo>
                        <a:pt x="24140" y="191475"/>
                      </a:lnTo>
                      <a:lnTo>
                        <a:pt x="23592" y="187086"/>
                      </a:lnTo>
                      <a:lnTo>
                        <a:pt x="30175" y="186538"/>
                      </a:lnTo>
                      <a:lnTo>
                        <a:pt x="57059" y="199156"/>
                      </a:lnTo>
                      <a:lnTo>
                        <a:pt x="59253" y="202997"/>
                      </a:lnTo>
                      <a:lnTo>
                        <a:pt x="63094" y="204094"/>
                      </a:lnTo>
                      <a:lnTo>
                        <a:pt x="71323" y="200802"/>
                      </a:lnTo>
                      <a:lnTo>
                        <a:pt x="76261" y="202997"/>
                      </a:lnTo>
                      <a:lnTo>
                        <a:pt x="72969" y="205191"/>
                      </a:lnTo>
                      <a:lnTo>
                        <a:pt x="81199" y="208483"/>
                      </a:lnTo>
                      <a:lnTo>
                        <a:pt x="85588" y="205191"/>
                      </a:lnTo>
                      <a:lnTo>
                        <a:pt x="87782" y="206289"/>
                      </a:lnTo>
                      <a:lnTo>
                        <a:pt x="86136" y="218359"/>
                      </a:lnTo>
                      <a:lnTo>
                        <a:pt x="96012" y="220553"/>
                      </a:lnTo>
                      <a:lnTo>
                        <a:pt x="105888" y="218359"/>
                      </a:lnTo>
                      <a:lnTo>
                        <a:pt x="113020" y="221102"/>
                      </a:lnTo>
                      <a:lnTo>
                        <a:pt x="101498" y="224942"/>
                      </a:lnTo>
                      <a:lnTo>
                        <a:pt x="101498" y="228234"/>
                      </a:lnTo>
                      <a:lnTo>
                        <a:pt x="106436" y="233721"/>
                      </a:lnTo>
                      <a:lnTo>
                        <a:pt x="103144" y="239207"/>
                      </a:lnTo>
                      <a:lnTo>
                        <a:pt x="98755" y="234818"/>
                      </a:lnTo>
                      <a:lnTo>
                        <a:pt x="98755" y="240853"/>
                      </a:lnTo>
                      <a:lnTo>
                        <a:pt x="110825" y="255118"/>
                      </a:lnTo>
                      <a:lnTo>
                        <a:pt x="112471" y="260604"/>
                      </a:lnTo>
                      <a:lnTo>
                        <a:pt x="129479" y="271028"/>
                      </a:lnTo>
                      <a:lnTo>
                        <a:pt x="139355" y="273772"/>
                      </a:lnTo>
                      <a:lnTo>
                        <a:pt x="137160" y="278709"/>
                      </a:lnTo>
                      <a:lnTo>
                        <a:pt x="139903" y="284744"/>
                      </a:lnTo>
                      <a:lnTo>
                        <a:pt x="139903" y="293522"/>
                      </a:lnTo>
                      <a:lnTo>
                        <a:pt x="136611" y="301204"/>
                      </a:lnTo>
                      <a:lnTo>
                        <a:pt x="138806" y="307787"/>
                      </a:lnTo>
                      <a:lnTo>
                        <a:pt x="145938" y="312176"/>
                      </a:lnTo>
                      <a:lnTo>
                        <a:pt x="151425" y="319309"/>
                      </a:lnTo>
                      <a:lnTo>
                        <a:pt x="153071" y="328636"/>
                      </a:lnTo>
                      <a:lnTo>
                        <a:pt x="141549" y="314371"/>
                      </a:lnTo>
                      <a:lnTo>
                        <a:pt x="139355" y="319309"/>
                      </a:lnTo>
                      <a:lnTo>
                        <a:pt x="134965" y="360457"/>
                      </a:lnTo>
                      <a:lnTo>
                        <a:pt x="138806" y="354970"/>
                      </a:lnTo>
                      <a:lnTo>
                        <a:pt x="141549" y="359908"/>
                      </a:lnTo>
                      <a:lnTo>
                        <a:pt x="134965" y="365943"/>
                      </a:lnTo>
                      <a:lnTo>
                        <a:pt x="123993" y="423001"/>
                      </a:lnTo>
                      <a:lnTo>
                        <a:pt x="117409" y="427391"/>
                      </a:lnTo>
                      <a:lnTo>
                        <a:pt x="110277" y="426842"/>
                      </a:lnTo>
                      <a:lnTo>
                        <a:pt x="111374" y="430134"/>
                      </a:lnTo>
                      <a:lnTo>
                        <a:pt x="132771" y="444947"/>
                      </a:lnTo>
                      <a:lnTo>
                        <a:pt x="139903" y="446593"/>
                      </a:lnTo>
                      <a:lnTo>
                        <a:pt x="152522" y="455920"/>
                      </a:lnTo>
                      <a:lnTo>
                        <a:pt x="194219" y="465247"/>
                      </a:lnTo>
                      <a:lnTo>
                        <a:pt x="198608" y="464149"/>
                      </a:lnTo>
                      <a:lnTo>
                        <a:pt x="205740" y="459212"/>
                      </a:lnTo>
                      <a:lnTo>
                        <a:pt x="211775" y="458114"/>
                      </a:lnTo>
                      <a:lnTo>
                        <a:pt x="227137" y="466893"/>
                      </a:lnTo>
                      <a:lnTo>
                        <a:pt x="236464" y="467990"/>
                      </a:lnTo>
                      <a:lnTo>
                        <a:pt x="247985" y="477317"/>
                      </a:lnTo>
                      <a:lnTo>
                        <a:pt x="252923" y="478963"/>
                      </a:lnTo>
                      <a:lnTo>
                        <a:pt x="295168" y="476768"/>
                      </a:lnTo>
                      <a:lnTo>
                        <a:pt x="294071" y="456469"/>
                      </a:lnTo>
                      <a:lnTo>
                        <a:pt x="291328" y="453725"/>
                      </a:lnTo>
                      <a:lnTo>
                        <a:pt x="292974" y="443850"/>
                      </a:lnTo>
                      <a:lnTo>
                        <a:pt x="296814" y="436717"/>
                      </a:lnTo>
                      <a:lnTo>
                        <a:pt x="317663" y="425745"/>
                      </a:lnTo>
                      <a:lnTo>
                        <a:pt x="321503" y="421904"/>
                      </a:lnTo>
                      <a:lnTo>
                        <a:pt x="327538" y="418612"/>
                      </a:lnTo>
                      <a:lnTo>
                        <a:pt x="331379" y="418612"/>
                      </a:lnTo>
                      <a:lnTo>
                        <a:pt x="334122" y="421355"/>
                      </a:lnTo>
                      <a:lnTo>
                        <a:pt x="343997" y="423001"/>
                      </a:lnTo>
                      <a:lnTo>
                        <a:pt x="346192" y="424099"/>
                      </a:lnTo>
                      <a:lnTo>
                        <a:pt x="347838" y="426842"/>
                      </a:lnTo>
                      <a:lnTo>
                        <a:pt x="359359" y="427939"/>
                      </a:lnTo>
                      <a:lnTo>
                        <a:pt x="361005" y="425745"/>
                      </a:lnTo>
                      <a:lnTo>
                        <a:pt x="367040" y="426293"/>
                      </a:lnTo>
                      <a:lnTo>
                        <a:pt x="368686" y="427391"/>
                      </a:lnTo>
                      <a:lnTo>
                        <a:pt x="373624" y="427939"/>
                      </a:lnTo>
                      <a:lnTo>
                        <a:pt x="378013" y="429585"/>
                      </a:lnTo>
                      <a:lnTo>
                        <a:pt x="379110" y="432877"/>
                      </a:lnTo>
                      <a:lnTo>
                        <a:pt x="381853" y="433974"/>
                      </a:lnTo>
                      <a:lnTo>
                        <a:pt x="389534" y="434523"/>
                      </a:lnTo>
                      <a:lnTo>
                        <a:pt x="396118" y="440558"/>
                      </a:lnTo>
                      <a:lnTo>
                        <a:pt x="406542" y="441107"/>
                      </a:lnTo>
                      <a:lnTo>
                        <a:pt x="423001" y="433974"/>
                      </a:lnTo>
                      <a:lnTo>
                        <a:pt x="424647" y="432328"/>
                      </a:lnTo>
                      <a:lnTo>
                        <a:pt x="425196" y="427939"/>
                      </a:lnTo>
                      <a:lnTo>
                        <a:pt x="443301" y="413675"/>
                      </a:lnTo>
                      <a:lnTo>
                        <a:pt x="443850" y="410383"/>
                      </a:lnTo>
                      <a:lnTo>
                        <a:pt x="456468" y="403799"/>
                      </a:lnTo>
                      <a:lnTo>
                        <a:pt x="457566" y="402702"/>
                      </a:lnTo>
                      <a:lnTo>
                        <a:pt x="457017" y="400507"/>
                      </a:lnTo>
                      <a:lnTo>
                        <a:pt x="458663" y="395569"/>
                      </a:lnTo>
                      <a:lnTo>
                        <a:pt x="458663" y="390083"/>
                      </a:lnTo>
                      <a:lnTo>
                        <a:pt x="456468" y="384597"/>
                      </a:lnTo>
                      <a:lnTo>
                        <a:pt x="439461" y="382402"/>
                      </a:lnTo>
                      <a:lnTo>
                        <a:pt x="435072" y="376916"/>
                      </a:lnTo>
                      <a:lnTo>
                        <a:pt x="432877" y="361554"/>
                      </a:lnTo>
                      <a:lnTo>
                        <a:pt x="433974" y="355519"/>
                      </a:lnTo>
                      <a:lnTo>
                        <a:pt x="433426" y="350032"/>
                      </a:lnTo>
                      <a:lnTo>
                        <a:pt x="427939" y="347838"/>
                      </a:lnTo>
                      <a:lnTo>
                        <a:pt x="426293" y="344546"/>
                      </a:lnTo>
                      <a:lnTo>
                        <a:pt x="426293" y="341254"/>
                      </a:lnTo>
                      <a:lnTo>
                        <a:pt x="427391" y="335768"/>
                      </a:lnTo>
                      <a:lnTo>
                        <a:pt x="431231" y="331379"/>
                      </a:lnTo>
                      <a:lnTo>
                        <a:pt x="438363" y="325892"/>
                      </a:lnTo>
                      <a:lnTo>
                        <a:pt x="429036" y="298460"/>
                      </a:lnTo>
                      <a:lnTo>
                        <a:pt x="429036" y="294620"/>
                      </a:lnTo>
                      <a:lnTo>
                        <a:pt x="436169" y="294620"/>
                      </a:lnTo>
                      <a:lnTo>
                        <a:pt x="433974" y="286939"/>
                      </a:lnTo>
                      <a:lnTo>
                        <a:pt x="429036" y="285841"/>
                      </a:lnTo>
                      <a:lnTo>
                        <a:pt x="427391" y="266639"/>
                      </a:lnTo>
                      <a:lnTo>
                        <a:pt x="425196" y="265542"/>
                      </a:lnTo>
                      <a:lnTo>
                        <a:pt x="413126" y="265542"/>
                      </a:lnTo>
                      <a:lnTo>
                        <a:pt x="405994" y="277063"/>
                      </a:lnTo>
                      <a:lnTo>
                        <a:pt x="401604" y="279806"/>
                      </a:lnTo>
                      <a:lnTo>
                        <a:pt x="398861" y="278161"/>
                      </a:lnTo>
                      <a:lnTo>
                        <a:pt x="402153" y="254569"/>
                      </a:lnTo>
                      <a:lnTo>
                        <a:pt x="404896" y="252374"/>
                      </a:lnTo>
                      <a:lnTo>
                        <a:pt x="407640" y="247437"/>
                      </a:lnTo>
                      <a:lnTo>
                        <a:pt x="412029" y="244693"/>
                      </a:lnTo>
                      <a:lnTo>
                        <a:pt x="413126" y="243047"/>
                      </a:lnTo>
                      <a:lnTo>
                        <a:pt x="415320" y="235915"/>
                      </a:lnTo>
                      <a:lnTo>
                        <a:pt x="435072" y="212872"/>
                      </a:lnTo>
                      <a:lnTo>
                        <a:pt x="432328" y="209032"/>
                      </a:lnTo>
                      <a:lnTo>
                        <a:pt x="435072" y="204643"/>
                      </a:lnTo>
                      <a:lnTo>
                        <a:pt x="447142" y="205740"/>
                      </a:lnTo>
                      <a:lnTo>
                        <a:pt x="456468" y="199156"/>
                      </a:lnTo>
                      <a:lnTo>
                        <a:pt x="455371" y="196962"/>
                      </a:lnTo>
                      <a:lnTo>
                        <a:pt x="455371" y="171724"/>
                      </a:lnTo>
                      <a:lnTo>
                        <a:pt x="461955" y="146487"/>
                      </a:lnTo>
                      <a:lnTo>
                        <a:pt x="474025" y="130576"/>
                      </a:lnTo>
                      <a:lnTo>
                        <a:pt x="475671" y="122895"/>
                      </a:lnTo>
                      <a:lnTo>
                        <a:pt x="425745" y="109179"/>
                      </a:lnTo>
                      <a:lnTo>
                        <a:pt x="416966" y="97109"/>
                      </a:lnTo>
                      <a:lnTo>
                        <a:pt x="408188" y="89977"/>
                      </a:lnTo>
                      <a:lnTo>
                        <a:pt x="399959" y="90526"/>
                      </a:lnTo>
                      <a:lnTo>
                        <a:pt x="388437" y="87234"/>
                      </a:lnTo>
                      <a:lnTo>
                        <a:pt x="382402" y="88331"/>
                      </a:lnTo>
                      <a:lnTo>
                        <a:pt x="375270" y="86685"/>
                      </a:lnTo>
                      <a:lnTo>
                        <a:pt x="362102" y="77358"/>
                      </a:lnTo>
                      <a:lnTo>
                        <a:pt x="363748" y="73518"/>
                      </a:lnTo>
                      <a:lnTo>
                        <a:pt x="360456" y="72421"/>
                      </a:lnTo>
                      <a:lnTo>
                        <a:pt x="360456" y="55961"/>
                      </a:lnTo>
                      <a:lnTo>
                        <a:pt x="356067" y="55961"/>
                      </a:lnTo>
                      <a:lnTo>
                        <a:pt x="348935" y="66385"/>
                      </a:lnTo>
                      <a:lnTo>
                        <a:pt x="341803" y="66385"/>
                      </a:lnTo>
                      <a:lnTo>
                        <a:pt x="335219" y="63642"/>
                      </a:lnTo>
                      <a:lnTo>
                        <a:pt x="331927" y="47183"/>
                      </a:lnTo>
                      <a:lnTo>
                        <a:pt x="328087" y="43343"/>
                      </a:lnTo>
                      <a:lnTo>
                        <a:pt x="302849" y="32918"/>
                      </a:lnTo>
                      <a:lnTo>
                        <a:pt x="296266" y="20300"/>
                      </a:lnTo>
                      <a:lnTo>
                        <a:pt x="289133" y="20848"/>
                      </a:lnTo>
                      <a:lnTo>
                        <a:pt x="281452" y="17008"/>
                      </a:lnTo>
                      <a:lnTo>
                        <a:pt x="279806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97" name="Graphic 7">
                  <a:extLst>
                    <a:ext uri="{FF2B5EF4-FFF2-40B4-BE49-F238E27FC236}">
                      <a16:creationId xmlns:a16="http://schemas.microsoft.com/office/drawing/2014/main" id="{9286D6B5-6236-57E9-2CFC-8A2E706EAC87}"/>
                    </a:ext>
                  </a:extLst>
                </p:cNvPr>
                <p:cNvSpPr/>
                <p:nvPr/>
              </p:nvSpPr>
              <p:spPr>
                <a:xfrm>
                  <a:off x="4966460" y="3114706"/>
                  <a:ext cx="94730" cy="190317"/>
                </a:xfrm>
                <a:custGeom>
                  <a:avLst/>
                  <a:gdLst>
                    <a:gd name="connsiteX0" fmla="*/ 76810 w 121249"/>
                    <a:gd name="connsiteY0" fmla="*/ 236464 h 243596"/>
                    <a:gd name="connsiteX1" fmla="*/ 74066 w 121249"/>
                    <a:gd name="connsiteY1" fmla="*/ 217262 h 243596"/>
                    <a:gd name="connsiteX2" fmla="*/ 93269 w 121249"/>
                    <a:gd name="connsiteY2" fmla="*/ 196413 h 243596"/>
                    <a:gd name="connsiteX3" fmla="*/ 91623 w 121249"/>
                    <a:gd name="connsiteY3" fmla="*/ 188732 h 243596"/>
                    <a:gd name="connsiteX4" fmla="*/ 85039 w 121249"/>
                    <a:gd name="connsiteY4" fmla="*/ 182149 h 243596"/>
                    <a:gd name="connsiteX5" fmla="*/ 82845 w 121249"/>
                    <a:gd name="connsiteY5" fmla="*/ 172822 h 243596"/>
                    <a:gd name="connsiteX6" fmla="*/ 82845 w 121249"/>
                    <a:gd name="connsiteY6" fmla="*/ 163495 h 243596"/>
                    <a:gd name="connsiteX7" fmla="*/ 90526 w 121249"/>
                    <a:gd name="connsiteY7" fmla="*/ 148682 h 243596"/>
                    <a:gd name="connsiteX8" fmla="*/ 80650 w 121249"/>
                    <a:gd name="connsiteY8" fmla="*/ 132771 h 243596"/>
                    <a:gd name="connsiteX9" fmla="*/ 78456 w 121249"/>
                    <a:gd name="connsiteY9" fmla="*/ 121798 h 243596"/>
                    <a:gd name="connsiteX10" fmla="*/ 84491 w 121249"/>
                    <a:gd name="connsiteY10" fmla="*/ 117409 h 243596"/>
                    <a:gd name="connsiteX11" fmla="*/ 91623 w 121249"/>
                    <a:gd name="connsiteY11" fmla="*/ 115214 h 243596"/>
                    <a:gd name="connsiteX12" fmla="*/ 98207 w 121249"/>
                    <a:gd name="connsiteY12" fmla="*/ 107534 h 243596"/>
                    <a:gd name="connsiteX13" fmla="*/ 98755 w 121249"/>
                    <a:gd name="connsiteY13" fmla="*/ 100950 h 243596"/>
                    <a:gd name="connsiteX14" fmla="*/ 94366 w 121249"/>
                    <a:gd name="connsiteY14" fmla="*/ 94366 h 243596"/>
                    <a:gd name="connsiteX15" fmla="*/ 100950 w 121249"/>
                    <a:gd name="connsiteY15" fmla="*/ 53218 h 243596"/>
                    <a:gd name="connsiteX16" fmla="*/ 115763 w 121249"/>
                    <a:gd name="connsiteY16" fmla="*/ 37856 h 243596"/>
                    <a:gd name="connsiteX17" fmla="*/ 121249 w 121249"/>
                    <a:gd name="connsiteY17" fmla="*/ 28529 h 243596"/>
                    <a:gd name="connsiteX18" fmla="*/ 121249 w 121249"/>
                    <a:gd name="connsiteY18" fmla="*/ 23043 h 243596"/>
                    <a:gd name="connsiteX19" fmla="*/ 111923 w 121249"/>
                    <a:gd name="connsiteY19" fmla="*/ 9875 h 243596"/>
                    <a:gd name="connsiteX20" fmla="*/ 89977 w 121249"/>
                    <a:gd name="connsiteY20" fmla="*/ 7681 h 243596"/>
                    <a:gd name="connsiteX21" fmla="*/ 80650 w 121249"/>
                    <a:gd name="connsiteY21" fmla="*/ 12070 h 243596"/>
                    <a:gd name="connsiteX22" fmla="*/ 55413 w 121249"/>
                    <a:gd name="connsiteY22" fmla="*/ 11522 h 243596"/>
                    <a:gd name="connsiteX23" fmla="*/ 50475 w 121249"/>
                    <a:gd name="connsiteY23" fmla="*/ 8230 h 243596"/>
                    <a:gd name="connsiteX24" fmla="*/ 49378 w 121249"/>
                    <a:gd name="connsiteY24" fmla="*/ 0 h 243596"/>
                    <a:gd name="connsiteX25" fmla="*/ 30175 w 121249"/>
                    <a:gd name="connsiteY25" fmla="*/ 6035 h 243596"/>
                    <a:gd name="connsiteX26" fmla="*/ 24140 w 121249"/>
                    <a:gd name="connsiteY26" fmla="*/ 12619 h 243596"/>
                    <a:gd name="connsiteX27" fmla="*/ 31272 w 121249"/>
                    <a:gd name="connsiteY27" fmla="*/ 51023 h 243596"/>
                    <a:gd name="connsiteX28" fmla="*/ 28529 w 121249"/>
                    <a:gd name="connsiteY28" fmla="*/ 55961 h 243596"/>
                    <a:gd name="connsiteX29" fmla="*/ 15362 w 121249"/>
                    <a:gd name="connsiteY29" fmla="*/ 118506 h 243596"/>
                    <a:gd name="connsiteX30" fmla="*/ 2743 w 121249"/>
                    <a:gd name="connsiteY30" fmla="*/ 138806 h 243596"/>
                    <a:gd name="connsiteX31" fmla="*/ 2743 w 121249"/>
                    <a:gd name="connsiteY31" fmla="*/ 150876 h 243596"/>
                    <a:gd name="connsiteX32" fmla="*/ 0 w 121249"/>
                    <a:gd name="connsiteY32" fmla="*/ 161300 h 243596"/>
                    <a:gd name="connsiteX33" fmla="*/ 0 w 121249"/>
                    <a:gd name="connsiteY33" fmla="*/ 162946 h 243596"/>
                    <a:gd name="connsiteX34" fmla="*/ 6035 w 121249"/>
                    <a:gd name="connsiteY34" fmla="*/ 166787 h 243596"/>
                    <a:gd name="connsiteX35" fmla="*/ 12619 w 121249"/>
                    <a:gd name="connsiteY35" fmla="*/ 177211 h 243596"/>
                    <a:gd name="connsiteX36" fmla="*/ 27432 w 121249"/>
                    <a:gd name="connsiteY36" fmla="*/ 173919 h 243596"/>
                    <a:gd name="connsiteX37" fmla="*/ 26883 w 121249"/>
                    <a:gd name="connsiteY37" fmla="*/ 176662 h 243596"/>
                    <a:gd name="connsiteX38" fmla="*/ 25237 w 121249"/>
                    <a:gd name="connsiteY38" fmla="*/ 179954 h 243596"/>
                    <a:gd name="connsiteX39" fmla="*/ 25237 w 121249"/>
                    <a:gd name="connsiteY39" fmla="*/ 218359 h 243596"/>
                    <a:gd name="connsiteX40" fmla="*/ 20300 w 121249"/>
                    <a:gd name="connsiteY40" fmla="*/ 233172 h 243596"/>
                    <a:gd name="connsiteX41" fmla="*/ 19751 w 121249"/>
                    <a:gd name="connsiteY41" fmla="*/ 240853 h 243596"/>
                    <a:gd name="connsiteX42" fmla="*/ 21946 w 121249"/>
                    <a:gd name="connsiteY42" fmla="*/ 243047 h 243596"/>
                    <a:gd name="connsiteX43" fmla="*/ 29078 w 121249"/>
                    <a:gd name="connsiteY43" fmla="*/ 240853 h 243596"/>
                    <a:gd name="connsiteX44" fmla="*/ 46086 w 121249"/>
                    <a:gd name="connsiteY44" fmla="*/ 241402 h 243596"/>
                    <a:gd name="connsiteX45" fmla="*/ 52669 w 121249"/>
                    <a:gd name="connsiteY45" fmla="*/ 243596 h 243596"/>
                    <a:gd name="connsiteX46" fmla="*/ 59802 w 121249"/>
                    <a:gd name="connsiteY46" fmla="*/ 243596 h 243596"/>
                    <a:gd name="connsiteX47" fmla="*/ 76810 w 121249"/>
                    <a:gd name="connsiteY47" fmla="*/ 236464 h 2435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</a:cxnLst>
                  <a:rect l="l" t="t" r="r" b="b"/>
                  <a:pathLst>
                    <a:path w="121249" h="243596">
                      <a:moveTo>
                        <a:pt x="76810" y="236464"/>
                      </a:moveTo>
                      <a:lnTo>
                        <a:pt x="74066" y="217262"/>
                      </a:lnTo>
                      <a:lnTo>
                        <a:pt x="93269" y="196413"/>
                      </a:lnTo>
                      <a:lnTo>
                        <a:pt x="91623" y="188732"/>
                      </a:lnTo>
                      <a:lnTo>
                        <a:pt x="85039" y="182149"/>
                      </a:lnTo>
                      <a:lnTo>
                        <a:pt x="82845" y="172822"/>
                      </a:lnTo>
                      <a:lnTo>
                        <a:pt x="82845" y="163495"/>
                      </a:lnTo>
                      <a:lnTo>
                        <a:pt x="90526" y="148682"/>
                      </a:lnTo>
                      <a:lnTo>
                        <a:pt x="80650" y="132771"/>
                      </a:lnTo>
                      <a:lnTo>
                        <a:pt x="78456" y="121798"/>
                      </a:lnTo>
                      <a:lnTo>
                        <a:pt x="84491" y="117409"/>
                      </a:lnTo>
                      <a:lnTo>
                        <a:pt x="91623" y="115214"/>
                      </a:lnTo>
                      <a:lnTo>
                        <a:pt x="98207" y="107534"/>
                      </a:lnTo>
                      <a:lnTo>
                        <a:pt x="98755" y="100950"/>
                      </a:lnTo>
                      <a:lnTo>
                        <a:pt x="94366" y="94366"/>
                      </a:lnTo>
                      <a:lnTo>
                        <a:pt x="100950" y="53218"/>
                      </a:lnTo>
                      <a:lnTo>
                        <a:pt x="115763" y="37856"/>
                      </a:lnTo>
                      <a:lnTo>
                        <a:pt x="121249" y="28529"/>
                      </a:lnTo>
                      <a:lnTo>
                        <a:pt x="121249" y="23043"/>
                      </a:lnTo>
                      <a:lnTo>
                        <a:pt x="111923" y="9875"/>
                      </a:lnTo>
                      <a:lnTo>
                        <a:pt x="89977" y="7681"/>
                      </a:lnTo>
                      <a:lnTo>
                        <a:pt x="80650" y="12070"/>
                      </a:lnTo>
                      <a:lnTo>
                        <a:pt x="55413" y="11522"/>
                      </a:lnTo>
                      <a:lnTo>
                        <a:pt x="50475" y="8230"/>
                      </a:lnTo>
                      <a:lnTo>
                        <a:pt x="49378" y="0"/>
                      </a:lnTo>
                      <a:lnTo>
                        <a:pt x="30175" y="6035"/>
                      </a:lnTo>
                      <a:lnTo>
                        <a:pt x="24140" y="12619"/>
                      </a:lnTo>
                      <a:lnTo>
                        <a:pt x="31272" y="51023"/>
                      </a:lnTo>
                      <a:lnTo>
                        <a:pt x="28529" y="55961"/>
                      </a:lnTo>
                      <a:lnTo>
                        <a:pt x="15362" y="118506"/>
                      </a:lnTo>
                      <a:lnTo>
                        <a:pt x="2743" y="138806"/>
                      </a:lnTo>
                      <a:lnTo>
                        <a:pt x="2743" y="150876"/>
                      </a:lnTo>
                      <a:lnTo>
                        <a:pt x="0" y="161300"/>
                      </a:lnTo>
                      <a:lnTo>
                        <a:pt x="0" y="162946"/>
                      </a:lnTo>
                      <a:lnTo>
                        <a:pt x="6035" y="166787"/>
                      </a:lnTo>
                      <a:lnTo>
                        <a:pt x="12619" y="177211"/>
                      </a:lnTo>
                      <a:lnTo>
                        <a:pt x="27432" y="173919"/>
                      </a:lnTo>
                      <a:lnTo>
                        <a:pt x="26883" y="176662"/>
                      </a:lnTo>
                      <a:lnTo>
                        <a:pt x="25237" y="179954"/>
                      </a:lnTo>
                      <a:lnTo>
                        <a:pt x="25237" y="218359"/>
                      </a:lnTo>
                      <a:lnTo>
                        <a:pt x="20300" y="233172"/>
                      </a:lnTo>
                      <a:lnTo>
                        <a:pt x="19751" y="240853"/>
                      </a:lnTo>
                      <a:lnTo>
                        <a:pt x="21946" y="243047"/>
                      </a:lnTo>
                      <a:lnTo>
                        <a:pt x="29078" y="240853"/>
                      </a:lnTo>
                      <a:lnTo>
                        <a:pt x="46086" y="241402"/>
                      </a:lnTo>
                      <a:lnTo>
                        <a:pt x="52669" y="243596"/>
                      </a:lnTo>
                      <a:lnTo>
                        <a:pt x="59802" y="243596"/>
                      </a:lnTo>
                      <a:lnTo>
                        <a:pt x="76810" y="236464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98" name="Graphic 7">
                  <a:extLst>
                    <a:ext uri="{FF2B5EF4-FFF2-40B4-BE49-F238E27FC236}">
                      <a16:creationId xmlns:a16="http://schemas.microsoft.com/office/drawing/2014/main" id="{996B0079-266B-ED2C-DEEF-215D13868D5A}"/>
                    </a:ext>
                  </a:extLst>
                </p:cNvPr>
                <p:cNvSpPr/>
                <p:nvPr/>
              </p:nvSpPr>
              <p:spPr>
                <a:xfrm>
                  <a:off x="6006346" y="3113420"/>
                  <a:ext cx="547376" cy="234895"/>
                </a:xfrm>
                <a:custGeom>
                  <a:avLst/>
                  <a:gdLst>
                    <a:gd name="connsiteX0" fmla="*/ 368686 w 700613"/>
                    <a:gd name="connsiteY0" fmla="*/ 290231 h 300654"/>
                    <a:gd name="connsiteX1" fmla="*/ 365943 w 700613"/>
                    <a:gd name="connsiteY1" fmla="*/ 280904 h 300654"/>
                    <a:gd name="connsiteX2" fmla="*/ 368686 w 700613"/>
                    <a:gd name="connsiteY2" fmla="*/ 269931 h 300654"/>
                    <a:gd name="connsiteX3" fmla="*/ 375818 w 700613"/>
                    <a:gd name="connsiteY3" fmla="*/ 265542 h 300654"/>
                    <a:gd name="connsiteX4" fmla="*/ 378562 w 700613"/>
                    <a:gd name="connsiteY4" fmla="*/ 259507 h 300654"/>
                    <a:gd name="connsiteX5" fmla="*/ 372527 w 700613"/>
                    <a:gd name="connsiteY5" fmla="*/ 253472 h 300654"/>
                    <a:gd name="connsiteX6" fmla="*/ 360457 w 700613"/>
                    <a:gd name="connsiteY6" fmla="*/ 258958 h 300654"/>
                    <a:gd name="connsiteX7" fmla="*/ 358811 w 700613"/>
                    <a:gd name="connsiteY7" fmla="*/ 265542 h 300654"/>
                    <a:gd name="connsiteX8" fmla="*/ 353873 w 700613"/>
                    <a:gd name="connsiteY8" fmla="*/ 267736 h 300654"/>
                    <a:gd name="connsiteX9" fmla="*/ 344546 w 700613"/>
                    <a:gd name="connsiteY9" fmla="*/ 266639 h 300654"/>
                    <a:gd name="connsiteX10" fmla="*/ 331927 w 700613"/>
                    <a:gd name="connsiteY10" fmla="*/ 257312 h 300654"/>
                    <a:gd name="connsiteX11" fmla="*/ 326989 w 700613"/>
                    <a:gd name="connsiteY11" fmla="*/ 255666 h 300654"/>
                    <a:gd name="connsiteX12" fmla="*/ 322600 w 700613"/>
                    <a:gd name="connsiteY12" fmla="*/ 256215 h 300654"/>
                    <a:gd name="connsiteX13" fmla="*/ 314919 w 700613"/>
                    <a:gd name="connsiteY13" fmla="*/ 259507 h 300654"/>
                    <a:gd name="connsiteX14" fmla="*/ 302301 w 700613"/>
                    <a:gd name="connsiteY14" fmla="*/ 271577 h 300654"/>
                    <a:gd name="connsiteX15" fmla="*/ 299557 w 700613"/>
                    <a:gd name="connsiteY15" fmla="*/ 277612 h 300654"/>
                    <a:gd name="connsiteX16" fmla="*/ 292425 w 700613"/>
                    <a:gd name="connsiteY16" fmla="*/ 278709 h 300654"/>
                    <a:gd name="connsiteX17" fmla="*/ 286939 w 700613"/>
                    <a:gd name="connsiteY17" fmla="*/ 283647 h 300654"/>
                    <a:gd name="connsiteX18" fmla="*/ 279806 w 700613"/>
                    <a:gd name="connsiteY18" fmla="*/ 286390 h 300654"/>
                    <a:gd name="connsiteX19" fmla="*/ 272674 w 700613"/>
                    <a:gd name="connsiteY19" fmla="*/ 285293 h 300654"/>
                    <a:gd name="connsiteX20" fmla="*/ 252923 w 700613"/>
                    <a:gd name="connsiteY20" fmla="*/ 291877 h 300654"/>
                    <a:gd name="connsiteX21" fmla="*/ 240304 w 700613"/>
                    <a:gd name="connsiteY21" fmla="*/ 287488 h 300654"/>
                    <a:gd name="connsiteX22" fmla="*/ 230429 w 700613"/>
                    <a:gd name="connsiteY22" fmla="*/ 275417 h 300654"/>
                    <a:gd name="connsiteX23" fmla="*/ 194219 w 700613"/>
                    <a:gd name="connsiteY23" fmla="*/ 253472 h 300654"/>
                    <a:gd name="connsiteX24" fmla="*/ 170078 w 700613"/>
                    <a:gd name="connsiteY24" fmla="*/ 253472 h 300654"/>
                    <a:gd name="connsiteX25" fmla="*/ 168433 w 700613"/>
                    <a:gd name="connsiteY25" fmla="*/ 258958 h 300654"/>
                    <a:gd name="connsiteX26" fmla="*/ 168433 w 700613"/>
                    <a:gd name="connsiteY26" fmla="*/ 267736 h 300654"/>
                    <a:gd name="connsiteX27" fmla="*/ 165689 w 700613"/>
                    <a:gd name="connsiteY27" fmla="*/ 270479 h 300654"/>
                    <a:gd name="connsiteX28" fmla="*/ 165141 w 700613"/>
                    <a:gd name="connsiteY28" fmla="*/ 278161 h 300654"/>
                    <a:gd name="connsiteX29" fmla="*/ 141549 w 700613"/>
                    <a:gd name="connsiteY29" fmla="*/ 285293 h 300654"/>
                    <a:gd name="connsiteX30" fmla="*/ 127285 w 700613"/>
                    <a:gd name="connsiteY30" fmla="*/ 284195 h 300654"/>
                    <a:gd name="connsiteX31" fmla="*/ 120701 w 700613"/>
                    <a:gd name="connsiteY31" fmla="*/ 280355 h 300654"/>
                    <a:gd name="connsiteX32" fmla="*/ 114666 w 700613"/>
                    <a:gd name="connsiteY32" fmla="*/ 273772 h 300654"/>
                    <a:gd name="connsiteX33" fmla="*/ 112471 w 700613"/>
                    <a:gd name="connsiteY33" fmla="*/ 261153 h 300654"/>
                    <a:gd name="connsiteX34" fmla="*/ 107533 w 700613"/>
                    <a:gd name="connsiteY34" fmla="*/ 258958 h 300654"/>
                    <a:gd name="connsiteX35" fmla="*/ 105887 w 700613"/>
                    <a:gd name="connsiteY35" fmla="*/ 261701 h 300654"/>
                    <a:gd name="connsiteX36" fmla="*/ 106436 w 700613"/>
                    <a:gd name="connsiteY36" fmla="*/ 263896 h 300654"/>
                    <a:gd name="connsiteX37" fmla="*/ 103693 w 700613"/>
                    <a:gd name="connsiteY37" fmla="*/ 263896 h 300654"/>
                    <a:gd name="connsiteX38" fmla="*/ 98207 w 700613"/>
                    <a:gd name="connsiteY38" fmla="*/ 260604 h 300654"/>
                    <a:gd name="connsiteX39" fmla="*/ 94366 w 700613"/>
                    <a:gd name="connsiteY39" fmla="*/ 255118 h 300654"/>
                    <a:gd name="connsiteX40" fmla="*/ 92720 w 700613"/>
                    <a:gd name="connsiteY40" fmla="*/ 255118 h 300654"/>
                    <a:gd name="connsiteX41" fmla="*/ 82296 w 700613"/>
                    <a:gd name="connsiteY41" fmla="*/ 256215 h 300654"/>
                    <a:gd name="connsiteX42" fmla="*/ 80650 w 700613"/>
                    <a:gd name="connsiteY42" fmla="*/ 260056 h 300654"/>
                    <a:gd name="connsiteX43" fmla="*/ 74066 w 700613"/>
                    <a:gd name="connsiteY43" fmla="*/ 264445 h 300654"/>
                    <a:gd name="connsiteX44" fmla="*/ 72421 w 700613"/>
                    <a:gd name="connsiteY44" fmla="*/ 264445 h 300654"/>
                    <a:gd name="connsiteX45" fmla="*/ 75164 w 700613"/>
                    <a:gd name="connsiteY45" fmla="*/ 259507 h 300654"/>
                    <a:gd name="connsiteX46" fmla="*/ 73518 w 700613"/>
                    <a:gd name="connsiteY46" fmla="*/ 256763 h 300654"/>
                    <a:gd name="connsiteX47" fmla="*/ 50475 w 700613"/>
                    <a:gd name="connsiteY47" fmla="*/ 263347 h 300654"/>
                    <a:gd name="connsiteX48" fmla="*/ 54315 w 700613"/>
                    <a:gd name="connsiteY48" fmla="*/ 257861 h 300654"/>
                    <a:gd name="connsiteX49" fmla="*/ 60899 w 700613"/>
                    <a:gd name="connsiteY49" fmla="*/ 254569 h 300654"/>
                    <a:gd name="connsiteX50" fmla="*/ 69677 w 700613"/>
                    <a:gd name="connsiteY50" fmla="*/ 254569 h 300654"/>
                    <a:gd name="connsiteX51" fmla="*/ 74615 w 700613"/>
                    <a:gd name="connsiteY51" fmla="*/ 251826 h 300654"/>
                    <a:gd name="connsiteX52" fmla="*/ 75712 w 700613"/>
                    <a:gd name="connsiteY52" fmla="*/ 250180 h 300654"/>
                    <a:gd name="connsiteX53" fmla="*/ 81747 w 700613"/>
                    <a:gd name="connsiteY53" fmla="*/ 247437 h 300654"/>
                    <a:gd name="connsiteX54" fmla="*/ 83393 w 700613"/>
                    <a:gd name="connsiteY54" fmla="*/ 243596 h 300654"/>
                    <a:gd name="connsiteX55" fmla="*/ 47732 w 700613"/>
                    <a:gd name="connsiteY55" fmla="*/ 246340 h 300654"/>
                    <a:gd name="connsiteX56" fmla="*/ 46086 w 700613"/>
                    <a:gd name="connsiteY56" fmla="*/ 243047 h 300654"/>
                    <a:gd name="connsiteX57" fmla="*/ 54315 w 700613"/>
                    <a:gd name="connsiteY57" fmla="*/ 235367 h 300654"/>
                    <a:gd name="connsiteX58" fmla="*/ 47183 w 700613"/>
                    <a:gd name="connsiteY58" fmla="*/ 228234 h 300654"/>
                    <a:gd name="connsiteX59" fmla="*/ 43343 w 700613"/>
                    <a:gd name="connsiteY59" fmla="*/ 227686 h 300654"/>
                    <a:gd name="connsiteX60" fmla="*/ 44440 w 700613"/>
                    <a:gd name="connsiteY60" fmla="*/ 222199 h 300654"/>
                    <a:gd name="connsiteX61" fmla="*/ 47732 w 700613"/>
                    <a:gd name="connsiteY61" fmla="*/ 219456 h 300654"/>
                    <a:gd name="connsiteX62" fmla="*/ 49378 w 700613"/>
                    <a:gd name="connsiteY62" fmla="*/ 216713 h 300654"/>
                    <a:gd name="connsiteX63" fmla="*/ 39502 w 700613"/>
                    <a:gd name="connsiteY63" fmla="*/ 218908 h 300654"/>
                    <a:gd name="connsiteX64" fmla="*/ 36210 w 700613"/>
                    <a:gd name="connsiteY64" fmla="*/ 213970 h 300654"/>
                    <a:gd name="connsiteX65" fmla="*/ 40599 w 700613"/>
                    <a:gd name="connsiteY65" fmla="*/ 211226 h 300654"/>
                    <a:gd name="connsiteX66" fmla="*/ 41697 w 700613"/>
                    <a:gd name="connsiteY66" fmla="*/ 205192 h 300654"/>
                    <a:gd name="connsiteX67" fmla="*/ 38953 w 700613"/>
                    <a:gd name="connsiteY67" fmla="*/ 198608 h 300654"/>
                    <a:gd name="connsiteX68" fmla="*/ 34564 w 700613"/>
                    <a:gd name="connsiteY68" fmla="*/ 195865 h 300654"/>
                    <a:gd name="connsiteX69" fmla="*/ 25237 w 700613"/>
                    <a:gd name="connsiteY69" fmla="*/ 193670 h 300654"/>
                    <a:gd name="connsiteX70" fmla="*/ 20848 w 700613"/>
                    <a:gd name="connsiteY70" fmla="*/ 189281 h 300654"/>
                    <a:gd name="connsiteX71" fmla="*/ 14265 w 700613"/>
                    <a:gd name="connsiteY71" fmla="*/ 191476 h 300654"/>
                    <a:gd name="connsiteX72" fmla="*/ 10973 w 700613"/>
                    <a:gd name="connsiteY72" fmla="*/ 189281 h 300654"/>
                    <a:gd name="connsiteX73" fmla="*/ 7681 w 700613"/>
                    <a:gd name="connsiteY73" fmla="*/ 185440 h 300654"/>
                    <a:gd name="connsiteX74" fmla="*/ 7132 w 700613"/>
                    <a:gd name="connsiteY74" fmla="*/ 183246 h 300654"/>
                    <a:gd name="connsiteX75" fmla="*/ 11521 w 700613"/>
                    <a:gd name="connsiteY75" fmla="*/ 181600 h 300654"/>
                    <a:gd name="connsiteX76" fmla="*/ 12070 w 700613"/>
                    <a:gd name="connsiteY76" fmla="*/ 175016 h 300654"/>
                    <a:gd name="connsiteX77" fmla="*/ 11521 w 700613"/>
                    <a:gd name="connsiteY77" fmla="*/ 171176 h 300654"/>
                    <a:gd name="connsiteX78" fmla="*/ 13167 w 700613"/>
                    <a:gd name="connsiteY78" fmla="*/ 167335 h 300654"/>
                    <a:gd name="connsiteX79" fmla="*/ 15362 w 700613"/>
                    <a:gd name="connsiteY79" fmla="*/ 168433 h 300654"/>
                    <a:gd name="connsiteX80" fmla="*/ 19751 w 700613"/>
                    <a:gd name="connsiteY80" fmla="*/ 179405 h 300654"/>
                    <a:gd name="connsiteX81" fmla="*/ 23591 w 700613"/>
                    <a:gd name="connsiteY81" fmla="*/ 180503 h 300654"/>
                    <a:gd name="connsiteX82" fmla="*/ 37856 w 700613"/>
                    <a:gd name="connsiteY82" fmla="*/ 179405 h 300654"/>
                    <a:gd name="connsiteX83" fmla="*/ 36210 w 700613"/>
                    <a:gd name="connsiteY83" fmla="*/ 177211 h 300654"/>
                    <a:gd name="connsiteX84" fmla="*/ 29078 w 700613"/>
                    <a:gd name="connsiteY84" fmla="*/ 174467 h 300654"/>
                    <a:gd name="connsiteX85" fmla="*/ 25237 w 700613"/>
                    <a:gd name="connsiteY85" fmla="*/ 168433 h 300654"/>
                    <a:gd name="connsiteX86" fmla="*/ 26883 w 700613"/>
                    <a:gd name="connsiteY86" fmla="*/ 162946 h 300654"/>
                    <a:gd name="connsiteX87" fmla="*/ 31821 w 700613"/>
                    <a:gd name="connsiteY87" fmla="*/ 158557 h 300654"/>
                    <a:gd name="connsiteX88" fmla="*/ 30724 w 700613"/>
                    <a:gd name="connsiteY88" fmla="*/ 154717 h 300654"/>
                    <a:gd name="connsiteX89" fmla="*/ 26883 w 700613"/>
                    <a:gd name="connsiteY89" fmla="*/ 150328 h 300654"/>
                    <a:gd name="connsiteX90" fmla="*/ 26883 w 700613"/>
                    <a:gd name="connsiteY90" fmla="*/ 145938 h 300654"/>
                    <a:gd name="connsiteX91" fmla="*/ 22494 w 700613"/>
                    <a:gd name="connsiteY91" fmla="*/ 141001 h 300654"/>
                    <a:gd name="connsiteX92" fmla="*/ 23591 w 700613"/>
                    <a:gd name="connsiteY92" fmla="*/ 133319 h 300654"/>
                    <a:gd name="connsiteX93" fmla="*/ 29627 w 700613"/>
                    <a:gd name="connsiteY93" fmla="*/ 127285 h 300654"/>
                    <a:gd name="connsiteX94" fmla="*/ 27981 w 700613"/>
                    <a:gd name="connsiteY94" fmla="*/ 123993 h 300654"/>
                    <a:gd name="connsiteX95" fmla="*/ 549 w 700613"/>
                    <a:gd name="connsiteY95" fmla="*/ 126736 h 300654"/>
                    <a:gd name="connsiteX96" fmla="*/ 0 w 700613"/>
                    <a:gd name="connsiteY96" fmla="*/ 123444 h 300654"/>
                    <a:gd name="connsiteX97" fmla="*/ 2195 w 700613"/>
                    <a:gd name="connsiteY97" fmla="*/ 109728 h 300654"/>
                    <a:gd name="connsiteX98" fmla="*/ 6035 w 700613"/>
                    <a:gd name="connsiteY98" fmla="*/ 102596 h 300654"/>
                    <a:gd name="connsiteX99" fmla="*/ 9327 w 700613"/>
                    <a:gd name="connsiteY99" fmla="*/ 101498 h 300654"/>
                    <a:gd name="connsiteX100" fmla="*/ 24140 w 700613"/>
                    <a:gd name="connsiteY100" fmla="*/ 83393 h 300654"/>
                    <a:gd name="connsiteX101" fmla="*/ 32918 w 700613"/>
                    <a:gd name="connsiteY101" fmla="*/ 83942 h 300654"/>
                    <a:gd name="connsiteX102" fmla="*/ 43343 w 700613"/>
                    <a:gd name="connsiteY102" fmla="*/ 80650 h 300654"/>
                    <a:gd name="connsiteX103" fmla="*/ 47183 w 700613"/>
                    <a:gd name="connsiteY103" fmla="*/ 83942 h 300654"/>
                    <a:gd name="connsiteX104" fmla="*/ 54864 w 700613"/>
                    <a:gd name="connsiteY104" fmla="*/ 86685 h 300654"/>
                    <a:gd name="connsiteX105" fmla="*/ 62545 w 700613"/>
                    <a:gd name="connsiteY105" fmla="*/ 86137 h 300654"/>
                    <a:gd name="connsiteX106" fmla="*/ 60350 w 700613"/>
                    <a:gd name="connsiteY106" fmla="*/ 76810 h 300654"/>
                    <a:gd name="connsiteX107" fmla="*/ 65837 w 700613"/>
                    <a:gd name="connsiteY107" fmla="*/ 77358 h 300654"/>
                    <a:gd name="connsiteX108" fmla="*/ 70226 w 700613"/>
                    <a:gd name="connsiteY108" fmla="*/ 79553 h 300654"/>
                    <a:gd name="connsiteX109" fmla="*/ 69677 w 700613"/>
                    <a:gd name="connsiteY109" fmla="*/ 83393 h 300654"/>
                    <a:gd name="connsiteX110" fmla="*/ 110825 w 700613"/>
                    <a:gd name="connsiteY110" fmla="*/ 81747 h 300654"/>
                    <a:gd name="connsiteX111" fmla="*/ 109728 w 700613"/>
                    <a:gd name="connsiteY111" fmla="*/ 77358 h 300654"/>
                    <a:gd name="connsiteX112" fmla="*/ 104242 w 700613"/>
                    <a:gd name="connsiteY112" fmla="*/ 75712 h 300654"/>
                    <a:gd name="connsiteX113" fmla="*/ 103693 w 700613"/>
                    <a:gd name="connsiteY113" fmla="*/ 73518 h 300654"/>
                    <a:gd name="connsiteX114" fmla="*/ 109728 w 700613"/>
                    <a:gd name="connsiteY114" fmla="*/ 70775 h 300654"/>
                    <a:gd name="connsiteX115" fmla="*/ 139903 w 700613"/>
                    <a:gd name="connsiteY115" fmla="*/ 68580 h 300654"/>
                    <a:gd name="connsiteX116" fmla="*/ 139903 w 700613"/>
                    <a:gd name="connsiteY116" fmla="*/ 65288 h 300654"/>
                    <a:gd name="connsiteX117" fmla="*/ 134417 w 700613"/>
                    <a:gd name="connsiteY117" fmla="*/ 64191 h 300654"/>
                    <a:gd name="connsiteX118" fmla="*/ 130028 w 700613"/>
                    <a:gd name="connsiteY118" fmla="*/ 65288 h 300654"/>
                    <a:gd name="connsiteX119" fmla="*/ 121249 w 700613"/>
                    <a:gd name="connsiteY119" fmla="*/ 64191 h 300654"/>
                    <a:gd name="connsiteX120" fmla="*/ 119055 w 700613"/>
                    <a:gd name="connsiteY120" fmla="*/ 61448 h 300654"/>
                    <a:gd name="connsiteX121" fmla="*/ 116312 w 700613"/>
                    <a:gd name="connsiteY121" fmla="*/ 60899 h 300654"/>
                    <a:gd name="connsiteX122" fmla="*/ 114666 w 700613"/>
                    <a:gd name="connsiteY122" fmla="*/ 56510 h 300654"/>
                    <a:gd name="connsiteX123" fmla="*/ 110825 w 700613"/>
                    <a:gd name="connsiteY123" fmla="*/ 53767 h 300654"/>
                    <a:gd name="connsiteX124" fmla="*/ 116312 w 700613"/>
                    <a:gd name="connsiteY124" fmla="*/ 42245 h 300654"/>
                    <a:gd name="connsiteX125" fmla="*/ 117409 w 700613"/>
                    <a:gd name="connsiteY125" fmla="*/ 44440 h 300654"/>
                    <a:gd name="connsiteX126" fmla="*/ 123444 w 700613"/>
                    <a:gd name="connsiteY126" fmla="*/ 44440 h 300654"/>
                    <a:gd name="connsiteX127" fmla="*/ 132222 w 700613"/>
                    <a:gd name="connsiteY127" fmla="*/ 47183 h 300654"/>
                    <a:gd name="connsiteX128" fmla="*/ 165689 w 700613"/>
                    <a:gd name="connsiteY128" fmla="*/ 48280 h 300654"/>
                    <a:gd name="connsiteX129" fmla="*/ 170627 w 700613"/>
                    <a:gd name="connsiteY129" fmla="*/ 51023 h 300654"/>
                    <a:gd name="connsiteX130" fmla="*/ 173919 w 700613"/>
                    <a:gd name="connsiteY130" fmla="*/ 50475 h 300654"/>
                    <a:gd name="connsiteX131" fmla="*/ 188183 w 700613"/>
                    <a:gd name="connsiteY131" fmla="*/ 52121 h 300654"/>
                    <a:gd name="connsiteX132" fmla="*/ 197510 w 700613"/>
                    <a:gd name="connsiteY132" fmla="*/ 47732 h 300654"/>
                    <a:gd name="connsiteX133" fmla="*/ 201899 w 700613"/>
                    <a:gd name="connsiteY133" fmla="*/ 38405 h 300654"/>
                    <a:gd name="connsiteX134" fmla="*/ 273223 w 700613"/>
                    <a:gd name="connsiteY134" fmla="*/ 3841 h 300654"/>
                    <a:gd name="connsiteX135" fmla="*/ 324795 w 700613"/>
                    <a:gd name="connsiteY135" fmla="*/ 4938 h 300654"/>
                    <a:gd name="connsiteX136" fmla="*/ 333025 w 700613"/>
                    <a:gd name="connsiteY136" fmla="*/ 549 h 300654"/>
                    <a:gd name="connsiteX137" fmla="*/ 337962 w 700613"/>
                    <a:gd name="connsiteY137" fmla="*/ 0 h 300654"/>
                    <a:gd name="connsiteX138" fmla="*/ 341803 w 700613"/>
                    <a:gd name="connsiteY138" fmla="*/ 1097 h 300654"/>
                    <a:gd name="connsiteX139" fmla="*/ 341803 w 700613"/>
                    <a:gd name="connsiteY139" fmla="*/ 6584 h 300654"/>
                    <a:gd name="connsiteX140" fmla="*/ 347289 w 700613"/>
                    <a:gd name="connsiteY140" fmla="*/ 14813 h 300654"/>
                    <a:gd name="connsiteX141" fmla="*/ 365943 w 700613"/>
                    <a:gd name="connsiteY141" fmla="*/ 23591 h 300654"/>
                    <a:gd name="connsiteX142" fmla="*/ 374173 w 700613"/>
                    <a:gd name="connsiteY142" fmla="*/ 17557 h 300654"/>
                    <a:gd name="connsiteX143" fmla="*/ 384048 w 700613"/>
                    <a:gd name="connsiteY143" fmla="*/ 39502 h 300654"/>
                    <a:gd name="connsiteX144" fmla="*/ 403250 w 700613"/>
                    <a:gd name="connsiteY144" fmla="*/ 41148 h 300654"/>
                    <a:gd name="connsiteX145" fmla="*/ 426842 w 700613"/>
                    <a:gd name="connsiteY145" fmla="*/ 54864 h 300654"/>
                    <a:gd name="connsiteX146" fmla="*/ 435620 w 700613"/>
                    <a:gd name="connsiteY146" fmla="*/ 50475 h 300654"/>
                    <a:gd name="connsiteX147" fmla="*/ 449336 w 700613"/>
                    <a:gd name="connsiteY147" fmla="*/ 57607 h 300654"/>
                    <a:gd name="connsiteX148" fmla="*/ 495422 w 700613"/>
                    <a:gd name="connsiteY148" fmla="*/ 49378 h 300654"/>
                    <a:gd name="connsiteX149" fmla="*/ 519014 w 700613"/>
                    <a:gd name="connsiteY149" fmla="*/ 54315 h 300654"/>
                    <a:gd name="connsiteX150" fmla="*/ 533827 w 700613"/>
                    <a:gd name="connsiteY150" fmla="*/ 53767 h 300654"/>
                    <a:gd name="connsiteX151" fmla="*/ 573878 w 700613"/>
                    <a:gd name="connsiteY151" fmla="*/ 26883 h 300654"/>
                    <a:gd name="connsiteX152" fmla="*/ 576072 w 700613"/>
                    <a:gd name="connsiteY152" fmla="*/ 23591 h 300654"/>
                    <a:gd name="connsiteX153" fmla="*/ 579913 w 700613"/>
                    <a:gd name="connsiteY153" fmla="*/ 27981 h 300654"/>
                    <a:gd name="connsiteX154" fmla="*/ 586496 w 700613"/>
                    <a:gd name="connsiteY154" fmla="*/ 27981 h 300654"/>
                    <a:gd name="connsiteX155" fmla="*/ 594726 w 700613"/>
                    <a:gd name="connsiteY155" fmla="*/ 25237 h 300654"/>
                    <a:gd name="connsiteX156" fmla="*/ 607893 w 700613"/>
                    <a:gd name="connsiteY156" fmla="*/ 29627 h 300654"/>
                    <a:gd name="connsiteX157" fmla="*/ 612282 w 700613"/>
                    <a:gd name="connsiteY157" fmla="*/ 29627 h 300654"/>
                    <a:gd name="connsiteX158" fmla="*/ 615574 w 700613"/>
                    <a:gd name="connsiteY158" fmla="*/ 24140 h 300654"/>
                    <a:gd name="connsiteX159" fmla="*/ 618866 w 700613"/>
                    <a:gd name="connsiteY159" fmla="*/ 21946 h 300654"/>
                    <a:gd name="connsiteX160" fmla="*/ 624352 w 700613"/>
                    <a:gd name="connsiteY160" fmla="*/ 24140 h 300654"/>
                    <a:gd name="connsiteX161" fmla="*/ 637520 w 700613"/>
                    <a:gd name="connsiteY161" fmla="*/ 39502 h 300654"/>
                    <a:gd name="connsiteX162" fmla="*/ 641360 w 700613"/>
                    <a:gd name="connsiteY162" fmla="*/ 40051 h 300654"/>
                    <a:gd name="connsiteX163" fmla="*/ 651784 w 700613"/>
                    <a:gd name="connsiteY163" fmla="*/ 51023 h 300654"/>
                    <a:gd name="connsiteX164" fmla="*/ 656722 w 700613"/>
                    <a:gd name="connsiteY164" fmla="*/ 60350 h 300654"/>
                    <a:gd name="connsiteX165" fmla="*/ 660014 w 700613"/>
                    <a:gd name="connsiteY165" fmla="*/ 83942 h 300654"/>
                    <a:gd name="connsiteX166" fmla="*/ 665500 w 700613"/>
                    <a:gd name="connsiteY166" fmla="*/ 91074 h 300654"/>
                    <a:gd name="connsiteX167" fmla="*/ 678668 w 700613"/>
                    <a:gd name="connsiteY167" fmla="*/ 97109 h 300654"/>
                    <a:gd name="connsiteX168" fmla="*/ 685251 w 700613"/>
                    <a:gd name="connsiteY168" fmla="*/ 104242 h 300654"/>
                    <a:gd name="connsiteX169" fmla="*/ 690738 w 700613"/>
                    <a:gd name="connsiteY169" fmla="*/ 106985 h 300654"/>
                    <a:gd name="connsiteX170" fmla="*/ 693481 w 700613"/>
                    <a:gd name="connsiteY170" fmla="*/ 110277 h 300654"/>
                    <a:gd name="connsiteX171" fmla="*/ 685800 w 700613"/>
                    <a:gd name="connsiteY171" fmla="*/ 126736 h 300654"/>
                    <a:gd name="connsiteX172" fmla="*/ 675925 w 700613"/>
                    <a:gd name="connsiteY172" fmla="*/ 132771 h 300654"/>
                    <a:gd name="connsiteX173" fmla="*/ 681960 w 700613"/>
                    <a:gd name="connsiteY173" fmla="*/ 149779 h 300654"/>
                    <a:gd name="connsiteX174" fmla="*/ 681960 w 700613"/>
                    <a:gd name="connsiteY174" fmla="*/ 204643 h 300654"/>
                    <a:gd name="connsiteX175" fmla="*/ 691286 w 700613"/>
                    <a:gd name="connsiteY175" fmla="*/ 210678 h 300654"/>
                    <a:gd name="connsiteX176" fmla="*/ 699516 w 700613"/>
                    <a:gd name="connsiteY176" fmla="*/ 222199 h 300654"/>
                    <a:gd name="connsiteX177" fmla="*/ 700613 w 700613"/>
                    <a:gd name="connsiteY177" fmla="*/ 233172 h 300654"/>
                    <a:gd name="connsiteX178" fmla="*/ 695127 w 700613"/>
                    <a:gd name="connsiteY178" fmla="*/ 238110 h 300654"/>
                    <a:gd name="connsiteX179" fmla="*/ 685251 w 700613"/>
                    <a:gd name="connsiteY179" fmla="*/ 237561 h 300654"/>
                    <a:gd name="connsiteX180" fmla="*/ 678668 w 700613"/>
                    <a:gd name="connsiteY180" fmla="*/ 229331 h 300654"/>
                    <a:gd name="connsiteX181" fmla="*/ 646298 w 700613"/>
                    <a:gd name="connsiteY181" fmla="*/ 229331 h 300654"/>
                    <a:gd name="connsiteX182" fmla="*/ 631485 w 700613"/>
                    <a:gd name="connsiteY182" fmla="*/ 223845 h 300654"/>
                    <a:gd name="connsiteX183" fmla="*/ 614477 w 700613"/>
                    <a:gd name="connsiteY183" fmla="*/ 238110 h 300654"/>
                    <a:gd name="connsiteX184" fmla="*/ 608442 w 700613"/>
                    <a:gd name="connsiteY184" fmla="*/ 238658 h 300654"/>
                    <a:gd name="connsiteX185" fmla="*/ 607893 w 700613"/>
                    <a:gd name="connsiteY185" fmla="*/ 237561 h 300654"/>
                    <a:gd name="connsiteX186" fmla="*/ 608442 w 700613"/>
                    <a:gd name="connsiteY186" fmla="*/ 233721 h 300654"/>
                    <a:gd name="connsiteX187" fmla="*/ 605699 w 700613"/>
                    <a:gd name="connsiteY187" fmla="*/ 232624 h 300654"/>
                    <a:gd name="connsiteX188" fmla="*/ 603504 w 700613"/>
                    <a:gd name="connsiteY188" fmla="*/ 230977 h 300654"/>
                    <a:gd name="connsiteX189" fmla="*/ 598018 w 700613"/>
                    <a:gd name="connsiteY189" fmla="*/ 235915 h 300654"/>
                    <a:gd name="connsiteX190" fmla="*/ 585947 w 700613"/>
                    <a:gd name="connsiteY190" fmla="*/ 240853 h 300654"/>
                    <a:gd name="connsiteX191" fmla="*/ 561807 w 700613"/>
                    <a:gd name="connsiteY191" fmla="*/ 241950 h 300654"/>
                    <a:gd name="connsiteX192" fmla="*/ 555224 w 700613"/>
                    <a:gd name="connsiteY192" fmla="*/ 239756 h 300654"/>
                    <a:gd name="connsiteX193" fmla="*/ 538216 w 700613"/>
                    <a:gd name="connsiteY193" fmla="*/ 243047 h 300654"/>
                    <a:gd name="connsiteX194" fmla="*/ 525597 w 700613"/>
                    <a:gd name="connsiteY194" fmla="*/ 251826 h 300654"/>
                    <a:gd name="connsiteX195" fmla="*/ 517367 w 700613"/>
                    <a:gd name="connsiteY195" fmla="*/ 253472 h 300654"/>
                    <a:gd name="connsiteX196" fmla="*/ 513527 w 700613"/>
                    <a:gd name="connsiteY196" fmla="*/ 256215 h 300654"/>
                    <a:gd name="connsiteX197" fmla="*/ 491582 w 700613"/>
                    <a:gd name="connsiteY197" fmla="*/ 261153 h 300654"/>
                    <a:gd name="connsiteX198" fmla="*/ 472379 w 700613"/>
                    <a:gd name="connsiteY198" fmla="*/ 257861 h 300654"/>
                    <a:gd name="connsiteX199" fmla="*/ 464698 w 700613"/>
                    <a:gd name="connsiteY199" fmla="*/ 250729 h 300654"/>
                    <a:gd name="connsiteX200" fmla="*/ 459760 w 700613"/>
                    <a:gd name="connsiteY200" fmla="*/ 249631 h 300654"/>
                    <a:gd name="connsiteX201" fmla="*/ 450434 w 700613"/>
                    <a:gd name="connsiteY201" fmla="*/ 250729 h 300654"/>
                    <a:gd name="connsiteX202" fmla="*/ 429037 w 700613"/>
                    <a:gd name="connsiteY202" fmla="*/ 260056 h 300654"/>
                    <a:gd name="connsiteX203" fmla="*/ 425745 w 700613"/>
                    <a:gd name="connsiteY203" fmla="*/ 262250 h 300654"/>
                    <a:gd name="connsiteX204" fmla="*/ 415869 w 700613"/>
                    <a:gd name="connsiteY204" fmla="*/ 260604 h 300654"/>
                    <a:gd name="connsiteX205" fmla="*/ 410383 w 700613"/>
                    <a:gd name="connsiteY205" fmla="*/ 262250 h 300654"/>
                    <a:gd name="connsiteX206" fmla="*/ 409285 w 700613"/>
                    <a:gd name="connsiteY206" fmla="*/ 260604 h 300654"/>
                    <a:gd name="connsiteX207" fmla="*/ 409285 w 700613"/>
                    <a:gd name="connsiteY207" fmla="*/ 258958 h 300654"/>
                    <a:gd name="connsiteX208" fmla="*/ 409834 w 700613"/>
                    <a:gd name="connsiteY208" fmla="*/ 257861 h 300654"/>
                    <a:gd name="connsiteX209" fmla="*/ 405994 w 700613"/>
                    <a:gd name="connsiteY209" fmla="*/ 255666 h 300654"/>
                    <a:gd name="connsiteX210" fmla="*/ 399410 w 700613"/>
                    <a:gd name="connsiteY210" fmla="*/ 255118 h 300654"/>
                    <a:gd name="connsiteX211" fmla="*/ 396118 w 700613"/>
                    <a:gd name="connsiteY211" fmla="*/ 253472 h 300654"/>
                    <a:gd name="connsiteX212" fmla="*/ 392278 w 700613"/>
                    <a:gd name="connsiteY212" fmla="*/ 260604 h 300654"/>
                    <a:gd name="connsiteX213" fmla="*/ 391729 w 700613"/>
                    <a:gd name="connsiteY213" fmla="*/ 261701 h 300654"/>
                    <a:gd name="connsiteX214" fmla="*/ 392278 w 700613"/>
                    <a:gd name="connsiteY214" fmla="*/ 264445 h 300654"/>
                    <a:gd name="connsiteX215" fmla="*/ 390632 w 700613"/>
                    <a:gd name="connsiteY215" fmla="*/ 270479 h 300654"/>
                    <a:gd name="connsiteX216" fmla="*/ 396667 w 700613"/>
                    <a:gd name="connsiteY216" fmla="*/ 278709 h 300654"/>
                    <a:gd name="connsiteX217" fmla="*/ 396667 w 700613"/>
                    <a:gd name="connsiteY217" fmla="*/ 281452 h 300654"/>
                    <a:gd name="connsiteX218" fmla="*/ 395021 w 700613"/>
                    <a:gd name="connsiteY218" fmla="*/ 282001 h 300654"/>
                    <a:gd name="connsiteX219" fmla="*/ 390083 w 700613"/>
                    <a:gd name="connsiteY219" fmla="*/ 281452 h 300654"/>
                    <a:gd name="connsiteX220" fmla="*/ 384048 w 700613"/>
                    <a:gd name="connsiteY220" fmla="*/ 284195 h 300654"/>
                    <a:gd name="connsiteX221" fmla="*/ 384048 w 700613"/>
                    <a:gd name="connsiteY221" fmla="*/ 291877 h 300654"/>
                    <a:gd name="connsiteX222" fmla="*/ 380207 w 700613"/>
                    <a:gd name="connsiteY222" fmla="*/ 295717 h 300654"/>
                    <a:gd name="connsiteX223" fmla="*/ 377464 w 700613"/>
                    <a:gd name="connsiteY223" fmla="*/ 296266 h 300654"/>
                    <a:gd name="connsiteX224" fmla="*/ 375818 w 700613"/>
                    <a:gd name="connsiteY224" fmla="*/ 300655 h 300654"/>
                    <a:gd name="connsiteX225" fmla="*/ 371429 w 700613"/>
                    <a:gd name="connsiteY225" fmla="*/ 297363 h 300654"/>
                    <a:gd name="connsiteX226" fmla="*/ 370332 w 700613"/>
                    <a:gd name="connsiteY226" fmla="*/ 294620 h 300654"/>
                    <a:gd name="connsiteX227" fmla="*/ 367589 w 700613"/>
                    <a:gd name="connsiteY227" fmla="*/ 294620 h 300654"/>
                    <a:gd name="connsiteX228" fmla="*/ 368686 w 700613"/>
                    <a:gd name="connsiteY228" fmla="*/ 290231 h 3006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</a:cxnLst>
                  <a:rect l="l" t="t" r="r" b="b"/>
                  <a:pathLst>
                    <a:path w="700613" h="300654">
                      <a:moveTo>
                        <a:pt x="368686" y="290231"/>
                      </a:moveTo>
                      <a:lnTo>
                        <a:pt x="365943" y="280904"/>
                      </a:lnTo>
                      <a:lnTo>
                        <a:pt x="368686" y="269931"/>
                      </a:lnTo>
                      <a:lnTo>
                        <a:pt x="375818" y="265542"/>
                      </a:lnTo>
                      <a:lnTo>
                        <a:pt x="378562" y="259507"/>
                      </a:lnTo>
                      <a:lnTo>
                        <a:pt x="372527" y="253472"/>
                      </a:lnTo>
                      <a:lnTo>
                        <a:pt x="360457" y="258958"/>
                      </a:lnTo>
                      <a:lnTo>
                        <a:pt x="358811" y="265542"/>
                      </a:lnTo>
                      <a:lnTo>
                        <a:pt x="353873" y="267736"/>
                      </a:lnTo>
                      <a:lnTo>
                        <a:pt x="344546" y="266639"/>
                      </a:lnTo>
                      <a:lnTo>
                        <a:pt x="331927" y="257312"/>
                      </a:lnTo>
                      <a:lnTo>
                        <a:pt x="326989" y="255666"/>
                      </a:lnTo>
                      <a:lnTo>
                        <a:pt x="322600" y="256215"/>
                      </a:lnTo>
                      <a:lnTo>
                        <a:pt x="314919" y="259507"/>
                      </a:lnTo>
                      <a:lnTo>
                        <a:pt x="302301" y="271577"/>
                      </a:lnTo>
                      <a:lnTo>
                        <a:pt x="299557" y="277612"/>
                      </a:lnTo>
                      <a:lnTo>
                        <a:pt x="292425" y="278709"/>
                      </a:lnTo>
                      <a:lnTo>
                        <a:pt x="286939" y="283647"/>
                      </a:lnTo>
                      <a:lnTo>
                        <a:pt x="279806" y="286390"/>
                      </a:lnTo>
                      <a:lnTo>
                        <a:pt x="272674" y="285293"/>
                      </a:lnTo>
                      <a:lnTo>
                        <a:pt x="252923" y="291877"/>
                      </a:lnTo>
                      <a:lnTo>
                        <a:pt x="240304" y="287488"/>
                      </a:lnTo>
                      <a:lnTo>
                        <a:pt x="230429" y="275417"/>
                      </a:lnTo>
                      <a:lnTo>
                        <a:pt x="194219" y="253472"/>
                      </a:lnTo>
                      <a:lnTo>
                        <a:pt x="170078" y="253472"/>
                      </a:lnTo>
                      <a:lnTo>
                        <a:pt x="168433" y="258958"/>
                      </a:lnTo>
                      <a:lnTo>
                        <a:pt x="168433" y="267736"/>
                      </a:lnTo>
                      <a:lnTo>
                        <a:pt x="165689" y="270479"/>
                      </a:lnTo>
                      <a:lnTo>
                        <a:pt x="165141" y="278161"/>
                      </a:lnTo>
                      <a:lnTo>
                        <a:pt x="141549" y="285293"/>
                      </a:lnTo>
                      <a:lnTo>
                        <a:pt x="127285" y="284195"/>
                      </a:lnTo>
                      <a:lnTo>
                        <a:pt x="120701" y="280355"/>
                      </a:lnTo>
                      <a:lnTo>
                        <a:pt x="114666" y="273772"/>
                      </a:lnTo>
                      <a:lnTo>
                        <a:pt x="112471" y="261153"/>
                      </a:lnTo>
                      <a:lnTo>
                        <a:pt x="107533" y="258958"/>
                      </a:lnTo>
                      <a:lnTo>
                        <a:pt x="105887" y="261701"/>
                      </a:lnTo>
                      <a:lnTo>
                        <a:pt x="106436" y="263896"/>
                      </a:lnTo>
                      <a:lnTo>
                        <a:pt x="103693" y="263896"/>
                      </a:lnTo>
                      <a:lnTo>
                        <a:pt x="98207" y="260604"/>
                      </a:lnTo>
                      <a:lnTo>
                        <a:pt x="94366" y="255118"/>
                      </a:lnTo>
                      <a:lnTo>
                        <a:pt x="92720" y="255118"/>
                      </a:lnTo>
                      <a:lnTo>
                        <a:pt x="82296" y="256215"/>
                      </a:lnTo>
                      <a:lnTo>
                        <a:pt x="80650" y="260056"/>
                      </a:lnTo>
                      <a:lnTo>
                        <a:pt x="74066" y="264445"/>
                      </a:lnTo>
                      <a:lnTo>
                        <a:pt x="72421" y="264445"/>
                      </a:lnTo>
                      <a:lnTo>
                        <a:pt x="75164" y="259507"/>
                      </a:lnTo>
                      <a:lnTo>
                        <a:pt x="73518" y="256763"/>
                      </a:lnTo>
                      <a:lnTo>
                        <a:pt x="50475" y="263347"/>
                      </a:lnTo>
                      <a:lnTo>
                        <a:pt x="54315" y="257861"/>
                      </a:lnTo>
                      <a:lnTo>
                        <a:pt x="60899" y="254569"/>
                      </a:lnTo>
                      <a:lnTo>
                        <a:pt x="69677" y="254569"/>
                      </a:lnTo>
                      <a:lnTo>
                        <a:pt x="74615" y="251826"/>
                      </a:lnTo>
                      <a:lnTo>
                        <a:pt x="75712" y="250180"/>
                      </a:lnTo>
                      <a:lnTo>
                        <a:pt x="81747" y="247437"/>
                      </a:lnTo>
                      <a:lnTo>
                        <a:pt x="83393" y="243596"/>
                      </a:lnTo>
                      <a:lnTo>
                        <a:pt x="47732" y="246340"/>
                      </a:lnTo>
                      <a:lnTo>
                        <a:pt x="46086" y="243047"/>
                      </a:lnTo>
                      <a:lnTo>
                        <a:pt x="54315" y="235367"/>
                      </a:lnTo>
                      <a:lnTo>
                        <a:pt x="47183" y="228234"/>
                      </a:lnTo>
                      <a:lnTo>
                        <a:pt x="43343" y="227686"/>
                      </a:lnTo>
                      <a:lnTo>
                        <a:pt x="44440" y="222199"/>
                      </a:lnTo>
                      <a:lnTo>
                        <a:pt x="47732" y="219456"/>
                      </a:lnTo>
                      <a:lnTo>
                        <a:pt x="49378" y="216713"/>
                      </a:lnTo>
                      <a:lnTo>
                        <a:pt x="39502" y="218908"/>
                      </a:lnTo>
                      <a:lnTo>
                        <a:pt x="36210" y="213970"/>
                      </a:lnTo>
                      <a:lnTo>
                        <a:pt x="40599" y="211226"/>
                      </a:lnTo>
                      <a:lnTo>
                        <a:pt x="41697" y="205192"/>
                      </a:lnTo>
                      <a:lnTo>
                        <a:pt x="38953" y="198608"/>
                      </a:lnTo>
                      <a:lnTo>
                        <a:pt x="34564" y="195865"/>
                      </a:lnTo>
                      <a:lnTo>
                        <a:pt x="25237" y="193670"/>
                      </a:lnTo>
                      <a:lnTo>
                        <a:pt x="20848" y="189281"/>
                      </a:lnTo>
                      <a:lnTo>
                        <a:pt x="14265" y="191476"/>
                      </a:lnTo>
                      <a:lnTo>
                        <a:pt x="10973" y="189281"/>
                      </a:lnTo>
                      <a:lnTo>
                        <a:pt x="7681" y="185440"/>
                      </a:lnTo>
                      <a:lnTo>
                        <a:pt x="7132" y="183246"/>
                      </a:lnTo>
                      <a:lnTo>
                        <a:pt x="11521" y="181600"/>
                      </a:lnTo>
                      <a:lnTo>
                        <a:pt x="12070" y="175016"/>
                      </a:lnTo>
                      <a:lnTo>
                        <a:pt x="11521" y="171176"/>
                      </a:lnTo>
                      <a:lnTo>
                        <a:pt x="13167" y="167335"/>
                      </a:lnTo>
                      <a:lnTo>
                        <a:pt x="15362" y="168433"/>
                      </a:lnTo>
                      <a:lnTo>
                        <a:pt x="19751" y="179405"/>
                      </a:lnTo>
                      <a:lnTo>
                        <a:pt x="23591" y="180503"/>
                      </a:lnTo>
                      <a:lnTo>
                        <a:pt x="37856" y="179405"/>
                      </a:lnTo>
                      <a:lnTo>
                        <a:pt x="36210" y="177211"/>
                      </a:lnTo>
                      <a:lnTo>
                        <a:pt x="29078" y="174467"/>
                      </a:lnTo>
                      <a:lnTo>
                        <a:pt x="25237" y="168433"/>
                      </a:lnTo>
                      <a:lnTo>
                        <a:pt x="26883" y="162946"/>
                      </a:lnTo>
                      <a:lnTo>
                        <a:pt x="31821" y="158557"/>
                      </a:lnTo>
                      <a:lnTo>
                        <a:pt x="30724" y="154717"/>
                      </a:lnTo>
                      <a:lnTo>
                        <a:pt x="26883" y="150328"/>
                      </a:lnTo>
                      <a:lnTo>
                        <a:pt x="26883" y="145938"/>
                      </a:lnTo>
                      <a:lnTo>
                        <a:pt x="22494" y="141001"/>
                      </a:lnTo>
                      <a:lnTo>
                        <a:pt x="23591" y="133319"/>
                      </a:lnTo>
                      <a:lnTo>
                        <a:pt x="29627" y="127285"/>
                      </a:lnTo>
                      <a:lnTo>
                        <a:pt x="27981" y="123993"/>
                      </a:lnTo>
                      <a:lnTo>
                        <a:pt x="549" y="126736"/>
                      </a:lnTo>
                      <a:lnTo>
                        <a:pt x="0" y="123444"/>
                      </a:lnTo>
                      <a:lnTo>
                        <a:pt x="2195" y="109728"/>
                      </a:lnTo>
                      <a:lnTo>
                        <a:pt x="6035" y="102596"/>
                      </a:lnTo>
                      <a:lnTo>
                        <a:pt x="9327" y="101498"/>
                      </a:lnTo>
                      <a:lnTo>
                        <a:pt x="24140" y="83393"/>
                      </a:lnTo>
                      <a:lnTo>
                        <a:pt x="32918" y="83942"/>
                      </a:lnTo>
                      <a:lnTo>
                        <a:pt x="43343" y="80650"/>
                      </a:lnTo>
                      <a:lnTo>
                        <a:pt x="47183" y="83942"/>
                      </a:lnTo>
                      <a:lnTo>
                        <a:pt x="54864" y="86685"/>
                      </a:lnTo>
                      <a:lnTo>
                        <a:pt x="62545" y="86137"/>
                      </a:lnTo>
                      <a:lnTo>
                        <a:pt x="60350" y="76810"/>
                      </a:lnTo>
                      <a:lnTo>
                        <a:pt x="65837" y="77358"/>
                      </a:lnTo>
                      <a:lnTo>
                        <a:pt x="70226" y="79553"/>
                      </a:lnTo>
                      <a:lnTo>
                        <a:pt x="69677" y="83393"/>
                      </a:lnTo>
                      <a:lnTo>
                        <a:pt x="110825" y="81747"/>
                      </a:lnTo>
                      <a:lnTo>
                        <a:pt x="109728" y="77358"/>
                      </a:lnTo>
                      <a:lnTo>
                        <a:pt x="104242" y="75712"/>
                      </a:lnTo>
                      <a:lnTo>
                        <a:pt x="103693" y="73518"/>
                      </a:lnTo>
                      <a:lnTo>
                        <a:pt x="109728" y="70775"/>
                      </a:lnTo>
                      <a:lnTo>
                        <a:pt x="139903" y="68580"/>
                      </a:lnTo>
                      <a:lnTo>
                        <a:pt x="139903" y="65288"/>
                      </a:lnTo>
                      <a:lnTo>
                        <a:pt x="134417" y="64191"/>
                      </a:lnTo>
                      <a:lnTo>
                        <a:pt x="130028" y="65288"/>
                      </a:lnTo>
                      <a:lnTo>
                        <a:pt x="121249" y="64191"/>
                      </a:lnTo>
                      <a:lnTo>
                        <a:pt x="119055" y="61448"/>
                      </a:lnTo>
                      <a:lnTo>
                        <a:pt x="116312" y="60899"/>
                      </a:lnTo>
                      <a:lnTo>
                        <a:pt x="114666" y="56510"/>
                      </a:lnTo>
                      <a:lnTo>
                        <a:pt x="110825" y="53767"/>
                      </a:lnTo>
                      <a:lnTo>
                        <a:pt x="116312" y="42245"/>
                      </a:lnTo>
                      <a:lnTo>
                        <a:pt x="117409" y="44440"/>
                      </a:lnTo>
                      <a:lnTo>
                        <a:pt x="123444" y="44440"/>
                      </a:lnTo>
                      <a:lnTo>
                        <a:pt x="132222" y="47183"/>
                      </a:lnTo>
                      <a:lnTo>
                        <a:pt x="165689" y="48280"/>
                      </a:lnTo>
                      <a:lnTo>
                        <a:pt x="170627" y="51023"/>
                      </a:lnTo>
                      <a:lnTo>
                        <a:pt x="173919" y="50475"/>
                      </a:lnTo>
                      <a:lnTo>
                        <a:pt x="188183" y="52121"/>
                      </a:lnTo>
                      <a:lnTo>
                        <a:pt x="197510" y="47732"/>
                      </a:lnTo>
                      <a:lnTo>
                        <a:pt x="201899" y="38405"/>
                      </a:lnTo>
                      <a:lnTo>
                        <a:pt x="273223" y="3841"/>
                      </a:lnTo>
                      <a:lnTo>
                        <a:pt x="324795" y="4938"/>
                      </a:lnTo>
                      <a:lnTo>
                        <a:pt x="333025" y="549"/>
                      </a:lnTo>
                      <a:lnTo>
                        <a:pt x="337962" y="0"/>
                      </a:lnTo>
                      <a:lnTo>
                        <a:pt x="341803" y="1097"/>
                      </a:lnTo>
                      <a:lnTo>
                        <a:pt x="341803" y="6584"/>
                      </a:lnTo>
                      <a:lnTo>
                        <a:pt x="347289" y="14813"/>
                      </a:lnTo>
                      <a:lnTo>
                        <a:pt x="365943" y="23591"/>
                      </a:lnTo>
                      <a:lnTo>
                        <a:pt x="374173" y="17557"/>
                      </a:lnTo>
                      <a:lnTo>
                        <a:pt x="384048" y="39502"/>
                      </a:lnTo>
                      <a:lnTo>
                        <a:pt x="403250" y="41148"/>
                      </a:lnTo>
                      <a:lnTo>
                        <a:pt x="426842" y="54864"/>
                      </a:lnTo>
                      <a:lnTo>
                        <a:pt x="435620" y="50475"/>
                      </a:lnTo>
                      <a:lnTo>
                        <a:pt x="449336" y="57607"/>
                      </a:lnTo>
                      <a:lnTo>
                        <a:pt x="495422" y="49378"/>
                      </a:lnTo>
                      <a:lnTo>
                        <a:pt x="519014" y="54315"/>
                      </a:lnTo>
                      <a:lnTo>
                        <a:pt x="533827" y="53767"/>
                      </a:lnTo>
                      <a:lnTo>
                        <a:pt x="573878" y="26883"/>
                      </a:lnTo>
                      <a:lnTo>
                        <a:pt x="576072" y="23591"/>
                      </a:lnTo>
                      <a:lnTo>
                        <a:pt x="579913" y="27981"/>
                      </a:lnTo>
                      <a:lnTo>
                        <a:pt x="586496" y="27981"/>
                      </a:lnTo>
                      <a:lnTo>
                        <a:pt x="594726" y="25237"/>
                      </a:lnTo>
                      <a:lnTo>
                        <a:pt x="607893" y="29627"/>
                      </a:lnTo>
                      <a:lnTo>
                        <a:pt x="612282" y="29627"/>
                      </a:lnTo>
                      <a:lnTo>
                        <a:pt x="615574" y="24140"/>
                      </a:lnTo>
                      <a:lnTo>
                        <a:pt x="618866" y="21946"/>
                      </a:lnTo>
                      <a:lnTo>
                        <a:pt x="624352" y="24140"/>
                      </a:lnTo>
                      <a:lnTo>
                        <a:pt x="637520" y="39502"/>
                      </a:lnTo>
                      <a:lnTo>
                        <a:pt x="641360" y="40051"/>
                      </a:lnTo>
                      <a:lnTo>
                        <a:pt x="651784" y="51023"/>
                      </a:lnTo>
                      <a:lnTo>
                        <a:pt x="656722" y="60350"/>
                      </a:lnTo>
                      <a:lnTo>
                        <a:pt x="660014" y="83942"/>
                      </a:lnTo>
                      <a:lnTo>
                        <a:pt x="665500" y="91074"/>
                      </a:lnTo>
                      <a:lnTo>
                        <a:pt x="678668" y="97109"/>
                      </a:lnTo>
                      <a:lnTo>
                        <a:pt x="685251" y="104242"/>
                      </a:lnTo>
                      <a:lnTo>
                        <a:pt x="690738" y="106985"/>
                      </a:lnTo>
                      <a:lnTo>
                        <a:pt x="693481" y="110277"/>
                      </a:lnTo>
                      <a:lnTo>
                        <a:pt x="685800" y="126736"/>
                      </a:lnTo>
                      <a:lnTo>
                        <a:pt x="675925" y="132771"/>
                      </a:lnTo>
                      <a:lnTo>
                        <a:pt x="681960" y="149779"/>
                      </a:lnTo>
                      <a:lnTo>
                        <a:pt x="681960" y="204643"/>
                      </a:lnTo>
                      <a:lnTo>
                        <a:pt x="691286" y="210678"/>
                      </a:lnTo>
                      <a:lnTo>
                        <a:pt x="699516" y="222199"/>
                      </a:lnTo>
                      <a:lnTo>
                        <a:pt x="700613" y="233172"/>
                      </a:lnTo>
                      <a:lnTo>
                        <a:pt x="695127" y="238110"/>
                      </a:lnTo>
                      <a:lnTo>
                        <a:pt x="685251" y="237561"/>
                      </a:lnTo>
                      <a:lnTo>
                        <a:pt x="678668" y="229331"/>
                      </a:lnTo>
                      <a:lnTo>
                        <a:pt x="646298" y="229331"/>
                      </a:lnTo>
                      <a:lnTo>
                        <a:pt x="631485" y="223845"/>
                      </a:lnTo>
                      <a:lnTo>
                        <a:pt x="614477" y="238110"/>
                      </a:lnTo>
                      <a:lnTo>
                        <a:pt x="608442" y="238658"/>
                      </a:lnTo>
                      <a:lnTo>
                        <a:pt x="607893" y="237561"/>
                      </a:lnTo>
                      <a:lnTo>
                        <a:pt x="608442" y="233721"/>
                      </a:lnTo>
                      <a:lnTo>
                        <a:pt x="605699" y="232624"/>
                      </a:lnTo>
                      <a:lnTo>
                        <a:pt x="603504" y="230977"/>
                      </a:lnTo>
                      <a:lnTo>
                        <a:pt x="598018" y="235915"/>
                      </a:lnTo>
                      <a:lnTo>
                        <a:pt x="585947" y="240853"/>
                      </a:lnTo>
                      <a:lnTo>
                        <a:pt x="561807" y="241950"/>
                      </a:lnTo>
                      <a:lnTo>
                        <a:pt x="555224" y="239756"/>
                      </a:lnTo>
                      <a:lnTo>
                        <a:pt x="538216" y="243047"/>
                      </a:lnTo>
                      <a:lnTo>
                        <a:pt x="525597" y="251826"/>
                      </a:lnTo>
                      <a:lnTo>
                        <a:pt x="517367" y="253472"/>
                      </a:lnTo>
                      <a:lnTo>
                        <a:pt x="513527" y="256215"/>
                      </a:lnTo>
                      <a:lnTo>
                        <a:pt x="491582" y="261153"/>
                      </a:lnTo>
                      <a:lnTo>
                        <a:pt x="472379" y="257861"/>
                      </a:lnTo>
                      <a:lnTo>
                        <a:pt x="464698" y="250729"/>
                      </a:lnTo>
                      <a:lnTo>
                        <a:pt x="459760" y="249631"/>
                      </a:lnTo>
                      <a:lnTo>
                        <a:pt x="450434" y="250729"/>
                      </a:lnTo>
                      <a:lnTo>
                        <a:pt x="429037" y="260056"/>
                      </a:lnTo>
                      <a:lnTo>
                        <a:pt x="425745" y="262250"/>
                      </a:lnTo>
                      <a:lnTo>
                        <a:pt x="415869" y="260604"/>
                      </a:lnTo>
                      <a:lnTo>
                        <a:pt x="410383" y="262250"/>
                      </a:lnTo>
                      <a:lnTo>
                        <a:pt x="409285" y="260604"/>
                      </a:lnTo>
                      <a:lnTo>
                        <a:pt x="409285" y="258958"/>
                      </a:lnTo>
                      <a:lnTo>
                        <a:pt x="409834" y="257861"/>
                      </a:lnTo>
                      <a:lnTo>
                        <a:pt x="405994" y="255666"/>
                      </a:lnTo>
                      <a:lnTo>
                        <a:pt x="399410" y="255118"/>
                      </a:lnTo>
                      <a:lnTo>
                        <a:pt x="396118" y="253472"/>
                      </a:lnTo>
                      <a:lnTo>
                        <a:pt x="392278" y="260604"/>
                      </a:lnTo>
                      <a:lnTo>
                        <a:pt x="391729" y="261701"/>
                      </a:lnTo>
                      <a:lnTo>
                        <a:pt x="392278" y="264445"/>
                      </a:lnTo>
                      <a:lnTo>
                        <a:pt x="390632" y="270479"/>
                      </a:lnTo>
                      <a:lnTo>
                        <a:pt x="396667" y="278709"/>
                      </a:lnTo>
                      <a:lnTo>
                        <a:pt x="396667" y="281452"/>
                      </a:lnTo>
                      <a:lnTo>
                        <a:pt x="395021" y="282001"/>
                      </a:lnTo>
                      <a:lnTo>
                        <a:pt x="390083" y="281452"/>
                      </a:lnTo>
                      <a:lnTo>
                        <a:pt x="384048" y="284195"/>
                      </a:lnTo>
                      <a:lnTo>
                        <a:pt x="384048" y="291877"/>
                      </a:lnTo>
                      <a:lnTo>
                        <a:pt x="380207" y="295717"/>
                      </a:lnTo>
                      <a:lnTo>
                        <a:pt x="377464" y="296266"/>
                      </a:lnTo>
                      <a:lnTo>
                        <a:pt x="375818" y="300655"/>
                      </a:lnTo>
                      <a:lnTo>
                        <a:pt x="371429" y="297363"/>
                      </a:lnTo>
                      <a:lnTo>
                        <a:pt x="370332" y="294620"/>
                      </a:lnTo>
                      <a:lnTo>
                        <a:pt x="367589" y="294620"/>
                      </a:lnTo>
                      <a:lnTo>
                        <a:pt x="368686" y="290231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99" name="Graphic 7">
                  <a:extLst>
                    <a:ext uri="{FF2B5EF4-FFF2-40B4-BE49-F238E27FC236}">
                      <a16:creationId xmlns:a16="http://schemas.microsoft.com/office/drawing/2014/main" id="{80E9825D-9406-5CAE-CC1D-3AB78A4E4AB4}"/>
                    </a:ext>
                  </a:extLst>
                </p:cNvPr>
                <p:cNvSpPr/>
                <p:nvPr/>
              </p:nvSpPr>
              <p:spPr>
                <a:xfrm>
                  <a:off x="6003345" y="3116420"/>
                  <a:ext cx="88729" cy="74583"/>
                </a:xfrm>
                <a:custGeom>
                  <a:avLst/>
                  <a:gdLst>
                    <a:gd name="connsiteX0" fmla="*/ 74066 w 113568"/>
                    <a:gd name="connsiteY0" fmla="*/ 4938 h 95463"/>
                    <a:gd name="connsiteX1" fmla="*/ 68580 w 113568"/>
                    <a:gd name="connsiteY1" fmla="*/ 4389 h 95463"/>
                    <a:gd name="connsiteX2" fmla="*/ 53218 w 113568"/>
                    <a:gd name="connsiteY2" fmla="*/ 6584 h 95463"/>
                    <a:gd name="connsiteX3" fmla="*/ 41148 w 113568"/>
                    <a:gd name="connsiteY3" fmla="*/ 0 h 95463"/>
                    <a:gd name="connsiteX4" fmla="*/ 17557 w 113568"/>
                    <a:gd name="connsiteY4" fmla="*/ 6584 h 95463"/>
                    <a:gd name="connsiteX5" fmla="*/ 11521 w 113568"/>
                    <a:gd name="connsiteY5" fmla="*/ 11521 h 95463"/>
                    <a:gd name="connsiteX6" fmla="*/ 13167 w 113568"/>
                    <a:gd name="connsiteY6" fmla="*/ 15362 h 95463"/>
                    <a:gd name="connsiteX7" fmla="*/ 19202 w 113568"/>
                    <a:gd name="connsiteY7" fmla="*/ 20848 h 95463"/>
                    <a:gd name="connsiteX8" fmla="*/ 18105 w 113568"/>
                    <a:gd name="connsiteY8" fmla="*/ 28529 h 95463"/>
                    <a:gd name="connsiteX9" fmla="*/ 10973 w 113568"/>
                    <a:gd name="connsiteY9" fmla="*/ 34564 h 95463"/>
                    <a:gd name="connsiteX10" fmla="*/ 7132 w 113568"/>
                    <a:gd name="connsiteY10" fmla="*/ 55413 h 95463"/>
                    <a:gd name="connsiteX11" fmla="*/ 0 w 113568"/>
                    <a:gd name="connsiteY11" fmla="*/ 64739 h 95463"/>
                    <a:gd name="connsiteX12" fmla="*/ 1646 w 113568"/>
                    <a:gd name="connsiteY12" fmla="*/ 68031 h 95463"/>
                    <a:gd name="connsiteX13" fmla="*/ 6584 w 113568"/>
                    <a:gd name="connsiteY13" fmla="*/ 70226 h 95463"/>
                    <a:gd name="connsiteX14" fmla="*/ 29078 w 113568"/>
                    <a:gd name="connsiteY14" fmla="*/ 68031 h 95463"/>
                    <a:gd name="connsiteX15" fmla="*/ 24689 w 113568"/>
                    <a:gd name="connsiteY15" fmla="*/ 72969 h 95463"/>
                    <a:gd name="connsiteX16" fmla="*/ 7132 w 113568"/>
                    <a:gd name="connsiteY16" fmla="*/ 81199 h 95463"/>
                    <a:gd name="connsiteX17" fmla="*/ 6035 w 113568"/>
                    <a:gd name="connsiteY17" fmla="*/ 95463 h 95463"/>
                    <a:gd name="connsiteX18" fmla="*/ 11521 w 113568"/>
                    <a:gd name="connsiteY18" fmla="*/ 93269 h 95463"/>
                    <a:gd name="connsiteX19" fmla="*/ 15911 w 113568"/>
                    <a:gd name="connsiteY19" fmla="*/ 85588 h 95463"/>
                    <a:gd name="connsiteX20" fmla="*/ 58156 w 113568"/>
                    <a:gd name="connsiteY20" fmla="*/ 51023 h 95463"/>
                    <a:gd name="connsiteX21" fmla="*/ 94366 w 113568"/>
                    <a:gd name="connsiteY21" fmla="*/ 49926 h 95463"/>
                    <a:gd name="connsiteX22" fmla="*/ 99853 w 113568"/>
                    <a:gd name="connsiteY22" fmla="*/ 52121 h 95463"/>
                    <a:gd name="connsiteX23" fmla="*/ 109728 w 113568"/>
                    <a:gd name="connsiteY23" fmla="*/ 49378 h 95463"/>
                    <a:gd name="connsiteX24" fmla="*/ 113569 w 113568"/>
                    <a:gd name="connsiteY24" fmla="*/ 43342 h 95463"/>
                    <a:gd name="connsiteX25" fmla="*/ 113569 w 113568"/>
                    <a:gd name="connsiteY25" fmla="*/ 37307 h 95463"/>
                    <a:gd name="connsiteX26" fmla="*/ 106985 w 113568"/>
                    <a:gd name="connsiteY26" fmla="*/ 36759 h 95463"/>
                    <a:gd name="connsiteX27" fmla="*/ 85588 w 113568"/>
                    <a:gd name="connsiteY27" fmla="*/ 28529 h 95463"/>
                    <a:gd name="connsiteX28" fmla="*/ 75164 w 113568"/>
                    <a:gd name="connsiteY28" fmla="*/ 18105 h 95463"/>
                    <a:gd name="connsiteX29" fmla="*/ 73518 w 113568"/>
                    <a:gd name="connsiteY29" fmla="*/ 10424 h 95463"/>
                    <a:gd name="connsiteX30" fmla="*/ 74066 w 113568"/>
                    <a:gd name="connsiteY30" fmla="*/ 4938 h 954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</a:cxnLst>
                  <a:rect l="l" t="t" r="r" b="b"/>
                  <a:pathLst>
                    <a:path w="113568" h="95463">
                      <a:moveTo>
                        <a:pt x="74066" y="4938"/>
                      </a:moveTo>
                      <a:lnTo>
                        <a:pt x="68580" y="4389"/>
                      </a:lnTo>
                      <a:lnTo>
                        <a:pt x="53218" y="6584"/>
                      </a:lnTo>
                      <a:lnTo>
                        <a:pt x="41148" y="0"/>
                      </a:lnTo>
                      <a:lnTo>
                        <a:pt x="17557" y="6584"/>
                      </a:lnTo>
                      <a:lnTo>
                        <a:pt x="11521" y="11521"/>
                      </a:lnTo>
                      <a:lnTo>
                        <a:pt x="13167" y="15362"/>
                      </a:lnTo>
                      <a:lnTo>
                        <a:pt x="19202" y="20848"/>
                      </a:lnTo>
                      <a:lnTo>
                        <a:pt x="18105" y="28529"/>
                      </a:lnTo>
                      <a:lnTo>
                        <a:pt x="10973" y="34564"/>
                      </a:lnTo>
                      <a:lnTo>
                        <a:pt x="7132" y="55413"/>
                      </a:lnTo>
                      <a:lnTo>
                        <a:pt x="0" y="64739"/>
                      </a:lnTo>
                      <a:lnTo>
                        <a:pt x="1646" y="68031"/>
                      </a:lnTo>
                      <a:lnTo>
                        <a:pt x="6584" y="70226"/>
                      </a:lnTo>
                      <a:lnTo>
                        <a:pt x="29078" y="68031"/>
                      </a:lnTo>
                      <a:lnTo>
                        <a:pt x="24689" y="72969"/>
                      </a:lnTo>
                      <a:lnTo>
                        <a:pt x="7132" y="81199"/>
                      </a:lnTo>
                      <a:lnTo>
                        <a:pt x="6035" y="95463"/>
                      </a:lnTo>
                      <a:lnTo>
                        <a:pt x="11521" y="93269"/>
                      </a:lnTo>
                      <a:lnTo>
                        <a:pt x="15911" y="85588"/>
                      </a:lnTo>
                      <a:lnTo>
                        <a:pt x="58156" y="51023"/>
                      </a:lnTo>
                      <a:lnTo>
                        <a:pt x="94366" y="49926"/>
                      </a:lnTo>
                      <a:lnTo>
                        <a:pt x="99853" y="52121"/>
                      </a:lnTo>
                      <a:lnTo>
                        <a:pt x="109728" y="49378"/>
                      </a:lnTo>
                      <a:lnTo>
                        <a:pt x="113569" y="43342"/>
                      </a:lnTo>
                      <a:lnTo>
                        <a:pt x="113569" y="37307"/>
                      </a:lnTo>
                      <a:lnTo>
                        <a:pt x="106985" y="36759"/>
                      </a:lnTo>
                      <a:lnTo>
                        <a:pt x="85588" y="28529"/>
                      </a:lnTo>
                      <a:lnTo>
                        <a:pt x="75164" y="18105"/>
                      </a:lnTo>
                      <a:lnTo>
                        <a:pt x="73518" y="10424"/>
                      </a:lnTo>
                      <a:lnTo>
                        <a:pt x="74066" y="4938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0" name="Graphic 7">
                  <a:extLst>
                    <a:ext uri="{FF2B5EF4-FFF2-40B4-BE49-F238E27FC236}">
                      <a16:creationId xmlns:a16="http://schemas.microsoft.com/office/drawing/2014/main" id="{791B1FD9-60E7-E687-A26E-A5027E295EF8}"/>
                    </a:ext>
                  </a:extLst>
                </p:cNvPr>
                <p:cNvSpPr/>
                <p:nvPr/>
              </p:nvSpPr>
              <p:spPr>
                <a:xfrm>
                  <a:off x="5812171" y="2502176"/>
                  <a:ext cx="96873" cy="71154"/>
                </a:xfrm>
                <a:custGeom>
                  <a:avLst/>
                  <a:gdLst>
                    <a:gd name="connsiteX0" fmla="*/ 0 w 123992"/>
                    <a:gd name="connsiteY0" fmla="*/ 80650 h 91074"/>
                    <a:gd name="connsiteX1" fmla="*/ 1646 w 123992"/>
                    <a:gd name="connsiteY1" fmla="*/ 79004 h 91074"/>
                    <a:gd name="connsiteX2" fmla="*/ 8230 w 123992"/>
                    <a:gd name="connsiteY2" fmla="*/ 73518 h 91074"/>
                    <a:gd name="connsiteX3" fmla="*/ 13716 w 123992"/>
                    <a:gd name="connsiteY3" fmla="*/ 60350 h 91074"/>
                    <a:gd name="connsiteX4" fmla="*/ 14265 w 123992"/>
                    <a:gd name="connsiteY4" fmla="*/ 52121 h 91074"/>
                    <a:gd name="connsiteX5" fmla="*/ 17556 w 123992"/>
                    <a:gd name="connsiteY5" fmla="*/ 48280 h 91074"/>
                    <a:gd name="connsiteX6" fmla="*/ 31821 w 123992"/>
                    <a:gd name="connsiteY6" fmla="*/ 47183 h 91074"/>
                    <a:gd name="connsiteX7" fmla="*/ 53218 w 123992"/>
                    <a:gd name="connsiteY7" fmla="*/ 22494 h 91074"/>
                    <a:gd name="connsiteX8" fmla="*/ 57607 w 123992"/>
                    <a:gd name="connsiteY8" fmla="*/ 0 h 91074"/>
                    <a:gd name="connsiteX9" fmla="*/ 54864 w 123992"/>
                    <a:gd name="connsiteY9" fmla="*/ 18654 h 91074"/>
                    <a:gd name="connsiteX10" fmla="*/ 39502 w 123992"/>
                    <a:gd name="connsiteY10" fmla="*/ 43891 h 91074"/>
                    <a:gd name="connsiteX11" fmla="*/ 41697 w 123992"/>
                    <a:gd name="connsiteY11" fmla="*/ 49378 h 91074"/>
                    <a:gd name="connsiteX12" fmla="*/ 46086 w 123992"/>
                    <a:gd name="connsiteY12" fmla="*/ 48280 h 91074"/>
                    <a:gd name="connsiteX13" fmla="*/ 52121 w 123992"/>
                    <a:gd name="connsiteY13" fmla="*/ 51024 h 91074"/>
                    <a:gd name="connsiteX14" fmla="*/ 59802 w 123992"/>
                    <a:gd name="connsiteY14" fmla="*/ 51024 h 91074"/>
                    <a:gd name="connsiteX15" fmla="*/ 60899 w 123992"/>
                    <a:gd name="connsiteY15" fmla="*/ 34016 h 91074"/>
                    <a:gd name="connsiteX16" fmla="*/ 63642 w 123992"/>
                    <a:gd name="connsiteY16" fmla="*/ 30724 h 91074"/>
                    <a:gd name="connsiteX17" fmla="*/ 64191 w 123992"/>
                    <a:gd name="connsiteY17" fmla="*/ 27981 h 91074"/>
                    <a:gd name="connsiteX18" fmla="*/ 70775 w 123992"/>
                    <a:gd name="connsiteY18" fmla="*/ 25786 h 91074"/>
                    <a:gd name="connsiteX19" fmla="*/ 74615 w 123992"/>
                    <a:gd name="connsiteY19" fmla="*/ 30175 h 91074"/>
                    <a:gd name="connsiteX20" fmla="*/ 80101 w 123992"/>
                    <a:gd name="connsiteY20" fmla="*/ 31273 h 91074"/>
                    <a:gd name="connsiteX21" fmla="*/ 84491 w 123992"/>
                    <a:gd name="connsiteY21" fmla="*/ 35113 h 91074"/>
                    <a:gd name="connsiteX22" fmla="*/ 100950 w 123992"/>
                    <a:gd name="connsiteY22" fmla="*/ 38953 h 91074"/>
                    <a:gd name="connsiteX23" fmla="*/ 111923 w 123992"/>
                    <a:gd name="connsiteY23" fmla="*/ 37856 h 91074"/>
                    <a:gd name="connsiteX24" fmla="*/ 116312 w 123992"/>
                    <a:gd name="connsiteY24" fmla="*/ 40599 h 91074"/>
                    <a:gd name="connsiteX25" fmla="*/ 123993 w 123992"/>
                    <a:gd name="connsiteY25" fmla="*/ 55961 h 91074"/>
                    <a:gd name="connsiteX26" fmla="*/ 119603 w 123992"/>
                    <a:gd name="connsiteY26" fmla="*/ 66934 h 91074"/>
                    <a:gd name="connsiteX27" fmla="*/ 121249 w 123992"/>
                    <a:gd name="connsiteY27" fmla="*/ 85039 h 91074"/>
                    <a:gd name="connsiteX28" fmla="*/ 87234 w 123992"/>
                    <a:gd name="connsiteY28" fmla="*/ 91074 h 91074"/>
                    <a:gd name="connsiteX29" fmla="*/ 0 w 123992"/>
                    <a:gd name="connsiteY29" fmla="*/ 80650 h 910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123992" h="91074">
                      <a:moveTo>
                        <a:pt x="0" y="80650"/>
                      </a:moveTo>
                      <a:lnTo>
                        <a:pt x="1646" y="79004"/>
                      </a:lnTo>
                      <a:lnTo>
                        <a:pt x="8230" y="73518"/>
                      </a:lnTo>
                      <a:lnTo>
                        <a:pt x="13716" y="60350"/>
                      </a:lnTo>
                      <a:lnTo>
                        <a:pt x="14265" y="52121"/>
                      </a:lnTo>
                      <a:lnTo>
                        <a:pt x="17556" y="48280"/>
                      </a:lnTo>
                      <a:lnTo>
                        <a:pt x="31821" y="47183"/>
                      </a:lnTo>
                      <a:lnTo>
                        <a:pt x="53218" y="22494"/>
                      </a:lnTo>
                      <a:lnTo>
                        <a:pt x="57607" y="0"/>
                      </a:lnTo>
                      <a:lnTo>
                        <a:pt x="54864" y="18654"/>
                      </a:lnTo>
                      <a:lnTo>
                        <a:pt x="39502" y="43891"/>
                      </a:lnTo>
                      <a:lnTo>
                        <a:pt x="41697" y="49378"/>
                      </a:lnTo>
                      <a:lnTo>
                        <a:pt x="46086" y="48280"/>
                      </a:lnTo>
                      <a:lnTo>
                        <a:pt x="52121" y="51024"/>
                      </a:lnTo>
                      <a:lnTo>
                        <a:pt x="59802" y="51024"/>
                      </a:lnTo>
                      <a:lnTo>
                        <a:pt x="60899" y="34016"/>
                      </a:lnTo>
                      <a:lnTo>
                        <a:pt x="63642" y="30724"/>
                      </a:lnTo>
                      <a:lnTo>
                        <a:pt x="64191" y="27981"/>
                      </a:lnTo>
                      <a:lnTo>
                        <a:pt x="70775" y="25786"/>
                      </a:lnTo>
                      <a:lnTo>
                        <a:pt x="74615" y="30175"/>
                      </a:lnTo>
                      <a:lnTo>
                        <a:pt x="80101" y="31273"/>
                      </a:lnTo>
                      <a:lnTo>
                        <a:pt x="84491" y="35113"/>
                      </a:lnTo>
                      <a:lnTo>
                        <a:pt x="100950" y="38953"/>
                      </a:lnTo>
                      <a:lnTo>
                        <a:pt x="111923" y="37856"/>
                      </a:lnTo>
                      <a:lnTo>
                        <a:pt x="116312" y="40599"/>
                      </a:lnTo>
                      <a:lnTo>
                        <a:pt x="123993" y="55961"/>
                      </a:lnTo>
                      <a:lnTo>
                        <a:pt x="119603" y="66934"/>
                      </a:lnTo>
                      <a:lnTo>
                        <a:pt x="121249" y="85039"/>
                      </a:lnTo>
                      <a:lnTo>
                        <a:pt x="87234" y="91074"/>
                      </a:lnTo>
                      <a:lnTo>
                        <a:pt x="0" y="8065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1" name="Graphic 7">
                  <a:extLst>
                    <a:ext uri="{FF2B5EF4-FFF2-40B4-BE49-F238E27FC236}">
                      <a16:creationId xmlns:a16="http://schemas.microsoft.com/office/drawing/2014/main" id="{5E4E7406-86E0-C263-857D-E7AB5B225B81}"/>
                    </a:ext>
                  </a:extLst>
                </p:cNvPr>
                <p:cNvSpPr/>
                <p:nvPr/>
              </p:nvSpPr>
              <p:spPr>
                <a:xfrm>
                  <a:off x="5034185" y="2355152"/>
                  <a:ext cx="26147" cy="39006"/>
                </a:xfrm>
                <a:custGeom>
                  <a:avLst/>
                  <a:gdLst>
                    <a:gd name="connsiteX0" fmla="*/ 31273 w 33467"/>
                    <a:gd name="connsiteY0" fmla="*/ 0 h 49926"/>
                    <a:gd name="connsiteX1" fmla="*/ 26883 w 33467"/>
                    <a:gd name="connsiteY1" fmla="*/ 1097 h 49926"/>
                    <a:gd name="connsiteX2" fmla="*/ 9876 w 33467"/>
                    <a:gd name="connsiteY2" fmla="*/ 13167 h 49926"/>
                    <a:gd name="connsiteX3" fmla="*/ 9876 w 33467"/>
                    <a:gd name="connsiteY3" fmla="*/ 15911 h 49926"/>
                    <a:gd name="connsiteX4" fmla="*/ 10973 w 33467"/>
                    <a:gd name="connsiteY4" fmla="*/ 19751 h 49926"/>
                    <a:gd name="connsiteX5" fmla="*/ 7132 w 33467"/>
                    <a:gd name="connsiteY5" fmla="*/ 20848 h 49926"/>
                    <a:gd name="connsiteX6" fmla="*/ 2195 w 33467"/>
                    <a:gd name="connsiteY6" fmla="*/ 17556 h 49926"/>
                    <a:gd name="connsiteX7" fmla="*/ 0 w 33467"/>
                    <a:gd name="connsiteY7" fmla="*/ 24140 h 49926"/>
                    <a:gd name="connsiteX8" fmla="*/ 0 w 33467"/>
                    <a:gd name="connsiteY8" fmla="*/ 33467 h 49926"/>
                    <a:gd name="connsiteX9" fmla="*/ 4389 w 33467"/>
                    <a:gd name="connsiteY9" fmla="*/ 39502 h 49926"/>
                    <a:gd name="connsiteX10" fmla="*/ 1097 w 33467"/>
                    <a:gd name="connsiteY10" fmla="*/ 43891 h 49926"/>
                    <a:gd name="connsiteX11" fmla="*/ 1097 w 33467"/>
                    <a:gd name="connsiteY11" fmla="*/ 45537 h 49926"/>
                    <a:gd name="connsiteX12" fmla="*/ 2195 w 33467"/>
                    <a:gd name="connsiteY12" fmla="*/ 49926 h 49926"/>
                    <a:gd name="connsiteX13" fmla="*/ 9327 w 33467"/>
                    <a:gd name="connsiteY13" fmla="*/ 46086 h 49926"/>
                    <a:gd name="connsiteX14" fmla="*/ 9876 w 33467"/>
                    <a:gd name="connsiteY14" fmla="*/ 42245 h 49926"/>
                    <a:gd name="connsiteX15" fmla="*/ 12619 w 33467"/>
                    <a:gd name="connsiteY15" fmla="*/ 40599 h 49926"/>
                    <a:gd name="connsiteX16" fmla="*/ 14813 w 33467"/>
                    <a:gd name="connsiteY16" fmla="*/ 37307 h 49926"/>
                    <a:gd name="connsiteX17" fmla="*/ 19751 w 33467"/>
                    <a:gd name="connsiteY17" fmla="*/ 37307 h 49926"/>
                    <a:gd name="connsiteX18" fmla="*/ 24689 w 33467"/>
                    <a:gd name="connsiteY18" fmla="*/ 32918 h 49926"/>
                    <a:gd name="connsiteX19" fmla="*/ 25786 w 33467"/>
                    <a:gd name="connsiteY19" fmla="*/ 27981 h 49926"/>
                    <a:gd name="connsiteX20" fmla="*/ 23592 w 33467"/>
                    <a:gd name="connsiteY20" fmla="*/ 27432 h 49926"/>
                    <a:gd name="connsiteX21" fmla="*/ 23592 w 33467"/>
                    <a:gd name="connsiteY21" fmla="*/ 23591 h 49926"/>
                    <a:gd name="connsiteX22" fmla="*/ 26335 w 33467"/>
                    <a:gd name="connsiteY22" fmla="*/ 19751 h 49926"/>
                    <a:gd name="connsiteX23" fmla="*/ 29627 w 33467"/>
                    <a:gd name="connsiteY23" fmla="*/ 19202 h 49926"/>
                    <a:gd name="connsiteX24" fmla="*/ 33467 w 33467"/>
                    <a:gd name="connsiteY24" fmla="*/ 16459 h 49926"/>
                    <a:gd name="connsiteX25" fmla="*/ 31821 w 33467"/>
                    <a:gd name="connsiteY25" fmla="*/ 16459 h 49926"/>
                    <a:gd name="connsiteX26" fmla="*/ 29627 w 33467"/>
                    <a:gd name="connsiteY26" fmla="*/ 14265 h 49926"/>
                    <a:gd name="connsiteX27" fmla="*/ 31273 w 33467"/>
                    <a:gd name="connsiteY27" fmla="*/ 0 h 499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</a:cxnLst>
                  <a:rect l="l" t="t" r="r" b="b"/>
                  <a:pathLst>
                    <a:path w="33467" h="49926">
                      <a:moveTo>
                        <a:pt x="31273" y="0"/>
                      </a:moveTo>
                      <a:lnTo>
                        <a:pt x="26883" y="1097"/>
                      </a:lnTo>
                      <a:lnTo>
                        <a:pt x="9876" y="13167"/>
                      </a:lnTo>
                      <a:lnTo>
                        <a:pt x="9876" y="15911"/>
                      </a:lnTo>
                      <a:lnTo>
                        <a:pt x="10973" y="19751"/>
                      </a:lnTo>
                      <a:lnTo>
                        <a:pt x="7132" y="20848"/>
                      </a:lnTo>
                      <a:lnTo>
                        <a:pt x="2195" y="17556"/>
                      </a:lnTo>
                      <a:lnTo>
                        <a:pt x="0" y="24140"/>
                      </a:lnTo>
                      <a:lnTo>
                        <a:pt x="0" y="33467"/>
                      </a:lnTo>
                      <a:lnTo>
                        <a:pt x="4389" y="39502"/>
                      </a:lnTo>
                      <a:lnTo>
                        <a:pt x="1097" y="43891"/>
                      </a:lnTo>
                      <a:lnTo>
                        <a:pt x="1097" y="45537"/>
                      </a:lnTo>
                      <a:lnTo>
                        <a:pt x="2195" y="49926"/>
                      </a:lnTo>
                      <a:lnTo>
                        <a:pt x="9327" y="46086"/>
                      </a:lnTo>
                      <a:lnTo>
                        <a:pt x="9876" y="42245"/>
                      </a:lnTo>
                      <a:lnTo>
                        <a:pt x="12619" y="40599"/>
                      </a:lnTo>
                      <a:lnTo>
                        <a:pt x="14813" y="37307"/>
                      </a:lnTo>
                      <a:lnTo>
                        <a:pt x="19751" y="37307"/>
                      </a:lnTo>
                      <a:lnTo>
                        <a:pt x="24689" y="32918"/>
                      </a:lnTo>
                      <a:lnTo>
                        <a:pt x="25786" y="27981"/>
                      </a:lnTo>
                      <a:lnTo>
                        <a:pt x="23592" y="27432"/>
                      </a:lnTo>
                      <a:lnTo>
                        <a:pt x="23592" y="23591"/>
                      </a:lnTo>
                      <a:lnTo>
                        <a:pt x="26335" y="19751"/>
                      </a:lnTo>
                      <a:lnTo>
                        <a:pt x="29627" y="19202"/>
                      </a:lnTo>
                      <a:lnTo>
                        <a:pt x="33467" y="16459"/>
                      </a:lnTo>
                      <a:lnTo>
                        <a:pt x="31821" y="16459"/>
                      </a:lnTo>
                      <a:lnTo>
                        <a:pt x="29627" y="14265"/>
                      </a:lnTo>
                      <a:lnTo>
                        <a:pt x="31273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2" name="Graphic 7">
                  <a:extLst>
                    <a:ext uri="{FF2B5EF4-FFF2-40B4-BE49-F238E27FC236}">
                      <a16:creationId xmlns:a16="http://schemas.microsoft.com/office/drawing/2014/main" id="{E3FED590-8ACF-6C66-8658-C36CB460EFF1}"/>
                    </a:ext>
                  </a:extLst>
                </p:cNvPr>
                <p:cNvSpPr/>
                <p:nvPr/>
              </p:nvSpPr>
              <p:spPr>
                <a:xfrm>
                  <a:off x="5021755" y="2399302"/>
                  <a:ext cx="12430" cy="7286"/>
                </a:xfrm>
                <a:custGeom>
                  <a:avLst/>
                  <a:gdLst>
                    <a:gd name="connsiteX0" fmla="*/ 13716 w 15910"/>
                    <a:gd name="connsiteY0" fmla="*/ 2743 h 9326"/>
                    <a:gd name="connsiteX1" fmla="*/ 15911 w 15910"/>
                    <a:gd name="connsiteY1" fmla="*/ 1646 h 9326"/>
                    <a:gd name="connsiteX2" fmla="*/ 12070 w 15910"/>
                    <a:gd name="connsiteY2" fmla="*/ 0 h 9326"/>
                    <a:gd name="connsiteX3" fmla="*/ 549 w 15910"/>
                    <a:gd name="connsiteY3" fmla="*/ 2195 h 9326"/>
                    <a:gd name="connsiteX4" fmla="*/ 0 w 15910"/>
                    <a:gd name="connsiteY4" fmla="*/ 4389 h 9326"/>
                    <a:gd name="connsiteX5" fmla="*/ 5486 w 15910"/>
                    <a:gd name="connsiteY5" fmla="*/ 9327 h 9326"/>
                    <a:gd name="connsiteX6" fmla="*/ 12619 w 15910"/>
                    <a:gd name="connsiteY6" fmla="*/ 9327 h 9326"/>
                    <a:gd name="connsiteX7" fmla="*/ 13716 w 15910"/>
                    <a:gd name="connsiteY7" fmla="*/ 2743 h 93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5910" h="9326">
                      <a:moveTo>
                        <a:pt x="13716" y="2743"/>
                      </a:moveTo>
                      <a:lnTo>
                        <a:pt x="15911" y="1646"/>
                      </a:lnTo>
                      <a:lnTo>
                        <a:pt x="12070" y="0"/>
                      </a:lnTo>
                      <a:lnTo>
                        <a:pt x="549" y="2195"/>
                      </a:lnTo>
                      <a:lnTo>
                        <a:pt x="0" y="4389"/>
                      </a:lnTo>
                      <a:lnTo>
                        <a:pt x="5486" y="9327"/>
                      </a:lnTo>
                      <a:lnTo>
                        <a:pt x="12619" y="9327"/>
                      </a:lnTo>
                      <a:lnTo>
                        <a:pt x="13716" y="2743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3" name="Graphic 7">
                  <a:extLst>
                    <a:ext uri="{FF2B5EF4-FFF2-40B4-BE49-F238E27FC236}">
                      <a16:creationId xmlns:a16="http://schemas.microsoft.com/office/drawing/2014/main" id="{74692B5B-6AF8-C119-CD51-E28142AF2C67}"/>
                    </a:ext>
                  </a:extLst>
                </p:cNvPr>
                <p:cNvSpPr/>
                <p:nvPr/>
              </p:nvSpPr>
              <p:spPr>
                <a:xfrm>
                  <a:off x="5144346" y="2315288"/>
                  <a:ext cx="18002" cy="12859"/>
                </a:xfrm>
                <a:custGeom>
                  <a:avLst/>
                  <a:gdLst>
                    <a:gd name="connsiteX0" fmla="*/ 21946 w 23042"/>
                    <a:gd name="connsiteY0" fmla="*/ 15362 h 16459"/>
                    <a:gd name="connsiteX1" fmla="*/ 23043 w 23042"/>
                    <a:gd name="connsiteY1" fmla="*/ 13716 h 16459"/>
                    <a:gd name="connsiteX2" fmla="*/ 21397 w 23042"/>
                    <a:gd name="connsiteY2" fmla="*/ 11521 h 16459"/>
                    <a:gd name="connsiteX3" fmla="*/ 9327 w 23042"/>
                    <a:gd name="connsiteY3" fmla="*/ 10973 h 16459"/>
                    <a:gd name="connsiteX4" fmla="*/ 7681 w 23042"/>
                    <a:gd name="connsiteY4" fmla="*/ 4938 h 16459"/>
                    <a:gd name="connsiteX5" fmla="*/ 3841 w 23042"/>
                    <a:gd name="connsiteY5" fmla="*/ 0 h 16459"/>
                    <a:gd name="connsiteX6" fmla="*/ 1097 w 23042"/>
                    <a:gd name="connsiteY6" fmla="*/ 0 h 16459"/>
                    <a:gd name="connsiteX7" fmla="*/ 0 w 23042"/>
                    <a:gd name="connsiteY7" fmla="*/ 12070 h 16459"/>
                    <a:gd name="connsiteX8" fmla="*/ 3841 w 23042"/>
                    <a:gd name="connsiteY8" fmla="*/ 14813 h 16459"/>
                    <a:gd name="connsiteX9" fmla="*/ 13167 w 23042"/>
                    <a:gd name="connsiteY9" fmla="*/ 14265 h 16459"/>
                    <a:gd name="connsiteX10" fmla="*/ 20300 w 23042"/>
                    <a:gd name="connsiteY10" fmla="*/ 16459 h 16459"/>
                    <a:gd name="connsiteX11" fmla="*/ 21946 w 23042"/>
                    <a:gd name="connsiteY11" fmla="*/ 15362 h 16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23042" h="16459">
                      <a:moveTo>
                        <a:pt x="21946" y="15362"/>
                      </a:moveTo>
                      <a:lnTo>
                        <a:pt x="23043" y="13716"/>
                      </a:lnTo>
                      <a:lnTo>
                        <a:pt x="21397" y="11521"/>
                      </a:lnTo>
                      <a:lnTo>
                        <a:pt x="9327" y="10973"/>
                      </a:lnTo>
                      <a:lnTo>
                        <a:pt x="7681" y="4938"/>
                      </a:lnTo>
                      <a:lnTo>
                        <a:pt x="3841" y="0"/>
                      </a:lnTo>
                      <a:lnTo>
                        <a:pt x="1097" y="0"/>
                      </a:lnTo>
                      <a:lnTo>
                        <a:pt x="0" y="12070"/>
                      </a:lnTo>
                      <a:lnTo>
                        <a:pt x="3841" y="14813"/>
                      </a:lnTo>
                      <a:lnTo>
                        <a:pt x="13167" y="14265"/>
                      </a:lnTo>
                      <a:lnTo>
                        <a:pt x="20300" y="16459"/>
                      </a:lnTo>
                      <a:lnTo>
                        <a:pt x="21946" y="15362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4" name="Graphic 7">
                  <a:extLst>
                    <a:ext uri="{FF2B5EF4-FFF2-40B4-BE49-F238E27FC236}">
                      <a16:creationId xmlns:a16="http://schemas.microsoft.com/office/drawing/2014/main" id="{029D8451-1100-E5B8-6B09-B8352F6DA129}"/>
                    </a:ext>
                  </a:extLst>
                </p:cNvPr>
                <p:cNvSpPr/>
                <p:nvPr/>
              </p:nvSpPr>
              <p:spPr>
                <a:xfrm>
                  <a:off x="5141774" y="2328575"/>
                  <a:ext cx="6429" cy="6429"/>
                </a:xfrm>
                <a:custGeom>
                  <a:avLst/>
                  <a:gdLst>
                    <a:gd name="connsiteX0" fmla="*/ 7681 w 8229"/>
                    <a:gd name="connsiteY0" fmla="*/ 6584 h 8229"/>
                    <a:gd name="connsiteX1" fmla="*/ 8230 w 8229"/>
                    <a:gd name="connsiteY1" fmla="*/ 3841 h 8229"/>
                    <a:gd name="connsiteX2" fmla="*/ 3292 w 8229"/>
                    <a:gd name="connsiteY2" fmla="*/ 0 h 8229"/>
                    <a:gd name="connsiteX3" fmla="*/ 549 w 8229"/>
                    <a:gd name="connsiteY3" fmla="*/ 549 h 8229"/>
                    <a:gd name="connsiteX4" fmla="*/ 0 w 8229"/>
                    <a:gd name="connsiteY4" fmla="*/ 4938 h 8229"/>
                    <a:gd name="connsiteX5" fmla="*/ 2743 w 8229"/>
                    <a:gd name="connsiteY5" fmla="*/ 8230 h 8229"/>
                    <a:gd name="connsiteX6" fmla="*/ 7681 w 8229"/>
                    <a:gd name="connsiteY6" fmla="*/ 6584 h 82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229" h="8229">
                      <a:moveTo>
                        <a:pt x="7681" y="6584"/>
                      </a:moveTo>
                      <a:lnTo>
                        <a:pt x="8230" y="3841"/>
                      </a:lnTo>
                      <a:lnTo>
                        <a:pt x="3292" y="0"/>
                      </a:lnTo>
                      <a:lnTo>
                        <a:pt x="549" y="549"/>
                      </a:lnTo>
                      <a:lnTo>
                        <a:pt x="0" y="4938"/>
                      </a:lnTo>
                      <a:lnTo>
                        <a:pt x="2743" y="8230"/>
                      </a:lnTo>
                      <a:lnTo>
                        <a:pt x="7681" y="6584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5" name="Graphic 7">
                  <a:extLst>
                    <a:ext uri="{FF2B5EF4-FFF2-40B4-BE49-F238E27FC236}">
                      <a16:creationId xmlns:a16="http://schemas.microsoft.com/office/drawing/2014/main" id="{E98FA447-70A8-B010-E060-C83E1D970A2E}"/>
                    </a:ext>
                  </a:extLst>
                </p:cNvPr>
                <p:cNvSpPr/>
                <p:nvPr/>
              </p:nvSpPr>
              <p:spPr>
                <a:xfrm>
                  <a:off x="5062047" y="2345293"/>
                  <a:ext cx="230180" cy="435500"/>
                </a:xfrm>
                <a:custGeom>
                  <a:avLst/>
                  <a:gdLst>
                    <a:gd name="connsiteX0" fmla="*/ 136063 w 294619"/>
                    <a:gd name="connsiteY0" fmla="*/ 525597 h 557418"/>
                    <a:gd name="connsiteX1" fmla="*/ 137160 w 294619"/>
                    <a:gd name="connsiteY1" fmla="*/ 526146 h 557418"/>
                    <a:gd name="connsiteX2" fmla="*/ 139355 w 294619"/>
                    <a:gd name="connsiteY2" fmla="*/ 522854 h 557418"/>
                    <a:gd name="connsiteX3" fmla="*/ 145390 w 294619"/>
                    <a:gd name="connsiteY3" fmla="*/ 520660 h 557418"/>
                    <a:gd name="connsiteX4" fmla="*/ 152522 w 294619"/>
                    <a:gd name="connsiteY4" fmla="*/ 522854 h 557418"/>
                    <a:gd name="connsiteX5" fmla="*/ 156362 w 294619"/>
                    <a:gd name="connsiteY5" fmla="*/ 521208 h 557418"/>
                    <a:gd name="connsiteX6" fmla="*/ 154168 w 294619"/>
                    <a:gd name="connsiteY6" fmla="*/ 516270 h 557418"/>
                    <a:gd name="connsiteX7" fmla="*/ 171724 w 294619"/>
                    <a:gd name="connsiteY7" fmla="*/ 515722 h 557418"/>
                    <a:gd name="connsiteX8" fmla="*/ 173370 w 294619"/>
                    <a:gd name="connsiteY8" fmla="*/ 514076 h 557418"/>
                    <a:gd name="connsiteX9" fmla="*/ 178308 w 294619"/>
                    <a:gd name="connsiteY9" fmla="*/ 511881 h 557418"/>
                    <a:gd name="connsiteX10" fmla="*/ 178857 w 294619"/>
                    <a:gd name="connsiteY10" fmla="*/ 505297 h 557418"/>
                    <a:gd name="connsiteX11" fmla="*/ 183246 w 294619"/>
                    <a:gd name="connsiteY11" fmla="*/ 508041 h 557418"/>
                    <a:gd name="connsiteX12" fmla="*/ 187635 w 294619"/>
                    <a:gd name="connsiteY12" fmla="*/ 509687 h 557418"/>
                    <a:gd name="connsiteX13" fmla="*/ 193670 w 294619"/>
                    <a:gd name="connsiteY13" fmla="*/ 508041 h 557418"/>
                    <a:gd name="connsiteX14" fmla="*/ 195316 w 294619"/>
                    <a:gd name="connsiteY14" fmla="*/ 510235 h 557418"/>
                    <a:gd name="connsiteX15" fmla="*/ 198608 w 294619"/>
                    <a:gd name="connsiteY15" fmla="*/ 513527 h 557418"/>
                    <a:gd name="connsiteX16" fmla="*/ 224942 w 294619"/>
                    <a:gd name="connsiteY16" fmla="*/ 509687 h 557418"/>
                    <a:gd name="connsiteX17" fmla="*/ 232623 w 294619"/>
                    <a:gd name="connsiteY17" fmla="*/ 511333 h 557418"/>
                    <a:gd name="connsiteX18" fmla="*/ 266090 w 294619"/>
                    <a:gd name="connsiteY18" fmla="*/ 502006 h 557418"/>
                    <a:gd name="connsiteX19" fmla="*/ 266639 w 294619"/>
                    <a:gd name="connsiteY19" fmla="*/ 499811 h 557418"/>
                    <a:gd name="connsiteX20" fmla="*/ 281452 w 294619"/>
                    <a:gd name="connsiteY20" fmla="*/ 488838 h 557418"/>
                    <a:gd name="connsiteX21" fmla="*/ 283098 w 294619"/>
                    <a:gd name="connsiteY21" fmla="*/ 481157 h 557418"/>
                    <a:gd name="connsiteX22" fmla="*/ 281452 w 294619"/>
                    <a:gd name="connsiteY22" fmla="*/ 478414 h 557418"/>
                    <a:gd name="connsiteX23" fmla="*/ 256215 w 294619"/>
                    <a:gd name="connsiteY23" fmla="*/ 477865 h 557418"/>
                    <a:gd name="connsiteX24" fmla="*/ 255666 w 294619"/>
                    <a:gd name="connsiteY24" fmla="*/ 471830 h 557418"/>
                    <a:gd name="connsiteX25" fmla="*/ 252374 w 294619"/>
                    <a:gd name="connsiteY25" fmla="*/ 467441 h 557418"/>
                    <a:gd name="connsiteX26" fmla="*/ 259507 w 294619"/>
                    <a:gd name="connsiteY26" fmla="*/ 465247 h 557418"/>
                    <a:gd name="connsiteX27" fmla="*/ 261153 w 294619"/>
                    <a:gd name="connsiteY27" fmla="*/ 461406 h 557418"/>
                    <a:gd name="connsiteX28" fmla="*/ 264444 w 294619"/>
                    <a:gd name="connsiteY28" fmla="*/ 457566 h 557418"/>
                    <a:gd name="connsiteX29" fmla="*/ 262799 w 294619"/>
                    <a:gd name="connsiteY29" fmla="*/ 455920 h 557418"/>
                    <a:gd name="connsiteX30" fmla="*/ 258958 w 294619"/>
                    <a:gd name="connsiteY30" fmla="*/ 453725 h 557418"/>
                    <a:gd name="connsiteX31" fmla="*/ 263347 w 294619"/>
                    <a:gd name="connsiteY31" fmla="*/ 450982 h 557418"/>
                    <a:gd name="connsiteX32" fmla="*/ 267736 w 294619"/>
                    <a:gd name="connsiteY32" fmla="*/ 449336 h 557418"/>
                    <a:gd name="connsiteX33" fmla="*/ 271028 w 294619"/>
                    <a:gd name="connsiteY33" fmla="*/ 451531 h 557418"/>
                    <a:gd name="connsiteX34" fmla="*/ 276515 w 294619"/>
                    <a:gd name="connsiteY34" fmla="*/ 449885 h 557418"/>
                    <a:gd name="connsiteX35" fmla="*/ 277612 w 294619"/>
                    <a:gd name="connsiteY35" fmla="*/ 445496 h 557418"/>
                    <a:gd name="connsiteX36" fmla="*/ 276515 w 294619"/>
                    <a:gd name="connsiteY36" fmla="*/ 439461 h 557418"/>
                    <a:gd name="connsiteX37" fmla="*/ 279258 w 294619"/>
                    <a:gd name="connsiteY37" fmla="*/ 440009 h 557418"/>
                    <a:gd name="connsiteX38" fmla="*/ 284744 w 294619"/>
                    <a:gd name="connsiteY38" fmla="*/ 437266 h 557418"/>
                    <a:gd name="connsiteX39" fmla="*/ 289682 w 294619"/>
                    <a:gd name="connsiteY39" fmla="*/ 430682 h 557418"/>
                    <a:gd name="connsiteX40" fmla="*/ 294620 w 294619"/>
                    <a:gd name="connsiteY40" fmla="*/ 405994 h 557418"/>
                    <a:gd name="connsiteX41" fmla="*/ 292425 w 294619"/>
                    <a:gd name="connsiteY41" fmla="*/ 395021 h 557418"/>
                    <a:gd name="connsiteX42" fmla="*/ 286390 w 294619"/>
                    <a:gd name="connsiteY42" fmla="*/ 386243 h 557418"/>
                    <a:gd name="connsiteX43" fmla="*/ 274320 w 294619"/>
                    <a:gd name="connsiteY43" fmla="*/ 379659 h 557418"/>
                    <a:gd name="connsiteX44" fmla="*/ 250180 w 294619"/>
                    <a:gd name="connsiteY44" fmla="*/ 381853 h 557418"/>
                    <a:gd name="connsiteX45" fmla="*/ 243048 w 294619"/>
                    <a:gd name="connsiteY45" fmla="*/ 391729 h 557418"/>
                    <a:gd name="connsiteX46" fmla="*/ 240304 w 294619"/>
                    <a:gd name="connsiteY46" fmla="*/ 388986 h 557418"/>
                    <a:gd name="connsiteX47" fmla="*/ 230429 w 294619"/>
                    <a:gd name="connsiteY47" fmla="*/ 386791 h 557418"/>
                    <a:gd name="connsiteX48" fmla="*/ 233172 w 294619"/>
                    <a:gd name="connsiteY48" fmla="*/ 380756 h 557418"/>
                    <a:gd name="connsiteX49" fmla="*/ 241402 w 294619"/>
                    <a:gd name="connsiteY49" fmla="*/ 370332 h 557418"/>
                    <a:gd name="connsiteX50" fmla="*/ 243048 w 294619"/>
                    <a:gd name="connsiteY50" fmla="*/ 365943 h 557418"/>
                    <a:gd name="connsiteX51" fmla="*/ 243048 w 294619"/>
                    <a:gd name="connsiteY51" fmla="*/ 359908 h 557418"/>
                    <a:gd name="connsiteX52" fmla="*/ 230429 w 294619"/>
                    <a:gd name="connsiteY52" fmla="*/ 342900 h 557418"/>
                    <a:gd name="connsiteX53" fmla="*/ 226588 w 294619"/>
                    <a:gd name="connsiteY53" fmla="*/ 341254 h 557418"/>
                    <a:gd name="connsiteX54" fmla="*/ 217261 w 294619"/>
                    <a:gd name="connsiteY54" fmla="*/ 331927 h 557418"/>
                    <a:gd name="connsiteX55" fmla="*/ 220005 w 294619"/>
                    <a:gd name="connsiteY55" fmla="*/ 330281 h 557418"/>
                    <a:gd name="connsiteX56" fmla="*/ 227137 w 294619"/>
                    <a:gd name="connsiteY56" fmla="*/ 337414 h 557418"/>
                    <a:gd name="connsiteX57" fmla="*/ 235915 w 294619"/>
                    <a:gd name="connsiteY57" fmla="*/ 338511 h 557418"/>
                    <a:gd name="connsiteX58" fmla="*/ 236464 w 294619"/>
                    <a:gd name="connsiteY58" fmla="*/ 337962 h 557418"/>
                    <a:gd name="connsiteX59" fmla="*/ 234818 w 294619"/>
                    <a:gd name="connsiteY59" fmla="*/ 327538 h 557418"/>
                    <a:gd name="connsiteX60" fmla="*/ 223296 w 294619"/>
                    <a:gd name="connsiteY60" fmla="*/ 314371 h 557418"/>
                    <a:gd name="connsiteX61" fmla="*/ 221102 w 294619"/>
                    <a:gd name="connsiteY61" fmla="*/ 304495 h 557418"/>
                    <a:gd name="connsiteX62" fmla="*/ 206837 w 294619"/>
                    <a:gd name="connsiteY62" fmla="*/ 280904 h 557418"/>
                    <a:gd name="connsiteX63" fmla="*/ 189281 w 294619"/>
                    <a:gd name="connsiteY63" fmla="*/ 275966 h 557418"/>
                    <a:gd name="connsiteX64" fmla="*/ 187086 w 294619"/>
                    <a:gd name="connsiteY64" fmla="*/ 273223 h 557418"/>
                    <a:gd name="connsiteX65" fmla="*/ 172822 w 294619"/>
                    <a:gd name="connsiteY65" fmla="*/ 239756 h 557418"/>
                    <a:gd name="connsiteX66" fmla="*/ 170078 w 294619"/>
                    <a:gd name="connsiteY66" fmla="*/ 213970 h 557418"/>
                    <a:gd name="connsiteX67" fmla="*/ 156362 w 294619"/>
                    <a:gd name="connsiteY67" fmla="*/ 201351 h 557418"/>
                    <a:gd name="connsiteX68" fmla="*/ 151973 w 294619"/>
                    <a:gd name="connsiteY68" fmla="*/ 193121 h 557418"/>
                    <a:gd name="connsiteX69" fmla="*/ 132771 w 294619"/>
                    <a:gd name="connsiteY69" fmla="*/ 182149 h 557418"/>
                    <a:gd name="connsiteX70" fmla="*/ 128930 w 294619"/>
                    <a:gd name="connsiteY70" fmla="*/ 181600 h 557418"/>
                    <a:gd name="connsiteX71" fmla="*/ 116860 w 294619"/>
                    <a:gd name="connsiteY71" fmla="*/ 185989 h 557418"/>
                    <a:gd name="connsiteX72" fmla="*/ 106985 w 294619"/>
                    <a:gd name="connsiteY72" fmla="*/ 183246 h 557418"/>
                    <a:gd name="connsiteX73" fmla="*/ 106436 w 294619"/>
                    <a:gd name="connsiteY73" fmla="*/ 182149 h 557418"/>
                    <a:gd name="connsiteX74" fmla="*/ 108082 w 294619"/>
                    <a:gd name="connsiteY74" fmla="*/ 176662 h 557418"/>
                    <a:gd name="connsiteX75" fmla="*/ 112471 w 294619"/>
                    <a:gd name="connsiteY75" fmla="*/ 172822 h 557418"/>
                    <a:gd name="connsiteX76" fmla="*/ 125090 w 294619"/>
                    <a:gd name="connsiteY76" fmla="*/ 170627 h 557418"/>
                    <a:gd name="connsiteX77" fmla="*/ 131125 w 294619"/>
                    <a:gd name="connsiteY77" fmla="*/ 167335 h 557418"/>
                    <a:gd name="connsiteX78" fmla="*/ 123993 w 294619"/>
                    <a:gd name="connsiteY78" fmla="*/ 157460 h 557418"/>
                    <a:gd name="connsiteX79" fmla="*/ 120701 w 294619"/>
                    <a:gd name="connsiteY79" fmla="*/ 155814 h 557418"/>
                    <a:gd name="connsiteX80" fmla="*/ 119604 w 294619"/>
                    <a:gd name="connsiteY80" fmla="*/ 151973 h 557418"/>
                    <a:gd name="connsiteX81" fmla="*/ 126187 w 294619"/>
                    <a:gd name="connsiteY81" fmla="*/ 152522 h 557418"/>
                    <a:gd name="connsiteX82" fmla="*/ 130028 w 294619"/>
                    <a:gd name="connsiteY82" fmla="*/ 149779 h 557418"/>
                    <a:gd name="connsiteX83" fmla="*/ 134417 w 294619"/>
                    <a:gd name="connsiteY83" fmla="*/ 143744 h 557418"/>
                    <a:gd name="connsiteX84" fmla="*/ 135514 w 294619"/>
                    <a:gd name="connsiteY84" fmla="*/ 138257 h 557418"/>
                    <a:gd name="connsiteX85" fmla="*/ 144841 w 294619"/>
                    <a:gd name="connsiteY85" fmla="*/ 125090 h 557418"/>
                    <a:gd name="connsiteX86" fmla="*/ 150876 w 294619"/>
                    <a:gd name="connsiteY86" fmla="*/ 99304 h 557418"/>
                    <a:gd name="connsiteX87" fmla="*/ 160203 w 294619"/>
                    <a:gd name="connsiteY87" fmla="*/ 88331 h 557418"/>
                    <a:gd name="connsiteX88" fmla="*/ 160203 w 294619"/>
                    <a:gd name="connsiteY88" fmla="*/ 75164 h 557418"/>
                    <a:gd name="connsiteX89" fmla="*/ 158008 w 294619"/>
                    <a:gd name="connsiteY89" fmla="*/ 69129 h 557418"/>
                    <a:gd name="connsiteX90" fmla="*/ 114117 w 294619"/>
                    <a:gd name="connsiteY90" fmla="*/ 69129 h 557418"/>
                    <a:gd name="connsiteX91" fmla="*/ 105888 w 294619"/>
                    <a:gd name="connsiteY91" fmla="*/ 66385 h 557418"/>
                    <a:gd name="connsiteX92" fmla="*/ 80650 w 294619"/>
                    <a:gd name="connsiteY92" fmla="*/ 75164 h 557418"/>
                    <a:gd name="connsiteX93" fmla="*/ 75712 w 294619"/>
                    <a:gd name="connsiteY93" fmla="*/ 79553 h 557418"/>
                    <a:gd name="connsiteX94" fmla="*/ 72969 w 294619"/>
                    <a:gd name="connsiteY94" fmla="*/ 77358 h 557418"/>
                    <a:gd name="connsiteX95" fmla="*/ 74615 w 294619"/>
                    <a:gd name="connsiteY95" fmla="*/ 71872 h 557418"/>
                    <a:gd name="connsiteX96" fmla="*/ 74615 w 294619"/>
                    <a:gd name="connsiteY96" fmla="*/ 70226 h 557418"/>
                    <a:gd name="connsiteX97" fmla="*/ 68580 w 294619"/>
                    <a:gd name="connsiteY97" fmla="*/ 71872 h 557418"/>
                    <a:gd name="connsiteX98" fmla="*/ 68580 w 294619"/>
                    <a:gd name="connsiteY98" fmla="*/ 68580 h 557418"/>
                    <a:gd name="connsiteX99" fmla="*/ 78456 w 294619"/>
                    <a:gd name="connsiteY99" fmla="*/ 65288 h 557418"/>
                    <a:gd name="connsiteX100" fmla="*/ 85039 w 294619"/>
                    <a:gd name="connsiteY100" fmla="*/ 59253 h 557418"/>
                    <a:gd name="connsiteX101" fmla="*/ 73518 w 294619"/>
                    <a:gd name="connsiteY101" fmla="*/ 58156 h 557418"/>
                    <a:gd name="connsiteX102" fmla="*/ 74615 w 294619"/>
                    <a:gd name="connsiteY102" fmla="*/ 52669 h 557418"/>
                    <a:gd name="connsiteX103" fmla="*/ 75164 w 294619"/>
                    <a:gd name="connsiteY103" fmla="*/ 53218 h 557418"/>
                    <a:gd name="connsiteX104" fmla="*/ 82296 w 294619"/>
                    <a:gd name="connsiteY104" fmla="*/ 44989 h 557418"/>
                    <a:gd name="connsiteX105" fmla="*/ 96012 w 294619"/>
                    <a:gd name="connsiteY105" fmla="*/ 36759 h 557418"/>
                    <a:gd name="connsiteX106" fmla="*/ 100950 w 294619"/>
                    <a:gd name="connsiteY106" fmla="*/ 26883 h 557418"/>
                    <a:gd name="connsiteX107" fmla="*/ 110277 w 294619"/>
                    <a:gd name="connsiteY107" fmla="*/ 20848 h 557418"/>
                    <a:gd name="connsiteX108" fmla="*/ 112471 w 294619"/>
                    <a:gd name="connsiteY108" fmla="*/ 2743 h 557418"/>
                    <a:gd name="connsiteX109" fmla="*/ 104242 w 294619"/>
                    <a:gd name="connsiteY109" fmla="*/ 0 h 557418"/>
                    <a:gd name="connsiteX110" fmla="*/ 65837 w 294619"/>
                    <a:gd name="connsiteY110" fmla="*/ 8230 h 557418"/>
                    <a:gd name="connsiteX111" fmla="*/ 65288 w 294619"/>
                    <a:gd name="connsiteY111" fmla="*/ 7132 h 557418"/>
                    <a:gd name="connsiteX112" fmla="*/ 52121 w 294619"/>
                    <a:gd name="connsiteY112" fmla="*/ 4389 h 557418"/>
                    <a:gd name="connsiteX113" fmla="*/ 44440 w 294619"/>
                    <a:gd name="connsiteY113" fmla="*/ 6035 h 557418"/>
                    <a:gd name="connsiteX114" fmla="*/ 37308 w 294619"/>
                    <a:gd name="connsiteY114" fmla="*/ 18105 h 557418"/>
                    <a:gd name="connsiteX115" fmla="*/ 36759 w 294619"/>
                    <a:gd name="connsiteY115" fmla="*/ 28529 h 557418"/>
                    <a:gd name="connsiteX116" fmla="*/ 29078 w 294619"/>
                    <a:gd name="connsiteY116" fmla="*/ 29078 h 557418"/>
                    <a:gd name="connsiteX117" fmla="*/ 29627 w 294619"/>
                    <a:gd name="connsiteY117" fmla="*/ 38953 h 557418"/>
                    <a:gd name="connsiteX118" fmla="*/ 25786 w 294619"/>
                    <a:gd name="connsiteY118" fmla="*/ 41148 h 557418"/>
                    <a:gd name="connsiteX119" fmla="*/ 26883 w 294619"/>
                    <a:gd name="connsiteY119" fmla="*/ 44440 h 557418"/>
                    <a:gd name="connsiteX120" fmla="*/ 32370 w 294619"/>
                    <a:gd name="connsiteY120" fmla="*/ 49926 h 557418"/>
                    <a:gd name="connsiteX121" fmla="*/ 13716 w 294619"/>
                    <a:gd name="connsiteY121" fmla="*/ 60350 h 557418"/>
                    <a:gd name="connsiteX122" fmla="*/ 14265 w 294619"/>
                    <a:gd name="connsiteY122" fmla="*/ 74615 h 557418"/>
                    <a:gd name="connsiteX123" fmla="*/ 18654 w 294619"/>
                    <a:gd name="connsiteY123" fmla="*/ 77358 h 557418"/>
                    <a:gd name="connsiteX124" fmla="*/ 17556 w 294619"/>
                    <a:gd name="connsiteY124" fmla="*/ 78456 h 557418"/>
                    <a:gd name="connsiteX125" fmla="*/ 13167 w 294619"/>
                    <a:gd name="connsiteY125" fmla="*/ 77907 h 557418"/>
                    <a:gd name="connsiteX126" fmla="*/ 10973 w 294619"/>
                    <a:gd name="connsiteY126" fmla="*/ 79004 h 557418"/>
                    <a:gd name="connsiteX127" fmla="*/ 11521 w 294619"/>
                    <a:gd name="connsiteY127" fmla="*/ 89428 h 557418"/>
                    <a:gd name="connsiteX128" fmla="*/ 15911 w 294619"/>
                    <a:gd name="connsiteY128" fmla="*/ 89977 h 557418"/>
                    <a:gd name="connsiteX129" fmla="*/ 23592 w 294619"/>
                    <a:gd name="connsiteY129" fmla="*/ 88331 h 557418"/>
                    <a:gd name="connsiteX130" fmla="*/ 23043 w 294619"/>
                    <a:gd name="connsiteY130" fmla="*/ 91623 h 557418"/>
                    <a:gd name="connsiteX131" fmla="*/ 19202 w 294619"/>
                    <a:gd name="connsiteY131" fmla="*/ 93269 h 557418"/>
                    <a:gd name="connsiteX132" fmla="*/ 23043 w 294619"/>
                    <a:gd name="connsiteY132" fmla="*/ 94915 h 557418"/>
                    <a:gd name="connsiteX133" fmla="*/ 18654 w 294619"/>
                    <a:gd name="connsiteY133" fmla="*/ 103144 h 557418"/>
                    <a:gd name="connsiteX134" fmla="*/ 19751 w 294619"/>
                    <a:gd name="connsiteY134" fmla="*/ 108082 h 557418"/>
                    <a:gd name="connsiteX135" fmla="*/ 18105 w 294619"/>
                    <a:gd name="connsiteY135" fmla="*/ 108631 h 557418"/>
                    <a:gd name="connsiteX136" fmla="*/ 15362 w 294619"/>
                    <a:gd name="connsiteY136" fmla="*/ 111923 h 557418"/>
                    <a:gd name="connsiteX137" fmla="*/ 15362 w 294619"/>
                    <a:gd name="connsiteY137" fmla="*/ 114666 h 557418"/>
                    <a:gd name="connsiteX138" fmla="*/ 13167 w 294619"/>
                    <a:gd name="connsiteY138" fmla="*/ 116860 h 557418"/>
                    <a:gd name="connsiteX139" fmla="*/ 11521 w 294619"/>
                    <a:gd name="connsiteY139" fmla="*/ 121249 h 557418"/>
                    <a:gd name="connsiteX140" fmla="*/ 10973 w 294619"/>
                    <a:gd name="connsiteY140" fmla="*/ 131674 h 557418"/>
                    <a:gd name="connsiteX141" fmla="*/ 3841 w 294619"/>
                    <a:gd name="connsiteY141" fmla="*/ 133320 h 557418"/>
                    <a:gd name="connsiteX142" fmla="*/ 0 w 294619"/>
                    <a:gd name="connsiteY142" fmla="*/ 135514 h 557418"/>
                    <a:gd name="connsiteX143" fmla="*/ 549 w 294619"/>
                    <a:gd name="connsiteY143" fmla="*/ 137709 h 557418"/>
                    <a:gd name="connsiteX144" fmla="*/ 7132 w 294619"/>
                    <a:gd name="connsiteY144" fmla="*/ 138257 h 557418"/>
                    <a:gd name="connsiteX145" fmla="*/ 8230 w 294619"/>
                    <a:gd name="connsiteY145" fmla="*/ 144841 h 557418"/>
                    <a:gd name="connsiteX146" fmla="*/ 15911 w 294619"/>
                    <a:gd name="connsiteY146" fmla="*/ 151973 h 557418"/>
                    <a:gd name="connsiteX147" fmla="*/ 30724 w 294619"/>
                    <a:gd name="connsiteY147" fmla="*/ 140452 h 557418"/>
                    <a:gd name="connsiteX148" fmla="*/ 31821 w 294619"/>
                    <a:gd name="connsiteY148" fmla="*/ 141549 h 557418"/>
                    <a:gd name="connsiteX149" fmla="*/ 31821 w 294619"/>
                    <a:gd name="connsiteY149" fmla="*/ 145390 h 557418"/>
                    <a:gd name="connsiteX150" fmla="*/ 18654 w 294619"/>
                    <a:gd name="connsiteY150" fmla="*/ 188732 h 557418"/>
                    <a:gd name="connsiteX151" fmla="*/ 18654 w 294619"/>
                    <a:gd name="connsiteY151" fmla="*/ 194219 h 557418"/>
                    <a:gd name="connsiteX152" fmla="*/ 21946 w 294619"/>
                    <a:gd name="connsiteY152" fmla="*/ 193121 h 557418"/>
                    <a:gd name="connsiteX153" fmla="*/ 23592 w 294619"/>
                    <a:gd name="connsiteY153" fmla="*/ 195865 h 557418"/>
                    <a:gd name="connsiteX154" fmla="*/ 23043 w 294619"/>
                    <a:gd name="connsiteY154" fmla="*/ 200254 h 557418"/>
                    <a:gd name="connsiteX155" fmla="*/ 17556 w 294619"/>
                    <a:gd name="connsiteY155" fmla="*/ 210678 h 557418"/>
                    <a:gd name="connsiteX156" fmla="*/ 13167 w 294619"/>
                    <a:gd name="connsiteY156" fmla="*/ 228783 h 557418"/>
                    <a:gd name="connsiteX157" fmla="*/ 18105 w 294619"/>
                    <a:gd name="connsiteY157" fmla="*/ 228783 h 557418"/>
                    <a:gd name="connsiteX158" fmla="*/ 20300 w 294619"/>
                    <a:gd name="connsiteY158" fmla="*/ 226040 h 557418"/>
                    <a:gd name="connsiteX159" fmla="*/ 29627 w 294619"/>
                    <a:gd name="connsiteY159" fmla="*/ 199156 h 557418"/>
                    <a:gd name="connsiteX160" fmla="*/ 26883 w 294619"/>
                    <a:gd name="connsiteY160" fmla="*/ 182149 h 557418"/>
                    <a:gd name="connsiteX161" fmla="*/ 37308 w 294619"/>
                    <a:gd name="connsiteY161" fmla="*/ 169530 h 557418"/>
                    <a:gd name="connsiteX162" fmla="*/ 36759 w 294619"/>
                    <a:gd name="connsiteY162" fmla="*/ 173919 h 557418"/>
                    <a:gd name="connsiteX163" fmla="*/ 31821 w 294619"/>
                    <a:gd name="connsiteY163" fmla="*/ 185440 h 557418"/>
                    <a:gd name="connsiteX164" fmla="*/ 31821 w 294619"/>
                    <a:gd name="connsiteY164" fmla="*/ 193121 h 557418"/>
                    <a:gd name="connsiteX165" fmla="*/ 33467 w 294619"/>
                    <a:gd name="connsiteY165" fmla="*/ 190378 h 557418"/>
                    <a:gd name="connsiteX166" fmla="*/ 35662 w 294619"/>
                    <a:gd name="connsiteY166" fmla="*/ 190378 h 557418"/>
                    <a:gd name="connsiteX167" fmla="*/ 36759 w 294619"/>
                    <a:gd name="connsiteY167" fmla="*/ 187635 h 557418"/>
                    <a:gd name="connsiteX168" fmla="*/ 38405 w 294619"/>
                    <a:gd name="connsiteY168" fmla="*/ 185989 h 557418"/>
                    <a:gd name="connsiteX169" fmla="*/ 42794 w 294619"/>
                    <a:gd name="connsiteY169" fmla="*/ 188732 h 557418"/>
                    <a:gd name="connsiteX170" fmla="*/ 43891 w 294619"/>
                    <a:gd name="connsiteY170" fmla="*/ 188184 h 557418"/>
                    <a:gd name="connsiteX171" fmla="*/ 43891 w 294619"/>
                    <a:gd name="connsiteY171" fmla="*/ 178857 h 557418"/>
                    <a:gd name="connsiteX172" fmla="*/ 49926 w 294619"/>
                    <a:gd name="connsiteY172" fmla="*/ 182149 h 557418"/>
                    <a:gd name="connsiteX173" fmla="*/ 54315 w 294619"/>
                    <a:gd name="connsiteY173" fmla="*/ 186538 h 557418"/>
                    <a:gd name="connsiteX174" fmla="*/ 50475 w 294619"/>
                    <a:gd name="connsiteY174" fmla="*/ 187635 h 557418"/>
                    <a:gd name="connsiteX175" fmla="*/ 47732 w 294619"/>
                    <a:gd name="connsiteY175" fmla="*/ 194219 h 557418"/>
                    <a:gd name="connsiteX176" fmla="*/ 46634 w 294619"/>
                    <a:gd name="connsiteY176" fmla="*/ 204643 h 557418"/>
                    <a:gd name="connsiteX177" fmla="*/ 48829 w 294619"/>
                    <a:gd name="connsiteY177" fmla="*/ 207935 h 557418"/>
                    <a:gd name="connsiteX178" fmla="*/ 53218 w 294619"/>
                    <a:gd name="connsiteY178" fmla="*/ 211226 h 557418"/>
                    <a:gd name="connsiteX179" fmla="*/ 54315 w 294619"/>
                    <a:gd name="connsiteY179" fmla="*/ 218359 h 557418"/>
                    <a:gd name="connsiteX180" fmla="*/ 41148 w 294619"/>
                    <a:gd name="connsiteY180" fmla="*/ 248534 h 557418"/>
                    <a:gd name="connsiteX181" fmla="*/ 41697 w 294619"/>
                    <a:gd name="connsiteY181" fmla="*/ 254569 h 557418"/>
                    <a:gd name="connsiteX182" fmla="*/ 36759 w 294619"/>
                    <a:gd name="connsiteY182" fmla="*/ 250729 h 557418"/>
                    <a:gd name="connsiteX183" fmla="*/ 35662 w 294619"/>
                    <a:gd name="connsiteY183" fmla="*/ 254569 h 557418"/>
                    <a:gd name="connsiteX184" fmla="*/ 41148 w 294619"/>
                    <a:gd name="connsiteY184" fmla="*/ 270480 h 557418"/>
                    <a:gd name="connsiteX185" fmla="*/ 43891 w 294619"/>
                    <a:gd name="connsiteY185" fmla="*/ 273223 h 557418"/>
                    <a:gd name="connsiteX186" fmla="*/ 45537 w 294619"/>
                    <a:gd name="connsiteY186" fmla="*/ 272125 h 557418"/>
                    <a:gd name="connsiteX187" fmla="*/ 44988 w 294619"/>
                    <a:gd name="connsiteY187" fmla="*/ 263347 h 557418"/>
                    <a:gd name="connsiteX188" fmla="*/ 45537 w 294619"/>
                    <a:gd name="connsiteY188" fmla="*/ 260604 h 557418"/>
                    <a:gd name="connsiteX189" fmla="*/ 48280 w 294619"/>
                    <a:gd name="connsiteY189" fmla="*/ 259507 h 557418"/>
                    <a:gd name="connsiteX190" fmla="*/ 63094 w 294619"/>
                    <a:gd name="connsiteY190" fmla="*/ 269931 h 557418"/>
                    <a:gd name="connsiteX191" fmla="*/ 65288 w 294619"/>
                    <a:gd name="connsiteY191" fmla="*/ 266090 h 557418"/>
                    <a:gd name="connsiteX192" fmla="*/ 65288 w 294619"/>
                    <a:gd name="connsiteY192" fmla="*/ 260604 h 557418"/>
                    <a:gd name="connsiteX193" fmla="*/ 81747 w 294619"/>
                    <a:gd name="connsiteY193" fmla="*/ 262250 h 557418"/>
                    <a:gd name="connsiteX194" fmla="*/ 92720 w 294619"/>
                    <a:gd name="connsiteY194" fmla="*/ 256764 h 557418"/>
                    <a:gd name="connsiteX195" fmla="*/ 94366 w 294619"/>
                    <a:gd name="connsiteY195" fmla="*/ 254569 h 557418"/>
                    <a:gd name="connsiteX196" fmla="*/ 98755 w 294619"/>
                    <a:gd name="connsiteY196" fmla="*/ 251826 h 557418"/>
                    <a:gd name="connsiteX197" fmla="*/ 113568 w 294619"/>
                    <a:gd name="connsiteY197" fmla="*/ 253472 h 557418"/>
                    <a:gd name="connsiteX198" fmla="*/ 111374 w 294619"/>
                    <a:gd name="connsiteY198" fmla="*/ 255666 h 557418"/>
                    <a:gd name="connsiteX199" fmla="*/ 108631 w 294619"/>
                    <a:gd name="connsiteY199" fmla="*/ 255666 h 557418"/>
                    <a:gd name="connsiteX200" fmla="*/ 102596 w 294619"/>
                    <a:gd name="connsiteY200" fmla="*/ 260604 h 557418"/>
                    <a:gd name="connsiteX201" fmla="*/ 93269 w 294619"/>
                    <a:gd name="connsiteY201" fmla="*/ 283647 h 557418"/>
                    <a:gd name="connsiteX202" fmla="*/ 94915 w 294619"/>
                    <a:gd name="connsiteY202" fmla="*/ 288585 h 557418"/>
                    <a:gd name="connsiteX203" fmla="*/ 99852 w 294619"/>
                    <a:gd name="connsiteY203" fmla="*/ 294620 h 557418"/>
                    <a:gd name="connsiteX204" fmla="*/ 102047 w 294619"/>
                    <a:gd name="connsiteY204" fmla="*/ 300106 h 557418"/>
                    <a:gd name="connsiteX205" fmla="*/ 102596 w 294619"/>
                    <a:gd name="connsiteY205" fmla="*/ 301204 h 557418"/>
                    <a:gd name="connsiteX206" fmla="*/ 104242 w 294619"/>
                    <a:gd name="connsiteY206" fmla="*/ 299009 h 557418"/>
                    <a:gd name="connsiteX207" fmla="*/ 108631 w 294619"/>
                    <a:gd name="connsiteY207" fmla="*/ 308336 h 557418"/>
                    <a:gd name="connsiteX208" fmla="*/ 117958 w 294619"/>
                    <a:gd name="connsiteY208" fmla="*/ 304495 h 557418"/>
                    <a:gd name="connsiteX209" fmla="*/ 123993 w 294619"/>
                    <a:gd name="connsiteY209" fmla="*/ 299009 h 557418"/>
                    <a:gd name="connsiteX210" fmla="*/ 126736 w 294619"/>
                    <a:gd name="connsiteY210" fmla="*/ 300106 h 557418"/>
                    <a:gd name="connsiteX211" fmla="*/ 123993 w 294619"/>
                    <a:gd name="connsiteY211" fmla="*/ 304495 h 557418"/>
                    <a:gd name="connsiteX212" fmla="*/ 122895 w 294619"/>
                    <a:gd name="connsiteY212" fmla="*/ 316017 h 557418"/>
                    <a:gd name="connsiteX213" fmla="*/ 119604 w 294619"/>
                    <a:gd name="connsiteY213" fmla="*/ 319857 h 557418"/>
                    <a:gd name="connsiteX214" fmla="*/ 116860 w 294619"/>
                    <a:gd name="connsiteY214" fmla="*/ 328087 h 557418"/>
                    <a:gd name="connsiteX215" fmla="*/ 123444 w 294619"/>
                    <a:gd name="connsiteY215" fmla="*/ 329733 h 557418"/>
                    <a:gd name="connsiteX216" fmla="*/ 119604 w 294619"/>
                    <a:gd name="connsiteY216" fmla="*/ 335219 h 557418"/>
                    <a:gd name="connsiteX217" fmla="*/ 115763 w 294619"/>
                    <a:gd name="connsiteY217" fmla="*/ 346192 h 557418"/>
                    <a:gd name="connsiteX218" fmla="*/ 117958 w 294619"/>
                    <a:gd name="connsiteY218" fmla="*/ 349484 h 557418"/>
                    <a:gd name="connsiteX219" fmla="*/ 121249 w 294619"/>
                    <a:gd name="connsiteY219" fmla="*/ 351130 h 557418"/>
                    <a:gd name="connsiteX220" fmla="*/ 119055 w 294619"/>
                    <a:gd name="connsiteY220" fmla="*/ 352776 h 557418"/>
                    <a:gd name="connsiteX221" fmla="*/ 115214 w 294619"/>
                    <a:gd name="connsiteY221" fmla="*/ 358262 h 557418"/>
                    <a:gd name="connsiteX222" fmla="*/ 88331 w 294619"/>
                    <a:gd name="connsiteY222" fmla="*/ 357165 h 557418"/>
                    <a:gd name="connsiteX223" fmla="*/ 54315 w 294619"/>
                    <a:gd name="connsiteY223" fmla="*/ 386791 h 557418"/>
                    <a:gd name="connsiteX224" fmla="*/ 57607 w 294619"/>
                    <a:gd name="connsiteY224" fmla="*/ 388986 h 557418"/>
                    <a:gd name="connsiteX225" fmla="*/ 67483 w 294619"/>
                    <a:gd name="connsiteY225" fmla="*/ 382402 h 557418"/>
                    <a:gd name="connsiteX226" fmla="*/ 75164 w 294619"/>
                    <a:gd name="connsiteY226" fmla="*/ 380756 h 557418"/>
                    <a:gd name="connsiteX227" fmla="*/ 77358 w 294619"/>
                    <a:gd name="connsiteY227" fmla="*/ 403799 h 557418"/>
                    <a:gd name="connsiteX228" fmla="*/ 81747 w 294619"/>
                    <a:gd name="connsiteY228" fmla="*/ 406542 h 557418"/>
                    <a:gd name="connsiteX229" fmla="*/ 74615 w 294619"/>
                    <a:gd name="connsiteY229" fmla="*/ 421356 h 557418"/>
                    <a:gd name="connsiteX230" fmla="*/ 32918 w 294619"/>
                    <a:gd name="connsiteY230" fmla="*/ 446593 h 557418"/>
                    <a:gd name="connsiteX231" fmla="*/ 34564 w 294619"/>
                    <a:gd name="connsiteY231" fmla="*/ 448239 h 557418"/>
                    <a:gd name="connsiteX232" fmla="*/ 39502 w 294619"/>
                    <a:gd name="connsiteY232" fmla="*/ 459760 h 557418"/>
                    <a:gd name="connsiteX233" fmla="*/ 41148 w 294619"/>
                    <a:gd name="connsiteY233" fmla="*/ 461406 h 557418"/>
                    <a:gd name="connsiteX234" fmla="*/ 44988 w 294619"/>
                    <a:gd name="connsiteY234" fmla="*/ 461955 h 557418"/>
                    <a:gd name="connsiteX235" fmla="*/ 49926 w 294619"/>
                    <a:gd name="connsiteY235" fmla="*/ 460309 h 557418"/>
                    <a:gd name="connsiteX236" fmla="*/ 56510 w 294619"/>
                    <a:gd name="connsiteY236" fmla="*/ 454274 h 557418"/>
                    <a:gd name="connsiteX237" fmla="*/ 62545 w 294619"/>
                    <a:gd name="connsiteY237" fmla="*/ 451531 h 557418"/>
                    <a:gd name="connsiteX238" fmla="*/ 65288 w 294619"/>
                    <a:gd name="connsiteY238" fmla="*/ 452628 h 557418"/>
                    <a:gd name="connsiteX239" fmla="*/ 66934 w 294619"/>
                    <a:gd name="connsiteY239" fmla="*/ 461406 h 557418"/>
                    <a:gd name="connsiteX240" fmla="*/ 69129 w 294619"/>
                    <a:gd name="connsiteY240" fmla="*/ 463601 h 557418"/>
                    <a:gd name="connsiteX241" fmla="*/ 77358 w 294619"/>
                    <a:gd name="connsiteY241" fmla="*/ 464149 h 557418"/>
                    <a:gd name="connsiteX242" fmla="*/ 82296 w 294619"/>
                    <a:gd name="connsiteY242" fmla="*/ 459760 h 557418"/>
                    <a:gd name="connsiteX243" fmla="*/ 84491 w 294619"/>
                    <a:gd name="connsiteY243" fmla="*/ 459212 h 557418"/>
                    <a:gd name="connsiteX244" fmla="*/ 86685 w 294619"/>
                    <a:gd name="connsiteY244" fmla="*/ 460858 h 557418"/>
                    <a:gd name="connsiteX245" fmla="*/ 97109 w 294619"/>
                    <a:gd name="connsiteY245" fmla="*/ 474025 h 557418"/>
                    <a:gd name="connsiteX246" fmla="*/ 100950 w 294619"/>
                    <a:gd name="connsiteY246" fmla="*/ 475122 h 557418"/>
                    <a:gd name="connsiteX247" fmla="*/ 106985 w 294619"/>
                    <a:gd name="connsiteY247" fmla="*/ 475122 h 557418"/>
                    <a:gd name="connsiteX248" fmla="*/ 110825 w 294619"/>
                    <a:gd name="connsiteY248" fmla="*/ 471830 h 557418"/>
                    <a:gd name="connsiteX249" fmla="*/ 114117 w 294619"/>
                    <a:gd name="connsiteY249" fmla="*/ 467441 h 557418"/>
                    <a:gd name="connsiteX250" fmla="*/ 133320 w 294619"/>
                    <a:gd name="connsiteY250" fmla="*/ 454274 h 557418"/>
                    <a:gd name="connsiteX251" fmla="*/ 133868 w 294619"/>
                    <a:gd name="connsiteY251" fmla="*/ 459212 h 557418"/>
                    <a:gd name="connsiteX252" fmla="*/ 119604 w 294619"/>
                    <a:gd name="connsiteY252" fmla="*/ 477317 h 557418"/>
                    <a:gd name="connsiteX253" fmla="*/ 117958 w 294619"/>
                    <a:gd name="connsiteY253" fmla="*/ 482255 h 557418"/>
                    <a:gd name="connsiteX254" fmla="*/ 115763 w 294619"/>
                    <a:gd name="connsiteY254" fmla="*/ 484998 h 557418"/>
                    <a:gd name="connsiteX255" fmla="*/ 75164 w 294619"/>
                    <a:gd name="connsiteY255" fmla="*/ 488838 h 557418"/>
                    <a:gd name="connsiteX256" fmla="*/ 71872 w 294619"/>
                    <a:gd name="connsiteY256" fmla="*/ 495971 h 557418"/>
                    <a:gd name="connsiteX257" fmla="*/ 65288 w 294619"/>
                    <a:gd name="connsiteY257" fmla="*/ 500908 h 557418"/>
                    <a:gd name="connsiteX258" fmla="*/ 60350 w 294619"/>
                    <a:gd name="connsiteY258" fmla="*/ 510235 h 557418"/>
                    <a:gd name="connsiteX259" fmla="*/ 21397 w 294619"/>
                    <a:gd name="connsiteY259" fmla="*/ 548640 h 557418"/>
                    <a:gd name="connsiteX260" fmla="*/ 19751 w 294619"/>
                    <a:gd name="connsiteY260" fmla="*/ 554126 h 557418"/>
                    <a:gd name="connsiteX261" fmla="*/ 19751 w 294619"/>
                    <a:gd name="connsiteY261" fmla="*/ 556870 h 557418"/>
                    <a:gd name="connsiteX262" fmla="*/ 21397 w 294619"/>
                    <a:gd name="connsiteY262" fmla="*/ 552481 h 557418"/>
                    <a:gd name="connsiteX263" fmla="*/ 24140 w 294619"/>
                    <a:gd name="connsiteY263" fmla="*/ 550835 h 557418"/>
                    <a:gd name="connsiteX264" fmla="*/ 31821 w 294619"/>
                    <a:gd name="connsiteY264" fmla="*/ 555224 h 557418"/>
                    <a:gd name="connsiteX265" fmla="*/ 35113 w 294619"/>
                    <a:gd name="connsiteY265" fmla="*/ 554126 h 557418"/>
                    <a:gd name="connsiteX266" fmla="*/ 36759 w 294619"/>
                    <a:gd name="connsiteY266" fmla="*/ 557418 h 557418"/>
                    <a:gd name="connsiteX267" fmla="*/ 39502 w 294619"/>
                    <a:gd name="connsiteY267" fmla="*/ 554126 h 557418"/>
                    <a:gd name="connsiteX268" fmla="*/ 42245 w 294619"/>
                    <a:gd name="connsiteY268" fmla="*/ 548640 h 557418"/>
                    <a:gd name="connsiteX269" fmla="*/ 49378 w 294619"/>
                    <a:gd name="connsiteY269" fmla="*/ 544800 h 557418"/>
                    <a:gd name="connsiteX270" fmla="*/ 53218 w 294619"/>
                    <a:gd name="connsiteY270" fmla="*/ 537119 h 557418"/>
                    <a:gd name="connsiteX271" fmla="*/ 73518 w 294619"/>
                    <a:gd name="connsiteY271" fmla="*/ 536570 h 557418"/>
                    <a:gd name="connsiteX272" fmla="*/ 87234 w 294619"/>
                    <a:gd name="connsiteY272" fmla="*/ 541508 h 557418"/>
                    <a:gd name="connsiteX273" fmla="*/ 92172 w 294619"/>
                    <a:gd name="connsiteY273" fmla="*/ 542056 h 557418"/>
                    <a:gd name="connsiteX274" fmla="*/ 97109 w 294619"/>
                    <a:gd name="connsiteY274" fmla="*/ 536021 h 557418"/>
                    <a:gd name="connsiteX275" fmla="*/ 99852 w 294619"/>
                    <a:gd name="connsiteY275" fmla="*/ 520660 h 557418"/>
                    <a:gd name="connsiteX276" fmla="*/ 102047 w 294619"/>
                    <a:gd name="connsiteY276" fmla="*/ 519562 h 557418"/>
                    <a:gd name="connsiteX277" fmla="*/ 106985 w 294619"/>
                    <a:gd name="connsiteY277" fmla="*/ 520111 h 557418"/>
                    <a:gd name="connsiteX278" fmla="*/ 125090 w 294619"/>
                    <a:gd name="connsiteY278" fmla="*/ 513527 h 557418"/>
                    <a:gd name="connsiteX279" fmla="*/ 136063 w 294619"/>
                    <a:gd name="connsiteY279" fmla="*/ 525597 h 5574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</a:cxnLst>
                  <a:rect l="l" t="t" r="r" b="b"/>
                  <a:pathLst>
                    <a:path w="294619" h="557418">
                      <a:moveTo>
                        <a:pt x="136063" y="525597"/>
                      </a:moveTo>
                      <a:lnTo>
                        <a:pt x="137160" y="526146"/>
                      </a:lnTo>
                      <a:lnTo>
                        <a:pt x="139355" y="522854"/>
                      </a:lnTo>
                      <a:lnTo>
                        <a:pt x="145390" y="520660"/>
                      </a:lnTo>
                      <a:lnTo>
                        <a:pt x="152522" y="522854"/>
                      </a:lnTo>
                      <a:lnTo>
                        <a:pt x="156362" y="521208"/>
                      </a:lnTo>
                      <a:lnTo>
                        <a:pt x="154168" y="516270"/>
                      </a:lnTo>
                      <a:lnTo>
                        <a:pt x="171724" y="515722"/>
                      </a:lnTo>
                      <a:lnTo>
                        <a:pt x="173370" y="514076"/>
                      </a:lnTo>
                      <a:lnTo>
                        <a:pt x="178308" y="511881"/>
                      </a:lnTo>
                      <a:lnTo>
                        <a:pt x="178857" y="505297"/>
                      </a:lnTo>
                      <a:lnTo>
                        <a:pt x="183246" y="508041"/>
                      </a:lnTo>
                      <a:lnTo>
                        <a:pt x="187635" y="509687"/>
                      </a:lnTo>
                      <a:lnTo>
                        <a:pt x="193670" y="508041"/>
                      </a:lnTo>
                      <a:lnTo>
                        <a:pt x="195316" y="510235"/>
                      </a:lnTo>
                      <a:lnTo>
                        <a:pt x="198608" y="513527"/>
                      </a:lnTo>
                      <a:lnTo>
                        <a:pt x="224942" y="509687"/>
                      </a:lnTo>
                      <a:lnTo>
                        <a:pt x="232623" y="511333"/>
                      </a:lnTo>
                      <a:lnTo>
                        <a:pt x="266090" y="502006"/>
                      </a:lnTo>
                      <a:lnTo>
                        <a:pt x="266639" y="499811"/>
                      </a:lnTo>
                      <a:lnTo>
                        <a:pt x="281452" y="488838"/>
                      </a:lnTo>
                      <a:lnTo>
                        <a:pt x="283098" y="481157"/>
                      </a:lnTo>
                      <a:lnTo>
                        <a:pt x="281452" y="478414"/>
                      </a:lnTo>
                      <a:lnTo>
                        <a:pt x="256215" y="477865"/>
                      </a:lnTo>
                      <a:lnTo>
                        <a:pt x="255666" y="471830"/>
                      </a:lnTo>
                      <a:lnTo>
                        <a:pt x="252374" y="467441"/>
                      </a:lnTo>
                      <a:lnTo>
                        <a:pt x="259507" y="465247"/>
                      </a:lnTo>
                      <a:lnTo>
                        <a:pt x="261153" y="461406"/>
                      </a:lnTo>
                      <a:lnTo>
                        <a:pt x="264444" y="457566"/>
                      </a:lnTo>
                      <a:lnTo>
                        <a:pt x="262799" y="455920"/>
                      </a:lnTo>
                      <a:lnTo>
                        <a:pt x="258958" y="453725"/>
                      </a:lnTo>
                      <a:lnTo>
                        <a:pt x="263347" y="450982"/>
                      </a:lnTo>
                      <a:lnTo>
                        <a:pt x="267736" y="449336"/>
                      </a:lnTo>
                      <a:lnTo>
                        <a:pt x="271028" y="451531"/>
                      </a:lnTo>
                      <a:lnTo>
                        <a:pt x="276515" y="449885"/>
                      </a:lnTo>
                      <a:lnTo>
                        <a:pt x="277612" y="445496"/>
                      </a:lnTo>
                      <a:lnTo>
                        <a:pt x="276515" y="439461"/>
                      </a:lnTo>
                      <a:lnTo>
                        <a:pt x="279258" y="440009"/>
                      </a:lnTo>
                      <a:lnTo>
                        <a:pt x="284744" y="437266"/>
                      </a:lnTo>
                      <a:lnTo>
                        <a:pt x="289682" y="430682"/>
                      </a:lnTo>
                      <a:lnTo>
                        <a:pt x="294620" y="405994"/>
                      </a:lnTo>
                      <a:lnTo>
                        <a:pt x="292425" y="395021"/>
                      </a:lnTo>
                      <a:lnTo>
                        <a:pt x="286390" y="386243"/>
                      </a:lnTo>
                      <a:lnTo>
                        <a:pt x="274320" y="379659"/>
                      </a:lnTo>
                      <a:lnTo>
                        <a:pt x="250180" y="381853"/>
                      </a:lnTo>
                      <a:lnTo>
                        <a:pt x="243048" y="391729"/>
                      </a:lnTo>
                      <a:lnTo>
                        <a:pt x="240304" y="388986"/>
                      </a:lnTo>
                      <a:lnTo>
                        <a:pt x="230429" y="386791"/>
                      </a:lnTo>
                      <a:lnTo>
                        <a:pt x="233172" y="380756"/>
                      </a:lnTo>
                      <a:lnTo>
                        <a:pt x="241402" y="370332"/>
                      </a:lnTo>
                      <a:lnTo>
                        <a:pt x="243048" y="365943"/>
                      </a:lnTo>
                      <a:lnTo>
                        <a:pt x="243048" y="359908"/>
                      </a:lnTo>
                      <a:lnTo>
                        <a:pt x="230429" y="342900"/>
                      </a:lnTo>
                      <a:lnTo>
                        <a:pt x="226588" y="341254"/>
                      </a:lnTo>
                      <a:lnTo>
                        <a:pt x="217261" y="331927"/>
                      </a:lnTo>
                      <a:lnTo>
                        <a:pt x="220005" y="330281"/>
                      </a:lnTo>
                      <a:lnTo>
                        <a:pt x="227137" y="337414"/>
                      </a:lnTo>
                      <a:lnTo>
                        <a:pt x="235915" y="338511"/>
                      </a:lnTo>
                      <a:lnTo>
                        <a:pt x="236464" y="337962"/>
                      </a:lnTo>
                      <a:lnTo>
                        <a:pt x="234818" y="327538"/>
                      </a:lnTo>
                      <a:lnTo>
                        <a:pt x="223296" y="314371"/>
                      </a:lnTo>
                      <a:lnTo>
                        <a:pt x="221102" y="304495"/>
                      </a:lnTo>
                      <a:lnTo>
                        <a:pt x="206837" y="280904"/>
                      </a:lnTo>
                      <a:lnTo>
                        <a:pt x="189281" y="275966"/>
                      </a:lnTo>
                      <a:lnTo>
                        <a:pt x="187086" y="273223"/>
                      </a:lnTo>
                      <a:lnTo>
                        <a:pt x="172822" y="239756"/>
                      </a:lnTo>
                      <a:lnTo>
                        <a:pt x="170078" y="213970"/>
                      </a:lnTo>
                      <a:lnTo>
                        <a:pt x="156362" y="201351"/>
                      </a:lnTo>
                      <a:lnTo>
                        <a:pt x="151973" y="193121"/>
                      </a:lnTo>
                      <a:lnTo>
                        <a:pt x="132771" y="182149"/>
                      </a:lnTo>
                      <a:lnTo>
                        <a:pt x="128930" y="181600"/>
                      </a:lnTo>
                      <a:lnTo>
                        <a:pt x="116860" y="185989"/>
                      </a:lnTo>
                      <a:lnTo>
                        <a:pt x="106985" y="183246"/>
                      </a:lnTo>
                      <a:lnTo>
                        <a:pt x="106436" y="182149"/>
                      </a:lnTo>
                      <a:lnTo>
                        <a:pt x="108082" y="176662"/>
                      </a:lnTo>
                      <a:lnTo>
                        <a:pt x="112471" y="172822"/>
                      </a:lnTo>
                      <a:lnTo>
                        <a:pt x="125090" y="170627"/>
                      </a:lnTo>
                      <a:lnTo>
                        <a:pt x="131125" y="167335"/>
                      </a:lnTo>
                      <a:lnTo>
                        <a:pt x="123993" y="157460"/>
                      </a:lnTo>
                      <a:lnTo>
                        <a:pt x="120701" y="155814"/>
                      </a:lnTo>
                      <a:lnTo>
                        <a:pt x="119604" y="151973"/>
                      </a:lnTo>
                      <a:lnTo>
                        <a:pt x="126187" y="152522"/>
                      </a:lnTo>
                      <a:lnTo>
                        <a:pt x="130028" y="149779"/>
                      </a:lnTo>
                      <a:lnTo>
                        <a:pt x="134417" y="143744"/>
                      </a:lnTo>
                      <a:lnTo>
                        <a:pt x="135514" y="138257"/>
                      </a:lnTo>
                      <a:lnTo>
                        <a:pt x="144841" y="125090"/>
                      </a:lnTo>
                      <a:lnTo>
                        <a:pt x="150876" y="99304"/>
                      </a:lnTo>
                      <a:lnTo>
                        <a:pt x="160203" y="88331"/>
                      </a:lnTo>
                      <a:lnTo>
                        <a:pt x="160203" y="75164"/>
                      </a:lnTo>
                      <a:lnTo>
                        <a:pt x="158008" y="69129"/>
                      </a:lnTo>
                      <a:lnTo>
                        <a:pt x="114117" y="69129"/>
                      </a:lnTo>
                      <a:lnTo>
                        <a:pt x="105888" y="66385"/>
                      </a:lnTo>
                      <a:lnTo>
                        <a:pt x="80650" y="75164"/>
                      </a:lnTo>
                      <a:lnTo>
                        <a:pt x="75712" y="79553"/>
                      </a:lnTo>
                      <a:lnTo>
                        <a:pt x="72969" y="77358"/>
                      </a:lnTo>
                      <a:lnTo>
                        <a:pt x="74615" y="71872"/>
                      </a:lnTo>
                      <a:lnTo>
                        <a:pt x="74615" y="70226"/>
                      </a:lnTo>
                      <a:lnTo>
                        <a:pt x="68580" y="71872"/>
                      </a:lnTo>
                      <a:lnTo>
                        <a:pt x="68580" y="68580"/>
                      </a:lnTo>
                      <a:lnTo>
                        <a:pt x="78456" y="65288"/>
                      </a:lnTo>
                      <a:lnTo>
                        <a:pt x="85039" y="59253"/>
                      </a:lnTo>
                      <a:lnTo>
                        <a:pt x="73518" y="58156"/>
                      </a:lnTo>
                      <a:lnTo>
                        <a:pt x="74615" y="52669"/>
                      </a:lnTo>
                      <a:lnTo>
                        <a:pt x="75164" y="53218"/>
                      </a:lnTo>
                      <a:lnTo>
                        <a:pt x="82296" y="44989"/>
                      </a:lnTo>
                      <a:lnTo>
                        <a:pt x="96012" y="36759"/>
                      </a:lnTo>
                      <a:lnTo>
                        <a:pt x="100950" y="26883"/>
                      </a:lnTo>
                      <a:lnTo>
                        <a:pt x="110277" y="20848"/>
                      </a:lnTo>
                      <a:lnTo>
                        <a:pt x="112471" y="2743"/>
                      </a:lnTo>
                      <a:lnTo>
                        <a:pt x="104242" y="0"/>
                      </a:lnTo>
                      <a:lnTo>
                        <a:pt x="65837" y="8230"/>
                      </a:lnTo>
                      <a:lnTo>
                        <a:pt x="65288" y="7132"/>
                      </a:lnTo>
                      <a:lnTo>
                        <a:pt x="52121" y="4389"/>
                      </a:lnTo>
                      <a:lnTo>
                        <a:pt x="44440" y="6035"/>
                      </a:lnTo>
                      <a:lnTo>
                        <a:pt x="37308" y="18105"/>
                      </a:lnTo>
                      <a:lnTo>
                        <a:pt x="36759" y="28529"/>
                      </a:lnTo>
                      <a:lnTo>
                        <a:pt x="29078" y="29078"/>
                      </a:lnTo>
                      <a:lnTo>
                        <a:pt x="29627" y="38953"/>
                      </a:lnTo>
                      <a:lnTo>
                        <a:pt x="25786" y="41148"/>
                      </a:lnTo>
                      <a:lnTo>
                        <a:pt x="26883" y="44440"/>
                      </a:lnTo>
                      <a:lnTo>
                        <a:pt x="32370" y="49926"/>
                      </a:lnTo>
                      <a:lnTo>
                        <a:pt x="13716" y="60350"/>
                      </a:lnTo>
                      <a:lnTo>
                        <a:pt x="14265" y="74615"/>
                      </a:lnTo>
                      <a:lnTo>
                        <a:pt x="18654" y="77358"/>
                      </a:lnTo>
                      <a:lnTo>
                        <a:pt x="17556" y="78456"/>
                      </a:lnTo>
                      <a:lnTo>
                        <a:pt x="13167" y="77907"/>
                      </a:lnTo>
                      <a:lnTo>
                        <a:pt x="10973" y="79004"/>
                      </a:lnTo>
                      <a:lnTo>
                        <a:pt x="11521" y="89428"/>
                      </a:lnTo>
                      <a:lnTo>
                        <a:pt x="15911" y="89977"/>
                      </a:lnTo>
                      <a:lnTo>
                        <a:pt x="23592" y="88331"/>
                      </a:lnTo>
                      <a:lnTo>
                        <a:pt x="23043" y="91623"/>
                      </a:lnTo>
                      <a:lnTo>
                        <a:pt x="19202" y="93269"/>
                      </a:lnTo>
                      <a:lnTo>
                        <a:pt x="23043" y="94915"/>
                      </a:lnTo>
                      <a:lnTo>
                        <a:pt x="18654" y="103144"/>
                      </a:lnTo>
                      <a:lnTo>
                        <a:pt x="19751" y="108082"/>
                      </a:lnTo>
                      <a:lnTo>
                        <a:pt x="18105" y="108631"/>
                      </a:lnTo>
                      <a:lnTo>
                        <a:pt x="15362" y="111923"/>
                      </a:lnTo>
                      <a:lnTo>
                        <a:pt x="15362" y="114666"/>
                      </a:lnTo>
                      <a:lnTo>
                        <a:pt x="13167" y="116860"/>
                      </a:lnTo>
                      <a:lnTo>
                        <a:pt x="11521" y="121249"/>
                      </a:lnTo>
                      <a:lnTo>
                        <a:pt x="10973" y="131674"/>
                      </a:lnTo>
                      <a:lnTo>
                        <a:pt x="3841" y="133320"/>
                      </a:lnTo>
                      <a:lnTo>
                        <a:pt x="0" y="135514"/>
                      </a:lnTo>
                      <a:lnTo>
                        <a:pt x="549" y="137709"/>
                      </a:lnTo>
                      <a:lnTo>
                        <a:pt x="7132" y="138257"/>
                      </a:lnTo>
                      <a:lnTo>
                        <a:pt x="8230" y="144841"/>
                      </a:lnTo>
                      <a:lnTo>
                        <a:pt x="15911" y="151973"/>
                      </a:lnTo>
                      <a:lnTo>
                        <a:pt x="30724" y="140452"/>
                      </a:lnTo>
                      <a:lnTo>
                        <a:pt x="31821" y="141549"/>
                      </a:lnTo>
                      <a:lnTo>
                        <a:pt x="31821" y="145390"/>
                      </a:lnTo>
                      <a:lnTo>
                        <a:pt x="18654" y="188732"/>
                      </a:lnTo>
                      <a:lnTo>
                        <a:pt x="18654" y="194219"/>
                      </a:lnTo>
                      <a:lnTo>
                        <a:pt x="21946" y="193121"/>
                      </a:lnTo>
                      <a:lnTo>
                        <a:pt x="23592" y="195865"/>
                      </a:lnTo>
                      <a:lnTo>
                        <a:pt x="23043" y="200254"/>
                      </a:lnTo>
                      <a:lnTo>
                        <a:pt x="17556" y="210678"/>
                      </a:lnTo>
                      <a:lnTo>
                        <a:pt x="13167" y="228783"/>
                      </a:lnTo>
                      <a:lnTo>
                        <a:pt x="18105" y="228783"/>
                      </a:lnTo>
                      <a:lnTo>
                        <a:pt x="20300" y="226040"/>
                      </a:lnTo>
                      <a:lnTo>
                        <a:pt x="29627" y="199156"/>
                      </a:lnTo>
                      <a:lnTo>
                        <a:pt x="26883" y="182149"/>
                      </a:lnTo>
                      <a:lnTo>
                        <a:pt x="37308" y="169530"/>
                      </a:lnTo>
                      <a:lnTo>
                        <a:pt x="36759" y="173919"/>
                      </a:lnTo>
                      <a:lnTo>
                        <a:pt x="31821" y="185440"/>
                      </a:lnTo>
                      <a:lnTo>
                        <a:pt x="31821" y="193121"/>
                      </a:lnTo>
                      <a:lnTo>
                        <a:pt x="33467" y="190378"/>
                      </a:lnTo>
                      <a:lnTo>
                        <a:pt x="35662" y="190378"/>
                      </a:lnTo>
                      <a:lnTo>
                        <a:pt x="36759" y="187635"/>
                      </a:lnTo>
                      <a:lnTo>
                        <a:pt x="38405" y="185989"/>
                      </a:lnTo>
                      <a:lnTo>
                        <a:pt x="42794" y="188732"/>
                      </a:lnTo>
                      <a:lnTo>
                        <a:pt x="43891" y="188184"/>
                      </a:lnTo>
                      <a:lnTo>
                        <a:pt x="43891" y="178857"/>
                      </a:lnTo>
                      <a:lnTo>
                        <a:pt x="49926" y="182149"/>
                      </a:lnTo>
                      <a:lnTo>
                        <a:pt x="54315" y="186538"/>
                      </a:lnTo>
                      <a:lnTo>
                        <a:pt x="50475" y="187635"/>
                      </a:lnTo>
                      <a:lnTo>
                        <a:pt x="47732" y="194219"/>
                      </a:lnTo>
                      <a:lnTo>
                        <a:pt x="46634" y="204643"/>
                      </a:lnTo>
                      <a:lnTo>
                        <a:pt x="48829" y="207935"/>
                      </a:lnTo>
                      <a:lnTo>
                        <a:pt x="53218" y="211226"/>
                      </a:lnTo>
                      <a:lnTo>
                        <a:pt x="54315" y="218359"/>
                      </a:lnTo>
                      <a:lnTo>
                        <a:pt x="41148" y="248534"/>
                      </a:lnTo>
                      <a:lnTo>
                        <a:pt x="41697" y="254569"/>
                      </a:lnTo>
                      <a:lnTo>
                        <a:pt x="36759" y="250729"/>
                      </a:lnTo>
                      <a:lnTo>
                        <a:pt x="35662" y="254569"/>
                      </a:lnTo>
                      <a:lnTo>
                        <a:pt x="41148" y="270480"/>
                      </a:lnTo>
                      <a:lnTo>
                        <a:pt x="43891" y="273223"/>
                      </a:lnTo>
                      <a:lnTo>
                        <a:pt x="45537" y="272125"/>
                      </a:lnTo>
                      <a:lnTo>
                        <a:pt x="44988" y="263347"/>
                      </a:lnTo>
                      <a:lnTo>
                        <a:pt x="45537" y="260604"/>
                      </a:lnTo>
                      <a:lnTo>
                        <a:pt x="48280" y="259507"/>
                      </a:lnTo>
                      <a:lnTo>
                        <a:pt x="63094" y="269931"/>
                      </a:lnTo>
                      <a:lnTo>
                        <a:pt x="65288" y="266090"/>
                      </a:lnTo>
                      <a:lnTo>
                        <a:pt x="65288" y="260604"/>
                      </a:lnTo>
                      <a:lnTo>
                        <a:pt x="81747" y="262250"/>
                      </a:lnTo>
                      <a:lnTo>
                        <a:pt x="92720" y="256764"/>
                      </a:lnTo>
                      <a:lnTo>
                        <a:pt x="94366" y="254569"/>
                      </a:lnTo>
                      <a:lnTo>
                        <a:pt x="98755" y="251826"/>
                      </a:lnTo>
                      <a:lnTo>
                        <a:pt x="113568" y="253472"/>
                      </a:lnTo>
                      <a:lnTo>
                        <a:pt x="111374" y="255666"/>
                      </a:lnTo>
                      <a:lnTo>
                        <a:pt x="108631" y="255666"/>
                      </a:lnTo>
                      <a:lnTo>
                        <a:pt x="102596" y="260604"/>
                      </a:lnTo>
                      <a:lnTo>
                        <a:pt x="93269" y="283647"/>
                      </a:lnTo>
                      <a:lnTo>
                        <a:pt x="94915" y="288585"/>
                      </a:lnTo>
                      <a:lnTo>
                        <a:pt x="99852" y="294620"/>
                      </a:lnTo>
                      <a:lnTo>
                        <a:pt x="102047" y="300106"/>
                      </a:lnTo>
                      <a:lnTo>
                        <a:pt x="102596" y="301204"/>
                      </a:lnTo>
                      <a:lnTo>
                        <a:pt x="104242" y="299009"/>
                      </a:lnTo>
                      <a:lnTo>
                        <a:pt x="108631" y="308336"/>
                      </a:lnTo>
                      <a:lnTo>
                        <a:pt x="117958" y="304495"/>
                      </a:lnTo>
                      <a:lnTo>
                        <a:pt x="123993" y="299009"/>
                      </a:lnTo>
                      <a:lnTo>
                        <a:pt x="126736" y="300106"/>
                      </a:lnTo>
                      <a:lnTo>
                        <a:pt x="123993" y="304495"/>
                      </a:lnTo>
                      <a:lnTo>
                        <a:pt x="122895" y="316017"/>
                      </a:lnTo>
                      <a:lnTo>
                        <a:pt x="119604" y="319857"/>
                      </a:lnTo>
                      <a:lnTo>
                        <a:pt x="116860" y="328087"/>
                      </a:lnTo>
                      <a:lnTo>
                        <a:pt x="123444" y="329733"/>
                      </a:lnTo>
                      <a:lnTo>
                        <a:pt x="119604" y="335219"/>
                      </a:lnTo>
                      <a:lnTo>
                        <a:pt x="115763" y="346192"/>
                      </a:lnTo>
                      <a:lnTo>
                        <a:pt x="117958" y="349484"/>
                      </a:lnTo>
                      <a:lnTo>
                        <a:pt x="121249" y="351130"/>
                      </a:lnTo>
                      <a:lnTo>
                        <a:pt x="119055" y="352776"/>
                      </a:lnTo>
                      <a:lnTo>
                        <a:pt x="115214" y="358262"/>
                      </a:lnTo>
                      <a:lnTo>
                        <a:pt x="88331" y="357165"/>
                      </a:lnTo>
                      <a:lnTo>
                        <a:pt x="54315" y="386791"/>
                      </a:lnTo>
                      <a:lnTo>
                        <a:pt x="57607" y="388986"/>
                      </a:lnTo>
                      <a:lnTo>
                        <a:pt x="67483" y="382402"/>
                      </a:lnTo>
                      <a:lnTo>
                        <a:pt x="75164" y="380756"/>
                      </a:lnTo>
                      <a:lnTo>
                        <a:pt x="77358" y="403799"/>
                      </a:lnTo>
                      <a:lnTo>
                        <a:pt x="81747" y="406542"/>
                      </a:lnTo>
                      <a:lnTo>
                        <a:pt x="74615" y="421356"/>
                      </a:lnTo>
                      <a:lnTo>
                        <a:pt x="32918" y="446593"/>
                      </a:lnTo>
                      <a:lnTo>
                        <a:pt x="34564" y="448239"/>
                      </a:lnTo>
                      <a:lnTo>
                        <a:pt x="39502" y="459760"/>
                      </a:lnTo>
                      <a:lnTo>
                        <a:pt x="41148" y="461406"/>
                      </a:lnTo>
                      <a:lnTo>
                        <a:pt x="44988" y="461955"/>
                      </a:lnTo>
                      <a:lnTo>
                        <a:pt x="49926" y="460309"/>
                      </a:lnTo>
                      <a:lnTo>
                        <a:pt x="56510" y="454274"/>
                      </a:lnTo>
                      <a:lnTo>
                        <a:pt x="62545" y="451531"/>
                      </a:lnTo>
                      <a:lnTo>
                        <a:pt x="65288" y="452628"/>
                      </a:lnTo>
                      <a:lnTo>
                        <a:pt x="66934" y="461406"/>
                      </a:lnTo>
                      <a:lnTo>
                        <a:pt x="69129" y="463601"/>
                      </a:lnTo>
                      <a:lnTo>
                        <a:pt x="77358" y="464149"/>
                      </a:lnTo>
                      <a:lnTo>
                        <a:pt x="82296" y="459760"/>
                      </a:lnTo>
                      <a:lnTo>
                        <a:pt x="84491" y="459212"/>
                      </a:lnTo>
                      <a:lnTo>
                        <a:pt x="86685" y="460858"/>
                      </a:lnTo>
                      <a:lnTo>
                        <a:pt x="97109" y="474025"/>
                      </a:lnTo>
                      <a:lnTo>
                        <a:pt x="100950" y="475122"/>
                      </a:lnTo>
                      <a:lnTo>
                        <a:pt x="106985" y="475122"/>
                      </a:lnTo>
                      <a:lnTo>
                        <a:pt x="110825" y="471830"/>
                      </a:lnTo>
                      <a:lnTo>
                        <a:pt x="114117" y="467441"/>
                      </a:lnTo>
                      <a:lnTo>
                        <a:pt x="133320" y="454274"/>
                      </a:lnTo>
                      <a:lnTo>
                        <a:pt x="133868" y="459212"/>
                      </a:lnTo>
                      <a:lnTo>
                        <a:pt x="119604" y="477317"/>
                      </a:lnTo>
                      <a:lnTo>
                        <a:pt x="117958" y="482255"/>
                      </a:lnTo>
                      <a:lnTo>
                        <a:pt x="115763" y="484998"/>
                      </a:lnTo>
                      <a:lnTo>
                        <a:pt x="75164" y="488838"/>
                      </a:lnTo>
                      <a:lnTo>
                        <a:pt x="71872" y="495971"/>
                      </a:lnTo>
                      <a:lnTo>
                        <a:pt x="65288" y="500908"/>
                      </a:lnTo>
                      <a:lnTo>
                        <a:pt x="60350" y="510235"/>
                      </a:lnTo>
                      <a:lnTo>
                        <a:pt x="21397" y="548640"/>
                      </a:lnTo>
                      <a:lnTo>
                        <a:pt x="19751" y="554126"/>
                      </a:lnTo>
                      <a:lnTo>
                        <a:pt x="19751" y="556870"/>
                      </a:lnTo>
                      <a:lnTo>
                        <a:pt x="21397" y="552481"/>
                      </a:lnTo>
                      <a:lnTo>
                        <a:pt x="24140" y="550835"/>
                      </a:lnTo>
                      <a:lnTo>
                        <a:pt x="31821" y="555224"/>
                      </a:lnTo>
                      <a:lnTo>
                        <a:pt x="35113" y="554126"/>
                      </a:lnTo>
                      <a:lnTo>
                        <a:pt x="36759" y="557418"/>
                      </a:lnTo>
                      <a:lnTo>
                        <a:pt x="39502" y="554126"/>
                      </a:lnTo>
                      <a:lnTo>
                        <a:pt x="42245" y="548640"/>
                      </a:lnTo>
                      <a:lnTo>
                        <a:pt x="49378" y="544800"/>
                      </a:lnTo>
                      <a:lnTo>
                        <a:pt x="53218" y="537119"/>
                      </a:lnTo>
                      <a:lnTo>
                        <a:pt x="73518" y="536570"/>
                      </a:lnTo>
                      <a:lnTo>
                        <a:pt x="87234" y="541508"/>
                      </a:lnTo>
                      <a:lnTo>
                        <a:pt x="92172" y="542056"/>
                      </a:lnTo>
                      <a:lnTo>
                        <a:pt x="97109" y="536021"/>
                      </a:lnTo>
                      <a:lnTo>
                        <a:pt x="99852" y="520660"/>
                      </a:lnTo>
                      <a:lnTo>
                        <a:pt x="102047" y="519562"/>
                      </a:lnTo>
                      <a:lnTo>
                        <a:pt x="106985" y="520111"/>
                      </a:lnTo>
                      <a:lnTo>
                        <a:pt x="125090" y="513527"/>
                      </a:lnTo>
                      <a:lnTo>
                        <a:pt x="136063" y="525597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6" name="Graphic 7">
                  <a:extLst>
                    <a:ext uri="{FF2B5EF4-FFF2-40B4-BE49-F238E27FC236}">
                      <a16:creationId xmlns:a16="http://schemas.microsoft.com/office/drawing/2014/main" id="{EF94302E-299A-367D-BC37-92829A31AE36}"/>
                    </a:ext>
                  </a:extLst>
                </p:cNvPr>
                <p:cNvSpPr/>
                <p:nvPr/>
              </p:nvSpPr>
              <p:spPr>
                <a:xfrm>
                  <a:off x="5199212" y="2746931"/>
                  <a:ext cx="11144" cy="6858"/>
                </a:xfrm>
                <a:custGeom>
                  <a:avLst/>
                  <a:gdLst>
                    <a:gd name="connsiteX0" fmla="*/ 9327 w 14264"/>
                    <a:gd name="connsiteY0" fmla="*/ 1646 h 8778"/>
                    <a:gd name="connsiteX1" fmla="*/ 8230 w 14264"/>
                    <a:gd name="connsiteY1" fmla="*/ 0 h 8778"/>
                    <a:gd name="connsiteX2" fmla="*/ 3840 w 14264"/>
                    <a:gd name="connsiteY2" fmla="*/ 1646 h 8778"/>
                    <a:gd name="connsiteX3" fmla="*/ 1097 w 14264"/>
                    <a:gd name="connsiteY3" fmla="*/ 3292 h 8778"/>
                    <a:gd name="connsiteX4" fmla="*/ 0 w 14264"/>
                    <a:gd name="connsiteY4" fmla="*/ 5486 h 8778"/>
                    <a:gd name="connsiteX5" fmla="*/ 1097 w 14264"/>
                    <a:gd name="connsiteY5" fmla="*/ 6584 h 8778"/>
                    <a:gd name="connsiteX6" fmla="*/ 6584 w 14264"/>
                    <a:gd name="connsiteY6" fmla="*/ 8778 h 8778"/>
                    <a:gd name="connsiteX7" fmla="*/ 10973 w 14264"/>
                    <a:gd name="connsiteY7" fmla="*/ 7681 h 8778"/>
                    <a:gd name="connsiteX8" fmla="*/ 14265 w 14264"/>
                    <a:gd name="connsiteY8" fmla="*/ 3841 h 8778"/>
                    <a:gd name="connsiteX9" fmla="*/ 13716 w 14264"/>
                    <a:gd name="connsiteY9" fmla="*/ 2743 h 8778"/>
                    <a:gd name="connsiteX10" fmla="*/ 9327 w 14264"/>
                    <a:gd name="connsiteY10" fmla="*/ 1646 h 87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4264" h="8778">
                      <a:moveTo>
                        <a:pt x="9327" y="1646"/>
                      </a:moveTo>
                      <a:lnTo>
                        <a:pt x="8230" y="0"/>
                      </a:lnTo>
                      <a:lnTo>
                        <a:pt x="3840" y="1646"/>
                      </a:lnTo>
                      <a:lnTo>
                        <a:pt x="1097" y="3292"/>
                      </a:lnTo>
                      <a:lnTo>
                        <a:pt x="0" y="5486"/>
                      </a:lnTo>
                      <a:lnTo>
                        <a:pt x="1097" y="6584"/>
                      </a:lnTo>
                      <a:lnTo>
                        <a:pt x="6584" y="8778"/>
                      </a:lnTo>
                      <a:lnTo>
                        <a:pt x="10973" y="7681"/>
                      </a:lnTo>
                      <a:lnTo>
                        <a:pt x="14265" y="3841"/>
                      </a:lnTo>
                      <a:lnTo>
                        <a:pt x="13716" y="2743"/>
                      </a:lnTo>
                      <a:lnTo>
                        <a:pt x="9327" y="1646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7" name="Graphic 7">
                  <a:extLst>
                    <a:ext uri="{FF2B5EF4-FFF2-40B4-BE49-F238E27FC236}">
                      <a16:creationId xmlns:a16="http://schemas.microsoft.com/office/drawing/2014/main" id="{99A431F0-F4ED-3AEF-933E-9DAE83F97FF9}"/>
                    </a:ext>
                  </a:extLst>
                </p:cNvPr>
                <p:cNvSpPr/>
                <p:nvPr/>
              </p:nvSpPr>
              <p:spPr>
                <a:xfrm>
                  <a:off x="5112626" y="2620053"/>
                  <a:ext cx="9001" cy="8144"/>
                </a:xfrm>
                <a:custGeom>
                  <a:avLst/>
                  <a:gdLst>
                    <a:gd name="connsiteX0" fmla="*/ 7681 w 11521"/>
                    <a:gd name="connsiteY0" fmla="*/ 10424 h 10424"/>
                    <a:gd name="connsiteX1" fmla="*/ 11521 w 11521"/>
                    <a:gd name="connsiteY1" fmla="*/ 6584 h 10424"/>
                    <a:gd name="connsiteX2" fmla="*/ 3292 w 11521"/>
                    <a:gd name="connsiteY2" fmla="*/ 549 h 10424"/>
                    <a:gd name="connsiteX3" fmla="*/ 0 w 11521"/>
                    <a:gd name="connsiteY3" fmla="*/ 0 h 10424"/>
                    <a:gd name="connsiteX4" fmla="*/ 7681 w 11521"/>
                    <a:gd name="connsiteY4" fmla="*/ 10424 h 104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521" h="10424">
                      <a:moveTo>
                        <a:pt x="7681" y="10424"/>
                      </a:moveTo>
                      <a:lnTo>
                        <a:pt x="11521" y="6584"/>
                      </a:lnTo>
                      <a:lnTo>
                        <a:pt x="3292" y="549"/>
                      </a:lnTo>
                      <a:lnTo>
                        <a:pt x="0" y="0"/>
                      </a:lnTo>
                      <a:lnTo>
                        <a:pt x="7681" y="10424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8" name="Graphic 7">
                  <a:extLst>
                    <a:ext uri="{FF2B5EF4-FFF2-40B4-BE49-F238E27FC236}">
                      <a16:creationId xmlns:a16="http://schemas.microsoft.com/office/drawing/2014/main" id="{AE75D470-8F71-BB15-0F37-61D30F7CBDCB}"/>
                    </a:ext>
                  </a:extLst>
                </p:cNvPr>
                <p:cNvSpPr/>
                <p:nvPr/>
              </p:nvSpPr>
              <p:spPr>
                <a:xfrm>
                  <a:off x="5101482" y="2571188"/>
                  <a:ext cx="13287" cy="16288"/>
                </a:xfrm>
                <a:custGeom>
                  <a:avLst/>
                  <a:gdLst>
                    <a:gd name="connsiteX0" fmla="*/ 14265 w 17007"/>
                    <a:gd name="connsiteY0" fmla="*/ 0 h 20848"/>
                    <a:gd name="connsiteX1" fmla="*/ 0 w 17007"/>
                    <a:gd name="connsiteY1" fmla="*/ 20848 h 20848"/>
                    <a:gd name="connsiteX2" fmla="*/ 6035 w 17007"/>
                    <a:gd name="connsiteY2" fmla="*/ 19751 h 20848"/>
                    <a:gd name="connsiteX3" fmla="*/ 13167 w 17007"/>
                    <a:gd name="connsiteY3" fmla="*/ 15362 h 20848"/>
                    <a:gd name="connsiteX4" fmla="*/ 17008 w 17007"/>
                    <a:gd name="connsiteY4" fmla="*/ 9875 h 20848"/>
                    <a:gd name="connsiteX5" fmla="*/ 17008 w 17007"/>
                    <a:gd name="connsiteY5" fmla="*/ 1646 h 20848"/>
                    <a:gd name="connsiteX6" fmla="*/ 14265 w 17007"/>
                    <a:gd name="connsiteY6" fmla="*/ 0 h 208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7007" h="20848">
                      <a:moveTo>
                        <a:pt x="14265" y="0"/>
                      </a:moveTo>
                      <a:lnTo>
                        <a:pt x="0" y="20848"/>
                      </a:lnTo>
                      <a:lnTo>
                        <a:pt x="6035" y="19751"/>
                      </a:lnTo>
                      <a:lnTo>
                        <a:pt x="13167" y="15362"/>
                      </a:lnTo>
                      <a:lnTo>
                        <a:pt x="17008" y="9875"/>
                      </a:lnTo>
                      <a:lnTo>
                        <a:pt x="17008" y="1646"/>
                      </a:lnTo>
                      <a:lnTo>
                        <a:pt x="14265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09" name="Graphic 7">
                  <a:extLst>
                    <a:ext uri="{FF2B5EF4-FFF2-40B4-BE49-F238E27FC236}">
                      <a16:creationId xmlns:a16="http://schemas.microsoft.com/office/drawing/2014/main" id="{69269C46-B8B7-B0CF-0E57-1555A986396E}"/>
                    </a:ext>
                  </a:extLst>
                </p:cNvPr>
                <p:cNvSpPr/>
                <p:nvPr/>
              </p:nvSpPr>
              <p:spPr>
                <a:xfrm>
                  <a:off x="5085193" y="2505176"/>
                  <a:ext cx="6429" cy="13716"/>
                </a:xfrm>
                <a:custGeom>
                  <a:avLst/>
                  <a:gdLst>
                    <a:gd name="connsiteX0" fmla="*/ 0 w 8229"/>
                    <a:gd name="connsiteY0" fmla="*/ 549 h 17556"/>
                    <a:gd name="connsiteX1" fmla="*/ 0 w 8229"/>
                    <a:gd name="connsiteY1" fmla="*/ 0 h 17556"/>
                    <a:gd name="connsiteX2" fmla="*/ 0 w 8229"/>
                    <a:gd name="connsiteY2" fmla="*/ 12619 h 17556"/>
                    <a:gd name="connsiteX3" fmla="*/ 2743 w 8229"/>
                    <a:gd name="connsiteY3" fmla="*/ 17556 h 17556"/>
                    <a:gd name="connsiteX4" fmla="*/ 6584 w 8229"/>
                    <a:gd name="connsiteY4" fmla="*/ 15911 h 17556"/>
                    <a:gd name="connsiteX5" fmla="*/ 8230 w 8229"/>
                    <a:gd name="connsiteY5" fmla="*/ 6584 h 17556"/>
                    <a:gd name="connsiteX6" fmla="*/ 7132 w 8229"/>
                    <a:gd name="connsiteY6" fmla="*/ 0 h 17556"/>
                    <a:gd name="connsiteX7" fmla="*/ 0 w 8229"/>
                    <a:gd name="connsiteY7" fmla="*/ 549 h 175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8229" h="17556">
                      <a:moveTo>
                        <a:pt x="0" y="549"/>
                      </a:moveTo>
                      <a:lnTo>
                        <a:pt x="0" y="0"/>
                      </a:lnTo>
                      <a:lnTo>
                        <a:pt x="0" y="12619"/>
                      </a:lnTo>
                      <a:lnTo>
                        <a:pt x="2743" y="17556"/>
                      </a:lnTo>
                      <a:lnTo>
                        <a:pt x="6584" y="15911"/>
                      </a:lnTo>
                      <a:lnTo>
                        <a:pt x="8230" y="6584"/>
                      </a:lnTo>
                      <a:lnTo>
                        <a:pt x="7132" y="0"/>
                      </a:lnTo>
                      <a:lnTo>
                        <a:pt x="0" y="549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0" name="Graphic 7">
                  <a:extLst>
                    <a:ext uri="{FF2B5EF4-FFF2-40B4-BE49-F238E27FC236}">
                      <a16:creationId xmlns:a16="http://schemas.microsoft.com/office/drawing/2014/main" id="{51217A59-AD02-7157-D470-EF26B5EFF59A}"/>
                    </a:ext>
                  </a:extLst>
                </p:cNvPr>
                <p:cNvSpPr/>
                <p:nvPr/>
              </p:nvSpPr>
              <p:spPr>
                <a:xfrm>
                  <a:off x="5050903" y="2494032"/>
                  <a:ext cx="12001" cy="14573"/>
                </a:xfrm>
                <a:custGeom>
                  <a:avLst/>
                  <a:gdLst>
                    <a:gd name="connsiteX0" fmla="*/ 12070 w 15361"/>
                    <a:gd name="connsiteY0" fmla="*/ 1097 h 18653"/>
                    <a:gd name="connsiteX1" fmla="*/ 12070 w 15361"/>
                    <a:gd name="connsiteY1" fmla="*/ 0 h 18653"/>
                    <a:gd name="connsiteX2" fmla="*/ 8778 w 15361"/>
                    <a:gd name="connsiteY2" fmla="*/ 2743 h 18653"/>
                    <a:gd name="connsiteX3" fmla="*/ 3292 w 15361"/>
                    <a:gd name="connsiteY3" fmla="*/ 4938 h 18653"/>
                    <a:gd name="connsiteX4" fmla="*/ 0 w 15361"/>
                    <a:gd name="connsiteY4" fmla="*/ 12619 h 18653"/>
                    <a:gd name="connsiteX5" fmla="*/ 549 w 15361"/>
                    <a:gd name="connsiteY5" fmla="*/ 14265 h 18653"/>
                    <a:gd name="connsiteX6" fmla="*/ 4938 w 15361"/>
                    <a:gd name="connsiteY6" fmla="*/ 8778 h 18653"/>
                    <a:gd name="connsiteX7" fmla="*/ 8778 w 15361"/>
                    <a:gd name="connsiteY7" fmla="*/ 18654 h 18653"/>
                    <a:gd name="connsiteX8" fmla="*/ 14813 w 15361"/>
                    <a:gd name="connsiteY8" fmla="*/ 15362 h 18653"/>
                    <a:gd name="connsiteX9" fmla="*/ 15362 w 15361"/>
                    <a:gd name="connsiteY9" fmla="*/ 9327 h 18653"/>
                    <a:gd name="connsiteX10" fmla="*/ 12070 w 15361"/>
                    <a:gd name="connsiteY10" fmla="*/ 1097 h 186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5361" h="18653">
                      <a:moveTo>
                        <a:pt x="12070" y="1097"/>
                      </a:moveTo>
                      <a:lnTo>
                        <a:pt x="12070" y="0"/>
                      </a:lnTo>
                      <a:lnTo>
                        <a:pt x="8778" y="2743"/>
                      </a:lnTo>
                      <a:lnTo>
                        <a:pt x="3292" y="4938"/>
                      </a:lnTo>
                      <a:lnTo>
                        <a:pt x="0" y="12619"/>
                      </a:lnTo>
                      <a:lnTo>
                        <a:pt x="549" y="14265"/>
                      </a:lnTo>
                      <a:lnTo>
                        <a:pt x="4938" y="8778"/>
                      </a:lnTo>
                      <a:lnTo>
                        <a:pt x="8778" y="18654"/>
                      </a:lnTo>
                      <a:lnTo>
                        <a:pt x="14813" y="15362"/>
                      </a:lnTo>
                      <a:lnTo>
                        <a:pt x="15362" y="9327"/>
                      </a:lnTo>
                      <a:lnTo>
                        <a:pt x="12070" y="1097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1" name="Graphic 7">
                  <a:extLst>
                    <a:ext uri="{FF2B5EF4-FFF2-40B4-BE49-F238E27FC236}">
                      <a16:creationId xmlns:a16="http://schemas.microsoft.com/office/drawing/2014/main" id="{033C9F6A-1A0D-8552-3A4B-A5A2B63A888B}"/>
                    </a:ext>
                  </a:extLst>
                </p:cNvPr>
                <p:cNvSpPr/>
                <p:nvPr/>
              </p:nvSpPr>
              <p:spPr>
                <a:xfrm>
                  <a:off x="5064190" y="2484174"/>
                  <a:ext cx="9001" cy="15002"/>
                </a:xfrm>
                <a:custGeom>
                  <a:avLst/>
                  <a:gdLst>
                    <a:gd name="connsiteX0" fmla="*/ 11521 w 11521"/>
                    <a:gd name="connsiteY0" fmla="*/ 0 h 19202"/>
                    <a:gd name="connsiteX1" fmla="*/ 6035 w 11521"/>
                    <a:gd name="connsiteY1" fmla="*/ 3840 h 19202"/>
                    <a:gd name="connsiteX2" fmla="*/ 4389 w 11521"/>
                    <a:gd name="connsiteY2" fmla="*/ 7132 h 19202"/>
                    <a:gd name="connsiteX3" fmla="*/ 3841 w 11521"/>
                    <a:gd name="connsiteY3" fmla="*/ 10973 h 19202"/>
                    <a:gd name="connsiteX4" fmla="*/ 549 w 11521"/>
                    <a:gd name="connsiteY4" fmla="*/ 15362 h 19202"/>
                    <a:gd name="connsiteX5" fmla="*/ 0 w 11521"/>
                    <a:gd name="connsiteY5" fmla="*/ 19202 h 19202"/>
                    <a:gd name="connsiteX6" fmla="*/ 3841 w 11521"/>
                    <a:gd name="connsiteY6" fmla="*/ 18105 h 19202"/>
                    <a:gd name="connsiteX7" fmla="*/ 11521 w 11521"/>
                    <a:gd name="connsiteY7" fmla="*/ 0 h 192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521" h="19202">
                      <a:moveTo>
                        <a:pt x="11521" y="0"/>
                      </a:moveTo>
                      <a:lnTo>
                        <a:pt x="6035" y="3840"/>
                      </a:lnTo>
                      <a:lnTo>
                        <a:pt x="4389" y="7132"/>
                      </a:lnTo>
                      <a:lnTo>
                        <a:pt x="3841" y="10973"/>
                      </a:lnTo>
                      <a:lnTo>
                        <a:pt x="549" y="15362"/>
                      </a:lnTo>
                      <a:lnTo>
                        <a:pt x="0" y="19202"/>
                      </a:lnTo>
                      <a:lnTo>
                        <a:pt x="3841" y="18105"/>
                      </a:lnTo>
                      <a:lnTo>
                        <a:pt x="11521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2" name="Graphic 7">
                  <a:extLst>
                    <a:ext uri="{FF2B5EF4-FFF2-40B4-BE49-F238E27FC236}">
                      <a16:creationId xmlns:a16="http://schemas.microsoft.com/office/drawing/2014/main" id="{B850F122-F4A9-7C00-7E6E-DFEC5720718C}"/>
                    </a:ext>
                  </a:extLst>
                </p:cNvPr>
                <p:cNvSpPr/>
                <p:nvPr/>
              </p:nvSpPr>
              <p:spPr>
                <a:xfrm>
                  <a:off x="5054761" y="2456311"/>
                  <a:ext cx="18431" cy="18431"/>
                </a:xfrm>
                <a:custGeom>
                  <a:avLst/>
                  <a:gdLst>
                    <a:gd name="connsiteX0" fmla="*/ 1097 w 23591"/>
                    <a:gd name="connsiteY0" fmla="*/ 20848 h 23591"/>
                    <a:gd name="connsiteX1" fmla="*/ 0 w 23591"/>
                    <a:gd name="connsiteY1" fmla="*/ 19202 h 23591"/>
                    <a:gd name="connsiteX2" fmla="*/ 0 w 23591"/>
                    <a:gd name="connsiteY2" fmla="*/ 21946 h 23591"/>
                    <a:gd name="connsiteX3" fmla="*/ 3840 w 23591"/>
                    <a:gd name="connsiteY3" fmla="*/ 23591 h 23591"/>
                    <a:gd name="connsiteX4" fmla="*/ 10973 w 23591"/>
                    <a:gd name="connsiteY4" fmla="*/ 23591 h 23591"/>
                    <a:gd name="connsiteX5" fmla="*/ 17556 w 23591"/>
                    <a:gd name="connsiteY5" fmla="*/ 18654 h 23591"/>
                    <a:gd name="connsiteX6" fmla="*/ 23592 w 23591"/>
                    <a:gd name="connsiteY6" fmla="*/ 17556 h 23591"/>
                    <a:gd name="connsiteX7" fmla="*/ 22494 w 23591"/>
                    <a:gd name="connsiteY7" fmla="*/ 13167 h 23591"/>
                    <a:gd name="connsiteX8" fmla="*/ 11521 w 23591"/>
                    <a:gd name="connsiteY8" fmla="*/ 2743 h 23591"/>
                    <a:gd name="connsiteX9" fmla="*/ 10424 w 23591"/>
                    <a:gd name="connsiteY9" fmla="*/ 0 h 23591"/>
                    <a:gd name="connsiteX10" fmla="*/ 6035 w 23591"/>
                    <a:gd name="connsiteY10" fmla="*/ 549 h 23591"/>
                    <a:gd name="connsiteX11" fmla="*/ 3292 w 23591"/>
                    <a:gd name="connsiteY11" fmla="*/ 3292 h 23591"/>
                    <a:gd name="connsiteX12" fmla="*/ 3840 w 23591"/>
                    <a:gd name="connsiteY12" fmla="*/ 7132 h 23591"/>
                    <a:gd name="connsiteX13" fmla="*/ 9876 w 23591"/>
                    <a:gd name="connsiteY13" fmla="*/ 10424 h 23591"/>
                    <a:gd name="connsiteX14" fmla="*/ 8778 w 23591"/>
                    <a:gd name="connsiteY14" fmla="*/ 15911 h 23591"/>
                    <a:gd name="connsiteX15" fmla="*/ 9876 w 23591"/>
                    <a:gd name="connsiteY15" fmla="*/ 17008 h 23591"/>
                    <a:gd name="connsiteX16" fmla="*/ 8778 w 23591"/>
                    <a:gd name="connsiteY16" fmla="*/ 19202 h 23591"/>
                    <a:gd name="connsiteX17" fmla="*/ 5486 w 23591"/>
                    <a:gd name="connsiteY17" fmla="*/ 20848 h 23591"/>
                    <a:gd name="connsiteX18" fmla="*/ 1097 w 23591"/>
                    <a:gd name="connsiteY18" fmla="*/ 20848 h 235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23591" h="23591">
                      <a:moveTo>
                        <a:pt x="1097" y="20848"/>
                      </a:moveTo>
                      <a:lnTo>
                        <a:pt x="0" y="19202"/>
                      </a:lnTo>
                      <a:lnTo>
                        <a:pt x="0" y="21946"/>
                      </a:lnTo>
                      <a:lnTo>
                        <a:pt x="3840" y="23591"/>
                      </a:lnTo>
                      <a:lnTo>
                        <a:pt x="10973" y="23591"/>
                      </a:lnTo>
                      <a:lnTo>
                        <a:pt x="17556" y="18654"/>
                      </a:lnTo>
                      <a:lnTo>
                        <a:pt x="23592" y="17556"/>
                      </a:lnTo>
                      <a:lnTo>
                        <a:pt x="22494" y="13167"/>
                      </a:lnTo>
                      <a:lnTo>
                        <a:pt x="11521" y="2743"/>
                      </a:lnTo>
                      <a:lnTo>
                        <a:pt x="10424" y="0"/>
                      </a:lnTo>
                      <a:lnTo>
                        <a:pt x="6035" y="549"/>
                      </a:lnTo>
                      <a:lnTo>
                        <a:pt x="3292" y="3292"/>
                      </a:lnTo>
                      <a:lnTo>
                        <a:pt x="3840" y="7132"/>
                      </a:lnTo>
                      <a:lnTo>
                        <a:pt x="9876" y="10424"/>
                      </a:lnTo>
                      <a:lnTo>
                        <a:pt x="8778" y="15911"/>
                      </a:lnTo>
                      <a:lnTo>
                        <a:pt x="9876" y="17008"/>
                      </a:lnTo>
                      <a:lnTo>
                        <a:pt x="8778" y="19202"/>
                      </a:lnTo>
                      <a:lnTo>
                        <a:pt x="5486" y="20848"/>
                      </a:lnTo>
                      <a:lnTo>
                        <a:pt x="1097" y="20848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3" name="Graphic 7">
                  <a:extLst>
                    <a:ext uri="{FF2B5EF4-FFF2-40B4-BE49-F238E27FC236}">
                      <a16:creationId xmlns:a16="http://schemas.microsoft.com/office/drawing/2014/main" id="{20D95822-A87A-68F5-2B35-8CCD91EC3C6B}"/>
                    </a:ext>
                  </a:extLst>
                </p:cNvPr>
                <p:cNvSpPr/>
                <p:nvPr/>
              </p:nvSpPr>
              <p:spPr>
                <a:xfrm>
                  <a:off x="5044472" y="2398016"/>
                  <a:ext cx="28718" cy="34291"/>
                </a:xfrm>
                <a:custGeom>
                  <a:avLst/>
                  <a:gdLst>
                    <a:gd name="connsiteX0" fmla="*/ 14265 w 36758"/>
                    <a:gd name="connsiteY0" fmla="*/ 549 h 43891"/>
                    <a:gd name="connsiteX1" fmla="*/ 13167 w 36758"/>
                    <a:gd name="connsiteY1" fmla="*/ 0 h 43891"/>
                    <a:gd name="connsiteX2" fmla="*/ 10973 w 36758"/>
                    <a:gd name="connsiteY2" fmla="*/ 14265 h 43891"/>
                    <a:gd name="connsiteX3" fmla="*/ 5486 w 36758"/>
                    <a:gd name="connsiteY3" fmla="*/ 9327 h 43891"/>
                    <a:gd name="connsiteX4" fmla="*/ 1646 w 36758"/>
                    <a:gd name="connsiteY4" fmla="*/ 14265 h 43891"/>
                    <a:gd name="connsiteX5" fmla="*/ 0 w 36758"/>
                    <a:gd name="connsiteY5" fmla="*/ 20848 h 43891"/>
                    <a:gd name="connsiteX6" fmla="*/ 2743 w 36758"/>
                    <a:gd name="connsiteY6" fmla="*/ 22494 h 43891"/>
                    <a:gd name="connsiteX7" fmla="*/ 7681 w 36758"/>
                    <a:gd name="connsiteY7" fmla="*/ 22494 h 43891"/>
                    <a:gd name="connsiteX8" fmla="*/ 10424 w 36758"/>
                    <a:gd name="connsiteY8" fmla="*/ 30724 h 43891"/>
                    <a:gd name="connsiteX9" fmla="*/ 14265 w 36758"/>
                    <a:gd name="connsiteY9" fmla="*/ 34564 h 43891"/>
                    <a:gd name="connsiteX10" fmla="*/ 14265 w 36758"/>
                    <a:gd name="connsiteY10" fmla="*/ 38405 h 43891"/>
                    <a:gd name="connsiteX11" fmla="*/ 27981 w 36758"/>
                    <a:gd name="connsiteY11" fmla="*/ 36759 h 43891"/>
                    <a:gd name="connsiteX12" fmla="*/ 28529 w 36758"/>
                    <a:gd name="connsiteY12" fmla="*/ 43891 h 43891"/>
                    <a:gd name="connsiteX13" fmla="*/ 32370 w 36758"/>
                    <a:gd name="connsiteY13" fmla="*/ 42245 h 43891"/>
                    <a:gd name="connsiteX14" fmla="*/ 36759 w 36758"/>
                    <a:gd name="connsiteY14" fmla="*/ 32370 h 43891"/>
                    <a:gd name="connsiteX15" fmla="*/ 27432 w 36758"/>
                    <a:gd name="connsiteY15" fmla="*/ 30724 h 43891"/>
                    <a:gd name="connsiteX16" fmla="*/ 25237 w 36758"/>
                    <a:gd name="connsiteY16" fmla="*/ 28529 h 43891"/>
                    <a:gd name="connsiteX17" fmla="*/ 25237 w 36758"/>
                    <a:gd name="connsiteY17" fmla="*/ 21397 h 43891"/>
                    <a:gd name="connsiteX18" fmla="*/ 20300 w 36758"/>
                    <a:gd name="connsiteY18" fmla="*/ 14813 h 43891"/>
                    <a:gd name="connsiteX19" fmla="*/ 18654 w 36758"/>
                    <a:gd name="connsiteY19" fmla="*/ 5486 h 43891"/>
                    <a:gd name="connsiteX20" fmla="*/ 14265 w 36758"/>
                    <a:gd name="connsiteY20" fmla="*/ 549 h 438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36758" h="43891">
                      <a:moveTo>
                        <a:pt x="14265" y="549"/>
                      </a:moveTo>
                      <a:lnTo>
                        <a:pt x="13167" y="0"/>
                      </a:lnTo>
                      <a:lnTo>
                        <a:pt x="10973" y="14265"/>
                      </a:lnTo>
                      <a:lnTo>
                        <a:pt x="5486" y="9327"/>
                      </a:lnTo>
                      <a:lnTo>
                        <a:pt x="1646" y="14265"/>
                      </a:lnTo>
                      <a:lnTo>
                        <a:pt x="0" y="20848"/>
                      </a:lnTo>
                      <a:lnTo>
                        <a:pt x="2743" y="22494"/>
                      </a:lnTo>
                      <a:lnTo>
                        <a:pt x="7681" y="22494"/>
                      </a:lnTo>
                      <a:lnTo>
                        <a:pt x="10424" y="30724"/>
                      </a:lnTo>
                      <a:lnTo>
                        <a:pt x="14265" y="34564"/>
                      </a:lnTo>
                      <a:lnTo>
                        <a:pt x="14265" y="38405"/>
                      </a:lnTo>
                      <a:lnTo>
                        <a:pt x="27981" y="36759"/>
                      </a:lnTo>
                      <a:lnTo>
                        <a:pt x="28529" y="43891"/>
                      </a:lnTo>
                      <a:lnTo>
                        <a:pt x="32370" y="42245"/>
                      </a:lnTo>
                      <a:lnTo>
                        <a:pt x="36759" y="32370"/>
                      </a:lnTo>
                      <a:lnTo>
                        <a:pt x="27432" y="30724"/>
                      </a:lnTo>
                      <a:lnTo>
                        <a:pt x="25237" y="28529"/>
                      </a:lnTo>
                      <a:lnTo>
                        <a:pt x="25237" y="21397"/>
                      </a:lnTo>
                      <a:lnTo>
                        <a:pt x="20300" y="14813"/>
                      </a:lnTo>
                      <a:lnTo>
                        <a:pt x="18654" y="5486"/>
                      </a:lnTo>
                      <a:lnTo>
                        <a:pt x="14265" y="549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4" name="Graphic 7">
                  <a:extLst>
                    <a:ext uri="{FF2B5EF4-FFF2-40B4-BE49-F238E27FC236}">
                      <a16:creationId xmlns:a16="http://schemas.microsoft.com/office/drawing/2014/main" id="{704D8CE0-FD75-94DE-DDB9-4001DF8BEA93}"/>
                    </a:ext>
                  </a:extLst>
                </p:cNvPr>
                <p:cNvSpPr/>
                <p:nvPr/>
              </p:nvSpPr>
              <p:spPr>
                <a:xfrm>
                  <a:off x="5657003" y="1651750"/>
                  <a:ext cx="67296" cy="62152"/>
                </a:xfrm>
                <a:custGeom>
                  <a:avLst/>
                  <a:gdLst>
                    <a:gd name="connsiteX0" fmla="*/ 51572 w 86136"/>
                    <a:gd name="connsiteY0" fmla="*/ 2195 h 79552"/>
                    <a:gd name="connsiteX1" fmla="*/ 57059 w 86136"/>
                    <a:gd name="connsiteY1" fmla="*/ 0 h 79552"/>
                    <a:gd name="connsiteX2" fmla="*/ 59802 w 86136"/>
                    <a:gd name="connsiteY2" fmla="*/ 12070 h 79552"/>
                    <a:gd name="connsiteX3" fmla="*/ 58156 w 86136"/>
                    <a:gd name="connsiteY3" fmla="*/ 18105 h 79552"/>
                    <a:gd name="connsiteX4" fmla="*/ 59802 w 86136"/>
                    <a:gd name="connsiteY4" fmla="*/ 16459 h 79552"/>
                    <a:gd name="connsiteX5" fmla="*/ 61996 w 86136"/>
                    <a:gd name="connsiteY5" fmla="*/ 21946 h 79552"/>
                    <a:gd name="connsiteX6" fmla="*/ 56510 w 86136"/>
                    <a:gd name="connsiteY6" fmla="*/ 37856 h 79552"/>
                    <a:gd name="connsiteX7" fmla="*/ 58156 w 86136"/>
                    <a:gd name="connsiteY7" fmla="*/ 35113 h 79552"/>
                    <a:gd name="connsiteX8" fmla="*/ 63094 w 86136"/>
                    <a:gd name="connsiteY8" fmla="*/ 32370 h 79552"/>
                    <a:gd name="connsiteX9" fmla="*/ 65837 w 86136"/>
                    <a:gd name="connsiteY9" fmla="*/ 21946 h 79552"/>
                    <a:gd name="connsiteX10" fmla="*/ 71872 w 86136"/>
                    <a:gd name="connsiteY10" fmla="*/ 20300 h 79552"/>
                    <a:gd name="connsiteX11" fmla="*/ 70775 w 86136"/>
                    <a:gd name="connsiteY11" fmla="*/ 15911 h 79552"/>
                    <a:gd name="connsiteX12" fmla="*/ 73518 w 86136"/>
                    <a:gd name="connsiteY12" fmla="*/ 8778 h 79552"/>
                    <a:gd name="connsiteX13" fmla="*/ 79553 w 86136"/>
                    <a:gd name="connsiteY13" fmla="*/ 12070 h 79552"/>
                    <a:gd name="connsiteX14" fmla="*/ 85039 w 86136"/>
                    <a:gd name="connsiteY14" fmla="*/ 18105 h 79552"/>
                    <a:gd name="connsiteX15" fmla="*/ 86137 w 86136"/>
                    <a:gd name="connsiteY15" fmla="*/ 27432 h 79552"/>
                    <a:gd name="connsiteX16" fmla="*/ 84491 w 86136"/>
                    <a:gd name="connsiteY16" fmla="*/ 34016 h 79552"/>
                    <a:gd name="connsiteX17" fmla="*/ 80650 w 86136"/>
                    <a:gd name="connsiteY17" fmla="*/ 39502 h 79552"/>
                    <a:gd name="connsiteX18" fmla="*/ 73518 w 86136"/>
                    <a:gd name="connsiteY18" fmla="*/ 41697 h 79552"/>
                    <a:gd name="connsiteX19" fmla="*/ 68031 w 86136"/>
                    <a:gd name="connsiteY19" fmla="*/ 46634 h 79552"/>
                    <a:gd name="connsiteX20" fmla="*/ 65288 w 86136"/>
                    <a:gd name="connsiteY20" fmla="*/ 54315 h 79552"/>
                    <a:gd name="connsiteX21" fmla="*/ 61996 w 86136"/>
                    <a:gd name="connsiteY21" fmla="*/ 47732 h 79552"/>
                    <a:gd name="connsiteX22" fmla="*/ 53767 w 86136"/>
                    <a:gd name="connsiteY22" fmla="*/ 57607 h 79552"/>
                    <a:gd name="connsiteX23" fmla="*/ 53767 w 86136"/>
                    <a:gd name="connsiteY23" fmla="*/ 61996 h 79552"/>
                    <a:gd name="connsiteX24" fmla="*/ 50475 w 86136"/>
                    <a:gd name="connsiteY24" fmla="*/ 66385 h 79552"/>
                    <a:gd name="connsiteX25" fmla="*/ 47732 w 86136"/>
                    <a:gd name="connsiteY25" fmla="*/ 60899 h 79552"/>
                    <a:gd name="connsiteX26" fmla="*/ 46086 w 86136"/>
                    <a:gd name="connsiteY26" fmla="*/ 53767 h 79552"/>
                    <a:gd name="connsiteX27" fmla="*/ 47732 w 86136"/>
                    <a:gd name="connsiteY27" fmla="*/ 49926 h 79552"/>
                    <a:gd name="connsiteX28" fmla="*/ 35113 w 86136"/>
                    <a:gd name="connsiteY28" fmla="*/ 66385 h 79552"/>
                    <a:gd name="connsiteX29" fmla="*/ 21397 w 86136"/>
                    <a:gd name="connsiteY29" fmla="*/ 76261 h 79552"/>
                    <a:gd name="connsiteX30" fmla="*/ 22494 w 86136"/>
                    <a:gd name="connsiteY30" fmla="*/ 69129 h 79552"/>
                    <a:gd name="connsiteX31" fmla="*/ 17557 w 86136"/>
                    <a:gd name="connsiteY31" fmla="*/ 69129 h 79552"/>
                    <a:gd name="connsiteX32" fmla="*/ 13167 w 86136"/>
                    <a:gd name="connsiteY32" fmla="*/ 75164 h 79552"/>
                    <a:gd name="connsiteX33" fmla="*/ 1646 w 86136"/>
                    <a:gd name="connsiteY33" fmla="*/ 79553 h 79552"/>
                    <a:gd name="connsiteX34" fmla="*/ 0 w 86136"/>
                    <a:gd name="connsiteY34" fmla="*/ 76261 h 79552"/>
                    <a:gd name="connsiteX35" fmla="*/ 549 w 86136"/>
                    <a:gd name="connsiteY35" fmla="*/ 66934 h 79552"/>
                    <a:gd name="connsiteX36" fmla="*/ 4389 w 86136"/>
                    <a:gd name="connsiteY36" fmla="*/ 65288 h 79552"/>
                    <a:gd name="connsiteX37" fmla="*/ 7132 w 86136"/>
                    <a:gd name="connsiteY37" fmla="*/ 60350 h 79552"/>
                    <a:gd name="connsiteX38" fmla="*/ 11521 w 86136"/>
                    <a:gd name="connsiteY38" fmla="*/ 60899 h 79552"/>
                    <a:gd name="connsiteX39" fmla="*/ 17557 w 86136"/>
                    <a:gd name="connsiteY39" fmla="*/ 56510 h 79552"/>
                    <a:gd name="connsiteX40" fmla="*/ 20300 w 86136"/>
                    <a:gd name="connsiteY40" fmla="*/ 57607 h 79552"/>
                    <a:gd name="connsiteX41" fmla="*/ 24140 w 86136"/>
                    <a:gd name="connsiteY41" fmla="*/ 53218 h 79552"/>
                    <a:gd name="connsiteX42" fmla="*/ 37307 w 86136"/>
                    <a:gd name="connsiteY42" fmla="*/ 47732 h 79552"/>
                    <a:gd name="connsiteX43" fmla="*/ 35662 w 86136"/>
                    <a:gd name="connsiteY43" fmla="*/ 42794 h 79552"/>
                    <a:gd name="connsiteX44" fmla="*/ 44440 w 86136"/>
                    <a:gd name="connsiteY44" fmla="*/ 33467 h 79552"/>
                    <a:gd name="connsiteX45" fmla="*/ 44440 w 86136"/>
                    <a:gd name="connsiteY45" fmla="*/ 25786 h 79552"/>
                    <a:gd name="connsiteX46" fmla="*/ 47732 w 86136"/>
                    <a:gd name="connsiteY46" fmla="*/ 24140 h 79552"/>
                    <a:gd name="connsiteX47" fmla="*/ 48829 w 86136"/>
                    <a:gd name="connsiteY47" fmla="*/ 9327 h 79552"/>
                    <a:gd name="connsiteX48" fmla="*/ 51572 w 86136"/>
                    <a:gd name="connsiteY48" fmla="*/ 2195 h 795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</a:cxnLst>
                  <a:rect l="l" t="t" r="r" b="b"/>
                  <a:pathLst>
                    <a:path w="86136" h="79552">
                      <a:moveTo>
                        <a:pt x="51572" y="2195"/>
                      </a:moveTo>
                      <a:lnTo>
                        <a:pt x="57059" y="0"/>
                      </a:lnTo>
                      <a:lnTo>
                        <a:pt x="59802" y="12070"/>
                      </a:lnTo>
                      <a:lnTo>
                        <a:pt x="58156" y="18105"/>
                      </a:lnTo>
                      <a:lnTo>
                        <a:pt x="59802" y="16459"/>
                      </a:lnTo>
                      <a:lnTo>
                        <a:pt x="61996" y="21946"/>
                      </a:lnTo>
                      <a:lnTo>
                        <a:pt x="56510" y="37856"/>
                      </a:lnTo>
                      <a:lnTo>
                        <a:pt x="58156" y="35113"/>
                      </a:lnTo>
                      <a:lnTo>
                        <a:pt x="63094" y="32370"/>
                      </a:lnTo>
                      <a:lnTo>
                        <a:pt x="65837" y="21946"/>
                      </a:lnTo>
                      <a:lnTo>
                        <a:pt x="71872" y="20300"/>
                      </a:lnTo>
                      <a:lnTo>
                        <a:pt x="70775" y="15911"/>
                      </a:lnTo>
                      <a:lnTo>
                        <a:pt x="73518" y="8778"/>
                      </a:lnTo>
                      <a:lnTo>
                        <a:pt x="79553" y="12070"/>
                      </a:lnTo>
                      <a:lnTo>
                        <a:pt x="85039" y="18105"/>
                      </a:lnTo>
                      <a:lnTo>
                        <a:pt x="86137" y="27432"/>
                      </a:lnTo>
                      <a:lnTo>
                        <a:pt x="84491" y="34016"/>
                      </a:lnTo>
                      <a:lnTo>
                        <a:pt x="80650" y="39502"/>
                      </a:lnTo>
                      <a:lnTo>
                        <a:pt x="73518" y="41697"/>
                      </a:lnTo>
                      <a:lnTo>
                        <a:pt x="68031" y="46634"/>
                      </a:lnTo>
                      <a:lnTo>
                        <a:pt x="65288" y="54315"/>
                      </a:lnTo>
                      <a:lnTo>
                        <a:pt x="61996" y="47732"/>
                      </a:lnTo>
                      <a:lnTo>
                        <a:pt x="53767" y="57607"/>
                      </a:lnTo>
                      <a:lnTo>
                        <a:pt x="53767" y="61996"/>
                      </a:lnTo>
                      <a:lnTo>
                        <a:pt x="50475" y="66385"/>
                      </a:lnTo>
                      <a:lnTo>
                        <a:pt x="47732" y="60899"/>
                      </a:lnTo>
                      <a:lnTo>
                        <a:pt x="46086" y="53767"/>
                      </a:lnTo>
                      <a:lnTo>
                        <a:pt x="47732" y="49926"/>
                      </a:lnTo>
                      <a:lnTo>
                        <a:pt x="35113" y="66385"/>
                      </a:lnTo>
                      <a:lnTo>
                        <a:pt x="21397" y="76261"/>
                      </a:lnTo>
                      <a:lnTo>
                        <a:pt x="22494" y="69129"/>
                      </a:lnTo>
                      <a:lnTo>
                        <a:pt x="17557" y="69129"/>
                      </a:lnTo>
                      <a:lnTo>
                        <a:pt x="13167" y="75164"/>
                      </a:lnTo>
                      <a:lnTo>
                        <a:pt x="1646" y="79553"/>
                      </a:lnTo>
                      <a:lnTo>
                        <a:pt x="0" y="76261"/>
                      </a:lnTo>
                      <a:lnTo>
                        <a:pt x="549" y="66934"/>
                      </a:lnTo>
                      <a:lnTo>
                        <a:pt x="4389" y="65288"/>
                      </a:lnTo>
                      <a:lnTo>
                        <a:pt x="7132" y="60350"/>
                      </a:lnTo>
                      <a:lnTo>
                        <a:pt x="11521" y="60899"/>
                      </a:lnTo>
                      <a:lnTo>
                        <a:pt x="17557" y="56510"/>
                      </a:lnTo>
                      <a:lnTo>
                        <a:pt x="20300" y="57607"/>
                      </a:lnTo>
                      <a:lnTo>
                        <a:pt x="24140" y="53218"/>
                      </a:lnTo>
                      <a:lnTo>
                        <a:pt x="37307" y="47732"/>
                      </a:lnTo>
                      <a:lnTo>
                        <a:pt x="35662" y="42794"/>
                      </a:lnTo>
                      <a:lnTo>
                        <a:pt x="44440" y="33467"/>
                      </a:lnTo>
                      <a:lnTo>
                        <a:pt x="44440" y="25786"/>
                      </a:lnTo>
                      <a:lnTo>
                        <a:pt x="47732" y="24140"/>
                      </a:lnTo>
                      <a:lnTo>
                        <a:pt x="48829" y="9327"/>
                      </a:lnTo>
                      <a:lnTo>
                        <a:pt x="51572" y="2195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5" name="Graphic 7">
                  <a:extLst>
                    <a:ext uri="{FF2B5EF4-FFF2-40B4-BE49-F238E27FC236}">
                      <a16:creationId xmlns:a16="http://schemas.microsoft.com/office/drawing/2014/main" id="{81C5E903-8F32-B5D4-F384-B556CA9FAC0B}"/>
                    </a:ext>
                  </a:extLst>
                </p:cNvPr>
                <p:cNvSpPr/>
                <p:nvPr/>
              </p:nvSpPr>
              <p:spPr>
                <a:xfrm>
                  <a:off x="5661717" y="1650894"/>
                  <a:ext cx="26147" cy="31290"/>
                </a:xfrm>
                <a:custGeom>
                  <a:avLst/>
                  <a:gdLst>
                    <a:gd name="connsiteX0" fmla="*/ 1097 w 33467"/>
                    <a:gd name="connsiteY0" fmla="*/ 29078 h 40050"/>
                    <a:gd name="connsiteX1" fmla="*/ 3840 w 33467"/>
                    <a:gd name="connsiteY1" fmla="*/ 27432 h 40050"/>
                    <a:gd name="connsiteX2" fmla="*/ 2743 w 33467"/>
                    <a:gd name="connsiteY2" fmla="*/ 24140 h 40050"/>
                    <a:gd name="connsiteX3" fmla="*/ 3292 w 33467"/>
                    <a:gd name="connsiteY3" fmla="*/ 20300 h 40050"/>
                    <a:gd name="connsiteX4" fmla="*/ 6035 w 33467"/>
                    <a:gd name="connsiteY4" fmla="*/ 23043 h 40050"/>
                    <a:gd name="connsiteX5" fmla="*/ 7681 w 33467"/>
                    <a:gd name="connsiteY5" fmla="*/ 19202 h 40050"/>
                    <a:gd name="connsiteX6" fmla="*/ 11521 w 33467"/>
                    <a:gd name="connsiteY6" fmla="*/ 20848 h 40050"/>
                    <a:gd name="connsiteX7" fmla="*/ 13716 w 33467"/>
                    <a:gd name="connsiteY7" fmla="*/ 17008 h 40050"/>
                    <a:gd name="connsiteX8" fmla="*/ 15362 w 33467"/>
                    <a:gd name="connsiteY8" fmla="*/ 8230 h 40050"/>
                    <a:gd name="connsiteX9" fmla="*/ 18654 w 33467"/>
                    <a:gd name="connsiteY9" fmla="*/ 14813 h 40050"/>
                    <a:gd name="connsiteX10" fmla="*/ 24140 w 33467"/>
                    <a:gd name="connsiteY10" fmla="*/ 14265 h 40050"/>
                    <a:gd name="connsiteX11" fmla="*/ 24140 w 33467"/>
                    <a:gd name="connsiteY11" fmla="*/ 0 h 40050"/>
                    <a:gd name="connsiteX12" fmla="*/ 32370 w 33467"/>
                    <a:gd name="connsiteY12" fmla="*/ 14265 h 40050"/>
                    <a:gd name="connsiteX13" fmla="*/ 33467 w 33467"/>
                    <a:gd name="connsiteY13" fmla="*/ 33467 h 40050"/>
                    <a:gd name="connsiteX14" fmla="*/ 28529 w 33467"/>
                    <a:gd name="connsiteY14" fmla="*/ 34016 h 40050"/>
                    <a:gd name="connsiteX15" fmla="*/ 24140 w 33467"/>
                    <a:gd name="connsiteY15" fmla="*/ 37856 h 40050"/>
                    <a:gd name="connsiteX16" fmla="*/ 18654 w 33467"/>
                    <a:gd name="connsiteY16" fmla="*/ 40051 h 40050"/>
                    <a:gd name="connsiteX17" fmla="*/ 17008 w 33467"/>
                    <a:gd name="connsiteY17" fmla="*/ 34016 h 40050"/>
                    <a:gd name="connsiteX18" fmla="*/ 21397 w 33467"/>
                    <a:gd name="connsiteY18" fmla="*/ 29627 h 40050"/>
                    <a:gd name="connsiteX19" fmla="*/ 23591 w 33467"/>
                    <a:gd name="connsiteY19" fmla="*/ 24140 h 40050"/>
                    <a:gd name="connsiteX20" fmla="*/ 19202 w 33467"/>
                    <a:gd name="connsiteY20" fmla="*/ 29627 h 40050"/>
                    <a:gd name="connsiteX21" fmla="*/ 15362 w 33467"/>
                    <a:gd name="connsiteY21" fmla="*/ 29627 h 40050"/>
                    <a:gd name="connsiteX22" fmla="*/ 2743 w 33467"/>
                    <a:gd name="connsiteY22" fmla="*/ 38405 h 40050"/>
                    <a:gd name="connsiteX23" fmla="*/ 0 w 33467"/>
                    <a:gd name="connsiteY23" fmla="*/ 34564 h 40050"/>
                    <a:gd name="connsiteX24" fmla="*/ 1097 w 33467"/>
                    <a:gd name="connsiteY24" fmla="*/ 29078 h 400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</a:cxnLst>
                  <a:rect l="l" t="t" r="r" b="b"/>
                  <a:pathLst>
                    <a:path w="33467" h="40050">
                      <a:moveTo>
                        <a:pt x="1097" y="29078"/>
                      </a:moveTo>
                      <a:lnTo>
                        <a:pt x="3840" y="27432"/>
                      </a:lnTo>
                      <a:lnTo>
                        <a:pt x="2743" y="24140"/>
                      </a:lnTo>
                      <a:lnTo>
                        <a:pt x="3292" y="20300"/>
                      </a:lnTo>
                      <a:lnTo>
                        <a:pt x="6035" y="23043"/>
                      </a:lnTo>
                      <a:lnTo>
                        <a:pt x="7681" y="19202"/>
                      </a:lnTo>
                      <a:lnTo>
                        <a:pt x="11521" y="20848"/>
                      </a:lnTo>
                      <a:lnTo>
                        <a:pt x="13716" y="17008"/>
                      </a:lnTo>
                      <a:lnTo>
                        <a:pt x="15362" y="8230"/>
                      </a:lnTo>
                      <a:lnTo>
                        <a:pt x="18654" y="14813"/>
                      </a:lnTo>
                      <a:lnTo>
                        <a:pt x="24140" y="14265"/>
                      </a:lnTo>
                      <a:lnTo>
                        <a:pt x="24140" y="0"/>
                      </a:lnTo>
                      <a:lnTo>
                        <a:pt x="32370" y="14265"/>
                      </a:lnTo>
                      <a:lnTo>
                        <a:pt x="33467" y="33467"/>
                      </a:lnTo>
                      <a:lnTo>
                        <a:pt x="28529" y="34016"/>
                      </a:lnTo>
                      <a:lnTo>
                        <a:pt x="24140" y="37856"/>
                      </a:lnTo>
                      <a:lnTo>
                        <a:pt x="18654" y="40051"/>
                      </a:lnTo>
                      <a:lnTo>
                        <a:pt x="17008" y="34016"/>
                      </a:lnTo>
                      <a:lnTo>
                        <a:pt x="21397" y="29627"/>
                      </a:lnTo>
                      <a:lnTo>
                        <a:pt x="23591" y="24140"/>
                      </a:lnTo>
                      <a:lnTo>
                        <a:pt x="19202" y="29627"/>
                      </a:lnTo>
                      <a:lnTo>
                        <a:pt x="15362" y="29627"/>
                      </a:lnTo>
                      <a:lnTo>
                        <a:pt x="2743" y="38405"/>
                      </a:lnTo>
                      <a:lnTo>
                        <a:pt x="0" y="34564"/>
                      </a:lnTo>
                      <a:lnTo>
                        <a:pt x="1097" y="29078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6" name="Graphic 7">
                  <a:extLst>
                    <a:ext uri="{FF2B5EF4-FFF2-40B4-BE49-F238E27FC236}">
                      <a16:creationId xmlns:a16="http://schemas.microsoft.com/office/drawing/2014/main" id="{1C236E31-C660-2E78-A0C7-C0091373AD26}"/>
                    </a:ext>
                  </a:extLst>
                </p:cNvPr>
                <p:cNvSpPr/>
                <p:nvPr/>
              </p:nvSpPr>
              <p:spPr>
                <a:xfrm>
                  <a:off x="5694294" y="1622174"/>
                  <a:ext cx="19288" cy="27004"/>
                </a:xfrm>
                <a:custGeom>
                  <a:avLst/>
                  <a:gdLst>
                    <a:gd name="connsiteX0" fmla="*/ 9327 w 24688"/>
                    <a:gd name="connsiteY0" fmla="*/ 12070 h 34564"/>
                    <a:gd name="connsiteX1" fmla="*/ 12070 w 24688"/>
                    <a:gd name="connsiteY1" fmla="*/ 11521 h 34564"/>
                    <a:gd name="connsiteX2" fmla="*/ 14813 w 24688"/>
                    <a:gd name="connsiteY2" fmla="*/ 549 h 34564"/>
                    <a:gd name="connsiteX3" fmla="*/ 18654 w 24688"/>
                    <a:gd name="connsiteY3" fmla="*/ 0 h 34564"/>
                    <a:gd name="connsiteX4" fmla="*/ 24689 w 24688"/>
                    <a:gd name="connsiteY4" fmla="*/ 3840 h 34564"/>
                    <a:gd name="connsiteX5" fmla="*/ 17008 w 24688"/>
                    <a:gd name="connsiteY5" fmla="*/ 26883 h 34564"/>
                    <a:gd name="connsiteX6" fmla="*/ 5486 w 24688"/>
                    <a:gd name="connsiteY6" fmla="*/ 34564 h 34564"/>
                    <a:gd name="connsiteX7" fmla="*/ 1646 w 24688"/>
                    <a:gd name="connsiteY7" fmla="*/ 34016 h 34564"/>
                    <a:gd name="connsiteX8" fmla="*/ 0 w 24688"/>
                    <a:gd name="connsiteY8" fmla="*/ 29627 h 34564"/>
                    <a:gd name="connsiteX9" fmla="*/ 1097 w 24688"/>
                    <a:gd name="connsiteY9" fmla="*/ 20848 h 34564"/>
                    <a:gd name="connsiteX10" fmla="*/ 8778 w 24688"/>
                    <a:gd name="connsiteY10" fmla="*/ 15911 h 34564"/>
                    <a:gd name="connsiteX11" fmla="*/ 9327 w 24688"/>
                    <a:gd name="connsiteY11" fmla="*/ 12070 h 345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24688" h="34564">
                      <a:moveTo>
                        <a:pt x="9327" y="12070"/>
                      </a:moveTo>
                      <a:lnTo>
                        <a:pt x="12070" y="11521"/>
                      </a:lnTo>
                      <a:lnTo>
                        <a:pt x="14813" y="549"/>
                      </a:lnTo>
                      <a:lnTo>
                        <a:pt x="18654" y="0"/>
                      </a:lnTo>
                      <a:lnTo>
                        <a:pt x="24689" y="3840"/>
                      </a:lnTo>
                      <a:lnTo>
                        <a:pt x="17008" y="26883"/>
                      </a:lnTo>
                      <a:lnTo>
                        <a:pt x="5486" y="34564"/>
                      </a:lnTo>
                      <a:lnTo>
                        <a:pt x="1646" y="34016"/>
                      </a:lnTo>
                      <a:lnTo>
                        <a:pt x="0" y="29627"/>
                      </a:lnTo>
                      <a:lnTo>
                        <a:pt x="1097" y="20848"/>
                      </a:lnTo>
                      <a:lnTo>
                        <a:pt x="8778" y="15911"/>
                      </a:lnTo>
                      <a:lnTo>
                        <a:pt x="9327" y="1207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7" name="Graphic 7">
                  <a:extLst>
                    <a:ext uri="{FF2B5EF4-FFF2-40B4-BE49-F238E27FC236}">
                      <a16:creationId xmlns:a16="http://schemas.microsoft.com/office/drawing/2014/main" id="{44593229-2E60-FF61-F1A3-A978A9F5D79E}"/>
                    </a:ext>
                  </a:extLst>
                </p:cNvPr>
                <p:cNvSpPr/>
                <p:nvPr/>
              </p:nvSpPr>
              <p:spPr>
                <a:xfrm>
                  <a:off x="5670718" y="1734477"/>
                  <a:ext cx="17574" cy="18431"/>
                </a:xfrm>
                <a:custGeom>
                  <a:avLst/>
                  <a:gdLst>
                    <a:gd name="connsiteX0" fmla="*/ 7681 w 22494"/>
                    <a:gd name="connsiteY0" fmla="*/ 11521 h 23591"/>
                    <a:gd name="connsiteX1" fmla="*/ 6584 w 22494"/>
                    <a:gd name="connsiteY1" fmla="*/ 11521 h 23591"/>
                    <a:gd name="connsiteX2" fmla="*/ 3840 w 22494"/>
                    <a:gd name="connsiteY2" fmla="*/ 4389 h 23591"/>
                    <a:gd name="connsiteX3" fmla="*/ 9875 w 22494"/>
                    <a:gd name="connsiteY3" fmla="*/ 7132 h 23591"/>
                    <a:gd name="connsiteX4" fmla="*/ 14265 w 22494"/>
                    <a:gd name="connsiteY4" fmla="*/ 6584 h 23591"/>
                    <a:gd name="connsiteX5" fmla="*/ 20848 w 22494"/>
                    <a:gd name="connsiteY5" fmla="*/ 0 h 23591"/>
                    <a:gd name="connsiteX6" fmla="*/ 22494 w 22494"/>
                    <a:gd name="connsiteY6" fmla="*/ 5486 h 23591"/>
                    <a:gd name="connsiteX7" fmla="*/ 21397 w 22494"/>
                    <a:gd name="connsiteY7" fmla="*/ 10424 h 23591"/>
                    <a:gd name="connsiteX8" fmla="*/ 16459 w 22494"/>
                    <a:gd name="connsiteY8" fmla="*/ 12619 h 23591"/>
                    <a:gd name="connsiteX9" fmla="*/ 13167 w 22494"/>
                    <a:gd name="connsiteY9" fmla="*/ 18654 h 23591"/>
                    <a:gd name="connsiteX10" fmla="*/ 7132 w 22494"/>
                    <a:gd name="connsiteY10" fmla="*/ 23043 h 23591"/>
                    <a:gd name="connsiteX11" fmla="*/ 2743 w 22494"/>
                    <a:gd name="connsiteY11" fmla="*/ 23592 h 23591"/>
                    <a:gd name="connsiteX12" fmla="*/ 0 w 22494"/>
                    <a:gd name="connsiteY12" fmla="*/ 21397 h 23591"/>
                    <a:gd name="connsiteX13" fmla="*/ 3840 w 22494"/>
                    <a:gd name="connsiteY13" fmla="*/ 14813 h 23591"/>
                    <a:gd name="connsiteX14" fmla="*/ 8230 w 22494"/>
                    <a:gd name="connsiteY14" fmla="*/ 14265 h 23591"/>
                    <a:gd name="connsiteX15" fmla="*/ 7681 w 22494"/>
                    <a:gd name="connsiteY15" fmla="*/ 11521 h 235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22494" h="23591">
                      <a:moveTo>
                        <a:pt x="7681" y="11521"/>
                      </a:moveTo>
                      <a:lnTo>
                        <a:pt x="6584" y="11521"/>
                      </a:lnTo>
                      <a:lnTo>
                        <a:pt x="3840" y="4389"/>
                      </a:lnTo>
                      <a:lnTo>
                        <a:pt x="9875" y="7132"/>
                      </a:lnTo>
                      <a:lnTo>
                        <a:pt x="14265" y="6584"/>
                      </a:lnTo>
                      <a:lnTo>
                        <a:pt x="20848" y="0"/>
                      </a:lnTo>
                      <a:lnTo>
                        <a:pt x="22494" y="5486"/>
                      </a:lnTo>
                      <a:lnTo>
                        <a:pt x="21397" y="10424"/>
                      </a:lnTo>
                      <a:lnTo>
                        <a:pt x="16459" y="12619"/>
                      </a:lnTo>
                      <a:lnTo>
                        <a:pt x="13167" y="18654"/>
                      </a:lnTo>
                      <a:lnTo>
                        <a:pt x="7132" y="23043"/>
                      </a:lnTo>
                      <a:lnTo>
                        <a:pt x="2743" y="23592"/>
                      </a:lnTo>
                      <a:lnTo>
                        <a:pt x="0" y="21397"/>
                      </a:lnTo>
                      <a:lnTo>
                        <a:pt x="3840" y="14813"/>
                      </a:lnTo>
                      <a:lnTo>
                        <a:pt x="8230" y="14265"/>
                      </a:lnTo>
                      <a:lnTo>
                        <a:pt x="7681" y="11521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8" name="Graphic 7">
                  <a:extLst>
                    <a:ext uri="{FF2B5EF4-FFF2-40B4-BE49-F238E27FC236}">
                      <a16:creationId xmlns:a16="http://schemas.microsoft.com/office/drawing/2014/main" id="{B45835D5-076C-FA2C-173C-F4144CC53754}"/>
                    </a:ext>
                  </a:extLst>
                </p:cNvPr>
                <p:cNvSpPr/>
                <p:nvPr/>
              </p:nvSpPr>
              <p:spPr>
                <a:xfrm>
                  <a:off x="5731157" y="1600313"/>
                  <a:ext cx="34719" cy="44149"/>
                </a:xfrm>
                <a:custGeom>
                  <a:avLst/>
                  <a:gdLst>
                    <a:gd name="connsiteX0" fmla="*/ 6035 w 44439"/>
                    <a:gd name="connsiteY0" fmla="*/ 40051 h 56509"/>
                    <a:gd name="connsiteX1" fmla="*/ 1646 w 44439"/>
                    <a:gd name="connsiteY1" fmla="*/ 36759 h 56509"/>
                    <a:gd name="connsiteX2" fmla="*/ 6035 w 44439"/>
                    <a:gd name="connsiteY2" fmla="*/ 36759 h 56509"/>
                    <a:gd name="connsiteX3" fmla="*/ 7681 w 44439"/>
                    <a:gd name="connsiteY3" fmla="*/ 34016 h 56509"/>
                    <a:gd name="connsiteX4" fmla="*/ 8778 w 44439"/>
                    <a:gd name="connsiteY4" fmla="*/ 30175 h 56509"/>
                    <a:gd name="connsiteX5" fmla="*/ 3841 w 44439"/>
                    <a:gd name="connsiteY5" fmla="*/ 28529 h 56509"/>
                    <a:gd name="connsiteX6" fmla="*/ 8230 w 44439"/>
                    <a:gd name="connsiteY6" fmla="*/ 26883 h 56509"/>
                    <a:gd name="connsiteX7" fmla="*/ 5486 w 44439"/>
                    <a:gd name="connsiteY7" fmla="*/ 23592 h 56509"/>
                    <a:gd name="connsiteX8" fmla="*/ 10973 w 44439"/>
                    <a:gd name="connsiteY8" fmla="*/ 18654 h 56509"/>
                    <a:gd name="connsiteX9" fmla="*/ 15911 w 44439"/>
                    <a:gd name="connsiteY9" fmla="*/ 21946 h 56509"/>
                    <a:gd name="connsiteX10" fmla="*/ 20300 w 44439"/>
                    <a:gd name="connsiteY10" fmla="*/ 16459 h 56509"/>
                    <a:gd name="connsiteX11" fmla="*/ 16459 w 44439"/>
                    <a:gd name="connsiteY11" fmla="*/ 11521 h 56509"/>
                    <a:gd name="connsiteX12" fmla="*/ 20300 w 44439"/>
                    <a:gd name="connsiteY12" fmla="*/ 9876 h 56509"/>
                    <a:gd name="connsiteX13" fmla="*/ 25237 w 44439"/>
                    <a:gd name="connsiteY13" fmla="*/ 12619 h 56509"/>
                    <a:gd name="connsiteX14" fmla="*/ 27981 w 44439"/>
                    <a:gd name="connsiteY14" fmla="*/ 8778 h 56509"/>
                    <a:gd name="connsiteX15" fmla="*/ 25237 w 44439"/>
                    <a:gd name="connsiteY15" fmla="*/ 0 h 56509"/>
                    <a:gd name="connsiteX16" fmla="*/ 29627 w 44439"/>
                    <a:gd name="connsiteY16" fmla="*/ 7132 h 56509"/>
                    <a:gd name="connsiteX17" fmla="*/ 30724 w 44439"/>
                    <a:gd name="connsiteY17" fmla="*/ 1097 h 56509"/>
                    <a:gd name="connsiteX18" fmla="*/ 35662 w 44439"/>
                    <a:gd name="connsiteY18" fmla="*/ 549 h 56509"/>
                    <a:gd name="connsiteX19" fmla="*/ 39502 w 44439"/>
                    <a:gd name="connsiteY19" fmla="*/ 9876 h 56509"/>
                    <a:gd name="connsiteX20" fmla="*/ 42794 w 44439"/>
                    <a:gd name="connsiteY20" fmla="*/ 13167 h 56509"/>
                    <a:gd name="connsiteX21" fmla="*/ 44440 w 44439"/>
                    <a:gd name="connsiteY21" fmla="*/ 21946 h 56509"/>
                    <a:gd name="connsiteX22" fmla="*/ 41148 w 44439"/>
                    <a:gd name="connsiteY22" fmla="*/ 29627 h 56509"/>
                    <a:gd name="connsiteX23" fmla="*/ 41148 w 44439"/>
                    <a:gd name="connsiteY23" fmla="*/ 43343 h 56509"/>
                    <a:gd name="connsiteX24" fmla="*/ 29078 w 44439"/>
                    <a:gd name="connsiteY24" fmla="*/ 44988 h 56509"/>
                    <a:gd name="connsiteX25" fmla="*/ 29078 w 44439"/>
                    <a:gd name="connsiteY25" fmla="*/ 40599 h 56509"/>
                    <a:gd name="connsiteX26" fmla="*/ 23592 w 44439"/>
                    <a:gd name="connsiteY26" fmla="*/ 42245 h 56509"/>
                    <a:gd name="connsiteX27" fmla="*/ 19751 w 44439"/>
                    <a:gd name="connsiteY27" fmla="*/ 51572 h 56509"/>
                    <a:gd name="connsiteX28" fmla="*/ 8230 w 44439"/>
                    <a:gd name="connsiteY28" fmla="*/ 53218 h 56509"/>
                    <a:gd name="connsiteX29" fmla="*/ 2743 w 44439"/>
                    <a:gd name="connsiteY29" fmla="*/ 56510 h 56509"/>
                    <a:gd name="connsiteX30" fmla="*/ 0 w 44439"/>
                    <a:gd name="connsiteY30" fmla="*/ 51572 h 56509"/>
                    <a:gd name="connsiteX31" fmla="*/ 7132 w 44439"/>
                    <a:gd name="connsiteY31" fmla="*/ 46634 h 56509"/>
                    <a:gd name="connsiteX32" fmla="*/ 9327 w 44439"/>
                    <a:gd name="connsiteY32" fmla="*/ 42245 h 56509"/>
                    <a:gd name="connsiteX33" fmla="*/ 6035 w 44439"/>
                    <a:gd name="connsiteY33" fmla="*/ 40051 h 565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</a:cxnLst>
                  <a:rect l="l" t="t" r="r" b="b"/>
                  <a:pathLst>
                    <a:path w="44439" h="56509">
                      <a:moveTo>
                        <a:pt x="6035" y="40051"/>
                      </a:moveTo>
                      <a:lnTo>
                        <a:pt x="1646" y="36759"/>
                      </a:lnTo>
                      <a:lnTo>
                        <a:pt x="6035" y="36759"/>
                      </a:lnTo>
                      <a:lnTo>
                        <a:pt x="7681" y="34016"/>
                      </a:lnTo>
                      <a:lnTo>
                        <a:pt x="8778" y="30175"/>
                      </a:lnTo>
                      <a:lnTo>
                        <a:pt x="3841" y="28529"/>
                      </a:lnTo>
                      <a:lnTo>
                        <a:pt x="8230" y="26883"/>
                      </a:lnTo>
                      <a:lnTo>
                        <a:pt x="5486" y="23592"/>
                      </a:lnTo>
                      <a:lnTo>
                        <a:pt x="10973" y="18654"/>
                      </a:lnTo>
                      <a:lnTo>
                        <a:pt x="15911" y="21946"/>
                      </a:lnTo>
                      <a:lnTo>
                        <a:pt x="20300" y="16459"/>
                      </a:lnTo>
                      <a:lnTo>
                        <a:pt x="16459" y="11521"/>
                      </a:lnTo>
                      <a:lnTo>
                        <a:pt x="20300" y="9876"/>
                      </a:lnTo>
                      <a:lnTo>
                        <a:pt x="25237" y="12619"/>
                      </a:lnTo>
                      <a:lnTo>
                        <a:pt x="27981" y="8778"/>
                      </a:lnTo>
                      <a:lnTo>
                        <a:pt x="25237" y="0"/>
                      </a:lnTo>
                      <a:lnTo>
                        <a:pt x="29627" y="7132"/>
                      </a:lnTo>
                      <a:lnTo>
                        <a:pt x="30724" y="1097"/>
                      </a:lnTo>
                      <a:lnTo>
                        <a:pt x="35662" y="549"/>
                      </a:lnTo>
                      <a:lnTo>
                        <a:pt x="39502" y="9876"/>
                      </a:lnTo>
                      <a:lnTo>
                        <a:pt x="42794" y="13167"/>
                      </a:lnTo>
                      <a:lnTo>
                        <a:pt x="44440" y="21946"/>
                      </a:lnTo>
                      <a:lnTo>
                        <a:pt x="41148" y="29627"/>
                      </a:lnTo>
                      <a:lnTo>
                        <a:pt x="41148" y="43343"/>
                      </a:lnTo>
                      <a:lnTo>
                        <a:pt x="29078" y="44988"/>
                      </a:lnTo>
                      <a:lnTo>
                        <a:pt x="29078" y="40599"/>
                      </a:lnTo>
                      <a:lnTo>
                        <a:pt x="23592" y="42245"/>
                      </a:lnTo>
                      <a:lnTo>
                        <a:pt x="19751" y="51572"/>
                      </a:lnTo>
                      <a:lnTo>
                        <a:pt x="8230" y="53218"/>
                      </a:lnTo>
                      <a:lnTo>
                        <a:pt x="2743" y="56510"/>
                      </a:lnTo>
                      <a:lnTo>
                        <a:pt x="0" y="51572"/>
                      </a:lnTo>
                      <a:lnTo>
                        <a:pt x="7132" y="46634"/>
                      </a:lnTo>
                      <a:lnTo>
                        <a:pt x="9327" y="42245"/>
                      </a:lnTo>
                      <a:lnTo>
                        <a:pt x="6035" y="40051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19" name="Graphic 7">
                  <a:extLst>
                    <a:ext uri="{FF2B5EF4-FFF2-40B4-BE49-F238E27FC236}">
                      <a16:creationId xmlns:a16="http://schemas.microsoft.com/office/drawing/2014/main" id="{043DA9C1-0949-554A-F09E-A108F67B412B}"/>
                    </a:ext>
                  </a:extLst>
                </p:cNvPr>
                <p:cNvSpPr/>
                <p:nvPr/>
              </p:nvSpPr>
              <p:spPr>
                <a:xfrm>
                  <a:off x="5769307" y="1576309"/>
                  <a:ext cx="26575" cy="26147"/>
                </a:xfrm>
                <a:custGeom>
                  <a:avLst/>
                  <a:gdLst>
                    <a:gd name="connsiteX0" fmla="*/ 6035 w 34015"/>
                    <a:gd name="connsiteY0" fmla="*/ 17008 h 33467"/>
                    <a:gd name="connsiteX1" fmla="*/ 14265 w 34015"/>
                    <a:gd name="connsiteY1" fmla="*/ 17557 h 33467"/>
                    <a:gd name="connsiteX2" fmla="*/ 15911 w 34015"/>
                    <a:gd name="connsiteY2" fmla="*/ 15362 h 33467"/>
                    <a:gd name="connsiteX3" fmla="*/ 17556 w 34015"/>
                    <a:gd name="connsiteY3" fmla="*/ 7681 h 33467"/>
                    <a:gd name="connsiteX4" fmla="*/ 20848 w 34015"/>
                    <a:gd name="connsiteY4" fmla="*/ 13716 h 33467"/>
                    <a:gd name="connsiteX5" fmla="*/ 22494 w 34015"/>
                    <a:gd name="connsiteY5" fmla="*/ 13716 h 33467"/>
                    <a:gd name="connsiteX6" fmla="*/ 24689 w 34015"/>
                    <a:gd name="connsiteY6" fmla="*/ 6035 h 33467"/>
                    <a:gd name="connsiteX7" fmla="*/ 24689 w 34015"/>
                    <a:gd name="connsiteY7" fmla="*/ 0 h 33467"/>
                    <a:gd name="connsiteX8" fmla="*/ 31272 w 34015"/>
                    <a:gd name="connsiteY8" fmla="*/ 3841 h 33467"/>
                    <a:gd name="connsiteX9" fmla="*/ 34016 w 34015"/>
                    <a:gd name="connsiteY9" fmla="*/ 9327 h 33467"/>
                    <a:gd name="connsiteX10" fmla="*/ 27981 w 34015"/>
                    <a:gd name="connsiteY10" fmla="*/ 21397 h 33467"/>
                    <a:gd name="connsiteX11" fmla="*/ 27981 w 34015"/>
                    <a:gd name="connsiteY11" fmla="*/ 26883 h 33467"/>
                    <a:gd name="connsiteX12" fmla="*/ 10424 w 34015"/>
                    <a:gd name="connsiteY12" fmla="*/ 33467 h 33467"/>
                    <a:gd name="connsiteX13" fmla="*/ 0 w 34015"/>
                    <a:gd name="connsiteY13" fmla="*/ 30724 h 33467"/>
                    <a:gd name="connsiteX14" fmla="*/ 0 w 34015"/>
                    <a:gd name="connsiteY14" fmla="*/ 27432 h 33467"/>
                    <a:gd name="connsiteX15" fmla="*/ 5486 w 34015"/>
                    <a:gd name="connsiteY15" fmla="*/ 27981 h 33467"/>
                    <a:gd name="connsiteX16" fmla="*/ 7132 w 34015"/>
                    <a:gd name="connsiteY16" fmla="*/ 24689 h 33467"/>
                    <a:gd name="connsiteX17" fmla="*/ 6035 w 34015"/>
                    <a:gd name="connsiteY17" fmla="*/ 17008 h 334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34015" h="33467">
                      <a:moveTo>
                        <a:pt x="6035" y="17008"/>
                      </a:moveTo>
                      <a:lnTo>
                        <a:pt x="14265" y="17557"/>
                      </a:lnTo>
                      <a:lnTo>
                        <a:pt x="15911" y="15362"/>
                      </a:lnTo>
                      <a:lnTo>
                        <a:pt x="17556" y="7681"/>
                      </a:lnTo>
                      <a:lnTo>
                        <a:pt x="20848" y="13716"/>
                      </a:lnTo>
                      <a:lnTo>
                        <a:pt x="22494" y="13716"/>
                      </a:lnTo>
                      <a:lnTo>
                        <a:pt x="24689" y="6035"/>
                      </a:lnTo>
                      <a:lnTo>
                        <a:pt x="24689" y="0"/>
                      </a:lnTo>
                      <a:lnTo>
                        <a:pt x="31272" y="3841"/>
                      </a:lnTo>
                      <a:lnTo>
                        <a:pt x="34016" y="9327"/>
                      </a:lnTo>
                      <a:lnTo>
                        <a:pt x="27981" y="21397"/>
                      </a:lnTo>
                      <a:lnTo>
                        <a:pt x="27981" y="26883"/>
                      </a:lnTo>
                      <a:lnTo>
                        <a:pt x="10424" y="33467"/>
                      </a:lnTo>
                      <a:lnTo>
                        <a:pt x="0" y="30724"/>
                      </a:lnTo>
                      <a:lnTo>
                        <a:pt x="0" y="27432"/>
                      </a:lnTo>
                      <a:lnTo>
                        <a:pt x="5486" y="27981"/>
                      </a:lnTo>
                      <a:lnTo>
                        <a:pt x="7132" y="24689"/>
                      </a:lnTo>
                      <a:lnTo>
                        <a:pt x="6035" y="17008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20" name="Graphic 7">
                  <a:extLst>
                    <a:ext uri="{FF2B5EF4-FFF2-40B4-BE49-F238E27FC236}">
                      <a16:creationId xmlns:a16="http://schemas.microsoft.com/office/drawing/2014/main" id="{D3C16AC4-64E0-824D-0CA7-A3B3D2EC66F1}"/>
                    </a:ext>
                  </a:extLst>
                </p:cNvPr>
                <p:cNvSpPr/>
                <p:nvPr/>
              </p:nvSpPr>
              <p:spPr>
                <a:xfrm>
                  <a:off x="5786880" y="1556591"/>
                  <a:ext cx="26147" cy="24432"/>
                </a:xfrm>
                <a:custGeom>
                  <a:avLst/>
                  <a:gdLst>
                    <a:gd name="connsiteX0" fmla="*/ 6584 w 33467"/>
                    <a:gd name="connsiteY0" fmla="*/ 6584 h 31272"/>
                    <a:gd name="connsiteX1" fmla="*/ 3841 w 33467"/>
                    <a:gd name="connsiteY1" fmla="*/ 10424 h 31272"/>
                    <a:gd name="connsiteX2" fmla="*/ 1646 w 33467"/>
                    <a:gd name="connsiteY2" fmla="*/ 8778 h 31272"/>
                    <a:gd name="connsiteX3" fmla="*/ 0 w 33467"/>
                    <a:gd name="connsiteY3" fmla="*/ 3292 h 31272"/>
                    <a:gd name="connsiteX4" fmla="*/ 2195 w 33467"/>
                    <a:gd name="connsiteY4" fmla="*/ 0 h 31272"/>
                    <a:gd name="connsiteX5" fmla="*/ 6035 w 33467"/>
                    <a:gd name="connsiteY5" fmla="*/ 2195 h 31272"/>
                    <a:gd name="connsiteX6" fmla="*/ 13167 w 33467"/>
                    <a:gd name="connsiteY6" fmla="*/ 2195 h 31272"/>
                    <a:gd name="connsiteX7" fmla="*/ 16459 w 33467"/>
                    <a:gd name="connsiteY7" fmla="*/ 3292 h 31272"/>
                    <a:gd name="connsiteX8" fmla="*/ 17557 w 33467"/>
                    <a:gd name="connsiteY8" fmla="*/ 5486 h 31272"/>
                    <a:gd name="connsiteX9" fmla="*/ 16459 w 33467"/>
                    <a:gd name="connsiteY9" fmla="*/ 14265 h 31272"/>
                    <a:gd name="connsiteX10" fmla="*/ 19202 w 33467"/>
                    <a:gd name="connsiteY10" fmla="*/ 14265 h 31272"/>
                    <a:gd name="connsiteX11" fmla="*/ 20300 w 33467"/>
                    <a:gd name="connsiteY11" fmla="*/ 10424 h 31272"/>
                    <a:gd name="connsiteX12" fmla="*/ 25237 w 33467"/>
                    <a:gd name="connsiteY12" fmla="*/ 8778 h 31272"/>
                    <a:gd name="connsiteX13" fmla="*/ 33467 w 33467"/>
                    <a:gd name="connsiteY13" fmla="*/ 11521 h 31272"/>
                    <a:gd name="connsiteX14" fmla="*/ 25237 w 33467"/>
                    <a:gd name="connsiteY14" fmla="*/ 27981 h 31272"/>
                    <a:gd name="connsiteX15" fmla="*/ 20300 w 33467"/>
                    <a:gd name="connsiteY15" fmla="*/ 31272 h 31272"/>
                    <a:gd name="connsiteX16" fmla="*/ 6035 w 33467"/>
                    <a:gd name="connsiteY16" fmla="*/ 20300 h 31272"/>
                    <a:gd name="connsiteX17" fmla="*/ 4389 w 33467"/>
                    <a:gd name="connsiteY17" fmla="*/ 14265 h 31272"/>
                    <a:gd name="connsiteX18" fmla="*/ 7132 w 33467"/>
                    <a:gd name="connsiteY18" fmla="*/ 17008 h 31272"/>
                    <a:gd name="connsiteX19" fmla="*/ 8778 w 33467"/>
                    <a:gd name="connsiteY19" fmla="*/ 7132 h 31272"/>
                    <a:gd name="connsiteX20" fmla="*/ 6584 w 33467"/>
                    <a:gd name="connsiteY20" fmla="*/ 6584 h 312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33467" h="31272">
                      <a:moveTo>
                        <a:pt x="6584" y="6584"/>
                      </a:moveTo>
                      <a:lnTo>
                        <a:pt x="3841" y="10424"/>
                      </a:lnTo>
                      <a:lnTo>
                        <a:pt x="1646" y="8778"/>
                      </a:lnTo>
                      <a:lnTo>
                        <a:pt x="0" y="3292"/>
                      </a:lnTo>
                      <a:lnTo>
                        <a:pt x="2195" y="0"/>
                      </a:lnTo>
                      <a:lnTo>
                        <a:pt x="6035" y="2195"/>
                      </a:lnTo>
                      <a:lnTo>
                        <a:pt x="13167" y="2195"/>
                      </a:lnTo>
                      <a:lnTo>
                        <a:pt x="16459" y="3292"/>
                      </a:lnTo>
                      <a:lnTo>
                        <a:pt x="17557" y="5486"/>
                      </a:lnTo>
                      <a:lnTo>
                        <a:pt x="16459" y="14265"/>
                      </a:lnTo>
                      <a:lnTo>
                        <a:pt x="19202" y="14265"/>
                      </a:lnTo>
                      <a:lnTo>
                        <a:pt x="20300" y="10424"/>
                      </a:lnTo>
                      <a:lnTo>
                        <a:pt x="25237" y="8778"/>
                      </a:lnTo>
                      <a:lnTo>
                        <a:pt x="33467" y="11521"/>
                      </a:lnTo>
                      <a:lnTo>
                        <a:pt x="25237" y="27981"/>
                      </a:lnTo>
                      <a:lnTo>
                        <a:pt x="20300" y="31272"/>
                      </a:lnTo>
                      <a:lnTo>
                        <a:pt x="6035" y="20300"/>
                      </a:lnTo>
                      <a:lnTo>
                        <a:pt x="4389" y="14265"/>
                      </a:lnTo>
                      <a:lnTo>
                        <a:pt x="7132" y="17008"/>
                      </a:lnTo>
                      <a:lnTo>
                        <a:pt x="8778" y="7132"/>
                      </a:lnTo>
                      <a:lnTo>
                        <a:pt x="6584" y="6584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21" name="Graphic 7">
                  <a:extLst>
                    <a:ext uri="{FF2B5EF4-FFF2-40B4-BE49-F238E27FC236}">
                      <a16:creationId xmlns:a16="http://schemas.microsoft.com/office/drawing/2014/main" id="{2FAD6B8F-0BBD-49DD-0E27-F374914F7B0A}"/>
                    </a:ext>
                  </a:extLst>
                </p:cNvPr>
                <p:cNvSpPr/>
                <p:nvPr/>
              </p:nvSpPr>
              <p:spPr>
                <a:xfrm>
                  <a:off x="5812171" y="1543303"/>
                  <a:ext cx="15430" cy="18431"/>
                </a:xfrm>
                <a:custGeom>
                  <a:avLst/>
                  <a:gdLst>
                    <a:gd name="connsiteX0" fmla="*/ 10424 w 19750"/>
                    <a:gd name="connsiteY0" fmla="*/ 8778 h 23591"/>
                    <a:gd name="connsiteX1" fmla="*/ 11521 w 19750"/>
                    <a:gd name="connsiteY1" fmla="*/ 7681 h 23591"/>
                    <a:gd name="connsiteX2" fmla="*/ 12619 w 19750"/>
                    <a:gd name="connsiteY2" fmla="*/ 10424 h 23591"/>
                    <a:gd name="connsiteX3" fmla="*/ 14813 w 19750"/>
                    <a:gd name="connsiteY3" fmla="*/ 11521 h 23591"/>
                    <a:gd name="connsiteX4" fmla="*/ 19751 w 19750"/>
                    <a:gd name="connsiteY4" fmla="*/ 18105 h 23591"/>
                    <a:gd name="connsiteX5" fmla="*/ 16459 w 19750"/>
                    <a:gd name="connsiteY5" fmla="*/ 23592 h 23591"/>
                    <a:gd name="connsiteX6" fmla="*/ 6584 w 19750"/>
                    <a:gd name="connsiteY6" fmla="*/ 19202 h 23591"/>
                    <a:gd name="connsiteX7" fmla="*/ 0 w 19750"/>
                    <a:gd name="connsiteY7" fmla="*/ 549 h 23591"/>
                    <a:gd name="connsiteX8" fmla="*/ 2195 w 19750"/>
                    <a:gd name="connsiteY8" fmla="*/ 0 h 23591"/>
                    <a:gd name="connsiteX9" fmla="*/ 5486 w 19750"/>
                    <a:gd name="connsiteY9" fmla="*/ 2195 h 23591"/>
                    <a:gd name="connsiteX10" fmla="*/ 7681 w 19750"/>
                    <a:gd name="connsiteY10" fmla="*/ 10424 h 23591"/>
                    <a:gd name="connsiteX11" fmla="*/ 10424 w 19750"/>
                    <a:gd name="connsiteY11" fmla="*/ 8778 h 235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9750" h="23591">
                      <a:moveTo>
                        <a:pt x="10424" y="8778"/>
                      </a:moveTo>
                      <a:lnTo>
                        <a:pt x="11521" y="7681"/>
                      </a:lnTo>
                      <a:lnTo>
                        <a:pt x="12619" y="10424"/>
                      </a:lnTo>
                      <a:lnTo>
                        <a:pt x="14813" y="11521"/>
                      </a:lnTo>
                      <a:lnTo>
                        <a:pt x="19751" y="18105"/>
                      </a:lnTo>
                      <a:lnTo>
                        <a:pt x="16459" y="23592"/>
                      </a:lnTo>
                      <a:lnTo>
                        <a:pt x="6584" y="19202"/>
                      </a:lnTo>
                      <a:lnTo>
                        <a:pt x="0" y="549"/>
                      </a:lnTo>
                      <a:lnTo>
                        <a:pt x="2195" y="0"/>
                      </a:lnTo>
                      <a:lnTo>
                        <a:pt x="5486" y="2195"/>
                      </a:lnTo>
                      <a:lnTo>
                        <a:pt x="7681" y="10424"/>
                      </a:lnTo>
                      <a:lnTo>
                        <a:pt x="10424" y="8778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22" name="Graphic 7">
                  <a:extLst>
                    <a:ext uri="{FF2B5EF4-FFF2-40B4-BE49-F238E27FC236}">
                      <a16:creationId xmlns:a16="http://schemas.microsoft.com/office/drawing/2014/main" id="{0D0E1E51-BFC0-2A81-00A7-BD176F056208}"/>
                    </a:ext>
                  </a:extLst>
                </p:cNvPr>
                <p:cNvSpPr/>
                <p:nvPr/>
              </p:nvSpPr>
              <p:spPr>
                <a:xfrm>
                  <a:off x="5839604" y="1545018"/>
                  <a:ext cx="9429" cy="16288"/>
                </a:xfrm>
                <a:custGeom>
                  <a:avLst/>
                  <a:gdLst>
                    <a:gd name="connsiteX0" fmla="*/ 7681 w 12069"/>
                    <a:gd name="connsiteY0" fmla="*/ 0 h 20848"/>
                    <a:gd name="connsiteX1" fmla="*/ 9875 w 12069"/>
                    <a:gd name="connsiteY1" fmla="*/ 0 h 20848"/>
                    <a:gd name="connsiteX2" fmla="*/ 12070 w 12069"/>
                    <a:gd name="connsiteY2" fmla="*/ 4938 h 20848"/>
                    <a:gd name="connsiteX3" fmla="*/ 10424 w 12069"/>
                    <a:gd name="connsiteY3" fmla="*/ 19202 h 20848"/>
                    <a:gd name="connsiteX4" fmla="*/ 8230 w 12069"/>
                    <a:gd name="connsiteY4" fmla="*/ 20848 h 20848"/>
                    <a:gd name="connsiteX5" fmla="*/ 5486 w 12069"/>
                    <a:gd name="connsiteY5" fmla="*/ 19202 h 20848"/>
                    <a:gd name="connsiteX6" fmla="*/ 5486 w 12069"/>
                    <a:gd name="connsiteY6" fmla="*/ 12619 h 20848"/>
                    <a:gd name="connsiteX7" fmla="*/ 3292 w 12069"/>
                    <a:gd name="connsiteY7" fmla="*/ 17008 h 20848"/>
                    <a:gd name="connsiteX8" fmla="*/ 0 w 12069"/>
                    <a:gd name="connsiteY8" fmla="*/ 14265 h 20848"/>
                    <a:gd name="connsiteX9" fmla="*/ 0 w 12069"/>
                    <a:gd name="connsiteY9" fmla="*/ 7681 h 20848"/>
                    <a:gd name="connsiteX10" fmla="*/ 1646 w 12069"/>
                    <a:gd name="connsiteY10" fmla="*/ 2195 h 20848"/>
                    <a:gd name="connsiteX11" fmla="*/ 7681 w 12069"/>
                    <a:gd name="connsiteY11" fmla="*/ 0 h 208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2069" h="20848">
                      <a:moveTo>
                        <a:pt x="7681" y="0"/>
                      </a:moveTo>
                      <a:lnTo>
                        <a:pt x="9875" y="0"/>
                      </a:lnTo>
                      <a:lnTo>
                        <a:pt x="12070" y="4938"/>
                      </a:lnTo>
                      <a:lnTo>
                        <a:pt x="10424" y="19202"/>
                      </a:lnTo>
                      <a:lnTo>
                        <a:pt x="8230" y="20848"/>
                      </a:lnTo>
                      <a:lnTo>
                        <a:pt x="5486" y="19202"/>
                      </a:lnTo>
                      <a:lnTo>
                        <a:pt x="5486" y="12619"/>
                      </a:lnTo>
                      <a:lnTo>
                        <a:pt x="3292" y="17008"/>
                      </a:lnTo>
                      <a:lnTo>
                        <a:pt x="0" y="14265"/>
                      </a:lnTo>
                      <a:lnTo>
                        <a:pt x="0" y="7681"/>
                      </a:lnTo>
                      <a:lnTo>
                        <a:pt x="1646" y="2195"/>
                      </a:lnTo>
                      <a:lnTo>
                        <a:pt x="7681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23" name="Graphic 7">
                  <a:extLst>
                    <a:ext uri="{FF2B5EF4-FFF2-40B4-BE49-F238E27FC236}">
                      <a16:creationId xmlns:a16="http://schemas.microsoft.com/office/drawing/2014/main" id="{8C6BA580-5E4E-2CD3-080A-97237033613C}"/>
                    </a:ext>
                  </a:extLst>
                </p:cNvPr>
                <p:cNvSpPr/>
                <p:nvPr/>
              </p:nvSpPr>
              <p:spPr>
                <a:xfrm>
                  <a:off x="5897470" y="1533016"/>
                  <a:ext cx="14145" cy="11144"/>
                </a:xfrm>
                <a:custGeom>
                  <a:avLst/>
                  <a:gdLst>
                    <a:gd name="connsiteX0" fmla="*/ 10424 w 18105"/>
                    <a:gd name="connsiteY0" fmla="*/ 14265 h 14264"/>
                    <a:gd name="connsiteX1" fmla="*/ 549 w 18105"/>
                    <a:gd name="connsiteY1" fmla="*/ 7681 h 14264"/>
                    <a:gd name="connsiteX2" fmla="*/ 0 w 18105"/>
                    <a:gd name="connsiteY2" fmla="*/ 3840 h 14264"/>
                    <a:gd name="connsiteX3" fmla="*/ 1646 w 18105"/>
                    <a:gd name="connsiteY3" fmla="*/ 0 h 14264"/>
                    <a:gd name="connsiteX4" fmla="*/ 13716 w 18105"/>
                    <a:gd name="connsiteY4" fmla="*/ 3292 h 14264"/>
                    <a:gd name="connsiteX5" fmla="*/ 17556 w 18105"/>
                    <a:gd name="connsiteY5" fmla="*/ 7681 h 14264"/>
                    <a:gd name="connsiteX6" fmla="*/ 18105 w 18105"/>
                    <a:gd name="connsiteY6" fmla="*/ 13167 h 14264"/>
                    <a:gd name="connsiteX7" fmla="*/ 10424 w 18105"/>
                    <a:gd name="connsiteY7" fmla="*/ 14265 h 142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8105" h="14264">
                      <a:moveTo>
                        <a:pt x="10424" y="14265"/>
                      </a:moveTo>
                      <a:lnTo>
                        <a:pt x="549" y="7681"/>
                      </a:lnTo>
                      <a:lnTo>
                        <a:pt x="0" y="3840"/>
                      </a:lnTo>
                      <a:lnTo>
                        <a:pt x="1646" y="0"/>
                      </a:lnTo>
                      <a:lnTo>
                        <a:pt x="13716" y="3292"/>
                      </a:lnTo>
                      <a:lnTo>
                        <a:pt x="17556" y="7681"/>
                      </a:lnTo>
                      <a:lnTo>
                        <a:pt x="18105" y="13167"/>
                      </a:lnTo>
                      <a:lnTo>
                        <a:pt x="10424" y="14265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24" name="Graphic 7">
                  <a:extLst>
                    <a:ext uri="{FF2B5EF4-FFF2-40B4-BE49-F238E27FC236}">
                      <a16:creationId xmlns:a16="http://schemas.microsoft.com/office/drawing/2014/main" id="{318EDD25-0260-3E78-4BC5-10D90F8F7770}"/>
                    </a:ext>
                  </a:extLst>
                </p:cNvPr>
                <p:cNvSpPr/>
                <p:nvPr/>
              </p:nvSpPr>
              <p:spPr>
                <a:xfrm>
                  <a:off x="5885897" y="1501725"/>
                  <a:ext cx="30433" cy="22717"/>
                </a:xfrm>
                <a:custGeom>
                  <a:avLst/>
                  <a:gdLst>
                    <a:gd name="connsiteX0" fmla="*/ 11521 w 38953"/>
                    <a:gd name="connsiteY0" fmla="*/ 7681 h 29077"/>
                    <a:gd name="connsiteX1" fmla="*/ 13716 w 38953"/>
                    <a:gd name="connsiteY1" fmla="*/ 6035 h 29077"/>
                    <a:gd name="connsiteX2" fmla="*/ 13716 w 38953"/>
                    <a:gd name="connsiteY2" fmla="*/ 3292 h 29077"/>
                    <a:gd name="connsiteX3" fmla="*/ 15911 w 38953"/>
                    <a:gd name="connsiteY3" fmla="*/ 4389 h 29077"/>
                    <a:gd name="connsiteX4" fmla="*/ 17557 w 38953"/>
                    <a:gd name="connsiteY4" fmla="*/ 1097 h 29077"/>
                    <a:gd name="connsiteX5" fmla="*/ 18654 w 38953"/>
                    <a:gd name="connsiteY5" fmla="*/ 2195 h 29077"/>
                    <a:gd name="connsiteX6" fmla="*/ 19202 w 38953"/>
                    <a:gd name="connsiteY6" fmla="*/ 9876 h 29077"/>
                    <a:gd name="connsiteX7" fmla="*/ 26335 w 38953"/>
                    <a:gd name="connsiteY7" fmla="*/ 7681 h 29077"/>
                    <a:gd name="connsiteX8" fmla="*/ 26335 w 38953"/>
                    <a:gd name="connsiteY8" fmla="*/ 0 h 29077"/>
                    <a:gd name="connsiteX9" fmla="*/ 30724 w 38953"/>
                    <a:gd name="connsiteY9" fmla="*/ 0 h 29077"/>
                    <a:gd name="connsiteX10" fmla="*/ 32370 w 38953"/>
                    <a:gd name="connsiteY10" fmla="*/ 4389 h 29077"/>
                    <a:gd name="connsiteX11" fmla="*/ 36759 w 38953"/>
                    <a:gd name="connsiteY11" fmla="*/ 6035 h 29077"/>
                    <a:gd name="connsiteX12" fmla="*/ 38953 w 38953"/>
                    <a:gd name="connsiteY12" fmla="*/ 9876 h 29077"/>
                    <a:gd name="connsiteX13" fmla="*/ 38405 w 38953"/>
                    <a:gd name="connsiteY13" fmla="*/ 14265 h 29077"/>
                    <a:gd name="connsiteX14" fmla="*/ 35113 w 38953"/>
                    <a:gd name="connsiteY14" fmla="*/ 14265 h 29077"/>
                    <a:gd name="connsiteX15" fmla="*/ 34016 w 38953"/>
                    <a:gd name="connsiteY15" fmla="*/ 19751 h 29077"/>
                    <a:gd name="connsiteX16" fmla="*/ 31273 w 38953"/>
                    <a:gd name="connsiteY16" fmla="*/ 23043 h 29077"/>
                    <a:gd name="connsiteX17" fmla="*/ 26335 w 38953"/>
                    <a:gd name="connsiteY17" fmla="*/ 19751 h 29077"/>
                    <a:gd name="connsiteX18" fmla="*/ 23043 w 38953"/>
                    <a:gd name="connsiteY18" fmla="*/ 24689 h 29077"/>
                    <a:gd name="connsiteX19" fmla="*/ 19202 w 38953"/>
                    <a:gd name="connsiteY19" fmla="*/ 25786 h 29077"/>
                    <a:gd name="connsiteX20" fmla="*/ 16459 w 38953"/>
                    <a:gd name="connsiteY20" fmla="*/ 22494 h 29077"/>
                    <a:gd name="connsiteX21" fmla="*/ 11521 w 38953"/>
                    <a:gd name="connsiteY21" fmla="*/ 25786 h 29077"/>
                    <a:gd name="connsiteX22" fmla="*/ 9327 w 38953"/>
                    <a:gd name="connsiteY22" fmla="*/ 21397 h 29077"/>
                    <a:gd name="connsiteX23" fmla="*/ 7132 w 38953"/>
                    <a:gd name="connsiteY23" fmla="*/ 29078 h 29077"/>
                    <a:gd name="connsiteX24" fmla="*/ 4938 w 38953"/>
                    <a:gd name="connsiteY24" fmla="*/ 15362 h 29077"/>
                    <a:gd name="connsiteX25" fmla="*/ 0 w 38953"/>
                    <a:gd name="connsiteY25" fmla="*/ 13716 h 29077"/>
                    <a:gd name="connsiteX26" fmla="*/ 4389 w 38953"/>
                    <a:gd name="connsiteY26" fmla="*/ 9327 h 29077"/>
                    <a:gd name="connsiteX27" fmla="*/ 9327 w 38953"/>
                    <a:gd name="connsiteY27" fmla="*/ 10424 h 29077"/>
                    <a:gd name="connsiteX28" fmla="*/ 11521 w 38953"/>
                    <a:gd name="connsiteY28" fmla="*/ 7681 h 290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38953" h="29077">
                      <a:moveTo>
                        <a:pt x="11521" y="7681"/>
                      </a:moveTo>
                      <a:lnTo>
                        <a:pt x="13716" y="6035"/>
                      </a:lnTo>
                      <a:lnTo>
                        <a:pt x="13716" y="3292"/>
                      </a:lnTo>
                      <a:lnTo>
                        <a:pt x="15911" y="4389"/>
                      </a:lnTo>
                      <a:lnTo>
                        <a:pt x="17557" y="1097"/>
                      </a:lnTo>
                      <a:lnTo>
                        <a:pt x="18654" y="2195"/>
                      </a:lnTo>
                      <a:lnTo>
                        <a:pt x="19202" y="9876"/>
                      </a:lnTo>
                      <a:lnTo>
                        <a:pt x="26335" y="7681"/>
                      </a:lnTo>
                      <a:lnTo>
                        <a:pt x="26335" y="0"/>
                      </a:lnTo>
                      <a:lnTo>
                        <a:pt x="30724" y="0"/>
                      </a:lnTo>
                      <a:lnTo>
                        <a:pt x="32370" y="4389"/>
                      </a:lnTo>
                      <a:lnTo>
                        <a:pt x="36759" y="6035"/>
                      </a:lnTo>
                      <a:lnTo>
                        <a:pt x="38953" y="9876"/>
                      </a:lnTo>
                      <a:lnTo>
                        <a:pt x="38405" y="14265"/>
                      </a:lnTo>
                      <a:lnTo>
                        <a:pt x="35113" y="14265"/>
                      </a:lnTo>
                      <a:lnTo>
                        <a:pt x="34016" y="19751"/>
                      </a:lnTo>
                      <a:lnTo>
                        <a:pt x="31273" y="23043"/>
                      </a:lnTo>
                      <a:lnTo>
                        <a:pt x="26335" y="19751"/>
                      </a:lnTo>
                      <a:lnTo>
                        <a:pt x="23043" y="24689"/>
                      </a:lnTo>
                      <a:lnTo>
                        <a:pt x="19202" y="25786"/>
                      </a:lnTo>
                      <a:lnTo>
                        <a:pt x="16459" y="22494"/>
                      </a:lnTo>
                      <a:lnTo>
                        <a:pt x="11521" y="25786"/>
                      </a:lnTo>
                      <a:lnTo>
                        <a:pt x="9327" y="21397"/>
                      </a:lnTo>
                      <a:lnTo>
                        <a:pt x="7132" y="29078"/>
                      </a:lnTo>
                      <a:lnTo>
                        <a:pt x="4938" y="15362"/>
                      </a:lnTo>
                      <a:lnTo>
                        <a:pt x="0" y="13716"/>
                      </a:lnTo>
                      <a:lnTo>
                        <a:pt x="4389" y="9327"/>
                      </a:lnTo>
                      <a:lnTo>
                        <a:pt x="9327" y="10424"/>
                      </a:lnTo>
                      <a:lnTo>
                        <a:pt x="11521" y="7681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25" name="Graphic 7">
                  <a:extLst>
                    <a:ext uri="{FF2B5EF4-FFF2-40B4-BE49-F238E27FC236}">
                      <a16:creationId xmlns:a16="http://schemas.microsoft.com/office/drawing/2014/main" id="{9FD5A892-788F-9C8B-657E-7757A7387558}"/>
                    </a:ext>
                  </a:extLst>
                </p:cNvPr>
                <p:cNvSpPr/>
                <p:nvPr/>
              </p:nvSpPr>
              <p:spPr>
                <a:xfrm>
                  <a:off x="5911616" y="1515441"/>
                  <a:ext cx="19288" cy="24003"/>
                </a:xfrm>
                <a:custGeom>
                  <a:avLst/>
                  <a:gdLst>
                    <a:gd name="connsiteX0" fmla="*/ 17008 w 24688"/>
                    <a:gd name="connsiteY0" fmla="*/ 25786 h 30723"/>
                    <a:gd name="connsiteX1" fmla="*/ 14813 w 24688"/>
                    <a:gd name="connsiteY1" fmla="*/ 24140 h 30723"/>
                    <a:gd name="connsiteX2" fmla="*/ 14813 w 24688"/>
                    <a:gd name="connsiteY2" fmla="*/ 27981 h 30723"/>
                    <a:gd name="connsiteX3" fmla="*/ 11521 w 24688"/>
                    <a:gd name="connsiteY3" fmla="*/ 30724 h 30723"/>
                    <a:gd name="connsiteX4" fmla="*/ 4938 w 24688"/>
                    <a:gd name="connsiteY4" fmla="*/ 29078 h 30723"/>
                    <a:gd name="connsiteX5" fmla="*/ 2195 w 24688"/>
                    <a:gd name="connsiteY5" fmla="*/ 25237 h 30723"/>
                    <a:gd name="connsiteX6" fmla="*/ 1097 w 24688"/>
                    <a:gd name="connsiteY6" fmla="*/ 21397 h 30723"/>
                    <a:gd name="connsiteX7" fmla="*/ 2195 w 24688"/>
                    <a:gd name="connsiteY7" fmla="*/ 17556 h 30723"/>
                    <a:gd name="connsiteX8" fmla="*/ 0 w 24688"/>
                    <a:gd name="connsiteY8" fmla="*/ 12070 h 30723"/>
                    <a:gd name="connsiteX9" fmla="*/ 2743 w 24688"/>
                    <a:gd name="connsiteY9" fmla="*/ 7681 h 30723"/>
                    <a:gd name="connsiteX10" fmla="*/ 6584 w 24688"/>
                    <a:gd name="connsiteY10" fmla="*/ 9876 h 30723"/>
                    <a:gd name="connsiteX11" fmla="*/ 8778 w 24688"/>
                    <a:gd name="connsiteY11" fmla="*/ 2743 h 30723"/>
                    <a:gd name="connsiteX12" fmla="*/ 14813 w 24688"/>
                    <a:gd name="connsiteY12" fmla="*/ 5486 h 30723"/>
                    <a:gd name="connsiteX13" fmla="*/ 18105 w 24688"/>
                    <a:gd name="connsiteY13" fmla="*/ 0 h 30723"/>
                    <a:gd name="connsiteX14" fmla="*/ 23592 w 24688"/>
                    <a:gd name="connsiteY14" fmla="*/ 6584 h 30723"/>
                    <a:gd name="connsiteX15" fmla="*/ 24689 w 24688"/>
                    <a:gd name="connsiteY15" fmla="*/ 12070 h 30723"/>
                    <a:gd name="connsiteX16" fmla="*/ 17008 w 24688"/>
                    <a:gd name="connsiteY16" fmla="*/ 25786 h 307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24688" h="30723">
                      <a:moveTo>
                        <a:pt x="17008" y="25786"/>
                      </a:moveTo>
                      <a:lnTo>
                        <a:pt x="14813" y="24140"/>
                      </a:lnTo>
                      <a:lnTo>
                        <a:pt x="14813" y="27981"/>
                      </a:lnTo>
                      <a:lnTo>
                        <a:pt x="11521" y="30724"/>
                      </a:lnTo>
                      <a:lnTo>
                        <a:pt x="4938" y="29078"/>
                      </a:lnTo>
                      <a:lnTo>
                        <a:pt x="2195" y="25237"/>
                      </a:lnTo>
                      <a:lnTo>
                        <a:pt x="1097" y="21397"/>
                      </a:lnTo>
                      <a:lnTo>
                        <a:pt x="2195" y="17556"/>
                      </a:lnTo>
                      <a:lnTo>
                        <a:pt x="0" y="12070"/>
                      </a:lnTo>
                      <a:lnTo>
                        <a:pt x="2743" y="7681"/>
                      </a:lnTo>
                      <a:lnTo>
                        <a:pt x="6584" y="9876"/>
                      </a:lnTo>
                      <a:lnTo>
                        <a:pt x="8778" y="2743"/>
                      </a:lnTo>
                      <a:lnTo>
                        <a:pt x="14813" y="5486"/>
                      </a:lnTo>
                      <a:lnTo>
                        <a:pt x="18105" y="0"/>
                      </a:lnTo>
                      <a:lnTo>
                        <a:pt x="23592" y="6584"/>
                      </a:lnTo>
                      <a:lnTo>
                        <a:pt x="24689" y="12070"/>
                      </a:lnTo>
                      <a:lnTo>
                        <a:pt x="17008" y="25786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26" name="Graphic 7">
                  <a:extLst>
                    <a:ext uri="{FF2B5EF4-FFF2-40B4-BE49-F238E27FC236}">
                      <a16:creationId xmlns:a16="http://schemas.microsoft.com/office/drawing/2014/main" id="{3C894F30-BEF8-3A86-CEDF-B4E18292AC28}"/>
                    </a:ext>
                  </a:extLst>
                </p:cNvPr>
                <p:cNvSpPr/>
                <p:nvPr/>
              </p:nvSpPr>
              <p:spPr>
                <a:xfrm>
                  <a:off x="5933904" y="1500010"/>
                  <a:ext cx="10716" cy="21003"/>
                </a:xfrm>
                <a:custGeom>
                  <a:avLst/>
                  <a:gdLst>
                    <a:gd name="connsiteX0" fmla="*/ 9327 w 13716"/>
                    <a:gd name="connsiteY0" fmla="*/ 23591 h 26883"/>
                    <a:gd name="connsiteX1" fmla="*/ 5486 w 13716"/>
                    <a:gd name="connsiteY1" fmla="*/ 26883 h 26883"/>
                    <a:gd name="connsiteX2" fmla="*/ 0 w 13716"/>
                    <a:gd name="connsiteY2" fmla="*/ 3840 h 26883"/>
                    <a:gd name="connsiteX3" fmla="*/ 1646 w 13716"/>
                    <a:gd name="connsiteY3" fmla="*/ 0 h 26883"/>
                    <a:gd name="connsiteX4" fmla="*/ 3840 w 13716"/>
                    <a:gd name="connsiteY4" fmla="*/ 5486 h 26883"/>
                    <a:gd name="connsiteX5" fmla="*/ 7132 w 13716"/>
                    <a:gd name="connsiteY5" fmla="*/ 4389 h 26883"/>
                    <a:gd name="connsiteX6" fmla="*/ 11521 w 13716"/>
                    <a:gd name="connsiteY6" fmla="*/ 8778 h 26883"/>
                    <a:gd name="connsiteX7" fmla="*/ 13716 w 13716"/>
                    <a:gd name="connsiteY7" fmla="*/ 17556 h 26883"/>
                    <a:gd name="connsiteX8" fmla="*/ 13167 w 13716"/>
                    <a:gd name="connsiteY8" fmla="*/ 23043 h 26883"/>
                    <a:gd name="connsiteX9" fmla="*/ 9327 w 13716"/>
                    <a:gd name="connsiteY9" fmla="*/ 23591 h 268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3716" h="26883">
                      <a:moveTo>
                        <a:pt x="9327" y="23591"/>
                      </a:moveTo>
                      <a:lnTo>
                        <a:pt x="5486" y="26883"/>
                      </a:lnTo>
                      <a:lnTo>
                        <a:pt x="0" y="3840"/>
                      </a:lnTo>
                      <a:lnTo>
                        <a:pt x="1646" y="0"/>
                      </a:lnTo>
                      <a:lnTo>
                        <a:pt x="3840" y="5486"/>
                      </a:lnTo>
                      <a:lnTo>
                        <a:pt x="7132" y="4389"/>
                      </a:lnTo>
                      <a:lnTo>
                        <a:pt x="11521" y="8778"/>
                      </a:lnTo>
                      <a:lnTo>
                        <a:pt x="13716" y="17556"/>
                      </a:lnTo>
                      <a:lnTo>
                        <a:pt x="13167" y="23043"/>
                      </a:lnTo>
                      <a:lnTo>
                        <a:pt x="9327" y="23591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27" name="Graphic 7">
                  <a:extLst>
                    <a:ext uri="{FF2B5EF4-FFF2-40B4-BE49-F238E27FC236}">
                      <a16:creationId xmlns:a16="http://schemas.microsoft.com/office/drawing/2014/main" id="{0B380030-E365-65AC-93D6-73E7159AE63B}"/>
                    </a:ext>
                  </a:extLst>
                </p:cNvPr>
                <p:cNvSpPr/>
                <p:nvPr/>
              </p:nvSpPr>
              <p:spPr>
                <a:xfrm>
                  <a:off x="5980626" y="1466148"/>
                  <a:ext cx="21003" cy="17145"/>
                </a:xfrm>
                <a:custGeom>
                  <a:avLst/>
                  <a:gdLst>
                    <a:gd name="connsiteX0" fmla="*/ 20848 w 26883"/>
                    <a:gd name="connsiteY0" fmla="*/ 5486 h 21945"/>
                    <a:gd name="connsiteX1" fmla="*/ 25786 w 26883"/>
                    <a:gd name="connsiteY1" fmla="*/ 13716 h 21945"/>
                    <a:gd name="connsiteX2" fmla="*/ 26883 w 26883"/>
                    <a:gd name="connsiteY2" fmla="*/ 19202 h 21945"/>
                    <a:gd name="connsiteX3" fmla="*/ 20848 w 26883"/>
                    <a:gd name="connsiteY3" fmla="*/ 17008 h 21945"/>
                    <a:gd name="connsiteX4" fmla="*/ 16459 w 26883"/>
                    <a:gd name="connsiteY4" fmla="*/ 21946 h 21945"/>
                    <a:gd name="connsiteX5" fmla="*/ 13167 w 26883"/>
                    <a:gd name="connsiteY5" fmla="*/ 19751 h 21945"/>
                    <a:gd name="connsiteX6" fmla="*/ 5486 w 26883"/>
                    <a:gd name="connsiteY6" fmla="*/ 20848 h 21945"/>
                    <a:gd name="connsiteX7" fmla="*/ 3841 w 26883"/>
                    <a:gd name="connsiteY7" fmla="*/ 17556 h 21945"/>
                    <a:gd name="connsiteX8" fmla="*/ 8778 w 26883"/>
                    <a:gd name="connsiteY8" fmla="*/ 14265 h 21945"/>
                    <a:gd name="connsiteX9" fmla="*/ 10424 w 26883"/>
                    <a:gd name="connsiteY9" fmla="*/ 10424 h 21945"/>
                    <a:gd name="connsiteX10" fmla="*/ 0 w 26883"/>
                    <a:gd name="connsiteY10" fmla="*/ 11521 h 21945"/>
                    <a:gd name="connsiteX11" fmla="*/ 549 w 26883"/>
                    <a:gd name="connsiteY11" fmla="*/ 7681 h 21945"/>
                    <a:gd name="connsiteX12" fmla="*/ 6584 w 26883"/>
                    <a:gd name="connsiteY12" fmla="*/ 6584 h 21945"/>
                    <a:gd name="connsiteX13" fmla="*/ 12070 w 26883"/>
                    <a:gd name="connsiteY13" fmla="*/ 8230 h 21945"/>
                    <a:gd name="connsiteX14" fmla="*/ 13716 w 26883"/>
                    <a:gd name="connsiteY14" fmla="*/ 3292 h 21945"/>
                    <a:gd name="connsiteX15" fmla="*/ 13167 w 26883"/>
                    <a:gd name="connsiteY15" fmla="*/ 0 h 21945"/>
                    <a:gd name="connsiteX16" fmla="*/ 20848 w 26883"/>
                    <a:gd name="connsiteY16" fmla="*/ 5486 h 219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26883" h="21945">
                      <a:moveTo>
                        <a:pt x="20848" y="5486"/>
                      </a:moveTo>
                      <a:lnTo>
                        <a:pt x="25786" y="13716"/>
                      </a:lnTo>
                      <a:lnTo>
                        <a:pt x="26883" y="19202"/>
                      </a:lnTo>
                      <a:lnTo>
                        <a:pt x="20848" y="17008"/>
                      </a:lnTo>
                      <a:lnTo>
                        <a:pt x="16459" y="21946"/>
                      </a:lnTo>
                      <a:lnTo>
                        <a:pt x="13167" y="19751"/>
                      </a:lnTo>
                      <a:lnTo>
                        <a:pt x="5486" y="20848"/>
                      </a:lnTo>
                      <a:lnTo>
                        <a:pt x="3841" y="17556"/>
                      </a:lnTo>
                      <a:lnTo>
                        <a:pt x="8778" y="14265"/>
                      </a:lnTo>
                      <a:lnTo>
                        <a:pt x="10424" y="10424"/>
                      </a:lnTo>
                      <a:lnTo>
                        <a:pt x="0" y="11521"/>
                      </a:lnTo>
                      <a:lnTo>
                        <a:pt x="549" y="7681"/>
                      </a:lnTo>
                      <a:lnTo>
                        <a:pt x="6584" y="6584"/>
                      </a:lnTo>
                      <a:lnTo>
                        <a:pt x="12070" y="8230"/>
                      </a:lnTo>
                      <a:lnTo>
                        <a:pt x="13716" y="3292"/>
                      </a:lnTo>
                      <a:lnTo>
                        <a:pt x="13167" y="0"/>
                      </a:lnTo>
                      <a:lnTo>
                        <a:pt x="20848" y="5486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28" name="Graphic 7">
                  <a:extLst>
                    <a:ext uri="{FF2B5EF4-FFF2-40B4-BE49-F238E27FC236}">
                      <a16:creationId xmlns:a16="http://schemas.microsoft.com/office/drawing/2014/main" id="{1C897350-D93D-6EF4-4DA0-F705D8548B1A}"/>
                    </a:ext>
                  </a:extLst>
                </p:cNvPr>
                <p:cNvSpPr/>
                <p:nvPr/>
              </p:nvSpPr>
              <p:spPr>
                <a:xfrm>
                  <a:off x="5486831" y="2036242"/>
                  <a:ext cx="21860" cy="15002"/>
                </a:xfrm>
                <a:custGeom>
                  <a:avLst/>
                  <a:gdLst>
                    <a:gd name="connsiteX0" fmla="*/ 0 w 27980"/>
                    <a:gd name="connsiteY0" fmla="*/ 11521 h 19202"/>
                    <a:gd name="connsiteX1" fmla="*/ 2743 w 27980"/>
                    <a:gd name="connsiteY1" fmla="*/ 10973 h 19202"/>
                    <a:gd name="connsiteX2" fmla="*/ 3292 w 27980"/>
                    <a:gd name="connsiteY2" fmla="*/ 8778 h 19202"/>
                    <a:gd name="connsiteX3" fmla="*/ 7681 w 27980"/>
                    <a:gd name="connsiteY3" fmla="*/ 9327 h 19202"/>
                    <a:gd name="connsiteX4" fmla="*/ 9876 w 27980"/>
                    <a:gd name="connsiteY4" fmla="*/ 6584 h 19202"/>
                    <a:gd name="connsiteX5" fmla="*/ 10973 w 27980"/>
                    <a:gd name="connsiteY5" fmla="*/ 3840 h 19202"/>
                    <a:gd name="connsiteX6" fmla="*/ 19202 w 27980"/>
                    <a:gd name="connsiteY6" fmla="*/ 0 h 19202"/>
                    <a:gd name="connsiteX7" fmla="*/ 25237 w 27980"/>
                    <a:gd name="connsiteY7" fmla="*/ 0 h 19202"/>
                    <a:gd name="connsiteX8" fmla="*/ 24140 w 27980"/>
                    <a:gd name="connsiteY8" fmla="*/ 2743 h 19202"/>
                    <a:gd name="connsiteX9" fmla="*/ 26883 w 27980"/>
                    <a:gd name="connsiteY9" fmla="*/ 5486 h 19202"/>
                    <a:gd name="connsiteX10" fmla="*/ 27981 w 27980"/>
                    <a:gd name="connsiteY10" fmla="*/ 9875 h 19202"/>
                    <a:gd name="connsiteX11" fmla="*/ 13167 w 27980"/>
                    <a:gd name="connsiteY11" fmla="*/ 14265 h 19202"/>
                    <a:gd name="connsiteX12" fmla="*/ 5486 w 27980"/>
                    <a:gd name="connsiteY12" fmla="*/ 19202 h 19202"/>
                    <a:gd name="connsiteX13" fmla="*/ 1646 w 27980"/>
                    <a:gd name="connsiteY13" fmla="*/ 15362 h 19202"/>
                    <a:gd name="connsiteX14" fmla="*/ 0 w 27980"/>
                    <a:gd name="connsiteY14" fmla="*/ 11521 h 192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27980" h="19202">
                      <a:moveTo>
                        <a:pt x="0" y="11521"/>
                      </a:moveTo>
                      <a:lnTo>
                        <a:pt x="2743" y="10973"/>
                      </a:lnTo>
                      <a:lnTo>
                        <a:pt x="3292" y="8778"/>
                      </a:lnTo>
                      <a:lnTo>
                        <a:pt x="7681" y="9327"/>
                      </a:lnTo>
                      <a:lnTo>
                        <a:pt x="9876" y="6584"/>
                      </a:lnTo>
                      <a:lnTo>
                        <a:pt x="10973" y="3840"/>
                      </a:lnTo>
                      <a:lnTo>
                        <a:pt x="19202" y="0"/>
                      </a:lnTo>
                      <a:lnTo>
                        <a:pt x="25237" y="0"/>
                      </a:lnTo>
                      <a:lnTo>
                        <a:pt x="24140" y="2743"/>
                      </a:lnTo>
                      <a:lnTo>
                        <a:pt x="26883" y="5486"/>
                      </a:lnTo>
                      <a:lnTo>
                        <a:pt x="27981" y="9875"/>
                      </a:lnTo>
                      <a:lnTo>
                        <a:pt x="13167" y="14265"/>
                      </a:lnTo>
                      <a:lnTo>
                        <a:pt x="5486" y="19202"/>
                      </a:lnTo>
                      <a:lnTo>
                        <a:pt x="1646" y="15362"/>
                      </a:lnTo>
                      <a:lnTo>
                        <a:pt x="0" y="11521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29" name="Graphic 7">
                  <a:extLst>
                    <a:ext uri="{FF2B5EF4-FFF2-40B4-BE49-F238E27FC236}">
                      <a16:creationId xmlns:a16="http://schemas.microsoft.com/office/drawing/2014/main" id="{D16B9B42-C51B-7635-7C8F-8B3C7A605E15}"/>
                    </a:ext>
                  </a:extLst>
                </p:cNvPr>
                <p:cNvSpPr/>
                <p:nvPr/>
              </p:nvSpPr>
              <p:spPr>
                <a:xfrm>
                  <a:off x="5312373" y="3195719"/>
                  <a:ext cx="29147" cy="26146"/>
                </a:xfrm>
                <a:custGeom>
                  <a:avLst/>
                  <a:gdLst>
                    <a:gd name="connsiteX0" fmla="*/ 29627 w 37307"/>
                    <a:gd name="connsiteY0" fmla="*/ 1646 h 33466"/>
                    <a:gd name="connsiteX1" fmla="*/ 27981 w 37307"/>
                    <a:gd name="connsiteY1" fmla="*/ 7681 h 33466"/>
                    <a:gd name="connsiteX2" fmla="*/ 27981 w 37307"/>
                    <a:gd name="connsiteY2" fmla="*/ 10424 h 33466"/>
                    <a:gd name="connsiteX3" fmla="*/ 34016 w 37307"/>
                    <a:gd name="connsiteY3" fmla="*/ 10424 h 33466"/>
                    <a:gd name="connsiteX4" fmla="*/ 37307 w 37307"/>
                    <a:gd name="connsiteY4" fmla="*/ 15910 h 33466"/>
                    <a:gd name="connsiteX5" fmla="*/ 34016 w 37307"/>
                    <a:gd name="connsiteY5" fmla="*/ 25786 h 33466"/>
                    <a:gd name="connsiteX6" fmla="*/ 26883 w 37307"/>
                    <a:gd name="connsiteY6" fmla="*/ 33467 h 33466"/>
                    <a:gd name="connsiteX7" fmla="*/ 15911 w 37307"/>
                    <a:gd name="connsiteY7" fmla="*/ 26883 h 33466"/>
                    <a:gd name="connsiteX8" fmla="*/ 13167 w 37307"/>
                    <a:gd name="connsiteY8" fmla="*/ 21946 h 33466"/>
                    <a:gd name="connsiteX9" fmla="*/ 7681 w 37307"/>
                    <a:gd name="connsiteY9" fmla="*/ 21946 h 33466"/>
                    <a:gd name="connsiteX10" fmla="*/ 4389 w 37307"/>
                    <a:gd name="connsiteY10" fmla="*/ 24140 h 33466"/>
                    <a:gd name="connsiteX11" fmla="*/ 0 w 37307"/>
                    <a:gd name="connsiteY11" fmla="*/ 19202 h 33466"/>
                    <a:gd name="connsiteX12" fmla="*/ 6584 w 37307"/>
                    <a:gd name="connsiteY12" fmla="*/ 11521 h 33466"/>
                    <a:gd name="connsiteX13" fmla="*/ 29078 w 37307"/>
                    <a:gd name="connsiteY13" fmla="*/ 0 h 33466"/>
                    <a:gd name="connsiteX14" fmla="*/ 30175 w 37307"/>
                    <a:gd name="connsiteY14" fmla="*/ 0 h 33466"/>
                    <a:gd name="connsiteX15" fmla="*/ 29627 w 37307"/>
                    <a:gd name="connsiteY15" fmla="*/ 1646 h 334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37307" h="33466">
                      <a:moveTo>
                        <a:pt x="29627" y="1646"/>
                      </a:moveTo>
                      <a:lnTo>
                        <a:pt x="27981" y="7681"/>
                      </a:lnTo>
                      <a:lnTo>
                        <a:pt x="27981" y="10424"/>
                      </a:lnTo>
                      <a:lnTo>
                        <a:pt x="34016" y="10424"/>
                      </a:lnTo>
                      <a:lnTo>
                        <a:pt x="37307" y="15910"/>
                      </a:lnTo>
                      <a:lnTo>
                        <a:pt x="34016" y="25786"/>
                      </a:lnTo>
                      <a:lnTo>
                        <a:pt x="26883" y="33467"/>
                      </a:lnTo>
                      <a:lnTo>
                        <a:pt x="15911" y="26883"/>
                      </a:lnTo>
                      <a:lnTo>
                        <a:pt x="13167" y="21946"/>
                      </a:lnTo>
                      <a:lnTo>
                        <a:pt x="7681" y="21946"/>
                      </a:lnTo>
                      <a:lnTo>
                        <a:pt x="4389" y="24140"/>
                      </a:lnTo>
                      <a:lnTo>
                        <a:pt x="0" y="19202"/>
                      </a:lnTo>
                      <a:lnTo>
                        <a:pt x="6584" y="11521"/>
                      </a:lnTo>
                      <a:lnTo>
                        <a:pt x="29078" y="0"/>
                      </a:lnTo>
                      <a:lnTo>
                        <a:pt x="30175" y="0"/>
                      </a:lnTo>
                      <a:lnTo>
                        <a:pt x="29627" y="1646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30" name="Graphic 7">
                  <a:extLst>
                    <a:ext uri="{FF2B5EF4-FFF2-40B4-BE49-F238E27FC236}">
                      <a16:creationId xmlns:a16="http://schemas.microsoft.com/office/drawing/2014/main" id="{D4846FB8-2498-1602-54E0-B816592F8AFC}"/>
                    </a:ext>
                  </a:extLst>
                </p:cNvPr>
                <p:cNvSpPr/>
                <p:nvPr/>
              </p:nvSpPr>
              <p:spPr>
                <a:xfrm>
                  <a:off x="5005037" y="2523180"/>
                  <a:ext cx="75012" cy="67296"/>
                </a:xfrm>
                <a:custGeom>
                  <a:avLst/>
                  <a:gdLst>
                    <a:gd name="connsiteX0" fmla="*/ 19751 w 96011"/>
                    <a:gd name="connsiteY0" fmla="*/ 24689 h 86136"/>
                    <a:gd name="connsiteX1" fmla="*/ 18654 w 96011"/>
                    <a:gd name="connsiteY1" fmla="*/ 32918 h 86136"/>
                    <a:gd name="connsiteX2" fmla="*/ 14813 w 96011"/>
                    <a:gd name="connsiteY2" fmla="*/ 40051 h 86136"/>
                    <a:gd name="connsiteX3" fmla="*/ 7681 w 96011"/>
                    <a:gd name="connsiteY3" fmla="*/ 40599 h 86136"/>
                    <a:gd name="connsiteX4" fmla="*/ 7681 w 96011"/>
                    <a:gd name="connsiteY4" fmla="*/ 49378 h 86136"/>
                    <a:gd name="connsiteX5" fmla="*/ 0 w 96011"/>
                    <a:gd name="connsiteY5" fmla="*/ 55413 h 86136"/>
                    <a:gd name="connsiteX6" fmla="*/ 10973 w 96011"/>
                    <a:gd name="connsiteY6" fmla="*/ 62545 h 86136"/>
                    <a:gd name="connsiteX7" fmla="*/ 15911 w 96011"/>
                    <a:gd name="connsiteY7" fmla="*/ 74615 h 86136"/>
                    <a:gd name="connsiteX8" fmla="*/ 23591 w 96011"/>
                    <a:gd name="connsiteY8" fmla="*/ 79004 h 86136"/>
                    <a:gd name="connsiteX9" fmla="*/ 32370 w 96011"/>
                    <a:gd name="connsiteY9" fmla="*/ 70775 h 86136"/>
                    <a:gd name="connsiteX10" fmla="*/ 36210 w 96011"/>
                    <a:gd name="connsiteY10" fmla="*/ 63094 h 86136"/>
                    <a:gd name="connsiteX11" fmla="*/ 57059 w 96011"/>
                    <a:gd name="connsiteY11" fmla="*/ 58156 h 86136"/>
                    <a:gd name="connsiteX12" fmla="*/ 66385 w 96011"/>
                    <a:gd name="connsiteY12" fmla="*/ 68031 h 86136"/>
                    <a:gd name="connsiteX13" fmla="*/ 67483 w 96011"/>
                    <a:gd name="connsiteY13" fmla="*/ 82845 h 86136"/>
                    <a:gd name="connsiteX14" fmla="*/ 69129 w 96011"/>
                    <a:gd name="connsiteY14" fmla="*/ 86137 h 86136"/>
                    <a:gd name="connsiteX15" fmla="*/ 70775 w 96011"/>
                    <a:gd name="connsiteY15" fmla="*/ 86137 h 86136"/>
                    <a:gd name="connsiteX16" fmla="*/ 80101 w 96011"/>
                    <a:gd name="connsiteY16" fmla="*/ 80650 h 86136"/>
                    <a:gd name="connsiteX17" fmla="*/ 81747 w 96011"/>
                    <a:gd name="connsiteY17" fmla="*/ 73518 h 86136"/>
                    <a:gd name="connsiteX18" fmla="*/ 90526 w 96011"/>
                    <a:gd name="connsiteY18" fmla="*/ 71323 h 86136"/>
                    <a:gd name="connsiteX19" fmla="*/ 94366 w 96011"/>
                    <a:gd name="connsiteY19" fmla="*/ 66385 h 86136"/>
                    <a:gd name="connsiteX20" fmla="*/ 88880 w 96011"/>
                    <a:gd name="connsiteY20" fmla="*/ 53767 h 86136"/>
                    <a:gd name="connsiteX21" fmla="*/ 94366 w 96011"/>
                    <a:gd name="connsiteY21" fmla="*/ 61996 h 86136"/>
                    <a:gd name="connsiteX22" fmla="*/ 96012 w 96011"/>
                    <a:gd name="connsiteY22" fmla="*/ 53767 h 86136"/>
                    <a:gd name="connsiteX23" fmla="*/ 92720 w 96011"/>
                    <a:gd name="connsiteY23" fmla="*/ 46634 h 86136"/>
                    <a:gd name="connsiteX24" fmla="*/ 88880 w 96011"/>
                    <a:gd name="connsiteY24" fmla="*/ 44440 h 86136"/>
                    <a:gd name="connsiteX25" fmla="*/ 79553 w 96011"/>
                    <a:gd name="connsiteY25" fmla="*/ 46086 h 86136"/>
                    <a:gd name="connsiteX26" fmla="*/ 83393 w 96011"/>
                    <a:gd name="connsiteY26" fmla="*/ 38953 h 86136"/>
                    <a:gd name="connsiteX27" fmla="*/ 82845 w 96011"/>
                    <a:gd name="connsiteY27" fmla="*/ 26883 h 86136"/>
                    <a:gd name="connsiteX28" fmla="*/ 72420 w 96011"/>
                    <a:gd name="connsiteY28" fmla="*/ 10973 h 86136"/>
                    <a:gd name="connsiteX29" fmla="*/ 60899 w 96011"/>
                    <a:gd name="connsiteY29" fmla="*/ 6584 h 86136"/>
                    <a:gd name="connsiteX30" fmla="*/ 43891 w 96011"/>
                    <a:gd name="connsiteY30" fmla="*/ 12070 h 86136"/>
                    <a:gd name="connsiteX31" fmla="*/ 39502 w 96011"/>
                    <a:gd name="connsiteY31" fmla="*/ 16459 h 86136"/>
                    <a:gd name="connsiteX32" fmla="*/ 34564 w 96011"/>
                    <a:gd name="connsiteY32" fmla="*/ 18105 h 86136"/>
                    <a:gd name="connsiteX33" fmla="*/ 33467 w 96011"/>
                    <a:gd name="connsiteY33" fmla="*/ 15911 h 86136"/>
                    <a:gd name="connsiteX34" fmla="*/ 40599 w 96011"/>
                    <a:gd name="connsiteY34" fmla="*/ 7132 h 86136"/>
                    <a:gd name="connsiteX35" fmla="*/ 38405 w 96011"/>
                    <a:gd name="connsiteY35" fmla="*/ 4389 h 86136"/>
                    <a:gd name="connsiteX36" fmla="*/ 33467 w 96011"/>
                    <a:gd name="connsiteY36" fmla="*/ 1097 h 86136"/>
                    <a:gd name="connsiteX37" fmla="*/ 26883 w 96011"/>
                    <a:gd name="connsiteY37" fmla="*/ 0 h 86136"/>
                    <a:gd name="connsiteX38" fmla="*/ 26335 w 96011"/>
                    <a:gd name="connsiteY38" fmla="*/ 3292 h 86136"/>
                    <a:gd name="connsiteX39" fmla="*/ 24140 w 96011"/>
                    <a:gd name="connsiteY39" fmla="*/ 4938 h 86136"/>
                    <a:gd name="connsiteX40" fmla="*/ 23043 w 96011"/>
                    <a:gd name="connsiteY40" fmla="*/ 9327 h 86136"/>
                    <a:gd name="connsiteX41" fmla="*/ 23591 w 96011"/>
                    <a:gd name="connsiteY41" fmla="*/ 18654 h 86136"/>
                    <a:gd name="connsiteX42" fmla="*/ 22494 w 96011"/>
                    <a:gd name="connsiteY42" fmla="*/ 23043 h 86136"/>
                    <a:gd name="connsiteX43" fmla="*/ 19751 w 96011"/>
                    <a:gd name="connsiteY43" fmla="*/ 24689 h 861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</a:cxnLst>
                  <a:rect l="l" t="t" r="r" b="b"/>
                  <a:pathLst>
                    <a:path w="96011" h="86136">
                      <a:moveTo>
                        <a:pt x="19751" y="24689"/>
                      </a:moveTo>
                      <a:lnTo>
                        <a:pt x="18654" y="32918"/>
                      </a:lnTo>
                      <a:lnTo>
                        <a:pt x="14813" y="40051"/>
                      </a:lnTo>
                      <a:lnTo>
                        <a:pt x="7681" y="40599"/>
                      </a:lnTo>
                      <a:lnTo>
                        <a:pt x="7681" y="49378"/>
                      </a:lnTo>
                      <a:lnTo>
                        <a:pt x="0" y="55413"/>
                      </a:lnTo>
                      <a:lnTo>
                        <a:pt x="10973" y="62545"/>
                      </a:lnTo>
                      <a:lnTo>
                        <a:pt x="15911" y="74615"/>
                      </a:lnTo>
                      <a:lnTo>
                        <a:pt x="23591" y="79004"/>
                      </a:lnTo>
                      <a:lnTo>
                        <a:pt x="32370" y="70775"/>
                      </a:lnTo>
                      <a:lnTo>
                        <a:pt x="36210" y="63094"/>
                      </a:lnTo>
                      <a:lnTo>
                        <a:pt x="57059" y="58156"/>
                      </a:lnTo>
                      <a:lnTo>
                        <a:pt x="66385" y="68031"/>
                      </a:lnTo>
                      <a:lnTo>
                        <a:pt x="67483" y="82845"/>
                      </a:lnTo>
                      <a:lnTo>
                        <a:pt x="69129" y="86137"/>
                      </a:lnTo>
                      <a:lnTo>
                        <a:pt x="70775" y="86137"/>
                      </a:lnTo>
                      <a:lnTo>
                        <a:pt x="80101" y="80650"/>
                      </a:lnTo>
                      <a:lnTo>
                        <a:pt x="81747" y="73518"/>
                      </a:lnTo>
                      <a:lnTo>
                        <a:pt x="90526" y="71323"/>
                      </a:lnTo>
                      <a:lnTo>
                        <a:pt x="94366" y="66385"/>
                      </a:lnTo>
                      <a:lnTo>
                        <a:pt x="88880" y="53767"/>
                      </a:lnTo>
                      <a:lnTo>
                        <a:pt x="94366" y="61996"/>
                      </a:lnTo>
                      <a:lnTo>
                        <a:pt x="96012" y="53767"/>
                      </a:lnTo>
                      <a:lnTo>
                        <a:pt x="92720" y="46634"/>
                      </a:lnTo>
                      <a:lnTo>
                        <a:pt x="88880" y="44440"/>
                      </a:lnTo>
                      <a:lnTo>
                        <a:pt x="79553" y="46086"/>
                      </a:lnTo>
                      <a:lnTo>
                        <a:pt x="83393" y="38953"/>
                      </a:lnTo>
                      <a:lnTo>
                        <a:pt x="82845" y="26883"/>
                      </a:lnTo>
                      <a:lnTo>
                        <a:pt x="72420" y="10973"/>
                      </a:lnTo>
                      <a:lnTo>
                        <a:pt x="60899" y="6584"/>
                      </a:lnTo>
                      <a:lnTo>
                        <a:pt x="43891" y="12070"/>
                      </a:lnTo>
                      <a:lnTo>
                        <a:pt x="39502" y="16459"/>
                      </a:lnTo>
                      <a:lnTo>
                        <a:pt x="34564" y="18105"/>
                      </a:lnTo>
                      <a:lnTo>
                        <a:pt x="33467" y="15911"/>
                      </a:lnTo>
                      <a:lnTo>
                        <a:pt x="40599" y="7132"/>
                      </a:lnTo>
                      <a:lnTo>
                        <a:pt x="38405" y="4389"/>
                      </a:lnTo>
                      <a:lnTo>
                        <a:pt x="33467" y="1097"/>
                      </a:lnTo>
                      <a:lnTo>
                        <a:pt x="26883" y="0"/>
                      </a:lnTo>
                      <a:lnTo>
                        <a:pt x="26335" y="3292"/>
                      </a:lnTo>
                      <a:lnTo>
                        <a:pt x="24140" y="4938"/>
                      </a:lnTo>
                      <a:lnTo>
                        <a:pt x="23043" y="9327"/>
                      </a:lnTo>
                      <a:lnTo>
                        <a:pt x="23591" y="18654"/>
                      </a:lnTo>
                      <a:lnTo>
                        <a:pt x="22494" y="23043"/>
                      </a:lnTo>
                      <a:lnTo>
                        <a:pt x="19751" y="24689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31" name="Graphic 7">
                  <a:extLst>
                    <a:ext uri="{FF2B5EF4-FFF2-40B4-BE49-F238E27FC236}">
                      <a16:creationId xmlns:a16="http://schemas.microsoft.com/office/drawing/2014/main" id="{0D08D00B-C1DC-CBE0-5C16-D3C9157371A9}"/>
                    </a:ext>
                  </a:extLst>
                </p:cNvPr>
                <p:cNvSpPr/>
                <p:nvPr/>
              </p:nvSpPr>
              <p:spPr>
                <a:xfrm>
                  <a:off x="5385671" y="1469148"/>
                  <a:ext cx="762983" cy="910436"/>
                </a:xfrm>
                <a:custGeom>
                  <a:avLst/>
                  <a:gdLst>
                    <a:gd name="connsiteX0" fmla="*/ 972190 w 976579"/>
                    <a:gd name="connsiteY0" fmla="*/ 148133 h 1165311"/>
                    <a:gd name="connsiteX1" fmla="*/ 956280 w 976579"/>
                    <a:gd name="connsiteY1" fmla="*/ 144292 h 1165311"/>
                    <a:gd name="connsiteX2" fmla="*/ 954634 w 976579"/>
                    <a:gd name="connsiteY2" fmla="*/ 159106 h 1165311"/>
                    <a:gd name="connsiteX3" fmla="*/ 950793 w 976579"/>
                    <a:gd name="connsiteY3" fmla="*/ 159106 h 1165311"/>
                    <a:gd name="connsiteX4" fmla="*/ 951342 w 976579"/>
                    <a:gd name="connsiteY4" fmla="*/ 156362 h 1165311"/>
                    <a:gd name="connsiteX5" fmla="*/ 944758 w 976579"/>
                    <a:gd name="connsiteY5" fmla="*/ 154168 h 1165311"/>
                    <a:gd name="connsiteX6" fmla="*/ 942015 w 976579"/>
                    <a:gd name="connsiteY6" fmla="*/ 149779 h 1165311"/>
                    <a:gd name="connsiteX7" fmla="*/ 942015 w 976579"/>
                    <a:gd name="connsiteY7" fmla="*/ 158557 h 1165311"/>
                    <a:gd name="connsiteX8" fmla="*/ 940918 w 976579"/>
                    <a:gd name="connsiteY8" fmla="*/ 160203 h 1165311"/>
                    <a:gd name="connsiteX9" fmla="*/ 937626 w 976579"/>
                    <a:gd name="connsiteY9" fmla="*/ 153619 h 1165311"/>
                    <a:gd name="connsiteX10" fmla="*/ 928848 w 976579"/>
                    <a:gd name="connsiteY10" fmla="*/ 154717 h 1165311"/>
                    <a:gd name="connsiteX11" fmla="*/ 921715 w 976579"/>
                    <a:gd name="connsiteY11" fmla="*/ 159106 h 1165311"/>
                    <a:gd name="connsiteX12" fmla="*/ 924459 w 976579"/>
                    <a:gd name="connsiteY12" fmla="*/ 150876 h 1165311"/>
                    <a:gd name="connsiteX13" fmla="*/ 929396 w 976579"/>
                    <a:gd name="connsiteY13" fmla="*/ 146487 h 1165311"/>
                    <a:gd name="connsiteX14" fmla="*/ 934334 w 976579"/>
                    <a:gd name="connsiteY14" fmla="*/ 144841 h 1165311"/>
                    <a:gd name="connsiteX15" fmla="*/ 936529 w 976579"/>
                    <a:gd name="connsiteY15" fmla="*/ 141001 h 1165311"/>
                    <a:gd name="connsiteX16" fmla="*/ 935431 w 976579"/>
                    <a:gd name="connsiteY16" fmla="*/ 137160 h 1165311"/>
                    <a:gd name="connsiteX17" fmla="*/ 931591 w 976579"/>
                    <a:gd name="connsiteY17" fmla="*/ 132222 h 1165311"/>
                    <a:gd name="connsiteX18" fmla="*/ 917875 w 976579"/>
                    <a:gd name="connsiteY18" fmla="*/ 133868 h 1165311"/>
                    <a:gd name="connsiteX19" fmla="*/ 920618 w 976579"/>
                    <a:gd name="connsiteY19" fmla="*/ 130028 h 1165311"/>
                    <a:gd name="connsiteX20" fmla="*/ 916229 w 976579"/>
                    <a:gd name="connsiteY20" fmla="*/ 125639 h 1165311"/>
                    <a:gd name="connsiteX21" fmla="*/ 907451 w 976579"/>
                    <a:gd name="connsiteY21" fmla="*/ 120701 h 1165311"/>
                    <a:gd name="connsiteX22" fmla="*/ 900318 w 976579"/>
                    <a:gd name="connsiteY22" fmla="*/ 113569 h 1165311"/>
                    <a:gd name="connsiteX23" fmla="*/ 890443 w 976579"/>
                    <a:gd name="connsiteY23" fmla="*/ 110825 h 1165311"/>
                    <a:gd name="connsiteX24" fmla="*/ 887700 w 976579"/>
                    <a:gd name="connsiteY24" fmla="*/ 106985 h 1165311"/>
                    <a:gd name="connsiteX25" fmla="*/ 888797 w 976579"/>
                    <a:gd name="connsiteY25" fmla="*/ 104790 h 1165311"/>
                    <a:gd name="connsiteX26" fmla="*/ 888797 w 976579"/>
                    <a:gd name="connsiteY26" fmla="*/ 102047 h 1165311"/>
                    <a:gd name="connsiteX27" fmla="*/ 938723 w 976579"/>
                    <a:gd name="connsiteY27" fmla="*/ 113569 h 1165311"/>
                    <a:gd name="connsiteX28" fmla="*/ 963412 w 976579"/>
                    <a:gd name="connsiteY28" fmla="*/ 93817 h 1165311"/>
                    <a:gd name="connsiteX29" fmla="*/ 971641 w 976579"/>
                    <a:gd name="connsiteY29" fmla="*/ 90526 h 1165311"/>
                    <a:gd name="connsiteX30" fmla="*/ 976579 w 976579"/>
                    <a:gd name="connsiteY30" fmla="*/ 85588 h 1165311"/>
                    <a:gd name="connsiteX31" fmla="*/ 974933 w 976579"/>
                    <a:gd name="connsiteY31" fmla="*/ 76261 h 1165311"/>
                    <a:gd name="connsiteX32" fmla="*/ 967252 w 976579"/>
                    <a:gd name="connsiteY32" fmla="*/ 72421 h 1165311"/>
                    <a:gd name="connsiteX33" fmla="*/ 961217 w 976579"/>
                    <a:gd name="connsiteY33" fmla="*/ 62545 h 1165311"/>
                    <a:gd name="connsiteX34" fmla="*/ 950245 w 976579"/>
                    <a:gd name="connsiteY34" fmla="*/ 61996 h 1165311"/>
                    <a:gd name="connsiteX35" fmla="*/ 944758 w 976579"/>
                    <a:gd name="connsiteY35" fmla="*/ 59253 h 1165311"/>
                    <a:gd name="connsiteX36" fmla="*/ 950793 w 976579"/>
                    <a:gd name="connsiteY36" fmla="*/ 55413 h 1165311"/>
                    <a:gd name="connsiteX37" fmla="*/ 940369 w 976579"/>
                    <a:gd name="connsiteY37" fmla="*/ 49378 h 1165311"/>
                    <a:gd name="connsiteX38" fmla="*/ 936529 w 976579"/>
                    <a:gd name="connsiteY38" fmla="*/ 42794 h 1165311"/>
                    <a:gd name="connsiteX39" fmla="*/ 932139 w 976579"/>
                    <a:gd name="connsiteY39" fmla="*/ 49378 h 1165311"/>
                    <a:gd name="connsiteX40" fmla="*/ 927750 w 976579"/>
                    <a:gd name="connsiteY40" fmla="*/ 51024 h 1165311"/>
                    <a:gd name="connsiteX41" fmla="*/ 927750 w 976579"/>
                    <a:gd name="connsiteY41" fmla="*/ 46086 h 1165311"/>
                    <a:gd name="connsiteX42" fmla="*/ 926104 w 976579"/>
                    <a:gd name="connsiteY42" fmla="*/ 42794 h 1165311"/>
                    <a:gd name="connsiteX43" fmla="*/ 912937 w 976579"/>
                    <a:gd name="connsiteY43" fmla="*/ 47732 h 1165311"/>
                    <a:gd name="connsiteX44" fmla="*/ 911840 w 976579"/>
                    <a:gd name="connsiteY44" fmla="*/ 46086 h 1165311"/>
                    <a:gd name="connsiteX45" fmla="*/ 911291 w 976579"/>
                    <a:gd name="connsiteY45" fmla="*/ 43343 h 1165311"/>
                    <a:gd name="connsiteX46" fmla="*/ 911840 w 976579"/>
                    <a:gd name="connsiteY46" fmla="*/ 40051 h 1165311"/>
                    <a:gd name="connsiteX47" fmla="*/ 911840 w 976579"/>
                    <a:gd name="connsiteY47" fmla="*/ 33467 h 1165311"/>
                    <a:gd name="connsiteX48" fmla="*/ 909097 w 976579"/>
                    <a:gd name="connsiteY48" fmla="*/ 31273 h 1165311"/>
                    <a:gd name="connsiteX49" fmla="*/ 906902 w 976579"/>
                    <a:gd name="connsiteY49" fmla="*/ 26335 h 1165311"/>
                    <a:gd name="connsiteX50" fmla="*/ 900867 w 976579"/>
                    <a:gd name="connsiteY50" fmla="*/ 29078 h 1165311"/>
                    <a:gd name="connsiteX51" fmla="*/ 896478 w 976579"/>
                    <a:gd name="connsiteY51" fmla="*/ 25786 h 1165311"/>
                    <a:gd name="connsiteX52" fmla="*/ 890991 w 976579"/>
                    <a:gd name="connsiteY52" fmla="*/ 27432 h 1165311"/>
                    <a:gd name="connsiteX53" fmla="*/ 884956 w 976579"/>
                    <a:gd name="connsiteY53" fmla="*/ 38405 h 1165311"/>
                    <a:gd name="connsiteX54" fmla="*/ 884956 w 976579"/>
                    <a:gd name="connsiteY54" fmla="*/ 70775 h 1165311"/>
                    <a:gd name="connsiteX55" fmla="*/ 876178 w 976579"/>
                    <a:gd name="connsiteY55" fmla="*/ 74615 h 1165311"/>
                    <a:gd name="connsiteX56" fmla="*/ 870143 w 976579"/>
                    <a:gd name="connsiteY56" fmla="*/ 70226 h 1165311"/>
                    <a:gd name="connsiteX57" fmla="*/ 862462 w 976579"/>
                    <a:gd name="connsiteY57" fmla="*/ 71872 h 1165311"/>
                    <a:gd name="connsiteX58" fmla="*/ 860268 w 976579"/>
                    <a:gd name="connsiteY58" fmla="*/ 68580 h 1165311"/>
                    <a:gd name="connsiteX59" fmla="*/ 867400 w 976579"/>
                    <a:gd name="connsiteY59" fmla="*/ 61996 h 1165311"/>
                    <a:gd name="connsiteX60" fmla="*/ 873984 w 976579"/>
                    <a:gd name="connsiteY60" fmla="*/ 52121 h 1165311"/>
                    <a:gd name="connsiteX61" fmla="*/ 871240 w 976579"/>
                    <a:gd name="connsiteY61" fmla="*/ 46086 h 1165311"/>
                    <a:gd name="connsiteX62" fmla="*/ 860268 w 976579"/>
                    <a:gd name="connsiteY62" fmla="*/ 53218 h 1165311"/>
                    <a:gd name="connsiteX63" fmla="*/ 854233 w 976579"/>
                    <a:gd name="connsiteY63" fmla="*/ 53218 h 1165311"/>
                    <a:gd name="connsiteX64" fmla="*/ 864108 w 976579"/>
                    <a:gd name="connsiteY64" fmla="*/ 44989 h 1165311"/>
                    <a:gd name="connsiteX65" fmla="*/ 858073 w 976579"/>
                    <a:gd name="connsiteY65" fmla="*/ 37308 h 1165311"/>
                    <a:gd name="connsiteX66" fmla="*/ 862462 w 976579"/>
                    <a:gd name="connsiteY66" fmla="*/ 31821 h 1165311"/>
                    <a:gd name="connsiteX67" fmla="*/ 874532 w 976579"/>
                    <a:gd name="connsiteY67" fmla="*/ 33467 h 1165311"/>
                    <a:gd name="connsiteX68" fmla="*/ 879470 w 976579"/>
                    <a:gd name="connsiteY68" fmla="*/ 23592 h 1165311"/>
                    <a:gd name="connsiteX69" fmla="*/ 880019 w 976579"/>
                    <a:gd name="connsiteY69" fmla="*/ 12619 h 1165311"/>
                    <a:gd name="connsiteX70" fmla="*/ 871789 w 976579"/>
                    <a:gd name="connsiteY70" fmla="*/ 12619 h 1165311"/>
                    <a:gd name="connsiteX71" fmla="*/ 872886 w 976579"/>
                    <a:gd name="connsiteY71" fmla="*/ 6035 h 1165311"/>
                    <a:gd name="connsiteX72" fmla="*/ 867949 w 976579"/>
                    <a:gd name="connsiteY72" fmla="*/ 1646 h 1165311"/>
                    <a:gd name="connsiteX73" fmla="*/ 864108 w 976579"/>
                    <a:gd name="connsiteY73" fmla="*/ 1646 h 1165311"/>
                    <a:gd name="connsiteX74" fmla="*/ 855330 w 976579"/>
                    <a:gd name="connsiteY74" fmla="*/ 8778 h 1165311"/>
                    <a:gd name="connsiteX75" fmla="*/ 847649 w 976579"/>
                    <a:gd name="connsiteY75" fmla="*/ 0 h 1165311"/>
                    <a:gd name="connsiteX76" fmla="*/ 833384 w 976579"/>
                    <a:gd name="connsiteY76" fmla="*/ 46086 h 1165311"/>
                    <a:gd name="connsiteX77" fmla="*/ 834481 w 976579"/>
                    <a:gd name="connsiteY77" fmla="*/ 53218 h 1165311"/>
                    <a:gd name="connsiteX78" fmla="*/ 828995 w 976579"/>
                    <a:gd name="connsiteY78" fmla="*/ 53767 h 1165311"/>
                    <a:gd name="connsiteX79" fmla="*/ 826801 w 976579"/>
                    <a:gd name="connsiteY79" fmla="*/ 60350 h 1165311"/>
                    <a:gd name="connsiteX80" fmla="*/ 827349 w 976579"/>
                    <a:gd name="connsiteY80" fmla="*/ 70775 h 1165311"/>
                    <a:gd name="connsiteX81" fmla="*/ 819120 w 976579"/>
                    <a:gd name="connsiteY81" fmla="*/ 70775 h 1165311"/>
                    <a:gd name="connsiteX82" fmla="*/ 809244 w 976579"/>
                    <a:gd name="connsiteY82" fmla="*/ 81199 h 1165311"/>
                    <a:gd name="connsiteX83" fmla="*/ 813633 w 976579"/>
                    <a:gd name="connsiteY83" fmla="*/ 58156 h 1165311"/>
                    <a:gd name="connsiteX84" fmla="*/ 807049 w 976579"/>
                    <a:gd name="connsiteY84" fmla="*/ 48280 h 1165311"/>
                    <a:gd name="connsiteX85" fmla="*/ 813085 w 976579"/>
                    <a:gd name="connsiteY85" fmla="*/ 42245 h 1165311"/>
                    <a:gd name="connsiteX86" fmla="*/ 812536 w 976579"/>
                    <a:gd name="connsiteY86" fmla="*/ 19751 h 1165311"/>
                    <a:gd name="connsiteX87" fmla="*/ 809244 w 976579"/>
                    <a:gd name="connsiteY87" fmla="*/ 18105 h 1165311"/>
                    <a:gd name="connsiteX88" fmla="*/ 804855 w 976579"/>
                    <a:gd name="connsiteY88" fmla="*/ 20848 h 1165311"/>
                    <a:gd name="connsiteX89" fmla="*/ 763158 w 976579"/>
                    <a:gd name="connsiteY89" fmla="*/ 96012 h 1165311"/>
                    <a:gd name="connsiteX90" fmla="*/ 768645 w 976579"/>
                    <a:gd name="connsiteY90" fmla="*/ 89977 h 1165311"/>
                    <a:gd name="connsiteX91" fmla="*/ 753831 w 976579"/>
                    <a:gd name="connsiteY91" fmla="*/ 114666 h 1165311"/>
                    <a:gd name="connsiteX92" fmla="*/ 748345 w 976579"/>
                    <a:gd name="connsiteY92" fmla="*/ 117409 h 1165311"/>
                    <a:gd name="connsiteX93" fmla="*/ 748345 w 976579"/>
                    <a:gd name="connsiteY93" fmla="*/ 100950 h 1165311"/>
                    <a:gd name="connsiteX94" fmla="*/ 751637 w 976579"/>
                    <a:gd name="connsiteY94" fmla="*/ 95463 h 1165311"/>
                    <a:gd name="connsiteX95" fmla="*/ 755477 w 976579"/>
                    <a:gd name="connsiteY95" fmla="*/ 93269 h 1165311"/>
                    <a:gd name="connsiteX96" fmla="*/ 754929 w 976579"/>
                    <a:gd name="connsiteY96" fmla="*/ 88331 h 1165311"/>
                    <a:gd name="connsiteX97" fmla="*/ 757123 w 976579"/>
                    <a:gd name="connsiteY97" fmla="*/ 76261 h 1165311"/>
                    <a:gd name="connsiteX98" fmla="*/ 756026 w 976579"/>
                    <a:gd name="connsiteY98" fmla="*/ 71323 h 1165311"/>
                    <a:gd name="connsiteX99" fmla="*/ 780715 w 976579"/>
                    <a:gd name="connsiteY99" fmla="*/ 29078 h 1165311"/>
                    <a:gd name="connsiteX100" fmla="*/ 774131 w 976579"/>
                    <a:gd name="connsiteY100" fmla="*/ 25237 h 1165311"/>
                    <a:gd name="connsiteX101" fmla="*/ 764256 w 976579"/>
                    <a:gd name="connsiteY101" fmla="*/ 32918 h 1165311"/>
                    <a:gd name="connsiteX102" fmla="*/ 758221 w 976579"/>
                    <a:gd name="connsiteY102" fmla="*/ 34564 h 1165311"/>
                    <a:gd name="connsiteX103" fmla="*/ 757123 w 976579"/>
                    <a:gd name="connsiteY103" fmla="*/ 25786 h 1165311"/>
                    <a:gd name="connsiteX104" fmla="*/ 752734 w 976579"/>
                    <a:gd name="connsiteY104" fmla="*/ 22494 h 1165311"/>
                    <a:gd name="connsiteX105" fmla="*/ 749991 w 976579"/>
                    <a:gd name="connsiteY105" fmla="*/ 18105 h 1165311"/>
                    <a:gd name="connsiteX106" fmla="*/ 749442 w 976579"/>
                    <a:gd name="connsiteY106" fmla="*/ 13167 h 1165311"/>
                    <a:gd name="connsiteX107" fmla="*/ 742859 w 976579"/>
                    <a:gd name="connsiteY107" fmla="*/ 21946 h 1165311"/>
                    <a:gd name="connsiteX108" fmla="*/ 740664 w 976579"/>
                    <a:gd name="connsiteY108" fmla="*/ 17557 h 1165311"/>
                    <a:gd name="connsiteX109" fmla="*/ 735726 w 976579"/>
                    <a:gd name="connsiteY109" fmla="*/ 17557 h 1165311"/>
                    <a:gd name="connsiteX110" fmla="*/ 734629 w 976579"/>
                    <a:gd name="connsiteY110" fmla="*/ 34564 h 1165311"/>
                    <a:gd name="connsiteX111" fmla="*/ 724753 w 976579"/>
                    <a:gd name="connsiteY111" fmla="*/ 31273 h 1165311"/>
                    <a:gd name="connsiteX112" fmla="*/ 729143 w 976579"/>
                    <a:gd name="connsiteY112" fmla="*/ 40599 h 1165311"/>
                    <a:gd name="connsiteX113" fmla="*/ 734629 w 976579"/>
                    <a:gd name="connsiteY113" fmla="*/ 46086 h 1165311"/>
                    <a:gd name="connsiteX114" fmla="*/ 735726 w 976579"/>
                    <a:gd name="connsiteY114" fmla="*/ 49378 h 1165311"/>
                    <a:gd name="connsiteX115" fmla="*/ 725851 w 976579"/>
                    <a:gd name="connsiteY115" fmla="*/ 53767 h 1165311"/>
                    <a:gd name="connsiteX116" fmla="*/ 721462 w 976579"/>
                    <a:gd name="connsiteY116" fmla="*/ 61996 h 1165311"/>
                    <a:gd name="connsiteX117" fmla="*/ 723656 w 976579"/>
                    <a:gd name="connsiteY117" fmla="*/ 71323 h 1165311"/>
                    <a:gd name="connsiteX118" fmla="*/ 706648 w 976579"/>
                    <a:gd name="connsiteY118" fmla="*/ 71323 h 1165311"/>
                    <a:gd name="connsiteX119" fmla="*/ 697870 w 976579"/>
                    <a:gd name="connsiteY119" fmla="*/ 80650 h 1165311"/>
                    <a:gd name="connsiteX120" fmla="*/ 694578 w 976579"/>
                    <a:gd name="connsiteY120" fmla="*/ 88331 h 1165311"/>
                    <a:gd name="connsiteX121" fmla="*/ 685800 w 976579"/>
                    <a:gd name="connsiteY121" fmla="*/ 98207 h 1165311"/>
                    <a:gd name="connsiteX122" fmla="*/ 685251 w 976579"/>
                    <a:gd name="connsiteY122" fmla="*/ 102596 h 1165311"/>
                    <a:gd name="connsiteX123" fmla="*/ 686897 w 976579"/>
                    <a:gd name="connsiteY123" fmla="*/ 108631 h 1165311"/>
                    <a:gd name="connsiteX124" fmla="*/ 684154 w 976579"/>
                    <a:gd name="connsiteY124" fmla="*/ 125639 h 1165311"/>
                    <a:gd name="connsiteX125" fmla="*/ 678668 w 976579"/>
                    <a:gd name="connsiteY125" fmla="*/ 126187 h 1165311"/>
                    <a:gd name="connsiteX126" fmla="*/ 675376 w 976579"/>
                    <a:gd name="connsiteY126" fmla="*/ 122347 h 1165311"/>
                    <a:gd name="connsiteX127" fmla="*/ 675376 w 976579"/>
                    <a:gd name="connsiteY127" fmla="*/ 115763 h 1165311"/>
                    <a:gd name="connsiteX128" fmla="*/ 678668 w 976579"/>
                    <a:gd name="connsiteY128" fmla="*/ 113569 h 1165311"/>
                    <a:gd name="connsiteX129" fmla="*/ 669889 w 976579"/>
                    <a:gd name="connsiteY129" fmla="*/ 110825 h 1165311"/>
                    <a:gd name="connsiteX130" fmla="*/ 674279 w 976579"/>
                    <a:gd name="connsiteY130" fmla="*/ 103693 h 1165311"/>
                    <a:gd name="connsiteX131" fmla="*/ 673730 w 976579"/>
                    <a:gd name="connsiteY131" fmla="*/ 102596 h 1165311"/>
                    <a:gd name="connsiteX132" fmla="*/ 652882 w 976579"/>
                    <a:gd name="connsiteY132" fmla="*/ 99304 h 1165311"/>
                    <a:gd name="connsiteX133" fmla="*/ 655076 w 976579"/>
                    <a:gd name="connsiteY133" fmla="*/ 108631 h 1165311"/>
                    <a:gd name="connsiteX134" fmla="*/ 651784 w 976579"/>
                    <a:gd name="connsiteY134" fmla="*/ 109179 h 1165311"/>
                    <a:gd name="connsiteX135" fmla="*/ 646298 w 976579"/>
                    <a:gd name="connsiteY135" fmla="*/ 106985 h 1165311"/>
                    <a:gd name="connsiteX136" fmla="*/ 646298 w 976579"/>
                    <a:gd name="connsiteY136" fmla="*/ 102596 h 1165311"/>
                    <a:gd name="connsiteX137" fmla="*/ 644103 w 976579"/>
                    <a:gd name="connsiteY137" fmla="*/ 95463 h 1165311"/>
                    <a:gd name="connsiteX138" fmla="*/ 641360 w 976579"/>
                    <a:gd name="connsiteY138" fmla="*/ 97658 h 1165311"/>
                    <a:gd name="connsiteX139" fmla="*/ 640263 w 976579"/>
                    <a:gd name="connsiteY139" fmla="*/ 90526 h 1165311"/>
                    <a:gd name="connsiteX140" fmla="*/ 635874 w 976579"/>
                    <a:gd name="connsiteY140" fmla="*/ 94366 h 1165311"/>
                    <a:gd name="connsiteX141" fmla="*/ 634228 w 976579"/>
                    <a:gd name="connsiteY141" fmla="*/ 90526 h 1165311"/>
                    <a:gd name="connsiteX142" fmla="*/ 630936 w 976579"/>
                    <a:gd name="connsiteY142" fmla="*/ 94366 h 1165311"/>
                    <a:gd name="connsiteX143" fmla="*/ 630387 w 976579"/>
                    <a:gd name="connsiteY143" fmla="*/ 106436 h 1165311"/>
                    <a:gd name="connsiteX144" fmla="*/ 623255 w 976579"/>
                    <a:gd name="connsiteY144" fmla="*/ 92172 h 1165311"/>
                    <a:gd name="connsiteX145" fmla="*/ 621061 w 976579"/>
                    <a:gd name="connsiteY145" fmla="*/ 89977 h 1165311"/>
                    <a:gd name="connsiteX146" fmla="*/ 621061 w 976579"/>
                    <a:gd name="connsiteY146" fmla="*/ 107533 h 1165311"/>
                    <a:gd name="connsiteX147" fmla="*/ 632582 w 976579"/>
                    <a:gd name="connsiteY147" fmla="*/ 114117 h 1165311"/>
                    <a:gd name="connsiteX148" fmla="*/ 636971 w 976579"/>
                    <a:gd name="connsiteY148" fmla="*/ 114117 h 1165311"/>
                    <a:gd name="connsiteX149" fmla="*/ 635325 w 976579"/>
                    <a:gd name="connsiteY149" fmla="*/ 136611 h 1165311"/>
                    <a:gd name="connsiteX150" fmla="*/ 638068 w 976579"/>
                    <a:gd name="connsiteY150" fmla="*/ 144292 h 1165311"/>
                    <a:gd name="connsiteX151" fmla="*/ 638068 w 976579"/>
                    <a:gd name="connsiteY151" fmla="*/ 154168 h 1165311"/>
                    <a:gd name="connsiteX152" fmla="*/ 610088 w 976579"/>
                    <a:gd name="connsiteY152" fmla="*/ 119604 h 1165311"/>
                    <a:gd name="connsiteX153" fmla="*/ 612831 w 976579"/>
                    <a:gd name="connsiteY153" fmla="*/ 133320 h 1165311"/>
                    <a:gd name="connsiteX154" fmla="*/ 608991 w 976579"/>
                    <a:gd name="connsiteY154" fmla="*/ 132771 h 1165311"/>
                    <a:gd name="connsiteX155" fmla="*/ 606796 w 976579"/>
                    <a:gd name="connsiteY155" fmla="*/ 139903 h 1165311"/>
                    <a:gd name="connsiteX156" fmla="*/ 603504 w 976579"/>
                    <a:gd name="connsiteY156" fmla="*/ 139903 h 1165311"/>
                    <a:gd name="connsiteX157" fmla="*/ 601309 w 976579"/>
                    <a:gd name="connsiteY157" fmla="*/ 144841 h 1165311"/>
                    <a:gd name="connsiteX158" fmla="*/ 598018 w 976579"/>
                    <a:gd name="connsiteY158" fmla="*/ 142098 h 1165311"/>
                    <a:gd name="connsiteX159" fmla="*/ 598018 w 976579"/>
                    <a:gd name="connsiteY159" fmla="*/ 137709 h 1165311"/>
                    <a:gd name="connsiteX160" fmla="*/ 600761 w 976579"/>
                    <a:gd name="connsiteY160" fmla="*/ 130028 h 1165311"/>
                    <a:gd name="connsiteX161" fmla="*/ 595275 w 976579"/>
                    <a:gd name="connsiteY161" fmla="*/ 133320 h 1165311"/>
                    <a:gd name="connsiteX162" fmla="*/ 590337 w 976579"/>
                    <a:gd name="connsiteY162" fmla="*/ 139903 h 1165311"/>
                    <a:gd name="connsiteX163" fmla="*/ 587593 w 976579"/>
                    <a:gd name="connsiteY163" fmla="*/ 148681 h 1165311"/>
                    <a:gd name="connsiteX164" fmla="*/ 584302 w 976579"/>
                    <a:gd name="connsiteY164" fmla="*/ 150327 h 1165311"/>
                    <a:gd name="connsiteX165" fmla="*/ 586496 w 976579"/>
                    <a:gd name="connsiteY165" fmla="*/ 165141 h 1165311"/>
                    <a:gd name="connsiteX166" fmla="*/ 576072 w 976579"/>
                    <a:gd name="connsiteY166" fmla="*/ 175016 h 1165311"/>
                    <a:gd name="connsiteX167" fmla="*/ 571134 w 976579"/>
                    <a:gd name="connsiteY167" fmla="*/ 188184 h 1165311"/>
                    <a:gd name="connsiteX168" fmla="*/ 565648 w 976579"/>
                    <a:gd name="connsiteY168" fmla="*/ 194767 h 1165311"/>
                    <a:gd name="connsiteX169" fmla="*/ 572780 w 976579"/>
                    <a:gd name="connsiteY169" fmla="*/ 180503 h 1165311"/>
                    <a:gd name="connsiteX170" fmla="*/ 573877 w 976579"/>
                    <a:gd name="connsiteY170" fmla="*/ 130028 h 1165311"/>
                    <a:gd name="connsiteX171" fmla="*/ 566745 w 976579"/>
                    <a:gd name="connsiteY171" fmla="*/ 133320 h 1165311"/>
                    <a:gd name="connsiteX172" fmla="*/ 555772 w 976579"/>
                    <a:gd name="connsiteY172" fmla="*/ 152522 h 1165311"/>
                    <a:gd name="connsiteX173" fmla="*/ 550286 w 976579"/>
                    <a:gd name="connsiteY173" fmla="*/ 182149 h 1165311"/>
                    <a:gd name="connsiteX174" fmla="*/ 549189 w 976579"/>
                    <a:gd name="connsiteY174" fmla="*/ 145938 h 1165311"/>
                    <a:gd name="connsiteX175" fmla="*/ 532181 w 976579"/>
                    <a:gd name="connsiteY175" fmla="*/ 148681 h 1165311"/>
                    <a:gd name="connsiteX176" fmla="*/ 525597 w 976579"/>
                    <a:gd name="connsiteY176" fmla="*/ 160752 h 1165311"/>
                    <a:gd name="connsiteX177" fmla="*/ 526695 w 976579"/>
                    <a:gd name="connsiteY177" fmla="*/ 178308 h 1165311"/>
                    <a:gd name="connsiteX178" fmla="*/ 533278 w 976579"/>
                    <a:gd name="connsiteY178" fmla="*/ 187635 h 1165311"/>
                    <a:gd name="connsiteX179" fmla="*/ 538765 w 976579"/>
                    <a:gd name="connsiteY179" fmla="*/ 189829 h 1165311"/>
                    <a:gd name="connsiteX180" fmla="*/ 543702 w 976579"/>
                    <a:gd name="connsiteY180" fmla="*/ 199156 h 1165311"/>
                    <a:gd name="connsiteX181" fmla="*/ 543154 w 976579"/>
                    <a:gd name="connsiteY181" fmla="*/ 206289 h 1165311"/>
                    <a:gd name="connsiteX182" fmla="*/ 537667 w 976579"/>
                    <a:gd name="connsiteY182" fmla="*/ 205740 h 1165311"/>
                    <a:gd name="connsiteX183" fmla="*/ 533278 w 976579"/>
                    <a:gd name="connsiteY183" fmla="*/ 194767 h 1165311"/>
                    <a:gd name="connsiteX184" fmla="*/ 525597 w 976579"/>
                    <a:gd name="connsiteY184" fmla="*/ 189829 h 1165311"/>
                    <a:gd name="connsiteX185" fmla="*/ 514076 w 976579"/>
                    <a:gd name="connsiteY185" fmla="*/ 172273 h 1165311"/>
                    <a:gd name="connsiteX186" fmla="*/ 505846 w 976579"/>
                    <a:gd name="connsiteY186" fmla="*/ 173919 h 1165311"/>
                    <a:gd name="connsiteX187" fmla="*/ 510235 w 976579"/>
                    <a:gd name="connsiteY187" fmla="*/ 185989 h 1165311"/>
                    <a:gd name="connsiteX188" fmla="*/ 519562 w 976579"/>
                    <a:gd name="connsiteY188" fmla="*/ 194767 h 1165311"/>
                    <a:gd name="connsiteX189" fmla="*/ 512979 w 976579"/>
                    <a:gd name="connsiteY189" fmla="*/ 200802 h 1165311"/>
                    <a:gd name="connsiteX190" fmla="*/ 507492 w 976579"/>
                    <a:gd name="connsiteY190" fmla="*/ 195865 h 1165311"/>
                    <a:gd name="connsiteX191" fmla="*/ 504200 w 976579"/>
                    <a:gd name="connsiteY191" fmla="*/ 200254 h 1165311"/>
                    <a:gd name="connsiteX192" fmla="*/ 503103 w 976579"/>
                    <a:gd name="connsiteY192" fmla="*/ 191475 h 1165311"/>
                    <a:gd name="connsiteX193" fmla="*/ 497616 w 976579"/>
                    <a:gd name="connsiteY193" fmla="*/ 195316 h 1165311"/>
                    <a:gd name="connsiteX194" fmla="*/ 497068 w 976579"/>
                    <a:gd name="connsiteY194" fmla="*/ 192024 h 1165311"/>
                    <a:gd name="connsiteX195" fmla="*/ 499263 w 976579"/>
                    <a:gd name="connsiteY195" fmla="*/ 182149 h 1165311"/>
                    <a:gd name="connsiteX196" fmla="*/ 495422 w 976579"/>
                    <a:gd name="connsiteY196" fmla="*/ 178308 h 1165311"/>
                    <a:gd name="connsiteX197" fmla="*/ 488838 w 976579"/>
                    <a:gd name="connsiteY197" fmla="*/ 198608 h 1165311"/>
                    <a:gd name="connsiteX198" fmla="*/ 489387 w 976579"/>
                    <a:gd name="connsiteY198" fmla="*/ 204643 h 1165311"/>
                    <a:gd name="connsiteX199" fmla="*/ 493227 w 976579"/>
                    <a:gd name="connsiteY199" fmla="*/ 209581 h 1165311"/>
                    <a:gd name="connsiteX200" fmla="*/ 472928 w 976579"/>
                    <a:gd name="connsiteY200" fmla="*/ 222199 h 1165311"/>
                    <a:gd name="connsiteX201" fmla="*/ 470184 w 976579"/>
                    <a:gd name="connsiteY201" fmla="*/ 234818 h 1165311"/>
                    <a:gd name="connsiteX202" fmla="*/ 471831 w 976579"/>
                    <a:gd name="connsiteY202" fmla="*/ 239756 h 1165311"/>
                    <a:gd name="connsiteX203" fmla="*/ 477865 w 976579"/>
                    <a:gd name="connsiteY203" fmla="*/ 237561 h 1165311"/>
                    <a:gd name="connsiteX204" fmla="*/ 481706 w 976579"/>
                    <a:gd name="connsiteY204" fmla="*/ 243596 h 1165311"/>
                    <a:gd name="connsiteX205" fmla="*/ 474025 w 976579"/>
                    <a:gd name="connsiteY205" fmla="*/ 243048 h 1165311"/>
                    <a:gd name="connsiteX206" fmla="*/ 476220 w 976579"/>
                    <a:gd name="connsiteY206" fmla="*/ 250180 h 1165311"/>
                    <a:gd name="connsiteX207" fmla="*/ 476220 w 976579"/>
                    <a:gd name="connsiteY207" fmla="*/ 255118 h 1165311"/>
                    <a:gd name="connsiteX208" fmla="*/ 467441 w 976579"/>
                    <a:gd name="connsiteY208" fmla="*/ 251826 h 1165311"/>
                    <a:gd name="connsiteX209" fmla="*/ 464698 w 976579"/>
                    <a:gd name="connsiteY209" fmla="*/ 252923 h 1165311"/>
                    <a:gd name="connsiteX210" fmla="*/ 469636 w 976579"/>
                    <a:gd name="connsiteY210" fmla="*/ 258409 h 1165311"/>
                    <a:gd name="connsiteX211" fmla="*/ 465795 w 976579"/>
                    <a:gd name="connsiteY211" fmla="*/ 262250 h 1165311"/>
                    <a:gd name="connsiteX212" fmla="*/ 458115 w 976579"/>
                    <a:gd name="connsiteY212" fmla="*/ 259507 h 1165311"/>
                    <a:gd name="connsiteX213" fmla="*/ 456468 w 976579"/>
                    <a:gd name="connsiteY213" fmla="*/ 263896 h 1165311"/>
                    <a:gd name="connsiteX214" fmla="*/ 450982 w 976579"/>
                    <a:gd name="connsiteY214" fmla="*/ 262250 h 1165311"/>
                    <a:gd name="connsiteX215" fmla="*/ 440558 w 976579"/>
                    <a:gd name="connsiteY215" fmla="*/ 266639 h 1165311"/>
                    <a:gd name="connsiteX216" fmla="*/ 436717 w 976579"/>
                    <a:gd name="connsiteY216" fmla="*/ 273223 h 1165311"/>
                    <a:gd name="connsiteX217" fmla="*/ 432877 w 976579"/>
                    <a:gd name="connsiteY217" fmla="*/ 275417 h 1165311"/>
                    <a:gd name="connsiteX218" fmla="*/ 431780 w 976579"/>
                    <a:gd name="connsiteY218" fmla="*/ 278161 h 1165311"/>
                    <a:gd name="connsiteX219" fmla="*/ 438912 w 976579"/>
                    <a:gd name="connsiteY219" fmla="*/ 283098 h 1165311"/>
                    <a:gd name="connsiteX220" fmla="*/ 445496 w 976579"/>
                    <a:gd name="connsiteY220" fmla="*/ 280904 h 1165311"/>
                    <a:gd name="connsiteX221" fmla="*/ 449336 w 976579"/>
                    <a:gd name="connsiteY221" fmla="*/ 276515 h 1165311"/>
                    <a:gd name="connsiteX222" fmla="*/ 460309 w 976579"/>
                    <a:gd name="connsiteY222" fmla="*/ 283647 h 1165311"/>
                    <a:gd name="connsiteX223" fmla="*/ 468539 w 976579"/>
                    <a:gd name="connsiteY223" fmla="*/ 278161 h 1165311"/>
                    <a:gd name="connsiteX224" fmla="*/ 470733 w 976579"/>
                    <a:gd name="connsiteY224" fmla="*/ 280355 h 1165311"/>
                    <a:gd name="connsiteX225" fmla="*/ 472928 w 976579"/>
                    <a:gd name="connsiteY225" fmla="*/ 285841 h 1165311"/>
                    <a:gd name="connsiteX226" fmla="*/ 465795 w 976579"/>
                    <a:gd name="connsiteY226" fmla="*/ 285841 h 1165311"/>
                    <a:gd name="connsiteX227" fmla="*/ 462504 w 976579"/>
                    <a:gd name="connsiteY227" fmla="*/ 290779 h 1165311"/>
                    <a:gd name="connsiteX228" fmla="*/ 461406 w 976579"/>
                    <a:gd name="connsiteY228" fmla="*/ 300106 h 1165311"/>
                    <a:gd name="connsiteX229" fmla="*/ 450982 w 976579"/>
                    <a:gd name="connsiteY229" fmla="*/ 294620 h 1165311"/>
                    <a:gd name="connsiteX230" fmla="*/ 443301 w 976579"/>
                    <a:gd name="connsiteY230" fmla="*/ 294071 h 1165311"/>
                    <a:gd name="connsiteX231" fmla="*/ 441655 w 976579"/>
                    <a:gd name="connsiteY231" fmla="*/ 290231 h 1165311"/>
                    <a:gd name="connsiteX232" fmla="*/ 433426 w 976579"/>
                    <a:gd name="connsiteY232" fmla="*/ 288036 h 1165311"/>
                    <a:gd name="connsiteX233" fmla="*/ 424099 w 976579"/>
                    <a:gd name="connsiteY233" fmla="*/ 294071 h 1165311"/>
                    <a:gd name="connsiteX234" fmla="*/ 421356 w 976579"/>
                    <a:gd name="connsiteY234" fmla="*/ 299557 h 1165311"/>
                    <a:gd name="connsiteX235" fmla="*/ 427939 w 976579"/>
                    <a:gd name="connsiteY235" fmla="*/ 310530 h 1165311"/>
                    <a:gd name="connsiteX236" fmla="*/ 428488 w 976579"/>
                    <a:gd name="connsiteY236" fmla="*/ 316017 h 1165311"/>
                    <a:gd name="connsiteX237" fmla="*/ 424099 w 976579"/>
                    <a:gd name="connsiteY237" fmla="*/ 315468 h 1165311"/>
                    <a:gd name="connsiteX238" fmla="*/ 427391 w 976579"/>
                    <a:gd name="connsiteY238" fmla="*/ 325344 h 1165311"/>
                    <a:gd name="connsiteX239" fmla="*/ 427939 w 976579"/>
                    <a:gd name="connsiteY239" fmla="*/ 333025 h 1165311"/>
                    <a:gd name="connsiteX240" fmla="*/ 422453 w 976579"/>
                    <a:gd name="connsiteY240" fmla="*/ 330830 h 1165311"/>
                    <a:gd name="connsiteX241" fmla="*/ 422453 w 976579"/>
                    <a:gd name="connsiteY241" fmla="*/ 338511 h 1165311"/>
                    <a:gd name="connsiteX242" fmla="*/ 417515 w 976579"/>
                    <a:gd name="connsiteY242" fmla="*/ 339608 h 1165311"/>
                    <a:gd name="connsiteX243" fmla="*/ 413675 w 976579"/>
                    <a:gd name="connsiteY243" fmla="*/ 313273 h 1165311"/>
                    <a:gd name="connsiteX244" fmla="*/ 408188 w 976579"/>
                    <a:gd name="connsiteY244" fmla="*/ 314371 h 1165311"/>
                    <a:gd name="connsiteX245" fmla="*/ 405994 w 976579"/>
                    <a:gd name="connsiteY245" fmla="*/ 323698 h 1165311"/>
                    <a:gd name="connsiteX246" fmla="*/ 401056 w 976579"/>
                    <a:gd name="connsiteY246" fmla="*/ 322052 h 1165311"/>
                    <a:gd name="connsiteX247" fmla="*/ 398861 w 976579"/>
                    <a:gd name="connsiteY247" fmla="*/ 325344 h 1165311"/>
                    <a:gd name="connsiteX248" fmla="*/ 405994 w 976579"/>
                    <a:gd name="connsiteY248" fmla="*/ 328087 h 1165311"/>
                    <a:gd name="connsiteX249" fmla="*/ 404348 w 976579"/>
                    <a:gd name="connsiteY249" fmla="*/ 330830 h 1165311"/>
                    <a:gd name="connsiteX250" fmla="*/ 398313 w 976579"/>
                    <a:gd name="connsiteY250" fmla="*/ 331927 h 1165311"/>
                    <a:gd name="connsiteX251" fmla="*/ 393924 w 976579"/>
                    <a:gd name="connsiteY251" fmla="*/ 335768 h 1165311"/>
                    <a:gd name="connsiteX252" fmla="*/ 391729 w 976579"/>
                    <a:gd name="connsiteY252" fmla="*/ 341803 h 1165311"/>
                    <a:gd name="connsiteX253" fmla="*/ 392826 w 976579"/>
                    <a:gd name="connsiteY253" fmla="*/ 348386 h 1165311"/>
                    <a:gd name="connsiteX254" fmla="*/ 398313 w 976579"/>
                    <a:gd name="connsiteY254" fmla="*/ 352776 h 1165311"/>
                    <a:gd name="connsiteX255" fmla="*/ 393375 w 976579"/>
                    <a:gd name="connsiteY255" fmla="*/ 355519 h 1165311"/>
                    <a:gd name="connsiteX256" fmla="*/ 397215 w 976579"/>
                    <a:gd name="connsiteY256" fmla="*/ 359359 h 1165311"/>
                    <a:gd name="connsiteX257" fmla="*/ 392826 w 976579"/>
                    <a:gd name="connsiteY257" fmla="*/ 361005 h 1165311"/>
                    <a:gd name="connsiteX258" fmla="*/ 390083 w 976579"/>
                    <a:gd name="connsiteY258" fmla="*/ 369235 h 1165311"/>
                    <a:gd name="connsiteX259" fmla="*/ 387340 w 976579"/>
                    <a:gd name="connsiteY259" fmla="*/ 370881 h 1165311"/>
                    <a:gd name="connsiteX260" fmla="*/ 383499 w 976579"/>
                    <a:gd name="connsiteY260" fmla="*/ 370881 h 1165311"/>
                    <a:gd name="connsiteX261" fmla="*/ 384597 w 976579"/>
                    <a:gd name="connsiteY261" fmla="*/ 373624 h 1165311"/>
                    <a:gd name="connsiteX262" fmla="*/ 391180 w 976579"/>
                    <a:gd name="connsiteY262" fmla="*/ 375818 h 1165311"/>
                    <a:gd name="connsiteX263" fmla="*/ 404348 w 976579"/>
                    <a:gd name="connsiteY263" fmla="*/ 370881 h 1165311"/>
                    <a:gd name="connsiteX264" fmla="*/ 390632 w 976579"/>
                    <a:gd name="connsiteY264" fmla="*/ 384597 h 1165311"/>
                    <a:gd name="connsiteX265" fmla="*/ 378013 w 976579"/>
                    <a:gd name="connsiteY265" fmla="*/ 381305 h 1165311"/>
                    <a:gd name="connsiteX266" fmla="*/ 375270 w 976579"/>
                    <a:gd name="connsiteY266" fmla="*/ 378562 h 1165311"/>
                    <a:gd name="connsiteX267" fmla="*/ 374721 w 976579"/>
                    <a:gd name="connsiteY267" fmla="*/ 373624 h 1165311"/>
                    <a:gd name="connsiteX268" fmla="*/ 369235 w 976579"/>
                    <a:gd name="connsiteY268" fmla="*/ 374721 h 1165311"/>
                    <a:gd name="connsiteX269" fmla="*/ 361554 w 976579"/>
                    <a:gd name="connsiteY269" fmla="*/ 381305 h 1165311"/>
                    <a:gd name="connsiteX270" fmla="*/ 358262 w 976579"/>
                    <a:gd name="connsiteY270" fmla="*/ 392278 h 1165311"/>
                    <a:gd name="connsiteX271" fmla="*/ 351678 w 976579"/>
                    <a:gd name="connsiteY271" fmla="*/ 398313 h 1165311"/>
                    <a:gd name="connsiteX272" fmla="*/ 351130 w 976579"/>
                    <a:gd name="connsiteY272" fmla="*/ 404348 h 1165311"/>
                    <a:gd name="connsiteX273" fmla="*/ 355519 w 976579"/>
                    <a:gd name="connsiteY273" fmla="*/ 404348 h 1165311"/>
                    <a:gd name="connsiteX274" fmla="*/ 353873 w 976579"/>
                    <a:gd name="connsiteY274" fmla="*/ 413126 h 1165311"/>
                    <a:gd name="connsiteX275" fmla="*/ 347838 w 976579"/>
                    <a:gd name="connsiteY275" fmla="*/ 415321 h 1165311"/>
                    <a:gd name="connsiteX276" fmla="*/ 345095 w 976579"/>
                    <a:gd name="connsiteY276" fmla="*/ 428488 h 1165311"/>
                    <a:gd name="connsiteX277" fmla="*/ 340157 w 976579"/>
                    <a:gd name="connsiteY277" fmla="*/ 427391 h 1165311"/>
                    <a:gd name="connsiteX278" fmla="*/ 336316 w 976579"/>
                    <a:gd name="connsiteY278" fmla="*/ 429585 h 1165311"/>
                    <a:gd name="connsiteX279" fmla="*/ 331379 w 976579"/>
                    <a:gd name="connsiteY279" fmla="*/ 430682 h 1165311"/>
                    <a:gd name="connsiteX280" fmla="*/ 325892 w 976579"/>
                    <a:gd name="connsiteY280" fmla="*/ 437815 h 1165311"/>
                    <a:gd name="connsiteX281" fmla="*/ 329733 w 976579"/>
                    <a:gd name="connsiteY281" fmla="*/ 444398 h 1165311"/>
                    <a:gd name="connsiteX282" fmla="*/ 327538 w 976579"/>
                    <a:gd name="connsiteY282" fmla="*/ 447690 h 1165311"/>
                    <a:gd name="connsiteX283" fmla="*/ 319857 w 976579"/>
                    <a:gd name="connsiteY283" fmla="*/ 449336 h 1165311"/>
                    <a:gd name="connsiteX284" fmla="*/ 319857 w 976579"/>
                    <a:gd name="connsiteY284" fmla="*/ 455920 h 1165311"/>
                    <a:gd name="connsiteX285" fmla="*/ 312176 w 976579"/>
                    <a:gd name="connsiteY285" fmla="*/ 457017 h 1165311"/>
                    <a:gd name="connsiteX286" fmla="*/ 313822 w 976579"/>
                    <a:gd name="connsiteY286" fmla="*/ 460858 h 1165311"/>
                    <a:gd name="connsiteX287" fmla="*/ 310530 w 976579"/>
                    <a:gd name="connsiteY287" fmla="*/ 463052 h 1165311"/>
                    <a:gd name="connsiteX288" fmla="*/ 309433 w 976579"/>
                    <a:gd name="connsiteY288" fmla="*/ 469087 h 1165311"/>
                    <a:gd name="connsiteX289" fmla="*/ 318211 w 976579"/>
                    <a:gd name="connsiteY289" fmla="*/ 471282 h 1165311"/>
                    <a:gd name="connsiteX290" fmla="*/ 316017 w 976579"/>
                    <a:gd name="connsiteY290" fmla="*/ 475122 h 1165311"/>
                    <a:gd name="connsiteX291" fmla="*/ 310530 w 976579"/>
                    <a:gd name="connsiteY291" fmla="*/ 478414 h 1165311"/>
                    <a:gd name="connsiteX292" fmla="*/ 306141 w 976579"/>
                    <a:gd name="connsiteY292" fmla="*/ 475671 h 1165311"/>
                    <a:gd name="connsiteX293" fmla="*/ 306690 w 976579"/>
                    <a:gd name="connsiteY293" fmla="*/ 487192 h 1165311"/>
                    <a:gd name="connsiteX294" fmla="*/ 311079 w 976579"/>
                    <a:gd name="connsiteY294" fmla="*/ 492679 h 1165311"/>
                    <a:gd name="connsiteX295" fmla="*/ 313822 w 976579"/>
                    <a:gd name="connsiteY295" fmla="*/ 487741 h 1165311"/>
                    <a:gd name="connsiteX296" fmla="*/ 317114 w 976579"/>
                    <a:gd name="connsiteY296" fmla="*/ 490484 h 1165311"/>
                    <a:gd name="connsiteX297" fmla="*/ 315468 w 976579"/>
                    <a:gd name="connsiteY297" fmla="*/ 497068 h 1165311"/>
                    <a:gd name="connsiteX298" fmla="*/ 301203 w 976579"/>
                    <a:gd name="connsiteY298" fmla="*/ 499262 h 1165311"/>
                    <a:gd name="connsiteX299" fmla="*/ 298460 w 976579"/>
                    <a:gd name="connsiteY299" fmla="*/ 502006 h 1165311"/>
                    <a:gd name="connsiteX300" fmla="*/ 297363 w 976579"/>
                    <a:gd name="connsiteY300" fmla="*/ 511881 h 1165311"/>
                    <a:gd name="connsiteX301" fmla="*/ 291876 w 976579"/>
                    <a:gd name="connsiteY301" fmla="*/ 516270 h 1165311"/>
                    <a:gd name="connsiteX302" fmla="*/ 285841 w 976579"/>
                    <a:gd name="connsiteY302" fmla="*/ 518465 h 1165311"/>
                    <a:gd name="connsiteX303" fmla="*/ 282550 w 976579"/>
                    <a:gd name="connsiteY303" fmla="*/ 528340 h 1165311"/>
                    <a:gd name="connsiteX304" fmla="*/ 288036 w 976579"/>
                    <a:gd name="connsiteY304" fmla="*/ 527243 h 1165311"/>
                    <a:gd name="connsiteX305" fmla="*/ 293522 w 976579"/>
                    <a:gd name="connsiteY305" fmla="*/ 521208 h 1165311"/>
                    <a:gd name="connsiteX306" fmla="*/ 300655 w 976579"/>
                    <a:gd name="connsiteY306" fmla="*/ 517916 h 1165311"/>
                    <a:gd name="connsiteX307" fmla="*/ 300655 w 976579"/>
                    <a:gd name="connsiteY307" fmla="*/ 524500 h 1165311"/>
                    <a:gd name="connsiteX308" fmla="*/ 305592 w 976579"/>
                    <a:gd name="connsiteY308" fmla="*/ 533827 h 1165311"/>
                    <a:gd name="connsiteX309" fmla="*/ 291876 w 976579"/>
                    <a:gd name="connsiteY309" fmla="*/ 528889 h 1165311"/>
                    <a:gd name="connsiteX310" fmla="*/ 290779 w 976579"/>
                    <a:gd name="connsiteY310" fmla="*/ 534924 h 1165311"/>
                    <a:gd name="connsiteX311" fmla="*/ 293522 w 976579"/>
                    <a:gd name="connsiteY311" fmla="*/ 537119 h 1165311"/>
                    <a:gd name="connsiteX312" fmla="*/ 289133 w 976579"/>
                    <a:gd name="connsiteY312" fmla="*/ 540959 h 1165311"/>
                    <a:gd name="connsiteX313" fmla="*/ 287487 w 976579"/>
                    <a:gd name="connsiteY313" fmla="*/ 545348 h 1165311"/>
                    <a:gd name="connsiteX314" fmla="*/ 289133 w 976579"/>
                    <a:gd name="connsiteY314" fmla="*/ 551932 h 1165311"/>
                    <a:gd name="connsiteX315" fmla="*/ 286939 w 976579"/>
                    <a:gd name="connsiteY315" fmla="*/ 553029 h 1165311"/>
                    <a:gd name="connsiteX316" fmla="*/ 282550 w 976579"/>
                    <a:gd name="connsiteY316" fmla="*/ 550835 h 1165311"/>
                    <a:gd name="connsiteX317" fmla="*/ 279806 w 976579"/>
                    <a:gd name="connsiteY317" fmla="*/ 554675 h 1165311"/>
                    <a:gd name="connsiteX318" fmla="*/ 282001 w 976579"/>
                    <a:gd name="connsiteY318" fmla="*/ 561807 h 1165311"/>
                    <a:gd name="connsiteX319" fmla="*/ 285841 w 976579"/>
                    <a:gd name="connsiteY319" fmla="*/ 565099 h 1165311"/>
                    <a:gd name="connsiteX320" fmla="*/ 287487 w 976579"/>
                    <a:gd name="connsiteY320" fmla="*/ 578267 h 1165311"/>
                    <a:gd name="connsiteX321" fmla="*/ 282550 w 976579"/>
                    <a:gd name="connsiteY321" fmla="*/ 572780 h 1165311"/>
                    <a:gd name="connsiteX322" fmla="*/ 277612 w 976579"/>
                    <a:gd name="connsiteY322" fmla="*/ 571134 h 1165311"/>
                    <a:gd name="connsiteX323" fmla="*/ 273771 w 976579"/>
                    <a:gd name="connsiteY323" fmla="*/ 562356 h 1165311"/>
                    <a:gd name="connsiteX324" fmla="*/ 274320 w 976579"/>
                    <a:gd name="connsiteY324" fmla="*/ 573878 h 1165311"/>
                    <a:gd name="connsiteX325" fmla="*/ 272125 w 976579"/>
                    <a:gd name="connsiteY325" fmla="*/ 577718 h 1165311"/>
                    <a:gd name="connsiteX326" fmla="*/ 267188 w 976579"/>
                    <a:gd name="connsiteY326" fmla="*/ 579364 h 1165311"/>
                    <a:gd name="connsiteX327" fmla="*/ 264993 w 976579"/>
                    <a:gd name="connsiteY327" fmla="*/ 585948 h 1165311"/>
                    <a:gd name="connsiteX328" fmla="*/ 268834 w 976579"/>
                    <a:gd name="connsiteY328" fmla="*/ 588142 h 1165311"/>
                    <a:gd name="connsiteX329" fmla="*/ 272674 w 976579"/>
                    <a:gd name="connsiteY329" fmla="*/ 585948 h 1165311"/>
                    <a:gd name="connsiteX330" fmla="*/ 275417 w 976579"/>
                    <a:gd name="connsiteY330" fmla="*/ 580461 h 1165311"/>
                    <a:gd name="connsiteX331" fmla="*/ 277063 w 976579"/>
                    <a:gd name="connsiteY331" fmla="*/ 583204 h 1165311"/>
                    <a:gd name="connsiteX332" fmla="*/ 275966 w 976579"/>
                    <a:gd name="connsiteY332" fmla="*/ 590885 h 1165311"/>
                    <a:gd name="connsiteX333" fmla="*/ 277063 w 976579"/>
                    <a:gd name="connsiteY333" fmla="*/ 596372 h 1165311"/>
                    <a:gd name="connsiteX334" fmla="*/ 272674 w 976579"/>
                    <a:gd name="connsiteY334" fmla="*/ 600761 h 1165311"/>
                    <a:gd name="connsiteX335" fmla="*/ 264993 w 976579"/>
                    <a:gd name="connsiteY335" fmla="*/ 596920 h 1165311"/>
                    <a:gd name="connsiteX336" fmla="*/ 261701 w 976579"/>
                    <a:gd name="connsiteY336" fmla="*/ 602407 h 1165311"/>
                    <a:gd name="connsiteX337" fmla="*/ 257312 w 976579"/>
                    <a:gd name="connsiteY337" fmla="*/ 599664 h 1165311"/>
                    <a:gd name="connsiteX338" fmla="*/ 251826 w 976579"/>
                    <a:gd name="connsiteY338" fmla="*/ 606796 h 1165311"/>
                    <a:gd name="connsiteX339" fmla="*/ 251277 w 976579"/>
                    <a:gd name="connsiteY339" fmla="*/ 612831 h 1165311"/>
                    <a:gd name="connsiteX340" fmla="*/ 246339 w 976579"/>
                    <a:gd name="connsiteY340" fmla="*/ 617220 h 1165311"/>
                    <a:gd name="connsiteX341" fmla="*/ 240304 w 976579"/>
                    <a:gd name="connsiteY341" fmla="*/ 618866 h 1165311"/>
                    <a:gd name="connsiteX342" fmla="*/ 237561 w 976579"/>
                    <a:gd name="connsiteY342" fmla="*/ 633131 h 1165311"/>
                    <a:gd name="connsiteX343" fmla="*/ 244145 w 976579"/>
                    <a:gd name="connsiteY343" fmla="*/ 630936 h 1165311"/>
                    <a:gd name="connsiteX344" fmla="*/ 250180 w 976579"/>
                    <a:gd name="connsiteY344" fmla="*/ 627096 h 1165311"/>
                    <a:gd name="connsiteX345" fmla="*/ 252923 w 976579"/>
                    <a:gd name="connsiteY345" fmla="*/ 629839 h 1165311"/>
                    <a:gd name="connsiteX346" fmla="*/ 241402 w 976579"/>
                    <a:gd name="connsiteY346" fmla="*/ 634228 h 1165311"/>
                    <a:gd name="connsiteX347" fmla="*/ 240853 w 976579"/>
                    <a:gd name="connsiteY347" fmla="*/ 641360 h 1165311"/>
                    <a:gd name="connsiteX348" fmla="*/ 243048 w 976579"/>
                    <a:gd name="connsiteY348" fmla="*/ 649041 h 1165311"/>
                    <a:gd name="connsiteX349" fmla="*/ 240304 w 976579"/>
                    <a:gd name="connsiteY349" fmla="*/ 653979 h 1165311"/>
                    <a:gd name="connsiteX350" fmla="*/ 233172 w 976579"/>
                    <a:gd name="connsiteY350" fmla="*/ 656174 h 1165311"/>
                    <a:gd name="connsiteX351" fmla="*/ 223845 w 976579"/>
                    <a:gd name="connsiteY351" fmla="*/ 647944 h 1165311"/>
                    <a:gd name="connsiteX352" fmla="*/ 221651 w 976579"/>
                    <a:gd name="connsiteY352" fmla="*/ 647944 h 1165311"/>
                    <a:gd name="connsiteX353" fmla="*/ 215616 w 976579"/>
                    <a:gd name="connsiteY353" fmla="*/ 658368 h 1165311"/>
                    <a:gd name="connsiteX354" fmla="*/ 208483 w 976579"/>
                    <a:gd name="connsiteY354" fmla="*/ 663306 h 1165311"/>
                    <a:gd name="connsiteX355" fmla="*/ 207935 w 976579"/>
                    <a:gd name="connsiteY355" fmla="*/ 667695 h 1165311"/>
                    <a:gd name="connsiteX356" fmla="*/ 189829 w 976579"/>
                    <a:gd name="connsiteY356" fmla="*/ 692932 h 1165311"/>
                    <a:gd name="connsiteX357" fmla="*/ 192024 w 976579"/>
                    <a:gd name="connsiteY357" fmla="*/ 700065 h 1165311"/>
                    <a:gd name="connsiteX358" fmla="*/ 192024 w 976579"/>
                    <a:gd name="connsiteY358" fmla="*/ 702259 h 1165311"/>
                    <a:gd name="connsiteX359" fmla="*/ 176662 w 976579"/>
                    <a:gd name="connsiteY359" fmla="*/ 711038 h 1165311"/>
                    <a:gd name="connsiteX360" fmla="*/ 176113 w 976579"/>
                    <a:gd name="connsiteY360" fmla="*/ 717621 h 1165311"/>
                    <a:gd name="connsiteX361" fmla="*/ 179954 w 976579"/>
                    <a:gd name="connsiteY361" fmla="*/ 721462 h 1165311"/>
                    <a:gd name="connsiteX362" fmla="*/ 187635 w 976579"/>
                    <a:gd name="connsiteY362" fmla="*/ 717621 h 1165311"/>
                    <a:gd name="connsiteX363" fmla="*/ 184343 w 976579"/>
                    <a:gd name="connsiteY363" fmla="*/ 728045 h 1165311"/>
                    <a:gd name="connsiteX364" fmla="*/ 189281 w 976579"/>
                    <a:gd name="connsiteY364" fmla="*/ 736275 h 1165311"/>
                    <a:gd name="connsiteX365" fmla="*/ 193670 w 976579"/>
                    <a:gd name="connsiteY365" fmla="*/ 738470 h 1165311"/>
                    <a:gd name="connsiteX366" fmla="*/ 233721 w 976579"/>
                    <a:gd name="connsiteY366" fmla="*/ 713232 h 1165311"/>
                    <a:gd name="connsiteX367" fmla="*/ 237561 w 976579"/>
                    <a:gd name="connsiteY367" fmla="*/ 708843 h 1165311"/>
                    <a:gd name="connsiteX368" fmla="*/ 240304 w 976579"/>
                    <a:gd name="connsiteY368" fmla="*/ 711038 h 1165311"/>
                    <a:gd name="connsiteX369" fmla="*/ 238110 w 976579"/>
                    <a:gd name="connsiteY369" fmla="*/ 714878 h 1165311"/>
                    <a:gd name="connsiteX370" fmla="*/ 228783 w 976579"/>
                    <a:gd name="connsiteY370" fmla="*/ 720364 h 1165311"/>
                    <a:gd name="connsiteX371" fmla="*/ 223845 w 976579"/>
                    <a:gd name="connsiteY371" fmla="*/ 720364 h 1165311"/>
                    <a:gd name="connsiteX372" fmla="*/ 210678 w 976579"/>
                    <a:gd name="connsiteY372" fmla="*/ 731337 h 1165311"/>
                    <a:gd name="connsiteX373" fmla="*/ 214518 w 976579"/>
                    <a:gd name="connsiteY373" fmla="*/ 736275 h 1165311"/>
                    <a:gd name="connsiteX374" fmla="*/ 213970 w 976579"/>
                    <a:gd name="connsiteY374" fmla="*/ 739018 h 1165311"/>
                    <a:gd name="connsiteX375" fmla="*/ 201900 w 976579"/>
                    <a:gd name="connsiteY375" fmla="*/ 743407 h 1165311"/>
                    <a:gd name="connsiteX376" fmla="*/ 194767 w 976579"/>
                    <a:gd name="connsiteY376" fmla="*/ 743407 h 1165311"/>
                    <a:gd name="connsiteX377" fmla="*/ 192573 w 976579"/>
                    <a:gd name="connsiteY377" fmla="*/ 745602 h 1165311"/>
                    <a:gd name="connsiteX378" fmla="*/ 194219 w 976579"/>
                    <a:gd name="connsiteY378" fmla="*/ 749991 h 1165311"/>
                    <a:gd name="connsiteX379" fmla="*/ 191475 w 976579"/>
                    <a:gd name="connsiteY379" fmla="*/ 751637 h 1165311"/>
                    <a:gd name="connsiteX380" fmla="*/ 185440 w 976579"/>
                    <a:gd name="connsiteY380" fmla="*/ 749991 h 1165311"/>
                    <a:gd name="connsiteX381" fmla="*/ 185440 w 976579"/>
                    <a:gd name="connsiteY381" fmla="*/ 743956 h 1165311"/>
                    <a:gd name="connsiteX382" fmla="*/ 179954 w 976579"/>
                    <a:gd name="connsiteY382" fmla="*/ 733532 h 1165311"/>
                    <a:gd name="connsiteX383" fmla="*/ 176662 w 976579"/>
                    <a:gd name="connsiteY383" fmla="*/ 730240 h 1165311"/>
                    <a:gd name="connsiteX384" fmla="*/ 172822 w 976579"/>
                    <a:gd name="connsiteY384" fmla="*/ 730240 h 1165311"/>
                    <a:gd name="connsiteX385" fmla="*/ 171176 w 976579"/>
                    <a:gd name="connsiteY385" fmla="*/ 734080 h 1165311"/>
                    <a:gd name="connsiteX386" fmla="*/ 166238 w 976579"/>
                    <a:gd name="connsiteY386" fmla="*/ 734629 h 1165311"/>
                    <a:gd name="connsiteX387" fmla="*/ 161300 w 976579"/>
                    <a:gd name="connsiteY387" fmla="*/ 739567 h 1165311"/>
                    <a:gd name="connsiteX388" fmla="*/ 160752 w 976579"/>
                    <a:gd name="connsiteY388" fmla="*/ 743956 h 1165311"/>
                    <a:gd name="connsiteX389" fmla="*/ 164592 w 976579"/>
                    <a:gd name="connsiteY389" fmla="*/ 747248 h 1165311"/>
                    <a:gd name="connsiteX390" fmla="*/ 166238 w 976579"/>
                    <a:gd name="connsiteY390" fmla="*/ 751088 h 1165311"/>
                    <a:gd name="connsiteX391" fmla="*/ 158008 w 976579"/>
                    <a:gd name="connsiteY391" fmla="*/ 755477 h 1165311"/>
                    <a:gd name="connsiteX392" fmla="*/ 155265 w 976579"/>
                    <a:gd name="connsiteY392" fmla="*/ 751088 h 1165311"/>
                    <a:gd name="connsiteX393" fmla="*/ 155265 w 976579"/>
                    <a:gd name="connsiteY393" fmla="*/ 745053 h 1165311"/>
                    <a:gd name="connsiteX394" fmla="*/ 153619 w 976579"/>
                    <a:gd name="connsiteY394" fmla="*/ 741213 h 1165311"/>
                    <a:gd name="connsiteX395" fmla="*/ 135514 w 976579"/>
                    <a:gd name="connsiteY395" fmla="*/ 748345 h 1165311"/>
                    <a:gd name="connsiteX396" fmla="*/ 132771 w 976579"/>
                    <a:gd name="connsiteY396" fmla="*/ 752186 h 1165311"/>
                    <a:gd name="connsiteX397" fmla="*/ 130028 w 976579"/>
                    <a:gd name="connsiteY397" fmla="*/ 759318 h 1165311"/>
                    <a:gd name="connsiteX398" fmla="*/ 125090 w 976579"/>
                    <a:gd name="connsiteY398" fmla="*/ 758769 h 1165311"/>
                    <a:gd name="connsiteX399" fmla="*/ 126736 w 976579"/>
                    <a:gd name="connsiteY399" fmla="*/ 764256 h 1165311"/>
                    <a:gd name="connsiteX400" fmla="*/ 125090 w 976579"/>
                    <a:gd name="connsiteY400" fmla="*/ 766450 h 1165311"/>
                    <a:gd name="connsiteX401" fmla="*/ 119055 w 976579"/>
                    <a:gd name="connsiteY401" fmla="*/ 766999 h 1165311"/>
                    <a:gd name="connsiteX402" fmla="*/ 119604 w 976579"/>
                    <a:gd name="connsiteY402" fmla="*/ 764256 h 1165311"/>
                    <a:gd name="connsiteX403" fmla="*/ 117958 w 976579"/>
                    <a:gd name="connsiteY403" fmla="*/ 760964 h 1165311"/>
                    <a:gd name="connsiteX404" fmla="*/ 115214 w 976579"/>
                    <a:gd name="connsiteY404" fmla="*/ 762061 h 1165311"/>
                    <a:gd name="connsiteX405" fmla="*/ 113568 w 976579"/>
                    <a:gd name="connsiteY405" fmla="*/ 764804 h 1165311"/>
                    <a:gd name="connsiteX406" fmla="*/ 114117 w 976579"/>
                    <a:gd name="connsiteY406" fmla="*/ 768096 h 1165311"/>
                    <a:gd name="connsiteX407" fmla="*/ 113020 w 976579"/>
                    <a:gd name="connsiteY407" fmla="*/ 769742 h 1165311"/>
                    <a:gd name="connsiteX408" fmla="*/ 106985 w 976579"/>
                    <a:gd name="connsiteY408" fmla="*/ 769742 h 1165311"/>
                    <a:gd name="connsiteX409" fmla="*/ 97109 w 976579"/>
                    <a:gd name="connsiteY409" fmla="*/ 774131 h 1165311"/>
                    <a:gd name="connsiteX410" fmla="*/ 92720 w 976579"/>
                    <a:gd name="connsiteY410" fmla="*/ 791139 h 1165311"/>
                    <a:gd name="connsiteX411" fmla="*/ 87234 w 976579"/>
                    <a:gd name="connsiteY411" fmla="*/ 787847 h 1165311"/>
                    <a:gd name="connsiteX412" fmla="*/ 80650 w 976579"/>
                    <a:gd name="connsiteY412" fmla="*/ 787298 h 1165311"/>
                    <a:gd name="connsiteX413" fmla="*/ 74615 w 976579"/>
                    <a:gd name="connsiteY413" fmla="*/ 792236 h 1165311"/>
                    <a:gd name="connsiteX414" fmla="*/ 72969 w 976579"/>
                    <a:gd name="connsiteY414" fmla="*/ 796625 h 1165311"/>
                    <a:gd name="connsiteX415" fmla="*/ 79553 w 976579"/>
                    <a:gd name="connsiteY415" fmla="*/ 801563 h 1165311"/>
                    <a:gd name="connsiteX416" fmla="*/ 76261 w 976579"/>
                    <a:gd name="connsiteY416" fmla="*/ 805404 h 1165311"/>
                    <a:gd name="connsiteX417" fmla="*/ 82845 w 976579"/>
                    <a:gd name="connsiteY417" fmla="*/ 807050 h 1165311"/>
                    <a:gd name="connsiteX418" fmla="*/ 89977 w 976579"/>
                    <a:gd name="connsiteY418" fmla="*/ 804855 h 1165311"/>
                    <a:gd name="connsiteX419" fmla="*/ 93269 w 976579"/>
                    <a:gd name="connsiteY419" fmla="*/ 809244 h 1165311"/>
                    <a:gd name="connsiteX420" fmla="*/ 96561 w 976579"/>
                    <a:gd name="connsiteY420" fmla="*/ 810890 h 1165311"/>
                    <a:gd name="connsiteX421" fmla="*/ 92172 w 976579"/>
                    <a:gd name="connsiteY421" fmla="*/ 816925 h 1165311"/>
                    <a:gd name="connsiteX422" fmla="*/ 94366 w 976579"/>
                    <a:gd name="connsiteY422" fmla="*/ 821314 h 1165311"/>
                    <a:gd name="connsiteX423" fmla="*/ 88880 w 976579"/>
                    <a:gd name="connsiteY423" fmla="*/ 818571 h 1165311"/>
                    <a:gd name="connsiteX424" fmla="*/ 62545 w 976579"/>
                    <a:gd name="connsiteY424" fmla="*/ 816925 h 1165311"/>
                    <a:gd name="connsiteX425" fmla="*/ 59253 w 976579"/>
                    <a:gd name="connsiteY425" fmla="*/ 819668 h 1165311"/>
                    <a:gd name="connsiteX426" fmla="*/ 54864 w 976579"/>
                    <a:gd name="connsiteY426" fmla="*/ 818571 h 1165311"/>
                    <a:gd name="connsiteX427" fmla="*/ 50475 w 976579"/>
                    <a:gd name="connsiteY427" fmla="*/ 821863 h 1165311"/>
                    <a:gd name="connsiteX428" fmla="*/ 51024 w 976579"/>
                    <a:gd name="connsiteY428" fmla="*/ 823509 h 1165311"/>
                    <a:gd name="connsiteX429" fmla="*/ 55413 w 976579"/>
                    <a:gd name="connsiteY429" fmla="*/ 825703 h 1165311"/>
                    <a:gd name="connsiteX430" fmla="*/ 51024 w 976579"/>
                    <a:gd name="connsiteY430" fmla="*/ 826801 h 1165311"/>
                    <a:gd name="connsiteX431" fmla="*/ 51572 w 976579"/>
                    <a:gd name="connsiteY431" fmla="*/ 830641 h 1165311"/>
                    <a:gd name="connsiteX432" fmla="*/ 56510 w 976579"/>
                    <a:gd name="connsiteY432" fmla="*/ 830092 h 1165311"/>
                    <a:gd name="connsiteX433" fmla="*/ 60350 w 976579"/>
                    <a:gd name="connsiteY433" fmla="*/ 828446 h 1165311"/>
                    <a:gd name="connsiteX434" fmla="*/ 55413 w 976579"/>
                    <a:gd name="connsiteY434" fmla="*/ 835030 h 1165311"/>
                    <a:gd name="connsiteX435" fmla="*/ 58704 w 976579"/>
                    <a:gd name="connsiteY435" fmla="*/ 850941 h 1165311"/>
                    <a:gd name="connsiteX436" fmla="*/ 55961 w 976579"/>
                    <a:gd name="connsiteY436" fmla="*/ 851489 h 1165311"/>
                    <a:gd name="connsiteX437" fmla="*/ 53218 w 976579"/>
                    <a:gd name="connsiteY437" fmla="*/ 842162 h 1165311"/>
                    <a:gd name="connsiteX438" fmla="*/ 49926 w 976579"/>
                    <a:gd name="connsiteY438" fmla="*/ 838322 h 1165311"/>
                    <a:gd name="connsiteX439" fmla="*/ 43891 w 976579"/>
                    <a:gd name="connsiteY439" fmla="*/ 842162 h 1165311"/>
                    <a:gd name="connsiteX440" fmla="*/ 37856 w 976579"/>
                    <a:gd name="connsiteY440" fmla="*/ 854233 h 1165311"/>
                    <a:gd name="connsiteX441" fmla="*/ 41148 w 976579"/>
                    <a:gd name="connsiteY441" fmla="*/ 858073 h 1165311"/>
                    <a:gd name="connsiteX442" fmla="*/ 42245 w 976579"/>
                    <a:gd name="connsiteY442" fmla="*/ 862462 h 1165311"/>
                    <a:gd name="connsiteX443" fmla="*/ 35662 w 976579"/>
                    <a:gd name="connsiteY443" fmla="*/ 858622 h 1165311"/>
                    <a:gd name="connsiteX444" fmla="*/ 33467 w 976579"/>
                    <a:gd name="connsiteY444" fmla="*/ 853135 h 1165311"/>
                    <a:gd name="connsiteX445" fmla="*/ 27981 w 976579"/>
                    <a:gd name="connsiteY445" fmla="*/ 855330 h 1165311"/>
                    <a:gd name="connsiteX446" fmla="*/ 18654 w 976579"/>
                    <a:gd name="connsiteY446" fmla="*/ 854781 h 1165311"/>
                    <a:gd name="connsiteX447" fmla="*/ 18654 w 976579"/>
                    <a:gd name="connsiteY447" fmla="*/ 859170 h 1165311"/>
                    <a:gd name="connsiteX448" fmla="*/ 19202 w 976579"/>
                    <a:gd name="connsiteY448" fmla="*/ 862462 h 1165311"/>
                    <a:gd name="connsiteX449" fmla="*/ 8778 w 976579"/>
                    <a:gd name="connsiteY449" fmla="*/ 853684 h 1165311"/>
                    <a:gd name="connsiteX450" fmla="*/ 5486 w 976579"/>
                    <a:gd name="connsiteY450" fmla="*/ 856427 h 1165311"/>
                    <a:gd name="connsiteX451" fmla="*/ 10424 w 976579"/>
                    <a:gd name="connsiteY451" fmla="*/ 866851 h 1165311"/>
                    <a:gd name="connsiteX452" fmla="*/ 7132 w 976579"/>
                    <a:gd name="connsiteY452" fmla="*/ 870143 h 1165311"/>
                    <a:gd name="connsiteX453" fmla="*/ 8778 w 976579"/>
                    <a:gd name="connsiteY453" fmla="*/ 872338 h 1165311"/>
                    <a:gd name="connsiteX454" fmla="*/ 44988 w 976579"/>
                    <a:gd name="connsiteY454" fmla="*/ 867949 h 1165311"/>
                    <a:gd name="connsiteX455" fmla="*/ 34016 w 976579"/>
                    <a:gd name="connsiteY455" fmla="*/ 873435 h 1165311"/>
                    <a:gd name="connsiteX456" fmla="*/ 36210 w 976579"/>
                    <a:gd name="connsiteY456" fmla="*/ 876178 h 1165311"/>
                    <a:gd name="connsiteX457" fmla="*/ 50475 w 976579"/>
                    <a:gd name="connsiteY457" fmla="*/ 873435 h 1165311"/>
                    <a:gd name="connsiteX458" fmla="*/ 52121 w 976579"/>
                    <a:gd name="connsiteY458" fmla="*/ 875081 h 1165311"/>
                    <a:gd name="connsiteX459" fmla="*/ 45537 w 976579"/>
                    <a:gd name="connsiteY459" fmla="*/ 879470 h 1165311"/>
                    <a:gd name="connsiteX460" fmla="*/ 24140 w 976579"/>
                    <a:gd name="connsiteY460" fmla="*/ 880567 h 1165311"/>
                    <a:gd name="connsiteX461" fmla="*/ 19751 w 976579"/>
                    <a:gd name="connsiteY461" fmla="*/ 877275 h 1165311"/>
                    <a:gd name="connsiteX462" fmla="*/ 15911 w 976579"/>
                    <a:gd name="connsiteY462" fmla="*/ 877275 h 1165311"/>
                    <a:gd name="connsiteX463" fmla="*/ 8230 w 976579"/>
                    <a:gd name="connsiteY463" fmla="*/ 883859 h 1165311"/>
                    <a:gd name="connsiteX464" fmla="*/ 7681 w 976579"/>
                    <a:gd name="connsiteY464" fmla="*/ 887151 h 1165311"/>
                    <a:gd name="connsiteX465" fmla="*/ 2743 w 976579"/>
                    <a:gd name="connsiteY465" fmla="*/ 887151 h 1165311"/>
                    <a:gd name="connsiteX466" fmla="*/ 1097 w 976579"/>
                    <a:gd name="connsiteY466" fmla="*/ 888248 h 1165311"/>
                    <a:gd name="connsiteX467" fmla="*/ 0 w 976579"/>
                    <a:gd name="connsiteY467" fmla="*/ 893186 h 1165311"/>
                    <a:gd name="connsiteX468" fmla="*/ 10424 w 976579"/>
                    <a:gd name="connsiteY468" fmla="*/ 896478 h 1165311"/>
                    <a:gd name="connsiteX469" fmla="*/ 9876 w 976579"/>
                    <a:gd name="connsiteY469" fmla="*/ 900867 h 1165311"/>
                    <a:gd name="connsiteX470" fmla="*/ 10424 w 976579"/>
                    <a:gd name="connsiteY470" fmla="*/ 905805 h 1165311"/>
                    <a:gd name="connsiteX471" fmla="*/ 1646 w 976579"/>
                    <a:gd name="connsiteY471" fmla="*/ 914583 h 1165311"/>
                    <a:gd name="connsiteX472" fmla="*/ 3840 w 976579"/>
                    <a:gd name="connsiteY472" fmla="*/ 918972 h 1165311"/>
                    <a:gd name="connsiteX473" fmla="*/ 1646 w 976579"/>
                    <a:gd name="connsiteY473" fmla="*/ 922264 h 1165311"/>
                    <a:gd name="connsiteX474" fmla="*/ 1646 w 976579"/>
                    <a:gd name="connsiteY474" fmla="*/ 927202 h 1165311"/>
                    <a:gd name="connsiteX475" fmla="*/ 4389 w 976579"/>
                    <a:gd name="connsiteY475" fmla="*/ 929396 h 1165311"/>
                    <a:gd name="connsiteX476" fmla="*/ 4389 w 976579"/>
                    <a:gd name="connsiteY476" fmla="*/ 934334 h 1165311"/>
                    <a:gd name="connsiteX477" fmla="*/ 15362 w 976579"/>
                    <a:gd name="connsiteY477" fmla="*/ 936529 h 1165311"/>
                    <a:gd name="connsiteX478" fmla="*/ 35662 w 976579"/>
                    <a:gd name="connsiteY478" fmla="*/ 928299 h 1165311"/>
                    <a:gd name="connsiteX479" fmla="*/ 40599 w 976579"/>
                    <a:gd name="connsiteY479" fmla="*/ 931591 h 1165311"/>
                    <a:gd name="connsiteX480" fmla="*/ 48280 w 976579"/>
                    <a:gd name="connsiteY480" fmla="*/ 931591 h 1165311"/>
                    <a:gd name="connsiteX481" fmla="*/ 56510 w 976579"/>
                    <a:gd name="connsiteY481" fmla="*/ 912937 h 1165311"/>
                    <a:gd name="connsiteX482" fmla="*/ 58156 w 976579"/>
                    <a:gd name="connsiteY482" fmla="*/ 919521 h 1165311"/>
                    <a:gd name="connsiteX483" fmla="*/ 55961 w 976579"/>
                    <a:gd name="connsiteY483" fmla="*/ 928848 h 1165311"/>
                    <a:gd name="connsiteX484" fmla="*/ 59253 w 976579"/>
                    <a:gd name="connsiteY484" fmla="*/ 930494 h 1165311"/>
                    <a:gd name="connsiteX485" fmla="*/ 67483 w 976579"/>
                    <a:gd name="connsiteY485" fmla="*/ 930494 h 1165311"/>
                    <a:gd name="connsiteX486" fmla="*/ 71872 w 976579"/>
                    <a:gd name="connsiteY486" fmla="*/ 928848 h 1165311"/>
                    <a:gd name="connsiteX487" fmla="*/ 75712 w 976579"/>
                    <a:gd name="connsiteY487" fmla="*/ 931042 h 1165311"/>
                    <a:gd name="connsiteX488" fmla="*/ 83393 w 976579"/>
                    <a:gd name="connsiteY488" fmla="*/ 922813 h 1165311"/>
                    <a:gd name="connsiteX489" fmla="*/ 85588 w 976579"/>
                    <a:gd name="connsiteY489" fmla="*/ 906902 h 1165311"/>
                    <a:gd name="connsiteX490" fmla="*/ 94366 w 976579"/>
                    <a:gd name="connsiteY490" fmla="*/ 901964 h 1165311"/>
                    <a:gd name="connsiteX491" fmla="*/ 94915 w 976579"/>
                    <a:gd name="connsiteY491" fmla="*/ 905256 h 1165311"/>
                    <a:gd name="connsiteX492" fmla="*/ 89428 w 976579"/>
                    <a:gd name="connsiteY492" fmla="*/ 915680 h 1165311"/>
                    <a:gd name="connsiteX493" fmla="*/ 86685 w 976579"/>
                    <a:gd name="connsiteY493" fmla="*/ 927202 h 1165311"/>
                    <a:gd name="connsiteX494" fmla="*/ 91074 w 976579"/>
                    <a:gd name="connsiteY494" fmla="*/ 926653 h 1165311"/>
                    <a:gd name="connsiteX495" fmla="*/ 95463 w 976579"/>
                    <a:gd name="connsiteY495" fmla="*/ 923361 h 1165311"/>
                    <a:gd name="connsiteX496" fmla="*/ 99304 w 976579"/>
                    <a:gd name="connsiteY496" fmla="*/ 925556 h 1165311"/>
                    <a:gd name="connsiteX497" fmla="*/ 89428 w 976579"/>
                    <a:gd name="connsiteY497" fmla="*/ 933237 h 1165311"/>
                    <a:gd name="connsiteX498" fmla="*/ 77358 w 976579"/>
                    <a:gd name="connsiteY498" fmla="*/ 937077 h 1165311"/>
                    <a:gd name="connsiteX499" fmla="*/ 76261 w 976579"/>
                    <a:gd name="connsiteY499" fmla="*/ 943661 h 1165311"/>
                    <a:gd name="connsiteX500" fmla="*/ 80650 w 976579"/>
                    <a:gd name="connsiteY500" fmla="*/ 948599 h 1165311"/>
                    <a:gd name="connsiteX501" fmla="*/ 71323 w 976579"/>
                    <a:gd name="connsiteY501" fmla="*/ 954085 h 1165311"/>
                    <a:gd name="connsiteX502" fmla="*/ 71323 w 976579"/>
                    <a:gd name="connsiteY502" fmla="*/ 946953 h 1165311"/>
                    <a:gd name="connsiteX503" fmla="*/ 69129 w 976579"/>
                    <a:gd name="connsiteY503" fmla="*/ 941466 h 1165311"/>
                    <a:gd name="connsiteX504" fmla="*/ 62545 w 976579"/>
                    <a:gd name="connsiteY504" fmla="*/ 937077 h 1165311"/>
                    <a:gd name="connsiteX505" fmla="*/ 55413 w 976579"/>
                    <a:gd name="connsiteY505" fmla="*/ 937077 h 1165311"/>
                    <a:gd name="connsiteX506" fmla="*/ 46086 w 976579"/>
                    <a:gd name="connsiteY506" fmla="*/ 939272 h 1165311"/>
                    <a:gd name="connsiteX507" fmla="*/ 38953 w 976579"/>
                    <a:gd name="connsiteY507" fmla="*/ 937626 h 1165311"/>
                    <a:gd name="connsiteX508" fmla="*/ 32370 w 976579"/>
                    <a:gd name="connsiteY508" fmla="*/ 939272 h 1165311"/>
                    <a:gd name="connsiteX509" fmla="*/ 25237 w 976579"/>
                    <a:gd name="connsiteY509" fmla="*/ 938174 h 1165311"/>
                    <a:gd name="connsiteX510" fmla="*/ 19751 w 976579"/>
                    <a:gd name="connsiteY510" fmla="*/ 943661 h 1165311"/>
                    <a:gd name="connsiteX511" fmla="*/ 6584 w 976579"/>
                    <a:gd name="connsiteY511" fmla="*/ 940369 h 1165311"/>
                    <a:gd name="connsiteX512" fmla="*/ 3292 w 976579"/>
                    <a:gd name="connsiteY512" fmla="*/ 949147 h 1165311"/>
                    <a:gd name="connsiteX513" fmla="*/ 2195 w 976579"/>
                    <a:gd name="connsiteY513" fmla="*/ 956280 h 1165311"/>
                    <a:gd name="connsiteX514" fmla="*/ 8778 w 976579"/>
                    <a:gd name="connsiteY514" fmla="*/ 956828 h 1165311"/>
                    <a:gd name="connsiteX515" fmla="*/ 11521 w 976579"/>
                    <a:gd name="connsiteY515" fmla="*/ 955731 h 1165311"/>
                    <a:gd name="connsiteX516" fmla="*/ 11521 w 976579"/>
                    <a:gd name="connsiteY516" fmla="*/ 965606 h 1165311"/>
                    <a:gd name="connsiteX517" fmla="*/ 6035 w 976579"/>
                    <a:gd name="connsiteY517" fmla="*/ 962863 h 1165311"/>
                    <a:gd name="connsiteX518" fmla="*/ 1646 w 976579"/>
                    <a:gd name="connsiteY518" fmla="*/ 959023 h 1165311"/>
                    <a:gd name="connsiteX519" fmla="*/ 1097 w 976579"/>
                    <a:gd name="connsiteY519" fmla="*/ 960669 h 1165311"/>
                    <a:gd name="connsiteX520" fmla="*/ 0 w 976579"/>
                    <a:gd name="connsiteY520" fmla="*/ 960669 h 1165311"/>
                    <a:gd name="connsiteX521" fmla="*/ 0 w 976579"/>
                    <a:gd name="connsiteY521" fmla="*/ 962863 h 1165311"/>
                    <a:gd name="connsiteX522" fmla="*/ 6584 w 976579"/>
                    <a:gd name="connsiteY522" fmla="*/ 975482 h 1165311"/>
                    <a:gd name="connsiteX523" fmla="*/ 10973 w 976579"/>
                    <a:gd name="connsiteY523" fmla="*/ 976579 h 1165311"/>
                    <a:gd name="connsiteX524" fmla="*/ 19751 w 976579"/>
                    <a:gd name="connsiteY524" fmla="*/ 970544 h 1165311"/>
                    <a:gd name="connsiteX525" fmla="*/ 25786 w 976579"/>
                    <a:gd name="connsiteY525" fmla="*/ 968898 h 1165311"/>
                    <a:gd name="connsiteX526" fmla="*/ 13716 w 976579"/>
                    <a:gd name="connsiteY526" fmla="*/ 983163 h 1165311"/>
                    <a:gd name="connsiteX527" fmla="*/ 16459 w 976579"/>
                    <a:gd name="connsiteY527" fmla="*/ 986455 h 1165311"/>
                    <a:gd name="connsiteX528" fmla="*/ 8778 w 976579"/>
                    <a:gd name="connsiteY528" fmla="*/ 990295 h 1165311"/>
                    <a:gd name="connsiteX529" fmla="*/ 5486 w 976579"/>
                    <a:gd name="connsiteY529" fmla="*/ 994136 h 1165311"/>
                    <a:gd name="connsiteX530" fmla="*/ 6584 w 976579"/>
                    <a:gd name="connsiteY530" fmla="*/ 999622 h 1165311"/>
                    <a:gd name="connsiteX531" fmla="*/ 10424 w 976579"/>
                    <a:gd name="connsiteY531" fmla="*/ 1003463 h 1165311"/>
                    <a:gd name="connsiteX532" fmla="*/ 11521 w 976579"/>
                    <a:gd name="connsiteY532" fmla="*/ 1007852 h 1165311"/>
                    <a:gd name="connsiteX533" fmla="*/ 16459 w 976579"/>
                    <a:gd name="connsiteY533" fmla="*/ 1004560 h 1165311"/>
                    <a:gd name="connsiteX534" fmla="*/ 20300 w 976579"/>
                    <a:gd name="connsiteY534" fmla="*/ 999622 h 1165311"/>
                    <a:gd name="connsiteX535" fmla="*/ 20300 w 976579"/>
                    <a:gd name="connsiteY535" fmla="*/ 1006206 h 1165311"/>
                    <a:gd name="connsiteX536" fmla="*/ 26335 w 976579"/>
                    <a:gd name="connsiteY536" fmla="*/ 1014984 h 1165311"/>
                    <a:gd name="connsiteX537" fmla="*/ 20848 w 976579"/>
                    <a:gd name="connsiteY537" fmla="*/ 1016081 h 1165311"/>
                    <a:gd name="connsiteX538" fmla="*/ 15362 w 976579"/>
                    <a:gd name="connsiteY538" fmla="*/ 1020470 h 1165311"/>
                    <a:gd name="connsiteX539" fmla="*/ 15362 w 976579"/>
                    <a:gd name="connsiteY539" fmla="*/ 1023762 h 1165311"/>
                    <a:gd name="connsiteX540" fmla="*/ 18654 w 976579"/>
                    <a:gd name="connsiteY540" fmla="*/ 1026506 h 1165311"/>
                    <a:gd name="connsiteX541" fmla="*/ 25237 w 976579"/>
                    <a:gd name="connsiteY541" fmla="*/ 1022116 h 1165311"/>
                    <a:gd name="connsiteX542" fmla="*/ 29627 w 976579"/>
                    <a:gd name="connsiteY542" fmla="*/ 1013887 h 1165311"/>
                    <a:gd name="connsiteX543" fmla="*/ 30175 w 976579"/>
                    <a:gd name="connsiteY543" fmla="*/ 1006206 h 1165311"/>
                    <a:gd name="connsiteX544" fmla="*/ 35662 w 976579"/>
                    <a:gd name="connsiteY544" fmla="*/ 1001817 h 1165311"/>
                    <a:gd name="connsiteX545" fmla="*/ 49378 w 976579"/>
                    <a:gd name="connsiteY545" fmla="*/ 979322 h 1165311"/>
                    <a:gd name="connsiteX546" fmla="*/ 55961 w 976579"/>
                    <a:gd name="connsiteY546" fmla="*/ 973836 h 1165311"/>
                    <a:gd name="connsiteX547" fmla="*/ 59253 w 976579"/>
                    <a:gd name="connsiteY547" fmla="*/ 977677 h 1165311"/>
                    <a:gd name="connsiteX548" fmla="*/ 59802 w 976579"/>
                    <a:gd name="connsiteY548" fmla="*/ 980420 h 1165311"/>
                    <a:gd name="connsiteX549" fmla="*/ 68031 w 976579"/>
                    <a:gd name="connsiteY549" fmla="*/ 977677 h 1165311"/>
                    <a:gd name="connsiteX550" fmla="*/ 74615 w 976579"/>
                    <a:gd name="connsiteY550" fmla="*/ 979322 h 1165311"/>
                    <a:gd name="connsiteX551" fmla="*/ 63642 w 976579"/>
                    <a:gd name="connsiteY551" fmla="*/ 984260 h 1165311"/>
                    <a:gd name="connsiteX552" fmla="*/ 60899 w 976579"/>
                    <a:gd name="connsiteY552" fmla="*/ 995782 h 1165311"/>
                    <a:gd name="connsiteX553" fmla="*/ 59253 w 976579"/>
                    <a:gd name="connsiteY553" fmla="*/ 988101 h 1165311"/>
                    <a:gd name="connsiteX554" fmla="*/ 55961 w 976579"/>
                    <a:gd name="connsiteY554" fmla="*/ 987552 h 1165311"/>
                    <a:gd name="connsiteX555" fmla="*/ 43343 w 976579"/>
                    <a:gd name="connsiteY555" fmla="*/ 1004560 h 1165311"/>
                    <a:gd name="connsiteX556" fmla="*/ 47732 w 976579"/>
                    <a:gd name="connsiteY556" fmla="*/ 1007852 h 1165311"/>
                    <a:gd name="connsiteX557" fmla="*/ 47732 w 976579"/>
                    <a:gd name="connsiteY557" fmla="*/ 1010046 h 1165311"/>
                    <a:gd name="connsiteX558" fmla="*/ 40599 w 976579"/>
                    <a:gd name="connsiteY558" fmla="*/ 1013887 h 1165311"/>
                    <a:gd name="connsiteX559" fmla="*/ 26883 w 976579"/>
                    <a:gd name="connsiteY559" fmla="*/ 1031443 h 1165311"/>
                    <a:gd name="connsiteX560" fmla="*/ 31821 w 976579"/>
                    <a:gd name="connsiteY560" fmla="*/ 1034735 h 1165311"/>
                    <a:gd name="connsiteX561" fmla="*/ 44988 w 976579"/>
                    <a:gd name="connsiteY561" fmla="*/ 1034735 h 1165311"/>
                    <a:gd name="connsiteX562" fmla="*/ 48829 w 976579"/>
                    <a:gd name="connsiteY562" fmla="*/ 1031443 h 1165311"/>
                    <a:gd name="connsiteX563" fmla="*/ 49926 w 976579"/>
                    <a:gd name="connsiteY563" fmla="*/ 1033638 h 1165311"/>
                    <a:gd name="connsiteX564" fmla="*/ 36210 w 976579"/>
                    <a:gd name="connsiteY564" fmla="*/ 1039673 h 1165311"/>
                    <a:gd name="connsiteX565" fmla="*/ 32370 w 976579"/>
                    <a:gd name="connsiteY565" fmla="*/ 1043513 h 1165311"/>
                    <a:gd name="connsiteX566" fmla="*/ 31821 w 976579"/>
                    <a:gd name="connsiteY566" fmla="*/ 1046257 h 1165311"/>
                    <a:gd name="connsiteX567" fmla="*/ 25237 w 976579"/>
                    <a:gd name="connsiteY567" fmla="*/ 1046257 h 1165311"/>
                    <a:gd name="connsiteX568" fmla="*/ 21946 w 976579"/>
                    <a:gd name="connsiteY568" fmla="*/ 1047902 h 1165311"/>
                    <a:gd name="connsiteX569" fmla="*/ 18105 w 976579"/>
                    <a:gd name="connsiteY569" fmla="*/ 1046257 h 1165311"/>
                    <a:gd name="connsiteX570" fmla="*/ 8778 w 976579"/>
                    <a:gd name="connsiteY570" fmla="*/ 1060521 h 1165311"/>
                    <a:gd name="connsiteX571" fmla="*/ 8778 w 976579"/>
                    <a:gd name="connsiteY571" fmla="*/ 1066556 h 1165311"/>
                    <a:gd name="connsiteX572" fmla="*/ 10973 w 976579"/>
                    <a:gd name="connsiteY572" fmla="*/ 1068202 h 1165311"/>
                    <a:gd name="connsiteX573" fmla="*/ 11521 w 976579"/>
                    <a:gd name="connsiteY573" fmla="*/ 1070945 h 1165311"/>
                    <a:gd name="connsiteX574" fmla="*/ 18105 w 976579"/>
                    <a:gd name="connsiteY574" fmla="*/ 1070397 h 1165311"/>
                    <a:gd name="connsiteX575" fmla="*/ 20300 w 976579"/>
                    <a:gd name="connsiteY575" fmla="*/ 1063813 h 1165311"/>
                    <a:gd name="connsiteX576" fmla="*/ 22494 w 976579"/>
                    <a:gd name="connsiteY576" fmla="*/ 1070397 h 1165311"/>
                    <a:gd name="connsiteX577" fmla="*/ 26883 w 976579"/>
                    <a:gd name="connsiteY577" fmla="*/ 1069848 h 1165311"/>
                    <a:gd name="connsiteX578" fmla="*/ 28529 w 976579"/>
                    <a:gd name="connsiteY578" fmla="*/ 1066008 h 1165311"/>
                    <a:gd name="connsiteX579" fmla="*/ 27432 w 976579"/>
                    <a:gd name="connsiteY579" fmla="*/ 1061618 h 1165311"/>
                    <a:gd name="connsiteX580" fmla="*/ 32370 w 976579"/>
                    <a:gd name="connsiteY580" fmla="*/ 1064910 h 1165311"/>
                    <a:gd name="connsiteX581" fmla="*/ 42245 w 976579"/>
                    <a:gd name="connsiteY581" fmla="*/ 1059424 h 1165311"/>
                    <a:gd name="connsiteX582" fmla="*/ 46086 w 976579"/>
                    <a:gd name="connsiteY582" fmla="*/ 1055035 h 1165311"/>
                    <a:gd name="connsiteX583" fmla="*/ 49378 w 976579"/>
                    <a:gd name="connsiteY583" fmla="*/ 1057229 h 1165311"/>
                    <a:gd name="connsiteX584" fmla="*/ 39502 w 976579"/>
                    <a:gd name="connsiteY584" fmla="*/ 1069299 h 1165311"/>
                    <a:gd name="connsiteX585" fmla="*/ 43891 w 976579"/>
                    <a:gd name="connsiteY585" fmla="*/ 1068751 h 1165311"/>
                    <a:gd name="connsiteX586" fmla="*/ 43891 w 976579"/>
                    <a:gd name="connsiteY586" fmla="*/ 1075883 h 1165311"/>
                    <a:gd name="connsiteX587" fmla="*/ 37856 w 976579"/>
                    <a:gd name="connsiteY587" fmla="*/ 1086307 h 1165311"/>
                    <a:gd name="connsiteX588" fmla="*/ 34016 w 976579"/>
                    <a:gd name="connsiteY588" fmla="*/ 1090696 h 1165311"/>
                    <a:gd name="connsiteX589" fmla="*/ 34016 w 976579"/>
                    <a:gd name="connsiteY589" fmla="*/ 1098377 h 1165311"/>
                    <a:gd name="connsiteX590" fmla="*/ 30724 w 976579"/>
                    <a:gd name="connsiteY590" fmla="*/ 1098377 h 1165311"/>
                    <a:gd name="connsiteX591" fmla="*/ 26883 w 976579"/>
                    <a:gd name="connsiteY591" fmla="*/ 1099475 h 1165311"/>
                    <a:gd name="connsiteX592" fmla="*/ 24689 w 976579"/>
                    <a:gd name="connsiteY592" fmla="*/ 1094537 h 1165311"/>
                    <a:gd name="connsiteX593" fmla="*/ 22494 w 976579"/>
                    <a:gd name="connsiteY593" fmla="*/ 1094537 h 1165311"/>
                    <a:gd name="connsiteX594" fmla="*/ 17008 w 976579"/>
                    <a:gd name="connsiteY594" fmla="*/ 1115934 h 1165311"/>
                    <a:gd name="connsiteX595" fmla="*/ 49926 w 976579"/>
                    <a:gd name="connsiteY595" fmla="*/ 1147206 h 1165311"/>
                    <a:gd name="connsiteX596" fmla="*/ 58156 w 976579"/>
                    <a:gd name="connsiteY596" fmla="*/ 1148304 h 1165311"/>
                    <a:gd name="connsiteX597" fmla="*/ 63094 w 976579"/>
                    <a:gd name="connsiteY597" fmla="*/ 1139525 h 1165311"/>
                    <a:gd name="connsiteX598" fmla="*/ 61448 w 976579"/>
                    <a:gd name="connsiteY598" fmla="*/ 1160374 h 1165311"/>
                    <a:gd name="connsiteX599" fmla="*/ 65837 w 976579"/>
                    <a:gd name="connsiteY599" fmla="*/ 1157082 h 1165311"/>
                    <a:gd name="connsiteX600" fmla="*/ 72420 w 976579"/>
                    <a:gd name="connsiteY600" fmla="*/ 1160374 h 1165311"/>
                    <a:gd name="connsiteX601" fmla="*/ 74615 w 976579"/>
                    <a:gd name="connsiteY601" fmla="*/ 1154339 h 1165311"/>
                    <a:gd name="connsiteX602" fmla="*/ 85039 w 976579"/>
                    <a:gd name="connsiteY602" fmla="*/ 1154887 h 1165311"/>
                    <a:gd name="connsiteX603" fmla="*/ 80101 w 976579"/>
                    <a:gd name="connsiteY603" fmla="*/ 1160922 h 1165311"/>
                    <a:gd name="connsiteX604" fmla="*/ 91623 w 976579"/>
                    <a:gd name="connsiteY604" fmla="*/ 1165311 h 1165311"/>
                    <a:gd name="connsiteX605" fmla="*/ 99852 w 976579"/>
                    <a:gd name="connsiteY605" fmla="*/ 1162020 h 1165311"/>
                    <a:gd name="connsiteX606" fmla="*/ 108082 w 976579"/>
                    <a:gd name="connsiteY606" fmla="*/ 1154887 h 1165311"/>
                    <a:gd name="connsiteX607" fmla="*/ 111374 w 976579"/>
                    <a:gd name="connsiteY607" fmla="*/ 1145560 h 1165311"/>
                    <a:gd name="connsiteX608" fmla="*/ 116312 w 976579"/>
                    <a:gd name="connsiteY608" fmla="*/ 1152693 h 1165311"/>
                    <a:gd name="connsiteX609" fmla="*/ 130028 w 976579"/>
                    <a:gd name="connsiteY609" fmla="*/ 1143914 h 1165311"/>
                    <a:gd name="connsiteX610" fmla="*/ 143744 w 976579"/>
                    <a:gd name="connsiteY610" fmla="*/ 1125261 h 1165311"/>
                    <a:gd name="connsiteX611" fmla="*/ 151973 w 976579"/>
                    <a:gd name="connsiteY611" fmla="*/ 1121420 h 1165311"/>
                    <a:gd name="connsiteX612" fmla="*/ 153619 w 976579"/>
                    <a:gd name="connsiteY612" fmla="*/ 1114288 h 1165311"/>
                    <a:gd name="connsiteX613" fmla="*/ 158557 w 976579"/>
                    <a:gd name="connsiteY613" fmla="*/ 1109899 h 1165311"/>
                    <a:gd name="connsiteX614" fmla="*/ 160203 w 976579"/>
                    <a:gd name="connsiteY614" fmla="*/ 1106058 h 1165311"/>
                    <a:gd name="connsiteX615" fmla="*/ 171176 w 976579"/>
                    <a:gd name="connsiteY615" fmla="*/ 1093988 h 1165311"/>
                    <a:gd name="connsiteX616" fmla="*/ 169530 w 976579"/>
                    <a:gd name="connsiteY616" fmla="*/ 1087953 h 1165311"/>
                    <a:gd name="connsiteX617" fmla="*/ 178308 w 976579"/>
                    <a:gd name="connsiteY617" fmla="*/ 1093440 h 1165311"/>
                    <a:gd name="connsiteX618" fmla="*/ 187635 w 976579"/>
                    <a:gd name="connsiteY618" fmla="*/ 1093440 h 1165311"/>
                    <a:gd name="connsiteX619" fmla="*/ 192573 w 976579"/>
                    <a:gd name="connsiteY619" fmla="*/ 1090696 h 1165311"/>
                    <a:gd name="connsiteX620" fmla="*/ 195864 w 976579"/>
                    <a:gd name="connsiteY620" fmla="*/ 1077529 h 1165311"/>
                    <a:gd name="connsiteX621" fmla="*/ 200802 w 976579"/>
                    <a:gd name="connsiteY621" fmla="*/ 1072591 h 1165311"/>
                    <a:gd name="connsiteX622" fmla="*/ 200802 w 976579"/>
                    <a:gd name="connsiteY622" fmla="*/ 1065459 h 1165311"/>
                    <a:gd name="connsiteX623" fmla="*/ 195864 w 976579"/>
                    <a:gd name="connsiteY623" fmla="*/ 1060521 h 1165311"/>
                    <a:gd name="connsiteX624" fmla="*/ 193121 w 976579"/>
                    <a:gd name="connsiteY624" fmla="*/ 1055035 h 1165311"/>
                    <a:gd name="connsiteX625" fmla="*/ 195316 w 976579"/>
                    <a:gd name="connsiteY625" fmla="*/ 1053389 h 1165311"/>
                    <a:gd name="connsiteX626" fmla="*/ 195864 w 976579"/>
                    <a:gd name="connsiteY626" fmla="*/ 1050097 h 1165311"/>
                    <a:gd name="connsiteX627" fmla="*/ 194219 w 976579"/>
                    <a:gd name="connsiteY627" fmla="*/ 1041867 h 1165311"/>
                    <a:gd name="connsiteX628" fmla="*/ 197510 w 976579"/>
                    <a:gd name="connsiteY628" fmla="*/ 1044611 h 1165311"/>
                    <a:gd name="connsiteX629" fmla="*/ 200254 w 976579"/>
                    <a:gd name="connsiteY629" fmla="*/ 1049548 h 1165311"/>
                    <a:gd name="connsiteX630" fmla="*/ 200254 w 976579"/>
                    <a:gd name="connsiteY630" fmla="*/ 1055035 h 1165311"/>
                    <a:gd name="connsiteX631" fmla="*/ 204643 w 976579"/>
                    <a:gd name="connsiteY631" fmla="*/ 1053938 h 1165311"/>
                    <a:gd name="connsiteX632" fmla="*/ 205191 w 976579"/>
                    <a:gd name="connsiteY632" fmla="*/ 1049548 h 1165311"/>
                    <a:gd name="connsiteX633" fmla="*/ 202448 w 976579"/>
                    <a:gd name="connsiteY633" fmla="*/ 1043513 h 1165311"/>
                    <a:gd name="connsiteX634" fmla="*/ 201351 w 976579"/>
                    <a:gd name="connsiteY634" fmla="*/ 1033089 h 1165311"/>
                    <a:gd name="connsiteX635" fmla="*/ 202448 w 976579"/>
                    <a:gd name="connsiteY635" fmla="*/ 1030895 h 1165311"/>
                    <a:gd name="connsiteX636" fmla="*/ 204643 w 976579"/>
                    <a:gd name="connsiteY636" fmla="*/ 1031443 h 1165311"/>
                    <a:gd name="connsiteX637" fmla="*/ 208483 w 976579"/>
                    <a:gd name="connsiteY637" fmla="*/ 1028700 h 1165311"/>
                    <a:gd name="connsiteX638" fmla="*/ 212324 w 976579"/>
                    <a:gd name="connsiteY638" fmla="*/ 1030895 h 1165311"/>
                    <a:gd name="connsiteX639" fmla="*/ 212324 w 976579"/>
                    <a:gd name="connsiteY639" fmla="*/ 1035832 h 1165311"/>
                    <a:gd name="connsiteX640" fmla="*/ 207386 w 976579"/>
                    <a:gd name="connsiteY640" fmla="*/ 1038027 h 1165311"/>
                    <a:gd name="connsiteX641" fmla="*/ 212324 w 976579"/>
                    <a:gd name="connsiteY641" fmla="*/ 1078078 h 1165311"/>
                    <a:gd name="connsiteX642" fmla="*/ 217261 w 976579"/>
                    <a:gd name="connsiteY642" fmla="*/ 1076432 h 1165311"/>
                    <a:gd name="connsiteX643" fmla="*/ 223845 w 976579"/>
                    <a:gd name="connsiteY643" fmla="*/ 1082467 h 1165311"/>
                    <a:gd name="connsiteX644" fmla="*/ 228234 w 976579"/>
                    <a:gd name="connsiteY644" fmla="*/ 1081918 h 1165311"/>
                    <a:gd name="connsiteX645" fmla="*/ 232623 w 976579"/>
                    <a:gd name="connsiteY645" fmla="*/ 1089599 h 1165311"/>
                    <a:gd name="connsiteX646" fmla="*/ 232623 w 976579"/>
                    <a:gd name="connsiteY646" fmla="*/ 1105510 h 1165311"/>
                    <a:gd name="connsiteX647" fmla="*/ 234269 w 976579"/>
                    <a:gd name="connsiteY647" fmla="*/ 1096183 h 1165311"/>
                    <a:gd name="connsiteX648" fmla="*/ 237561 w 976579"/>
                    <a:gd name="connsiteY648" fmla="*/ 1101669 h 1165311"/>
                    <a:gd name="connsiteX649" fmla="*/ 243048 w 976579"/>
                    <a:gd name="connsiteY649" fmla="*/ 1098377 h 1165311"/>
                    <a:gd name="connsiteX650" fmla="*/ 248534 w 976579"/>
                    <a:gd name="connsiteY650" fmla="*/ 1072043 h 1165311"/>
                    <a:gd name="connsiteX651" fmla="*/ 244693 w 976579"/>
                    <a:gd name="connsiteY651" fmla="*/ 1052840 h 1165311"/>
                    <a:gd name="connsiteX652" fmla="*/ 253472 w 976579"/>
                    <a:gd name="connsiteY652" fmla="*/ 1038027 h 1165311"/>
                    <a:gd name="connsiteX653" fmla="*/ 253472 w 976579"/>
                    <a:gd name="connsiteY653" fmla="*/ 1028700 h 1165311"/>
                    <a:gd name="connsiteX654" fmla="*/ 271577 w 976579"/>
                    <a:gd name="connsiteY654" fmla="*/ 1021019 h 1165311"/>
                    <a:gd name="connsiteX655" fmla="*/ 275966 w 976579"/>
                    <a:gd name="connsiteY655" fmla="*/ 1013887 h 1165311"/>
                    <a:gd name="connsiteX656" fmla="*/ 277063 w 976579"/>
                    <a:gd name="connsiteY656" fmla="*/ 1003463 h 1165311"/>
                    <a:gd name="connsiteX657" fmla="*/ 273771 w 976579"/>
                    <a:gd name="connsiteY657" fmla="*/ 997976 h 1165311"/>
                    <a:gd name="connsiteX658" fmla="*/ 279258 w 976579"/>
                    <a:gd name="connsiteY658" fmla="*/ 977677 h 1165311"/>
                    <a:gd name="connsiteX659" fmla="*/ 273223 w 976579"/>
                    <a:gd name="connsiteY659" fmla="*/ 954634 h 1165311"/>
                    <a:gd name="connsiteX660" fmla="*/ 266639 w 976579"/>
                    <a:gd name="connsiteY660" fmla="*/ 945855 h 1165311"/>
                    <a:gd name="connsiteX661" fmla="*/ 268285 w 976579"/>
                    <a:gd name="connsiteY661" fmla="*/ 941466 h 1165311"/>
                    <a:gd name="connsiteX662" fmla="*/ 278160 w 976579"/>
                    <a:gd name="connsiteY662" fmla="*/ 937077 h 1165311"/>
                    <a:gd name="connsiteX663" fmla="*/ 285293 w 976579"/>
                    <a:gd name="connsiteY663" fmla="*/ 929396 h 1165311"/>
                    <a:gd name="connsiteX664" fmla="*/ 289682 w 976579"/>
                    <a:gd name="connsiteY664" fmla="*/ 917326 h 1165311"/>
                    <a:gd name="connsiteX665" fmla="*/ 287487 w 976579"/>
                    <a:gd name="connsiteY665" fmla="*/ 903062 h 1165311"/>
                    <a:gd name="connsiteX666" fmla="*/ 273223 w 976579"/>
                    <a:gd name="connsiteY666" fmla="*/ 892089 h 1165311"/>
                    <a:gd name="connsiteX667" fmla="*/ 267188 w 976579"/>
                    <a:gd name="connsiteY667" fmla="*/ 882213 h 1165311"/>
                    <a:gd name="connsiteX668" fmla="*/ 267188 w 976579"/>
                    <a:gd name="connsiteY668" fmla="*/ 838322 h 1165311"/>
                    <a:gd name="connsiteX669" fmla="*/ 264444 w 976579"/>
                    <a:gd name="connsiteY669" fmla="*/ 828446 h 1165311"/>
                    <a:gd name="connsiteX670" fmla="*/ 262250 w 976579"/>
                    <a:gd name="connsiteY670" fmla="*/ 826252 h 1165311"/>
                    <a:gd name="connsiteX671" fmla="*/ 267736 w 976579"/>
                    <a:gd name="connsiteY671" fmla="*/ 783458 h 1165311"/>
                    <a:gd name="connsiteX672" fmla="*/ 272125 w 976579"/>
                    <a:gd name="connsiteY672" fmla="*/ 776874 h 1165311"/>
                    <a:gd name="connsiteX673" fmla="*/ 268834 w 976579"/>
                    <a:gd name="connsiteY673" fmla="*/ 773034 h 1165311"/>
                    <a:gd name="connsiteX674" fmla="*/ 263896 w 976579"/>
                    <a:gd name="connsiteY674" fmla="*/ 763707 h 1165311"/>
                    <a:gd name="connsiteX675" fmla="*/ 261701 w 976579"/>
                    <a:gd name="connsiteY675" fmla="*/ 751088 h 1165311"/>
                    <a:gd name="connsiteX676" fmla="*/ 268834 w 976579"/>
                    <a:gd name="connsiteY676" fmla="*/ 727497 h 1165311"/>
                    <a:gd name="connsiteX677" fmla="*/ 285841 w 976579"/>
                    <a:gd name="connsiteY677" fmla="*/ 706100 h 1165311"/>
                    <a:gd name="connsiteX678" fmla="*/ 297363 w 976579"/>
                    <a:gd name="connsiteY678" fmla="*/ 698419 h 1165311"/>
                    <a:gd name="connsiteX679" fmla="*/ 312176 w 976579"/>
                    <a:gd name="connsiteY679" fmla="*/ 694578 h 1165311"/>
                    <a:gd name="connsiteX680" fmla="*/ 333573 w 976579"/>
                    <a:gd name="connsiteY680" fmla="*/ 697870 h 1165311"/>
                    <a:gd name="connsiteX681" fmla="*/ 340705 w 976579"/>
                    <a:gd name="connsiteY681" fmla="*/ 689641 h 1165311"/>
                    <a:gd name="connsiteX682" fmla="*/ 342351 w 976579"/>
                    <a:gd name="connsiteY682" fmla="*/ 667695 h 1165311"/>
                    <a:gd name="connsiteX683" fmla="*/ 328087 w 976579"/>
                    <a:gd name="connsiteY683" fmla="*/ 649041 h 1165311"/>
                    <a:gd name="connsiteX684" fmla="*/ 327538 w 976579"/>
                    <a:gd name="connsiteY684" fmla="*/ 642458 h 1165311"/>
                    <a:gd name="connsiteX685" fmla="*/ 352227 w 976579"/>
                    <a:gd name="connsiteY685" fmla="*/ 595823 h 1165311"/>
                    <a:gd name="connsiteX686" fmla="*/ 358262 w 976579"/>
                    <a:gd name="connsiteY686" fmla="*/ 516270 h 1165311"/>
                    <a:gd name="connsiteX687" fmla="*/ 363200 w 976579"/>
                    <a:gd name="connsiteY687" fmla="*/ 513527 h 1165311"/>
                    <a:gd name="connsiteX688" fmla="*/ 370881 w 976579"/>
                    <a:gd name="connsiteY688" fmla="*/ 513527 h 1165311"/>
                    <a:gd name="connsiteX689" fmla="*/ 382951 w 976579"/>
                    <a:gd name="connsiteY689" fmla="*/ 504200 h 1165311"/>
                    <a:gd name="connsiteX690" fmla="*/ 391729 w 976579"/>
                    <a:gd name="connsiteY690" fmla="*/ 470733 h 1165311"/>
                    <a:gd name="connsiteX691" fmla="*/ 427391 w 976579"/>
                    <a:gd name="connsiteY691" fmla="*/ 416966 h 1165311"/>
                    <a:gd name="connsiteX692" fmla="*/ 426293 w 976579"/>
                    <a:gd name="connsiteY692" fmla="*/ 408188 h 1165311"/>
                    <a:gd name="connsiteX693" fmla="*/ 417515 w 976579"/>
                    <a:gd name="connsiteY693" fmla="*/ 392278 h 1165311"/>
                    <a:gd name="connsiteX694" fmla="*/ 419710 w 976579"/>
                    <a:gd name="connsiteY694" fmla="*/ 383499 h 1165311"/>
                    <a:gd name="connsiteX695" fmla="*/ 433426 w 976579"/>
                    <a:gd name="connsiteY695" fmla="*/ 364297 h 1165311"/>
                    <a:gd name="connsiteX696" fmla="*/ 437266 w 976579"/>
                    <a:gd name="connsiteY696" fmla="*/ 343997 h 1165311"/>
                    <a:gd name="connsiteX697" fmla="*/ 455920 w 976579"/>
                    <a:gd name="connsiteY697" fmla="*/ 323149 h 1165311"/>
                    <a:gd name="connsiteX698" fmla="*/ 464698 w 976579"/>
                    <a:gd name="connsiteY698" fmla="*/ 320954 h 1165311"/>
                    <a:gd name="connsiteX699" fmla="*/ 472928 w 976579"/>
                    <a:gd name="connsiteY699" fmla="*/ 325344 h 1165311"/>
                    <a:gd name="connsiteX700" fmla="*/ 479511 w 976579"/>
                    <a:gd name="connsiteY700" fmla="*/ 334122 h 1165311"/>
                    <a:gd name="connsiteX701" fmla="*/ 482255 w 976579"/>
                    <a:gd name="connsiteY701" fmla="*/ 335219 h 1165311"/>
                    <a:gd name="connsiteX702" fmla="*/ 493776 w 976579"/>
                    <a:gd name="connsiteY702" fmla="*/ 302849 h 1165311"/>
                    <a:gd name="connsiteX703" fmla="*/ 492130 w 976579"/>
                    <a:gd name="connsiteY703" fmla="*/ 286939 h 1165311"/>
                    <a:gd name="connsiteX704" fmla="*/ 495422 w 976579"/>
                    <a:gd name="connsiteY704" fmla="*/ 280355 h 1165311"/>
                    <a:gd name="connsiteX705" fmla="*/ 499263 w 976579"/>
                    <a:gd name="connsiteY705" fmla="*/ 277063 h 1165311"/>
                    <a:gd name="connsiteX706" fmla="*/ 505297 w 976579"/>
                    <a:gd name="connsiteY706" fmla="*/ 275966 h 1165311"/>
                    <a:gd name="connsiteX707" fmla="*/ 556321 w 976579"/>
                    <a:gd name="connsiteY707" fmla="*/ 289133 h 1165311"/>
                    <a:gd name="connsiteX708" fmla="*/ 562356 w 976579"/>
                    <a:gd name="connsiteY708" fmla="*/ 287487 h 1165311"/>
                    <a:gd name="connsiteX709" fmla="*/ 566745 w 976579"/>
                    <a:gd name="connsiteY709" fmla="*/ 282001 h 1165311"/>
                    <a:gd name="connsiteX710" fmla="*/ 560161 w 976579"/>
                    <a:gd name="connsiteY710" fmla="*/ 275417 h 1165311"/>
                    <a:gd name="connsiteX711" fmla="*/ 559064 w 976579"/>
                    <a:gd name="connsiteY711" fmla="*/ 268285 h 1165311"/>
                    <a:gd name="connsiteX712" fmla="*/ 563453 w 976579"/>
                    <a:gd name="connsiteY712" fmla="*/ 261153 h 1165311"/>
                    <a:gd name="connsiteX713" fmla="*/ 565648 w 976579"/>
                    <a:gd name="connsiteY713" fmla="*/ 250729 h 1165311"/>
                    <a:gd name="connsiteX714" fmla="*/ 568940 w 976579"/>
                    <a:gd name="connsiteY714" fmla="*/ 246888 h 1165311"/>
                    <a:gd name="connsiteX715" fmla="*/ 570037 w 976579"/>
                    <a:gd name="connsiteY715" fmla="*/ 240853 h 1165311"/>
                    <a:gd name="connsiteX716" fmla="*/ 569488 w 976579"/>
                    <a:gd name="connsiteY716" fmla="*/ 233721 h 1165311"/>
                    <a:gd name="connsiteX717" fmla="*/ 565648 w 976579"/>
                    <a:gd name="connsiteY717" fmla="*/ 229880 h 1165311"/>
                    <a:gd name="connsiteX718" fmla="*/ 565099 w 976579"/>
                    <a:gd name="connsiteY718" fmla="*/ 223297 h 1165311"/>
                    <a:gd name="connsiteX719" fmla="*/ 568940 w 976579"/>
                    <a:gd name="connsiteY719" fmla="*/ 221102 h 1165311"/>
                    <a:gd name="connsiteX720" fmla="*/ 584302 w 976579"/>
                    <a:gd name="connsiteY720" fmla="*/ 221651 h 1165311"/>
                    <a:gd name="connsiteX721" fmla="*/ 586496 w 976579"/>
                    <a:gd name="connsiteY721" fmla="*/ 216164 h 1165311"/>
                    <a:gd name="connsiteX722" fmla="*/ 592531 w 976579"/>
                    <a:gd name="connsiteY722" fmla="*/ 214518 h 1165311"/>
                    <a:gd name="connsiteX723" fmla="*/ 598018 w 976579"/>
                    <a:gd name="connsiteY723" fmla="*/ 216713 h 1165311"/>
                    <a:gd name="connsiteX724" fmla="*/ 604053 w 976579"/>
                    <a:gd name="connsiteY724" fmla="*/ 214518 h 1165311"/>
                    <a:gd name="connsiteX725" fmla="*/ 601309 w 976579"/>
                    <a:gd name="connsiteY725" fmla="*/ 198059 h 1165311"/>
                    <a:gd name="connsiteX726" fmla="*/ 610088 w 976579"/>
                    <a:gd name="connsiteY726" fmla="*/ 193670 h 1165311"/>
                    <a:gd name="connsiteX727" fmla="*/ 619415 w 976579"/>
                    <a:gd name="connsiteY727" fmla="*/ 197510 h 1165311"/>
                    <a:gd name="connsiteX728" fmla="*/ 648493 w 976579"/>
                    <a:gd name="connsiteY728" fmla="*/ 235367 h 1165311"/>
                    <a:gd name="connsiteX729" fmla="*/ 651784 w 976579"/>
                    <a:gd name="connsiteY729" fmla="*/ 248534 h 1165311"/>
                    <a:gd name="connsiteX730" fmla="*/ 655625 w 976579"/>
                    <a:gd name="connsiteY730" fmla="*/ 254020 h 1165311"/>
                    <a:gd name="connsiteX731" fmla="*/ 672633 w 976579"/>
                    <a:gd name="connsiteY731" fmla="*/ 256764 h 1165311"/>
                    <a:gd name="connsiteX732" fmla="*/ 683057 w 976579"/>
                    <a:gd name="connsiteY732" fmla="*/ 262250 h 1165311"/>
                    <a:gd name="connsiteX733" fmla="*/ 691287 w 976579"/>
                    <a:gd name="connsiteY733" fmla="*/ 261153 h 1165311"/>
                    <a:gd name="connsiteX734" fmla="*/ 701162 w 976579"/>
                    <a:gd name="connsiteY734" fmla="*/ 255118 h 1165311"/>
                    <a:gd name="connsiteX735" fmla="*/ 713781 w 976579"/>
                    <a:gd name="connsiteY735" fmla="*/ 241950 h 1165311"/>
                    <a:gd name="connsiteX736" fmla="*/ 719816 w 976579"/>
                    <a:gd name="connsiteY736" fmla="*/ 246339 h 1165311"/>
                    <a:gd name="connsiteX737" fmla="*/ 728045 w 976579"/>
                    <a:gd name="connsiteY737" fmla="*/ 261153 h 1165311"/>
                    <a:gd name="connsiteX738" fmla="*/ 735726 w 976579"/>
                    <a:gd name="connsiteY738" fmla="*/ 263347 h 1165311"/>
                    <a:gd name="connsiteX739" fmla="*/ 754380 w 976579"/>
                    <a:gd name="connsiteY739" fmla="*/ 251826 h 1165311"/>
                    <a:gd name="connsiteX740" fmla="*/ 760415 w 976579"/>
                    <a:gd name="connsiteY740" fmla="*/ 242499 h 1165311"/>
                    <a:gd name="connsiteX741" fmla="*/ 777972 w 976579"/>
                    <a:gd name="connsiteY741" fmla="*/ 229332 h 1165311"/>
                    <a:gd name="connsiteX742" fmla="*/ 780715 w 976579"/>
                    <a:gd name="connsiteY742" fmla="*/ 166787 h 1165311"/>
                    <a:gd name="connsiteX743" fmla="*/ 789493 w 976579"/>
                    <a:gd name="connsiteY743" fmla="*/ 144841 h 1165311"/>
                    <a:gd name="connsiteX744" fmla="*/ 797174 w 976579"/>
                    <a:gd name="connsiteY744" fmla="*/ 136611 h 1165311"/>
                    <a:gd name="connsiteX745" fmla="*/ 864657 w 976579"/>
                    <a:gd name="connsiteY745" fmla="*/ 114666 h 1165311"/>
                    <a:gd name="connsiteX746" fmla="*/ 868497 w 976579"/>
                    <a:gd name="connsiteY746" fmla="*/ 117409 h 1165311"/>
                    <a:gd name="connsiteX747" fmla="*/ 875081 w 976579"/>
                    <a:gd name="connsiteY747" fmla="*/ 132222 h 1165311"/>
                    <a:gd name="connsiteX748" fmla="*/ 882762 w 976579"/>
                    <a:gd name="connsiteY748" fmla="*/ 137709 h 1165311"/>
                    <a:gd name="connsiteX749" fmla="*/ 894832 w 976579"/>
                    <a:gd name="connsiteY749" fmla="*/ 142098 h 1165311"/>
                    <a:gd name="connsiteX750" fmla="*/ 906902 w 976579"/>
                    <a:gd name="connsiteY750" fmla="*/ 154168 h 1165311"/>
                    <a:gd name="connsiteX751" fmla="*/ 912937 w 976579"/>
                    <a:gd name="connsiteY751" fmla="*/ 184343 h 1165311"/>
                    <a:gd name="connsiteX752" fmla="*/ 899221 w 976579"/>
                    <a:gd name="connsiteY752" fmla="*/ 200802 h 1165311"/>
                    <a:gd name="connsiteX753" fmla="*/ 897027 w 976579"/>
                    <a:gd name="connsiteY753" fmla="*/ 209032 h 1165311"/>
                    <a:gd name="connsiteX754" fmla="*/ 897027 w 976579"/>
                    <a:gd name="connsiteY754" fmla="*/ 216713 h 1165311"/>
                    <a:gd name="connsiteX755" fmla="*/ 903610 w 976579"/>
                    <a:gd name="connsiteY755" fmla="*/ 222199 h 1165311"/>
                    <a:gd name="connsiteX756" fmla="*/ 905805 w 976579"/>
                    <a:gd name="connsiteY756" fmla="*/ 221102 h 1165311"/>
                    <a:gd name="connsiteX757" fmla="*/ 911840 w 976579"/>
                    <a:gd name="connsiteY757" fmla="*/ 215616 h 1165311"/>
                    <a:gd name="connsiteX758" fmla="*/ 912937 w 976579"/>
                    <a:gd name="connsiteY758" fmla="*/ 212872 h 1165311"/>
                    <a:gd name="connsiteX759" fmla="*/ 913486 w 976579"/>
                    <a:gd name="connsiteY759" fmla="*/ 205191 h 1165311"/>
                    <a:gd name="connsiteX760" fmla="*/ 915132 w 976579"/>
                    <a:gd name="connsiteY760" fmla="*/ 201900 h 1165311"/>
                    <a:gd name="connsiteX761" fmla="*/ 936529 w 976579"/>
                    <a:gd name="connsiteY761" fmla="*/ 188732 h 1165311"/>
                    <a:gd name="connsiteX762" fmla="*/ 941466 w 976579"/>
                    <a:gd name="connsiteY762" fmla="*/ 183794 h 1165311"/>
                    <a:gd name="connsiteX763" fmla="*/ 945855 w 976579"/>
                    <a:gd name="connsiteY763" fmla="*/ 162946 h 1165311"/>
                    <a:gd name="connsiteX764" fmla="*/ 960669 w 976579"/>
                    <a:gd name="connsiteY764" fmla="*/ 172822 h 1165311"/>
                    <a:gd name="connsiteX765" fmla="*/ 968898 w 976579"/>
                    <a:gd name="connsiteY765" fmla="*/ 170627 h 1165311"/>
                    <a:gd name="connsiteX766" fmla="*/ 973287 w 976579"/>
                    <a:gd name="connsiteY766" fmla="*/ 158008 h 1165311"/>
                    <a:gd name="connsiteX767" fmla="*/ 973836 w 976579"/>
                    <a:gd name="connsiteY767" fmla="*/ 150876 h 1165311"/>
                    <a:gd name="connsiteX768" fmla="*/ 972190 w 976579"/>
                    <a:gd name="connsiteY768" fmla="*/ 148133 h 11653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  <a:cxn ang="0">
                      <a:pos x="connsiteX328" y="connsiteY328"/>
                    </a:cxn>
                    <a:cxn ang="0">
                      <a:pos x="connsiteX329" y="connsiteY329"/>
                    </a:cxn>
                    <a:cxn ang="0">
                      <a:pos x="connsiteX330" y="connsiteY330"/>
                    </a:cxn>
                    <a:cxn ang="0">
                      <a:pos x="connsiteX331" y="connsiteY331"/>
                    </a:cxn>
                    <a:cxn ang="0">
                      <a:pos x="connsiteX332" y="connsiteY332"/>
                    </a:cxn>
                    <a:cxn ang="0">
                      <a:pos x="connsiteX333" y="connsiteY333"/>
                    </a:cxn>
                    <a:cxn ang="0">
                      <a:pos x="connsiteX334" y="connsiteY334"/>
                    </a:cxn>
                    <a:cxn ang="0">
                      <a:pos x="connsiteX335" y="connsiteY335"/>
                    </a:cxn>
                    <a:cxn ang="0">
                      <a:pos x="connsiteX336" y="connsiteY336"/>
                    </a:cxn>
                    <a:cxn ang="0">
                      <a:pos x="connsiteX337" y="connsiteY337"/>
                    </a:cxn>
                    <a:cxn ang="0">
                      <a:pos x="connsiteX338" y="connsiteY338"/>
                    </a:cxn>
                    <a:cxn ang="0">
                      <a:pos x="connsiteX339" y="connsiteY339"/>
                    </a:cxn>
                    <a:cxn ang="0">
                      <a:pos x="connsiteX340" y="connsiteY340"/>
                    </a:cxn>
                    <a:cxn ang="0">
                      <a:pos x="connsiteX341" y="connsiteY341"/>
                    </a:cxn>
                    <a:cxn ang="0">
                      <a:pos x="connsiteX342" y="connsiteY342"/>
                    </a:cxn>
                    <a:cxn ang="0">
                      <a:pos x="connsiteX343" y="connsiteY343"/>
                    </a:cxn>
                    <a:cxn ang="0">
                      <a:pos x="connsiteX344" y="connsiteY344"/>
                    </a:cxn>
                    <a:cxn ang="0">
                      <a:pos x="connsiteX345" y="connsiteY345"/>
                    </a:cxn>
                    <a:cxn ang="0">
                      <a:pos x="connsiteX346" y="connsiteY346"/>
                    </a:cxn>
                    <a:cxn ang="0">
                      <a:pos x="connsiteX347" y="connsiteY347"/>
                    </a:cxn>
                    <a:cxn ang="0">
                      <a:pos x="connsiteX348" y="connsiteY348"/>
                    </a:cxn>
                    <a:cxn ang="0">
                      <a:pos x="connsiteX349" y="connsiteY349"/>
                    </a:cxn>
                    <a:cxn ang="0">
                      <a:pos x="connsiteX350" y="connsiteY350"/>
                    </a:cxn>
                    <a:cxn ang="0">
                      <a:pos x="connsiteX351" y="connsiteY351"/>
                    </a:cxn>
                    <a:cxn ang="0">
                      <a:pos x="connsiteX352" y="connsiteY352"/>
                    </a:cxn>
                    <a:cxn ang="0">
                      <a:pos x="connsiteX353" y="connsiteY353"/>
                    </a:cxn>
                    <a:cxn ang="0">
                      <a:pos x="connsiteX354" y="connsiteY354"/>
                    </a:cxn>
                    <a:cxn ang="0">
                      <a:pos x="connsiteX355" y="connsiteY355"/>
                    </a:cxn>
                    <a:cxn ang="0">
                      <a:pos x="connsiteX356" y="connsiteY356"/>
                    </a:cxn>
                    <a:cxn ang="0">
                      <a:pos x="connsiteX357" y="connsiteY357"/>
                    </a:cxn>
                    <a:cxn ang="0">
                      <a:pos x="connsiteX358" y="connsiteY358"/>
                    </a:cxn>
                    <a:cxn ang="0">
                      <a:pos x="connsiteX359" y="connsiteY359"/>
                    </a:cxn>
                    <a:cxn ang="0">
                      <a:pos x="connsiteX360" y="connsiteY360"/>
                    </a:cxn>
                    <a:cxn ang="0">
                      <a:pos x="connsiteX361" y="connsiteY361"/>
                    </a:cxn>
                    <a:cxn ang="0">
                      <a:pos x="connsiteX362" y="connsiteY362"/>
                    </a:cxn>
                    <a:cxn ang="0">
                      <a:pos x="connsiteX363" y="connsiteY363"/>
                    </a:cxn>
                    <a:cxn ang="0">
                      <a:pos x="connsiteX364" y="connsiteY364"/>
                    </a:cxn>
                    <a:cxn ang="0">
                      <a:pos x="connsiteX365" y="connsiteY365"/>
                    </a:cxn>
                    <a:cxn ang="0">
                      <a:pos x="connsiteX366" y="connsiteY366"/>
                    </a:cxn>
                    <a:cxn ang="0">
                      <a:pos x="connsiteX367" y="connsiteY367"/>
                    </a:cxn>
                    <a:cxn ang="0">
                      <a:pos x="connsiteX368" y="connsiteY368"/>
                    </a:cxn>
                    <a:cxn ang="0">
                      <a:pos x="connsiteX369" y="connsiteY369"/>
                    </a:cxn>
                    <a:cxn ang="0">
                      <a:pos x="connsiteX370" y="connsiteY370"/>
                    </a:cxn>
                    <a:cxn ang="0">
                      <a:pos x="connsiteX371" y="connsiteY371"/>
                    </a:cxn>
                    <a:cxn ang="0">
                      <a:pos x="connsiteX372" y="connsiteY372"/>
                    </a:cxn>
                    <a:cxn ang="0">
                      <a:pos x="connsiteX373" y="connsiteY373"/>
                    </a:cxn>
                    <a:cxn ang="0">
                      <a:pos x="connsiteX374" y="connsiteY374"/>
                    </a:cxn>
                    <a:cxn ang="0">
                      <a:pos x="connsiteX375" y="connsiteY375"/>
                    </a:cxn>
                    <a:cxn ang="0">
                      <a:pos x="connsiteX376" y="connsiteY376"/>
                    </a:cxn>
                    <a:cxn ang="0">
                      <a:pos x="connsiteX377" y="connsiteY377"/>
                    </a:cxn>
                    <a:cxn ang="0">
                      <a:pos x="connsiteX378" y="connsiteY378"/>
                    </a:cxn>
                    <a:cxn ang="0">
                      <a:pos x="connsiteX379" y="connsiteY379"/>
                    </a:cxn>
                    <a:cxn ang="0">
                      <a:pos x="connsiteX380" y="connsiteY380"/>
                    </a:cxn>
                    <a:cxn ang="0">
                      <a:pos x="connsiteX381" y="connsiteY381"/>
                    </a:cxn>
                    <a:cxn ang="0">
                      <a:pos x="connsiteX382" y="connsiteY382"/>
                    </a:cxn>
                    <a:cxn ang="0">
                      <a:pos x="connsiteX383" y="connsiteY383"/>
                    </a:cxn>
                    <a:cxn ang="0">
                      <a:pos x="connsiteX384" y="connsiteY384"/>
                    </a:cxn>
                    <a:cxn ang="0">
                      <a:pos x="connsiteX385" y="connsiteY385"/>
                    </a:cxn>
                    <a:cxn ang="0">
                      <a:pos x="connsiteX386" y="connsiteY386"/>
                    </a:cxn>
                    <a:cxn ang="0">
                      <a:pos x="connsiteX387" y="connsiteY387"/>
                    </a:cxn>
                    <a:cxn ang="0">
                      <a:pos x="connsiteX388" y="connsiteY388"/>
                    </a:cxn>
                    <a:cxn ang="0">
                      <a:pos x="connsiteX389" y="connsiteY389"/>
                    </a:cxn>
                    <a:cxn ang="0">
                      <a:pos x="connsiteX390" y="connsiteY390"/>
                    </a:cxn>
                    <a:cxn ang="0">
                      <a:pos x="connsiteX391" y="connsiteY391"/>
                    </a:cxn>
                    <a:cxn ang="0">
                      <a:pos x="connsiteX392" y="connsiteY392"/>
                    </a:cxn>
                    <a:cxn ang="0">
                      <a:pos x="connsiteX393" y="connsiteY393"/>
                    </a:cxn>
                    <a:cxn ang="0">
                      <a:pos x="connsiteX394" y="connsiteY394"/>
                    </a:cxn>
                    <a:cxn ang="0">
                      <a:pos x="connsiteX395" y="connsiteY395"/>
                    </a:cxn>
                    <a:cxn ang="0">
                      <a:pos x="connsiteX396" y="connsiteY396"/>
                    </a:cxn>
                    <a:cxn ang="0">
                      <a:pos x="connsiteX397" y="connsiteY397"/>
                    </a:cxn>
                    <a:cxn ang="0">
                      <a:pos x="connsiteX398" y="connsiteY398"/>
                    </a:cxn>
                    <a:cxn ang="0">
                      <a:pos x="connsiteX399" y="connsiteY399"/>
                    </a:cxn>
                    <a:cxn ang="0">
                      <a:pos x="connsiteX400" y="connsiteY400"/>
                    </a:cxn>
                    <a:cxn ang="0">
                      <a:pos x="connsiteX401" y="connsiteY401"/>
                    </a:cxn>
                    <a:cxn ang="0">
                      <a:pos x="connsiteX402" y="connsiteY402"/>
                    </a:cxn>
                    <a:cxn ang="0">
                      <a:pos x="connsiteX403" y="connsiteY403"/>
                    </a:cxn>
                    <a:cxn ang="0">
                      <a:pos x="connsiteX404" y="connsiteY404"/>
                    </a:cxn>
                    <a:cxn ang="0">
                      <a:pos x="connsiteX405" y="connsiteY405"/>
                    </a:cxn>
                    <a:cxn ang="0">
                      <a:pos x="connsiteX406" y="connsiteY406"/>
                    </a:cxn>
                    <a:cxn ang="0">
                      <a:pos x="connsiteX407" y="connsiteY407"/>
                    </a:cxn>
                    <a:cxn ang="0">
                      <a:pos x="connsiteX408" y="connsiteY408"/>
                    </a:cxn>
                    <a:cxn ang="0">
                      <a:pos x="connsiteX409" y="connsiteY409"/>
                    </a:cxn>
                    <a:cxn ang="0">
                      <a:pos x="connsiteX410" y="connsiteY410"/>
                    </a:cxn>
                    <a:cxn ang="0">
                      <a:pos x="connsiteX411" y="connsiteY411"/>
                    </a:cxn>
                    <a:cxn ang="0">
                      <a:pos x="connsiteX412" y="connsiteY412"/>
                    </a:cxn>
                    <a:cxn ang="0">
                      <a:pos x="connsiteX413" y="connsiteY413"/>
                    </a:cxn>
                    <a:cxn ang="0">
                      <a:pos x="connsiteX414" y="connsiteY414"/>
                    </a:cxn>
                    <a:cxn ang="0">
                      <a:pos x="connsiteX415" y="connsiteY415"/>
                    </a:cxn>
                    <a:cxn ang="0">
                      <a:pos x="connsiteX416" y="connsiteY416"/>
                    </a:cxn>
                    <a:cxn ang="0">
                      <a:pos x="connsiteX417" y="connsiteY417"/>
                    </a:cxn>
                    <a:cxn ang="0">
                      <a:pos x="connsiteX418" y="connsiteY418"/>
                    </a:cxn>
                    <a:cxn ang="0">
                      <a:pos x="connsiteX419" y="connsiteY419"/>
                    </a:cxn>
                    <a:cxn ang="0">
                      <a:pos x="connsiteX420" y="connsiteY420"/>
                    </a:cxn>
                    <a:cxn ang="0">
                      <a:pos x="connsiteX421" y="connsiteY421"/>
                    </a:cxn>
                    <a:cxn ang="0">
                      <a:pos x="connsiteX422" y="connsiteY422"/>
                    </a:cxn>
                    <a:cxn ang="0">
                      <a:pos x="connsiteX423" y="connsiteY423"/>
                    </a:cxn>
                    <a:cxn ang="0">
                      <a:pos x="connsiteX424" y="connsiteY424"/>
                    </a:cxn>
                    <a:cxn ang="0">
                      <a:pos x="connsiteX425" y="connsiteY425"/>
                    </a:cxn>
                    <a:cxn ang="0">
                      <a:pos x="connsiteX426" y="connsiteY426"/>
                    </a:cxn>
                    <a:cxn ang="0">
                      <a:pos x="connsiteX427" y="connsiteY427"/>
                    </a:cxn>
                    <a:cxn ang="0">
                      <a:pos x="connsiteX428" y="connsiteY428"/>
                    </a:cxn>
                    <a:cxn ang="0">
                      <a:pos x="connsiteX429" y="connsiteY429"/>
                    </a:cxn>
                    <a:cxn ang="0">
                      <a:pos x="connsiteX430" y="connsiteY430"/>
                    </a:cxn>
                    <a:cxn ang="0">
                      <a:pos x="connsiteX431" y="connsiteY431"/>
                    </a:cxn>
                    <a:cxn ang="0">
                      <a:pos x="connsiteX432" y="connsiteY432"/>
                    </a:cxn>
                    <a:cxn ang="0">
                      <a:pos x="connsiteX433" y="connsiteY433"/>
                    </a:cxn>
                    <a:cxn ang="0">
                      <a:pos x="connsiteX434" y="connsiteY434"/>
                    </a:cxn>
                    <a:cxn ang="0">
                      <a:pos x="connsiteX435" y="connsiteY435"/>
                    </a:cxn>
                    <a:cxn ang="0">
                      <a:pos x="connsiteX436" y="connsiteY436"/>
                    </a:cxn>
                    <a:cxn ang="0">
                      <a:pos x="connsiteX437" y="connsiteY437"/>
                    </a:cxn>
                    <a:cxn ang="0">
                      <a:pos x="connsiteX438" y="connsiteY438"/>
                    </a:cxn>
                    <a:cxn ang="0">
                      <a:pos x="connsiteX439" y="connsiteY439"/>
                    </a:cxn>
                    <a:cxn ang="0">
                      <a:pos x="connsiteX440" y="connsiteY440"/>
                    </a:cxn>
                    <a:cxn ang="0">
                      <a:pos x="connsiteX441" y="connsiteY441"/>
                    </a:cxn>
                    <a:cxn ang="0">
                      <a:pos x="connsiteX442" y="connsiteY442"/>
                    </a:cxn>
                    <a:cxn ang="0">
                      <a:pos x="connsiteX443" y="connsiteY443"/>
                    </a:cxn>
                    <a:cxn ang="0">
                      <a:pos x="connsiteX444" y="connsiteY444"/>
                    </a:cxn>
                    <a:cxn ang="0">
                      <a:pos x="connsiteX445" y="connsiteY445"/>
                    </a:cxn>
                    <a:cxn ang="0">
                      <a:pos x="connsiteX446" y="connsiteY446"/>
                    </a:cxn>
                    <a:cxn ang="0">
                      <a:pos x="connsiteX447" y="connsiteY447"/>
                    </a:cxn>
                    <a:cxn ang="0">
                      <a:pos x="connsiteX448" y="connsiteY448"/>
                    </a:cxn>
                    <a:cxn ang="0">
                      <a:pos x="connsiteX449" y="connsiteY449"/>
                    </a:cxn>
                    <a:cxn ang="0">
                      <a:pos x="connsiteX450" y="connsiteY450"/>
                    </a:cxn>
                    <a:cxn ang="0">
                      <a:pos x="connsiteX451" y="connsiteY451"/>
                    </a:cxn>
                    <a:cxn ang="0">
                      <a:pos x="connsiteX452" y="connsiteY452"/>
                    </a:cxn>
                    <a:cxn ang="0">
                      <a:pos x="connsiteX453" y="connsiteY453"/>
                    </a:cxn>
                    <a:cxn ang="0">
                      <a:pos x="connsiteX454" y="connsiteY454"/>
                    </a:cxn>
                    <a:cxn ang="0">
                      <a:pos x="connsiteX455" y="connsiteY455"/>
                    </a:cxn>
                    <a:cxn ang="0">
                      <a:pos x="connsiteX456" y="connsiteY456"/>
                    </a:cxn>
                    <a:cxn ang="0">
                      <a:pos x="connsiteX457" y="connsiteY457"/>
                    </a:cxn>
                    <a:cxn ang="0">
                      <a:pos x="connsiteX458" y="connsiteY458"/>
                    </a:cxn>
                    <a:cxn ang="0">
                      <a:pos x="connsiteX459" y="connsiteY459"/>
                    </a:cxn>
                    <a:cxn ang="0">
                      <a:pos x="connsiteX460" y="connsiteY460"/>
                    </a:cxn>
                    <a:cxn ang="0">
                      <a:pos x="connsiteX461" y="connsiteY461"/>
                    </a:cxn>
                    <a:cxn ang="0">
                      <a:pos x="connsiteX462" y="connsiteY462"/>
                    </a:cxn>
                    <a:cxn ang="0">
                      <a:pos x="connsiteX463" y="connsiteY463"/>
                    </a:cxn>
                    <a:cxn ang="0">
                      <a:pos x="connsiteX464" y="connsiteY464"/>
                    </a:cxn>
                    <a:cxn ang="0">
                      <a:pos x="connsiteX465" y="connsiteY465"/>
                    </a:cxn>
                    <a:cxn ang="0">
                      <a:pos x="connsiteX466" y="connsiteY466"/>
                    </a:cxn>
                    <a:cxn ang="0">
                      <a:pos x="connsiteX467" y="connsiteY467"/>
                    </a:cxn>
                    <a:cxn ang="0">
                      <a:pos x="connsiteX468" y="connsiteY468"/>
                    </a:cxn>
                    <a:cxn ang="0">
                      <a:pos x="connsiteX469" y="connsiteY469"/>
                    </a:cxn>
                    <a:cxn ang="0">
                      <a:pos x="connsiteX470" y="connsiteY470"/>
                    </a:cxn>
                    <a:cxn ang="0">
                      <a:pos x="connsiteX471" y="connsiteY471"/>
                    </a:cxn>
                    <a:cxn ang="0">
                      <a:pos x="connsiteX472" y="connsiteY472"/>
                    </a:cxn>
                    <a:cxn ang="0">
                      <a:pos x="connsiteX473" y="connsiteY473"/>
                    </a:cxn>
                    <a:cxn ang="0">
                      <a:pos x="connsiteX474" y="connsiteY474"/>
                    </a:cxn>
                    <a:cxn ang="0">
                      <a:pos x="connsiteX475" y="connsiteY475"/>
                    </a:cxn>
                    <a:cxn ang="0">
                      <a:pos x="connsiteX476" y="connsiteY476"/>
                    </a:cxn>
                    <a:cxn ang="0">
                      <a:pos x="connsiteX477" y="connsiteY477"/>
                    </a:cxn>
                    <a:cxn ang="0">
                      <a:pos x="connsiteX478" y="connsiteY478"/>
                    </a:cxn>
                    <a:cxn ang="0">
                      <a:pos x="connsiteX479" y="connsiteY479"/>
                    </a:cxn>
                    <a:cxn ang="0">
                      <a:pos x="connsiteX480" y="connsiteY480"/>
                    </a:cxn>
                    <a:cxn ang="0">
                      <a:pos x="connsiteX481" y="connsiteY481"/>
                    </a:cxn>
                    <a:cxn ang="0">
                      <a:pos x="connsiteX482" y="connsiteY482"/>
                    </a:cxn>
                    <a:cxn ang="0">
                      <a:pos x="connsiteX483" y="connsiteY483"/>
                    </a:cxn>
                    <a:cxn ang="0">
                      <a:pos x="connsiteX484" y="connsiteY484"/>
                    </a:cxn>
                    <a:cxn ang="0">
                      <a:pos x="connsiteX485" y="connsiteY485"/>
                    </a:cxn>
                    <a:cxn ang="0">
                      <a:pos x="connsiteX486" y="connsiteY486"/>
                    </a:cxn>
                    <a:cxn ang="0">
                      <a:pos x="connsiteX487" y="connsiteY487"/>
                    </a:cxn>
                    <a:cxn ang="0">
                      <a:pos x="connsiteX488" y="connsiteY488"/>
                    </a:cxn>
                    <a:cxn ang="0">
                      <a:pos x="connsiteX489" y="connsiteY489"/>
                    </a:cxn>
                    <a:cxn ang="0">
                      <a:pos x="connsiteX490" y="connsiteY490"/>
                    </a:cxn>
                    <a:cxn ang="0">
                      <a:pos x="connsiteX491" y="connsiteY491"/>
                    </a:cxn>
                    <a:cxn ang="0">
                      <a:pos x="connsiteX492" y="connsiteY492"/>
                    </a:cxn>
                    <a:cxn ang="0">
                      <a:pos x="connsiteX493" y="connsiteY493"/>
                    </a:cxn>
                    <a:cxn ang="0">
                      <a:pos x="connsiteX494" y="connsiteY494"/>
                    </a:cxn>
                    <a:cxn ang="0">
                      <a:pos x="connsiteX495" y="connsiteY495"/>
                    </a:cxn>
                    <a:cxn ang="0">
                      <a:pos x="connsiteX496" y="connsiteY496"/>
                    </a:cxn>
                    <a:cxn ang="0">
                      <a:pos x="connsiteX497" y="connsiteY497"/>
                    </a:cxn>
                    <a:cxn ang="0">
                      <a:pos x="connsiteX498" y="connsiteY498"/>
                    </a:cxn>
                    <a:cxn ang="0">
                      <a:pos x="connsiteX499" y="connsiteY499"/>
                    </a:cxn>
                    <a:cxn ang="0">
                      <a:pos x="connsiteX500" y="connsiteY500"/>
                    </a:cxn>
                    <a:cxn ang="0">
                      <a:pos x="connsiteX501" y="connsiteY501"/>
                    </a:cxn>
                    <a:cxn ang="0">
                      <a:pos x="connsiteX502" y="connsiteY502"/>
                    </a:cxn>
                    <a:cxn ang="0">
                      <a:pos x="connsiteX503" y="connsiteY503"/>
                    </a:cxn>
                    <a:cxn ang="0">
                      <a:pos x="connsiteX504" y="connsiteY504"/>
                    </a:cxn>
                    <a:cxn ang="0">
                      <a:pos x="connsiteX505" y="connsiteY505"/>
                    </a:cxn>
                    <a:cxn ang="0">
                      <a:pos x="connsiteX506" y="connsiteY506"/>
                    </a:cxn>
                    <a:cxn ang="0">
                      <a:pos x="connsiteX507" y="connsiteY507"/>
                    </a:cxn>
                    <a:cxn ang="0">
                      <a:pos x="connsiteX508" y="connsiteY508"/>
                    </a:cxn>
                    <a:cxn ang="0">
                      <a:pos x="connsiteX509" y="connsiteY509"/>
                    </a:cxn>
                    <a:cxn ang="0">
                      <a:pos x="connsiteX510" y="connsiteY510"/>
                    </a:cxn>
                    <a:cxn ang="0">
                      <a:pos x="connsiteX511" y="connsiteY511"/>
                    </a:cxn>
                    <a:cxn ang="0">
                      <a:pos x="connsiteX512" y="connsiteY512"/>
                    </a:cxn>
                    <a:cxn ang="0">
                      <a:pos x="connsiteX513" y="connsiteY513"/>
                    </a:cxn>
                    <a:cxn ang="0">
                      <a:pos x="connsiteX514" y="connsiteY514"/>
                    </a:cxn>
                    <a:cxn ang="0">
                      <a:pos x="connsiteX515" y="connsiteY515"/>
                    </a:cxn>
                    <a:cxn ang="0">
                      <a:pos x="connsiteX516" y="connsiteY516"/>
                    </a:cxn>
                    <a:cxn ang="0">
                      <a:pos x="connsiteX517" y="connsiteY517"/>
                    </a:cxn>
                    <a:cxn ang="0">
                      <a:pos x="connsiteX518" y="connsiteY518"/>
                    </a:cxn>
                    <a:cxn ang="0">
                      <a:pos x="connsiteX519" y="connsiteY519"/>
                    </a:cxn>
                    <a:cxn ang="0">
                      <a:pos x="connsiteX520" y="connsiteY520"/>
                    </a:cxn>
                    <a:cxn ang="0">
                      <a:pos x="connsiteX521" y="connsiteY521"/>
                    </a:cxn>
                    <a:cxn ang="0">
                      <a:pos x="connsiteX522" y="connsiteY522"/>
                    </a:cxn>
                    <a:cxn ang="0">
                      <a:pos x="connsiteX523" y="connsiteY523"/>
                    </a:cxn>
                    <a:cxn ang="0">
                      <a:pos x="connsiteX524" y="connsiteY524"/>
                    </a:cxn>
                    <a:cxn ang="0">
                      <a:pos x="connsiteX525" y="connsiteY525"/>
                    </a:cxn>
                    <a:cxn ang="0">
                      <a:pos x="connsiteX526" y="connsiteY526"/>
                    </a:cxn>
                    <a:cxn ang="0">
                      <a:pos x="connsiteX527" y="connsiteY527"/>
                    </a:cxn>
                    <a:cxn ang="0">
                      <a:pos x="connsiteX528" y="connsiteY528"/>
                    </a:cxn>
                    <a:cxn ang="0">
                      <a:pos x="connsiteX529" y="connsiteY529"/>
                    </a:cxn>
                    <a:cxn ang="0">
                      <a:pos x="connsiteX530" y="connsiteY530"/>
                    </a:cxn>
                    <a:cxn ang="0">
                      <a:pos x="connsiteX531" y="connsiteY531"/>
                    </a:cxn>
                    <a:cxn ang="0">
                      <a:pos x="connsiteX532" y="connsiteY532"/>
                    </a:cxn>
                    <a:cxn ang="0">
                      <a:pos x="connsiteX533" y="connsiteY533"/>
                    </a:cxn>
                    <a:cxn ang="0">
                      <a:pos x="connsiteX534" y="connsiteY534"/>
                    </a:cxn>
                    <a:cxn ang="0">
                      <a:pos x="connsiteX535" y="connsiteY535"/>
                    </a:cxn>
                    <a:cxn ang="0">
                      <a:pos x="connsiteX536" y="connsiteY536"/>
                    </a:cxn>
                    <a:cxn ang="0">
                      <a:pos x="connsiteX537" y="connsiteY537"/>
                    </a:cxn>
                    <a:cxn ang="0">
                      <a:pos x="connsiteX538" y="connsiteY538"/>
                    </a:cxn>
                    <a:cxn ang="0">
                      <a:pos x="connsiteX539" y="connsiteY539"/>
                    </a:cxn>
                    <a:cxn ang="0">
                      <a:pos x="connsiteX540" y="connsiteY540"/>
                    </a:cxn>
                    <a:cxn ang="0">
                      <a:pos x="connsiteX541" y="connsiteY541"/>
                    </a:cxn>
                    <a:cxn ang="0">
                      <a:pos x="connsiteX542" y="connsiteY542"/>
                    </a:cxn>
                    <a:cxn ang="0">
                      <a:pos x="connsiteX543" y="connsiteY543"/>
                    </a:cxn>
                    <a:cxn ang="0">
                      <a:pos x="connsiteX544" y="connsiteY544"/>
                    </a:cxn>
                    <a:cxn ang="0">
                      <a:pos x="connsiteX545" y="connsiteY545"/>
                    </a:cxn>
                    <a:cxn ang="0">
                      <a:pos x="connsiteX546" y="connsiteY546"/>
                    </a:cxn>
                    <a:cxn ang="0">
                      <a:pos x="connsiteX547" y="connsiteY547"/>
                    </a:cxn>
                    <a:cxn ang="0">
                      <a:pos x="connsiteX548" y="connsiteY548"/>
                    </a:cxn>
                    <a:cxn ang="0">
                      <a:pos x="connsiteX549" y="connsiteY549"/>
                    </a:cxn>
                    <a:cxn ang="0">
                      <a:pos x="connsiteX550" y="connsiteY550"/>
                    </a:cxn>
                    <a:cxn ang="0">
                      <a:pos x="connsiteX551" y="connsiteY551"/>
                    </a:cxn>
                    <a:cxn ang="0">
                      <a:pos x="connsiteX552" y="connsiteY552"/>
                    </a:cxn>
                    <a:cxn ang="0">
                      <a:pos x="connsiteX553" y="connsiteY553"/>
                    </a:cxn>
                    <a:cxn ang="0">
                      <a:pos x="connsiteX554" y="connsiteY554"/>
                    </a:cxn>
                    <a:cxn ang="0">
                      <a:pos x="connsiteX555" y="connsiteY555"/>
                    </a:cxn>
                    <a:cxn ang="0">
                      <a:pos x="connsiteX556" y="connsiteY556"/>
                    </a:cxn>
                    <a:cxn ang="0">
                      <a:pos x="connsiteX557" y="connsiteY557"/>
                    </a:cxn>
                    <a:cxn ang="0">
                      <a:pos x="connsiteX558" y="connsiteY558"/>
                    </a:cxn>
                    <a:cxn ang="0">
                      <a:pos x="connsiteX559" y="connsiteY559"/>
                    </a:cxn>
                    <a:cxn ang="0">
                      <a:pos x="connsiteX560" y="connsiteY560"/>
                    </a:cxn>
                    <a:cxn ang="0">
                      <a:pos x="connsiteX561" y="connsiteY561"/>
                    </a:cxn>
                    <a:cxn ang="0">
                      <a:pos x="connsiteX562" y="connsiteY562"/>
                    </a:cxn>
                    <a:cxn ang="0">
                      <a:pos x="connsiteX563" y="connsiteY563"/>
                    </a:cxn>
                    <a:cxn ang="0">
                      <a:pos x="connsiteX564" y="connsiteY564"/>
                    </a:cxn>
                    <a:cxn ang="0">
                      <a:pos x="connsiteX565" y="connsiteY565"/>
                    </a:cxn>
                    <a:cxn ang="0">
                      <a:pos x="connsiteX566" y="connsiteY566"/>
                    </a:cxn>
                    <a:cxn ang="0">
                      <a:pos x="connsiteX567" y="connsiteY567"/>
                    </a:cxn>
                    <a:cxn ang="0">
                      <a:pos x="connsiteX568" y="connsiteY568"/>
                    </a:cxn>
                    <a:cxn ang="0">
                      <a:pos x="connsiteX569" y="connsiteY569"/>
                    </a:cxn>
                    <a:cxn ang="0">
                      <a:pos x="connsiteX570" y="connsiteY570"/>
                    </a:cxn>
                    <a:cxn ang="0">
                      <a:pos x="connsiteX571" y="connsiteY571"/>
                    </a:cxn>
                    <a:cxn ang="0">
                      <a:pos x="connsiteX572" y="connsiteY572"/>
                    </a:cxn>
                    <a:cxn ang="0">
                      <a:pos x="connsiteX573" y="connsiteY573"/>
                    </a:cxn>
                    <a:cxn ang="0">
                      <a:pos x="connsiteX574" y="connsiteY574"/>
                    </a:cxn>
                    <a:cxn ang="0">
                      <a:pos x="connsiteX575" y="connsiteY575"/>
                    </a:cxn>
                    <a:cxn ang="0">
                      <a:pos x="connsiteX576" y="connsiteY576"/>
                    </a:cxn>
                    <a:cxn ang="0">
                      <a:pos x="connsiteX577" y="connsiteY577"/>
                    </a:cxn>
                    <a:cxn ang="0">
                      <a:pos x="connsiteX578" y="connsiteY578"/>
                    </a:cxn>
                    <a:cxn ang="0">
                      <a:pos x="connsiteX579" y="connsiteY579"/>
                    </a:cxn>
                    <a:cxn ang="0">
                      <a:pos x="connsiteX580" y="connsiteY580"/>
                    </a:cxn>
                    <a:cxn ang="0">
                      <a:pos x="connsiteX581" y="connsiteY581"/>
                    </a:cxn>
                    <a:cxn ang="0">
                      <a:pos x="connsiteX582" y="connsiteY582"/>
                    </a:cxn>
                    <a:cxn ang="0">
                      <a:pos x="connsiteX583" y="connsiteY583"/>
                    </a:cxn>
                    <a:cxn ang="0">
                      <a:pos x="connsiteX584" y="connsiteY584"/>
                    </a:cxn>
                    <a:cxn ang="0">
                      <a:pos x="connsiteX585" y="connsiteY585"/>
                    </a:cxn>
                    <a:cxn ang="0">
                      <a:pos x="connsiteX586" y="connsiteY586"/>
                    </a:cxn>
                    <a:cxn ang="0">
                      <a:pos x="connsiteX587" y="connsiteY587"/>
                    </a:cxn>
                    <a:cxn ang="0">
                      <a:pos x="connsiteX588" y="connsiteY588"/>
                    </a:cxn>
                    <a:cxn ang="0">
                      <a:pos x="connsiteX589" y="connsiteY589"/>
                    </a:cxn>
                    <a:cxn ang="0">
                      <a:pos x="connsiteX590" y="connsiteY590"/>
                    </a:cxn>
                    <a:cxn ang="0">
                      <a:pos x="connsiteX591" y="connsiteY591"/>
                    </a:cxn>
                    <a:cxn ang="0">
                      <a:pos x="connsiteX592" y="connsiteY592"/>
                    </a:cxn>
                    <a:cxn ang="0">
                      <a:pos x="connsiteX593" y="connsiteY593"/>
                    </a:cxn>
                    <a:cxn ang="0">
                      <a:pos x="connsiteX594" y="connsiteY594"/>
                    </a:cxn>
                    <a:cxn ang="0">
                      <a:pos x="connsiteX595" y="connsiteY595"/>
                    </a:cxn>
                    <a:cxn ang="0">
                      <a:pos x="connsiteX596" y="connsiteY596"/>
                    </a:cxn>
                    <a:cxn ang="0">
                      <a:pos x="connsiteX597" y="connsiteY597"/>
                    </a:cxn>
                    <a:cxn ang="0">
                      <a:pos x="connsiteX598" y="connsiteY598"/>
                    </a:cxn>
                    <a:cxn ang="0">
                      <a:pos x="connsiteX599" y="connsiteY599"/>
                    </a:cxn>
                    <a:cxn ang="0">
                      <a:pos x="connsiteX600" y="connsiteY600"/>
                    </a:cxn>
                    <a:cxn ang="0">
                      <a:pos x="connsiteX601" y="connsiteY601"/>
                    </a:cxn>
                    <a:cxn ang="0">
                      <a:pos x="connsiteX602" y="connsiteY602"/>
                    </a:cxn>
                    <a:cxn ang="0">
                      <a:pos x="connsiteX603" y="connsiteY603"/>
                    </a:cxn>
                    <a:cxn ang="0">
                      <a:pos x="connsiteX604" y="connsiteY604"/>
                    </a:cxn>
                    <a:cxn ang="0">
                      <a:pos x="connsiteX605" y="connsiteY605"/>
                    </a:cxn>
                    <a:cxn ang="0">
                      <a:pos x="connsiteX606" y="connsiteY606"/>
                    </a:cxn>
                    <a:cxn ang="0">
                      <a:pos x="connsiteX607" y="connsiteY607"/>
                    </a:cxn>
                    <a:cxn ang="0">
                      <a:pos x="connsiteX608" y="connsiteY608"/>
                    </a:cxn>
                    <a:cxn ang="0">
                      <a:pos x="connsiteX609" y="connsiteY609"/>
                    </a:cxn>
                    <a:cxn ang="0">
                      <a:pos x="connsiteX610" y="connsiteY610"/>
                    </a:cxn>
                    <a:cxn ang="0">
                      <a:pos x="connsiteX611" y="connsiteY611"/>
                    </a:cxn>
                    <a:cxn ang="0">
                      <a:pos x="connsiteX612" y="connsiteY612"/>
                    </a:cxn>
                    <a:cxn ang="0">
                      <a:pos x="connsiteX613" y="connsiteY613"/>
                    </a:cxn>
                    <a:cxn ang="0">
                      <a:pos x="connsiteX614" y="connsiteY614"/>
                    </a:cxn>
                    <a:cxn ang="0">
                      <a:pos x="connsiteX615" y="connsiteY615"/>
                    </a:cxn>
                    <a:cxn ang="0">
                      <a:pos x="connsiteX616" y="connsiteY616"/>
                    </a:cxn>
                    <a:cxn ang="0">
                      <a:pos x="connsiteX617" y="connsiteY617"/>
                    </a:cxn>
                    <a:cxn ang="0">
                      <a:pos x="connsiteX618" y="connsiteY618"/>
                    </a:cxn>
                    <a:cxn ang="0">
                      <a:pos x="connsiteX619" y="connsiteY619"/>
                    </a:cxn>
                    <a:cxn ang="0">
                      <a:pos x="connsiteX620" y="connsiteY620"/>
                    </a:cxn>
                    <a:cxn ang="0">
                      <a:pos x="connsiteX621" y="connsiteY621"/>
                    </a:cxn>
                    <a:cxn ang="0">
                      <a:pos x="connsiteX622" y="connsiteY622"/>
                    </a:cxn>
                    <a:cxn ang="0">
                      <a:pos x="connsiteX623" y="connsiteY623"/>
                    </a:cxn>
                    <a:cxn ang="0">
                      <a:pos x="connsiteX624" y="connsiteY624"/>
                    </a:cxn>
                    <a:cxn ang="0">
                      <a:pos x="connsiteX625" y="connsiteY625"/>
                    </a:cxn>
                    <a:cxn ang="0">
                      <a:pos x="connsiteX626" y="connsiteY626"/>
                    </a:cxn>
                    <a:cxn ang="0">
                      <a:pos x="connsiteX627" y="connsiteY627"/>
                    </a:cxn>
                    <a:cxn ang="0">
                      <a:pos x="connsiteX628" y="connsiteY628"/>
                    </a:cxn>
                    <a:cxn ang="0">
                      <a:pos x="connsiteX629" y="connsiteY629"/>
                    </a:cxn>
                    <a:cxn ang="0">
                      <a:pos x="connsiteX630" y="connsiteY630"/>
                    </a:cxn>
                    <a:cxn ang="0">
                      <a:pos x="connsiteX631" y="connsiteY631"/>
                    </a:cxn>
                    <a:cxn ang="0">
                      <a:pos x="connsiteX632" y="connsiteY632"/>
                    </a:cxn>
                    <a:cxn ang="0">
                      <a:pos x="connsiteX633" y="connsiteY633"/>
                    </a:cxn>
                    <a:cxn ang="0">
                      <a:pos x="connsiteX634" y="connsiteY634"/>
                    </a:cxn>
                    <a:cxn ang="0">
                      <a:pos x="connsiteX635" y="connsiteY635"/>
                    </a:cxn>
                    <a:cxn ang="0">
                      <a:pos x="connsiteX636" y="connsiteY636"/>
                    </a:cxn>
                    <a:cxn ang="0">
                      <a:pos x="connsiteX637" y="connsiteY637"/>
                    </a:cxn>
                    <a:cxn ang="0">
                      <a:pos x="connsiteX638" y="connsiteY638"/>
                    </a:cxn>
                    <a:cxn ang="0">
                      <a:pos x="connsiteX639" y="connsiteY639"/>
                    </a:cxn>
                    <a:cxn ang="0">
                      <a:pos x="connsiteX640" y="connsiteY640"/>
                    </a:cxn>
                    <a:cxn ang="0">
                      <a:pos x="connsiteX641" y="connsiteY641"/>
                    </a:cxn>
                    <a:cxn ang="0">
                      <a:pos x="connsiteX642" y="connsiteY642"/>
                    </a:cxn>
                    <a:cxn ang="0">
                      <a:pos x="connsiteX643" y="connsiteY643"/>
                    </a:cxn>
                    <a:cxn ang="0">
                      <a:pos x="connsiteX644" y="connsiteY644"/>
                    </a:cxn>
                    <a:cxn ang="0">
                      <a:pos x="connsiteX645" y="connsiteY645"/>
                    </a:cxn>
                    <a:cxn ang="0">
                      <a:pos x="connsiteX646" y="connsiteY646"/>
                    </a:cxn>
                    <a:cxn ang="0">
                      <a:pos x="connsiteX647" y="connsiteY647"/>
                    </a:cxn>
                    <a:cxn ang="0">
                      <a:pos x="connsiteX648" y="connsiteY648"/>
                    </a:cxn>
                    <a:cxn ang="0">
                      <a:pos x="connsiteX649" y="connsiteY649"/>
                    </a:cxn>
                    <a:cxn ang="0">
                      <a:pos x="connsiteX650" y="connsiteY650"/>
                    </a:cxn>
                    <a:cxn ang="0">
                      <a:pos x="connsiteX651" y="connsiteY651"/>
                    </a:cxn>
                    <a:cxn ang="0">
                      <a:pos x="connsiteX652" y="connsiteY652"/>
                    </a:cxn>
                    <a:cxn ang="0">
                      <a:pos x="connsiteX653" y="connsiteY653"/>
                    </a:cxn>
                    <a:cxn ang="0">
                      <a:pos x="connsiteX654" y="connsiteY654"/>
                    </a:cxn>
                    <a:cxn ang="0">
                      <a:pos x="connsiteX655" y="connsiteY655"/>
                    </a:cxn>
                    <a:cxn ang="0">
                      <a:pos x="connsiteX656" y="connsiteY656"/>
                    </a:cxn>
                    <a:cxn ang="0">
                      <a:pos x="connsiteX657" y="connsiteY657"/>
                    </a:cxn>
                    <a:cxn ang="0">
                      <a:pos x="connsiteX658" y="connsiteY658"/>
                    </a:cxn>
                    <a:cxn ang="0">
                      <a:pos x="connsiteX659" y="connsiteY659"/>
                    </a:cxn>
                    <a:cxn ang="0">
                      <a:pos x="connsiteX660" y="connsiteY660"/>
                    </a:cxn>
                    <a:cxn ang="0">
                      <a:pos x="connsiteX661" y="connsiteY661"/>
                    </a:cxn>
                    <a:cxn ang="0">
                      <a:pos x="connsiteX662" y="connsiteY662"/>
                    </a:cxn>
                    <a:cxn ang="0">
                      <a:pos x="connsiteX663" y="connsiteY663"/>
                    </a:cxn>
                    <a:cxn ang="0">
                      <a:pos x="connsiteX664" y="connsiteY664"/>
                    </a:cxn>
                    <a:cxn ang="0">
                      <a:pos x="connsiteX665" y="connsiteY665"/>
                    </a:cxn>
                    <a:cxn ang="0">
                      <a:pos x="connsiteX666" y="connsiteY666"/>
                    </a:cxn>
                    <a:cxn ang="0">
                      <a:pos x="connsiteX667" y="connsiteY667"/>
                    </a:cxn>
                    <a:cxn ang="0">
                      <a:pos x="connsiteX668" y="connsiteY668"/>
                    </a:cxn>
                    <a:cxn ang="0">
                      <a:pos x="connsiteX669" y="connsiteY669"/>
                    </a:cxn>
                    <a:cxn ang="0">
                      <a:pos x="connsiteX670" y="connsiteY670"/>
                    </a:cxn>
                    <a:cxn ang="0">
                      <a:pos x="connsiteX671" y="connsiteY671"/>
                    </a:cxn>
                    <a:cxn ang="0">
                      <a:pos x="connsiteX672" y="connsiteY672"/>
                    </a:cxn>
                    <a:cxn ang="0">
                      <a:pos x="connsiteX673" y="connsiteY673"/>
                    </a:cxn>
                    <a:cxn ang="0">
                      <a:pos x="connsiteX674" y="connsiteY674"/>
                    </a:cxn>
                    <a:cxn ang="0">
                      <a:pos x="connsiteX675" y="connsiteY675"/>
                    </a:cxn>
                    <a:cxn ang="0">
                      <a:pos x="connsiteX676" y="connsiteY676"/>
                    </a:cxn>
                    <a:cxn ang="0">
                      <a:pos x="connsiteX677" y="connsiteY677"/>
                    </a:cxn>
                    <a:cxn ang="0">
                      <a:pos x="connsiteX678" y="connsiteY678"/>
                    </a:cxn>
                    <a:cxn ang="0">
                      <a:pos x="connsiteX679" y="connsiteY679"/>
                    </a:cxn>
                    <a:cxn ang="0">
                      <a:pos x="connsiteX680" y="connsiteY680"/>
                    </a:cxn>
                    <a:cxn ang="0">
                      <a:pos x="connsiteX681" y="connsiteY681"/>
                    </a:cxn>
                    <a:cxn ang="0">
                      <a:pos x="connsiteX682" y="connsiteY682"/>
                    </a:cxn>
                    <a:cxn ang="0">
                      <a:pos x="connsiteX683" y="connsiteY683"/>
                    </a:cxn>
                    <a:cxn ang="0">
                      <a:pos x="connsiteX684" y="connsiteY684"/>
                    </a:cxn>
                    <a:cxn ang="0">
                      <a:pos x="connsiteX685" y="connsiteY685"/>
                    </a:cxn>
                    <a:cxn ang="0">
                      <a:pos x="connsiteX686" y="connsiteY686"/>
                    </a:cxn>
                    <a:cxn ang="0">
                      <a:pos x="connsiteX687" y="connsiteY687"/>
                    </a:cxn>
                    <a:cxn ang="0">
                      <a:pos x="connsiteX688" y="connsiteY688"/>
                    </a:cxn>
                    <a:cxn ang="0">
                      <a:pos x="connsiteX689" y="connsiteY689"/>
                    </a:cxn>
                    <a:cxn ang="0">
                      <a:pos x="connsiteX690" y="connsiteY690"/>
                    </a:cxn>
                    <a:cxn ang="0">
                      <a:pos x="connsiteX691" y="connsiteY691"/>
                    </a:cxn>
                    <a:cxn ang="0">
                      <a:pos x="connsiteX692" y="connsiteY692"/>
                    </a:cxn>
                    <a:cxn ang="0">
                      <a:pos x="connsiteX693" y="connsiteY693"/>
                    </a:cxn>
                    <a:cxn ang="0">
                      <a:pos x="connsiteX694" y="connsiteY694"/>
                    </a:cxn>
                    <a:cxn ang="0">
                      <a:pos x="connsiteX695" y="connsiteY695"/>
                    </a:cxn>
                    <a:cxn ang="0">
                      <a:pos x="connsiteX696" y="connsiteY696"/>
                    </a:cxn>
                    <a:cxn ang="0">
                      <a:pos x="connsiteX697" y="connsiteY697"/>
                    </a:cxn>
                    <a:cxn ang="0">
                      <a:pos x="connsiteX698" y="connsiteY698"/>
                    </a:cxn>
                    <a:cxn ang="0">
                      <a:pos x="connsiteX699" y="connsiteY699"/>
                    </a:cxn>
                    <a:cxn ang="0">
                      <a:pos x="connsiteX700" y="connsiteY700"/>
                    </a:cxn>
                    <a:cxn ang="0">
                      <a:pos x="connsiteX701" y="connsiteY701"/>
                    </a:cxn>
                    <a:cxn ang="0">
                      <a:pos x="connsiteX702" y="connsiteY702"/>
                    </a:cxn>
                    <a:cxn ang="0">
                      <a:pos x="connsiteX703" y="connsiteY703"/>
                    </a:cxn>
                    <a:cxn ang="0">
                      <a:pos x="connsiteX704" y="connsiteY704"/>
                    </a:cxn>
                    <a:cxn ang="0">
                      <a:pos x="connsiteX705" y="connsiteY705"/>
                    </a:cxn>
                    <a:cxn ang="0">
                      <a:pos x="connsiteX706" y="connsiteY706"/>
                    </a:cxn>
                    <a:cxn ang="0">
                      <a:pos x="connsiteX707" y="connsiteY707"/>
                    </a:cxn>
                    <a:cxn ang="0">
                      <a:pos x="connsiteX708" y="connsiteY708"/>
                    </a:cxn>
                    <a:cxn ang="0">
                      <a:pos x="connsiteX709" y="connsiteY709"/>
                    </a:cxn>
                    <a:cxn ang="0">
                      <a:pos x="connsiteX710" y="connsiteY710"/>
                    </a:cxn>
                    <a:cxn ang="0">
                      <a:pos x="connsiteX711" y="connsiteY711"/>
                    </a:cxn>
                    <a:cxn ang="0">
                      <a:pos x="connsiteX712" y="connsiteY712"/>
                    </a:cxn>
                    <a:cxn ang="0">
                      <a:pos x="connsiteX713" y="connsiteY713"/>
                    </a:cxn>
                    <a:cxn ang="0">
                      <a:pos x="connsiteX714" y="connsiteY714"/>
                    </a:cxn>
                    <a:cxn ang="0">
                      <a:pos x="connsiteX715" y="connsiteY715"/>
                    </a:cxn>
                    <a:cxn ang="0">
                      <a:pos x="connsiteX716" y="connsiteY716"/>
                    </a:cxn>
                    <a:cxn ang="0">
                      <a:pos x="connsiteX717" y="connsiteY717"/>
                    </a:cxn>
                    <a:cxn ang="0">
                      <a:pos x="connsiteX718" y="connsiteY718"/>
                    </a:cxn>
                    <a:cxn ang="0">
                      <a:pos x="connsiteX719" y="connsiteY719"/>
                    </a:cxn>
                    <a:cxn ang="0">
                      <a:pos x="connsiteX720" y="connsiteY720"/>
                    </a:cxn>
                    <a:cxn ang="0">
                      <a:pos x="connsiteX721" y="connsiteY721"/>
                    </a:cxn>
                    <a:cxn ang="0">
                      <a:pos x="connsiteX722" y="connsiteY722"/>
                    </a:cxn>
                    <a:cxn ang="0">
                      <a:pos x="connsiteX723" y="connsiteY723"/>
                    </a:cxn>
                    <a:cxn ang="0">
                      <a:pos x="connsiteX724" y="connsiteY724"/>
                    </a:cxn>
                    <a:cxn ang="0">
                      <a:pos x="connsiteX725" y="connsiteY725"/>
                    </a:cxn>
                    <a:cxn ang="0">
                      <a:pos x="connsiteX726" y="connsiteY726"/>
                    </a:cxn>
                    <a:cxn ang="0">
                      <a:pos x="connsiteX727" y="connsiteY727"/>
                    </a:cxn>
                    <a:cxn ang="0">
                      <a:pos x="connsiteX728" y="connsiteY728"/>
                    </a:cxn>
                    <a:cxn ang="0">
                      <a:pos x="connsiteX729" y="connsiteY729"/>
                    </a:cxn>
                    <a:cxn ang="0">
                      <a:pos x="connsiteX730" y="connsiteY730"/>
                    </a:cxn>
                    <a:cxn ang="0">
                      <a:pos x="connsiteX731" y="connsiteY731"/>
                    </a:cxn>
                    <a:cxn ang="0">
                      <a:pos x="connsiteX732" y="connsiteY732"/>
                    </a:cxn>
                    <a:cxn ang="0">
                      <a:pos x="connsiteX733" y="connsiteY733"/>
                    </a:cxn>
                    <a:cxn ang="0">
                      <a:pos x="connsiteX734" y="connsiteY734"/>
                    </a:cxn>
                    <a:cxn ang="0">
                      <a:pos x="connsiteX735" y="connsiteY735"/>
                    </a:cxn>
                    <a:cxn ang="0">
                      <a:pos x="connsiteX736" y="connsiteY736"/>
                    </a:cxn>
                    <a:cxn ang="0">
                      <a:pos x="connsiteX737" y="connsiteY737"/>
                    </a:cxn>
                    <a:cxn ang="0">
                      <a:pos x="connsiteX738" y="connsiteY738"/>
                    </a:cxn>
                    <a:cxn ang="0">
                      <a:pos x="connsiteX739" y="connsiteY739"/>
                    </a:cxn>
                    <a:cxn ang="0">
                      <a:pos x="connsiteX740" y="connsiteY740"/>
                    </a:cxn>
                    <a:cxn ang="0">
                      <a:pos x="connsiteX741" y="connsiteY741"/>
                    </a:cxn>
                    <a:cxn ang="0">
                      <a:pos x="connsiteX742" y="connsiteY742"/>
                    </a:cxn>
                    <a:cxn ang="0">
                      <a:pos x="connsiteX743" y="connsiteY743"/>
                    </a:cxn>
                    <a:cxn ang="0">
                      <a:pos x="connsiteX744" y="connsiteY744"/>
                    </a:cxn>
                    <a:cxn ang="0">
                      <a:pos x="connsiteX745" y="connsiteY745"/>
                    </a:cxn>
                    <a:cxn ang="0">
                      <a:pos x="connsiteX746" y="connsiteY746"/>
                    </a:cxn>
                    <a:cxn ang="0">
                      <a:pos x="connsiteX747" y="connsiteY747"/>
                    </a:cxn>
                    <a:cxn ang="0">
                      <a:pos x="connsiteX748" y="connsiteY748"/>
                    </a:cxn>
                    <a:cxn ang="0">
                      <a:pos x="connsiteX749" y="connsiteY749"/>
                    </a:cxn>
                    <a:cxn ang="0">
                      <a:pos x="connsiteX750" y="connsiteY750"/>
                    </a:cxn>
                    <a:cxn ang="0">
                      <a:pos x="connsiteX751" y="connsiteY751"/>
                    </a:cxn>
                    <a:cxn ang="0">
                      <a:pos x="connsiteX752" y="connsiteY752"/>
                    </a:cxn>
                    <a:cxn ang="0">
                      <a:pos x="connsiteX753" y="connsiteY753"/>
                    </a:cxn>
                    <a:cxn ang="0">
                      <a:pos x="connsiteX754" y="connsiteY754"/>
                    </a:cxn>
                    <a:cxn ang="0">
                      <a:pos x="connsiteX755" y="connsiteY755"/>
                    </a:cxn>
                    <a:cxn ang="0">
                      <a:pos x="connsiteX756" y="connsiteY756"/>
                    </a:cxn>
                    <a:cxn ang="0">
                      <a:pos x="connsiteX757" y="connsiteY757"/>
                    </a:cxn>
                    <a:cxn ang="0">
                      <a:pos x="connsiteX758" y="connsiteY758"/>
                    </a:cxn>
                    <a:cxn ang="0">
                      <a:pos x="connsiteX759" y="connsiteY759"/>
                    </a:cxn>
                    <a:cxn ang="0">
                      <a:pos x="connsiteX760" y="connsiteY760"/>
                    </a:cxn>
                    <a:cxn ang="0">
                      <a:pos x="connsiteX761" y="connsiteY761"/>
                    </a:cxn>
                    <a:cxn ang="0">
                      <a:pos x="connsiteX762" y="connsiteY762"/>
                    </a:cxn>
                    <a:cxn ang="0">
                      <a:pos x="connsiteX763" y="connsiteY763"/>
                    </a:cxn>
                    <a:cxn ang="0">
                      <a:pos x="connsiteX764" y="connsiteY764"/>
                    </a:cxn>
                    <a:cxn ang="0">
                      <a:pos x="connsiteX765" y="connsiteY765"/>
                    </a:cxn>
                    <a:cxn ang="0">
                      <a:pos x="connsiteX766" y="connsiteY766"/>
                    </a:cxn>
                    <a:cxn ang="0">
                      <a:pos x="connsiteX767" y="connsiteY767"/>
                    </a:cxn>
                    <a:cxn ang="0">
                      <a:pos x="connsiteX768" y="connsiteY768"/>
                    </a:cxn>
                  </a:cxnLst>
                  <a:rect l="l" t="t" r="r" b="b"/>
                  <a:pathLst>
                    <a:path w="976579" h="1165311">
                      <a:moveTo>
                        <a:pt x="972190" y="148133"/>
                      </a:moveTo>
                      <a:lnTo>
                        <a:pt x="956280" y="144292"/>
                      </a:lnTo>
                      <a:lnTo>
                        <a:pt x="954634" y="159106"/>
                      </a:lnTo>
                      <a:lnTo>
                        <a:pt x="950793" y="159106"/>
                      </a:lnTo>
                      <a:lnTo>
                        <a:pt x="951342" y="156362"/>
                      </a:lnTo>
                      <a:lnTo>
                        <a:pt x="944758" y="154168"/>
                      </a:lnTo>
                      <a:lnTo>
                        <a:pt x="942015" y="149779"/>
                      </a:lnTo>
                      <a:lnTo>
                        <a:pt x="942015" y="158557"/>
                      </a:lnTo>
                      <a:lnTo>
                        <a:pt x="940918" y="160203"/>
                      </a:lnTo>
                      <a:lnTo>
                        <a:pt x="937626" y="153619"/>
                      </a:lnTo>
                      <a:lnTo>
                        <a:pt x="928848" y="154717"/>
                      </a:lnTo>
                      <a:lnTo>
                        <a:pt x="921715" y="159106"/>
                      </a:lnTo>
                      <a:lnTo>
                        <a:pt x="924459" y="150876"/>
                      </a:lnTo>
                      <a:lnTo>
                        <a:pt x="929396" y="146487"/>
                      </a:lnTo>
                      <a:lnTo>
                        <a:pt x="934334" y="144841"/>
                      </a:lnTo>
                      <a:lnTo>
                        <a:pt x="936529" y="141001"/>
                      </a:lnTo>
                      <a:lnTo>
                        <a:pt x="935431" y="137160"/>
                      </a:lnTo>
                      <a:lnTo>
                        <a:pt x="931591" y="132222"/>
                      </a:lnTo>
                      <a:lnTo>
                        <a:pt x="917875" y="133868"/>
                      </a:lnTo>
                      <a:lnTo>
                        <a:pt x="920618" y="130028"/>
                      </a:lnTo>
                      <a:lnTo>
                        <a:pt x="916229" y="125639"/>
                      </a:lnTo>
                      <a:lnTo>
                        <a:pt x="907451" y="120701"/>
                      </a:lnTo>
                      <a:lnTo>
                        <a:pt x="900318" y="113569"/>
                      </a:lnTo>
                      <a:lnTo>
                        <a:pt x="890443" y="110825"/>
                      </a:lnTo>
                      <a:lnTo>
                        <a:pt x="887700" y="106985"/>
                      </a:lnTo>
                      <a:lnTo>
                        <a:pt x="888797" y="104790"/>
                      </a:lnTo>
                      <a:lnTo>
                        <a:pt x="888797" y="102047"/>
                      </a:lnTo>
                      <a:lnTo>
                        <a:pt x="938723" y="113569"/>
                      </a:lnTo>
                      <a:lnTo>
                        <a:pt x="963412" y="93817"/>
                      </a:lnTo>
                      <a:lnTo>
                        <a:pt x="971641" y="90526"/>
                      </a:lnTo>
                      <a:lnTo>
                        <a:pt x="976579" y="85588"/>
                      </a:lnTo>
                      <a:lnTo>
                        <a:pt x="974933" y="76261"/>
                      </a:lnTo>
                      <a:lnTo>
                        <a:pt x="967252" y="72421"/>
                      </a:lnTo>
                      <a:lnTo>
                        <a:pt x="961217" y="62545"/>
                      </a:lnTo>
                      <a:lnTo>
                        <a:pt x="950245" y="61996"/>
                      </a:lnTo>
                      <a:lnTo>
                        <a:pt x="944758" y="59253"/>
                      </a:lnTo>
                      <a:lnTo>
                        <a:pt x="950793" y="55413"/>
                      </a:lnTo>
                      <a:lnTo>
                        <a:pt x="940369" y="49378"/>
                      </a:lnTo>
                      <a:lnTo>
                        <a:pt x="936529" y="42794"/>
                      </a:lnTo>
                      <a:lnTo>
                        <a:pt x="932139" y="49378"/>
                      </a:lnTo>
                      <a:lnTo>
                        <a:pt x="927750" y="51024"/>
                      </a:lnTo>
                      <a:lnTo>
                        <a:pt x="927750" y="46086"/>
                      </a:lnTo>
                      <a:lnTo>
                        <a:pt x="926104" y="42794"/>
                      </a:lnTo>
                      <a:lnTo>
                        <a:pt x="912937" y="47732"/>
                      </a:lnTo>
                      <a:lnTo>
                        <a:pt x="911840" y="46086"/>
                      </a:lnTo>
                      <a:lnTo>
                        <a:pt x="911291" y="43343"/>
                      </a:lnTo>
                      <a:lnTo>
                        <a:pt x="911840" y="40051"/>
                      </a:lnTo>
                      <a:lnTo>
                        <a:pt x="911840" y="33467"/>
                      </a:lnTo>
                      <a:lnTo>
                        <a:pt x="909097" y="31273"/>
                      </a:lnTo>
                      <a:lnTo>
                        <a:pt x="906902" y="26335"/>
                      </a:lnTo>
                      <a:lnTo>
                        <a:pt x="900867" y="29078"/>
                      </a:lnTo>
                      <a:lnTo>
                        <a:pt x="896478" y="25786"/>
                      </a:lnTo>
                      <a:lnTo>
                        <a:pt x="890991" y="27432"/>
                      </a:lnTo>
                      <a:lnTo>
                        <a:pt x="884956" y="38405"/>
                      </a:lnTo>
                      <a:lnTo>
                        <a:pt x="884956" y="70775"/>
                      </a:lnTo>
                      <a:lnTo>
                        <a:pt x="876178" y="74615"/>
                      </a:lnTo>
                      <a:lnTo>
                        <a:pt x="870143" y="70226"/>
                      </a:lnTo>
                      <a:lnTo>
                        <a:pt x="862462" y="71872"/>
                      </a:lnTo>
                      <a:lnTo>
                        <a:pt x="860268" y="68580"/>
                      </a:lnTo>
                      <a:lnTo>
                        <a:pt x="867400" y="61996"/>
                      </a:lnTo>
                      <a:lnTo>
                        <a:pt x="873984" y="52121"/>
                      </a:lnTo>
                      <a:lnTo>
                        <a:pt x="871240" y="46086"/>
                      </a:lnTo>
                      <a:lnTo>
                        <a:pt x="860268" y="53218"/>
                      </a:lnTo>
                      <a:lnTo>
                        <a:pt x="854233" y="53218"/>
                      </a:lnTo>
                      <a:lnTo>
                        <a:pt x="864108" y="44989"/>
                      </a:lnTo>
                      <a:lnTo>
                        <a:pt x="858073" y="37308"/>
                      </a:lnTo>
                      <a:lnTo>
                        <a:pt x="862462" y="31821"/>
                      </a:lnTo>
                      <a:lnTo>
                        <a:pt x="874532" y="33467"/>
                      </a:lnTo>
                      <a:lnTo>
                        <a:pt x="879470" y="23592"/>
                      </a:lnTo>
                      <a:lnTo>
                        <a:pt x="880019" y="12619"/>
                      </a:lnTo>
                      <a:lnTo>
                        <a:pt x="871789" y="12619"/>
                      </a:lnTo>
                      <a:lnTo>
                        <a:pt x="872886" y="6035"/>
                      </a:lnTo>
                      <a:lnTo>
                        <a:pt x="867949" y="1646"/>
                      </a:lnTo>
                      <a:lnTo>
                        <a:pt x="864108" y="1646"/>
                      </a:lnTo>
                      <a:lnTo>
                        <a:pt x="855330" y="8778"/>
                      </a:lnTo>
                      <a:lnTo>
                        <a:pt x="847649" y="0"/>
                      </a:lnTo>
                      <a:lnTo>
                        <a:pt x="833384" y="46086"/>
                      </a:lnTo>
                      <a:lnTo>
                        <a:pt x="834481" y="53218"/>
                      </a:lnTo>
                      <a:lnTo>
                        <a:pt x="828995" y="53767"/>
                      </a:lnTo>
                      <a:lnTo>
                        <a:pt x="826801" y="60350"/>
                      </a:lnTo>
                      <a:lnTo>
                        <a:pt x="827349" y="70775"/>
                      </a:lnTo>
                      <a:lnTo>
                        <a:pt x="819120" y="70775"/>
                      </a:lnTo>
                      <a:lnTo>
                        <a:pt x="809244" y="81199"/>
                      </a:lnTo>
                      <a:lnTo>
                        <a:pt x="813633" y="58156"/>
                      </a:lnTo>
                      <a:lnTo>
                        <a:pt x="807049" y="48280"/>
                      </a:lnTo>
                      <a:lnTo>
                        <a:pt x="813085" y="42245"/>
                      </a:lnTo>
                      <a:lnTo>
                        <a:pt x="812536" y="19751"/>
                      </a:lnTo>
                      <a:lnTo>
                        <a:pt x="809244" y="18105"/>
                      </a:lnTo>
                      <a:lnTo>
                        <a:pt x="804855" y="20848"/>
                      </a:lnTo>
                      <a:lnTo>
                        <a:pt x="763158" y="96012"/>
                      </a:lnTo>
                      <a:lnTo>
                        <a:pt x="768645" y="89977"/>
                      </a:lnTo>
                      <a:lnTo>
                        <a:pt x="753831" y="114666"/>
                      </a:lnTo>
                      <a:lnTo>
                        <a:pt x="748345" y="117409"/>
                      </a:lnTo>
                      <a:lnTo>
                        <a:pt x="748345" y="100950"/>
                      </a:lnTo>
                      <a:lnTo>
                        <a:pt x="751637" y="95463"/>
                      </a:lnTo>
                      <a:lnTo>
                        <a:pt x="755477" y="93269"/>
                      </a:lnTo>
                      <a:lnTo>
                        <a:pt x="754929" y="88331"/>
                      </a:lnTo>
                      <a:lnTo>
                        <a:pt x="757123" y="76261"/>
                      </a:lnTo>
                      <a:lnTo>
                        <a:pt x="756026" y="71323"/>
                      </a:lnTo>
                      <a:lnTo>
                        <a:pt x="780715" y="29078"/>
                      </a:lnTo>
                      <a:lnTo>
                        <a:pt x="774131" y="25237"/>
                      </a:lnTo>
                      <a:lnTo>
                        <a:pt x="764256" y="32918"/>
                      </a:lnTo>
                      <a:lnTo>
                        <a:pt x="758221" y="34564"/>
                      </a:lnTo>
                      <a:lnTo>
                        <a:pt x="757123" y="25786"/>
                      </a:lnTo>
                      <a:lnTo>
                        <a:pt x="752734" y="22494"/>
                      </a:lnTo>
                      <a:lnTo>
                        <a:pt x="749991" y="18105"/>
                      </a:lnTo>
                      <a:lnTo>
                        <a:pt x="749442" y="13167"/>
                      </a:lnTo>
                      <a:lnTo>
                        <a:pt x="742859" y="21946"/>
                      </a:lnTo>
                      <a:lnTo>
                        <a:pt x="740664" y="17557"/>
                      </a:lnTo>
                      <a:lnTo>
                        <a:pt x="735726" y="17557"/>
                      </a:lnTo>
                      <a:lnTo>
                        <a:pt x="734629" y="34564"/>
                      </a:lnTo>
                      <a:lnTo>
                        <a:pt x="724753" y="31273"/>
                      </a:lnTo>
                      <a:lnTo>
                        <a:pt x="729143" y="40599"/>
                      </a:lnTo>
                      <a:lnTo>
                        <a:pt x="734629" y="46086"/>
                      </a:lnTo>
                      <a:lnTo>
                        <a:pt x="735726" y="49378"/>
                      </a:lnTo>
                      <a:lnTo>
                        <a:pt x="725851" y="53767"/>
                      </a:lnTo>
                      <a:lnTo>
                        <a:pt x="721462" y="61996"/>
                      </a:lnTo>
                      <a:lnTo>
                        <a:pt x="723656" y="71323"/>
                      </a:lnTo>
                      <a:lnTo>
                        <a:pt x="706648" y="71323"/>
                      </a:lnTo>
                      <a:lnTo>
                        <a:pt x="697870" y="80650"/>
                      </a:lnTo>
                      <a:lnTo>
                        <a:pt x="694578" y="88331"/>
                      </a:lnTo>
                      <a:lnTo>
                        <a:pt x="685800" y="98207"/>
                      </a:lnTo>
                      <a:lnTo>
                        <a:pt x="685251" y="102596"/>
                      </a:lnTo>
                      <a:lnTo>
                        <a:pt x="686897" y="108631"/>
                      </a:lnTo>
                      <a:lnTo>
                        <a:pt x="684154" y="125639"/>
                      </a:lnTo>
                      <a:lnTo>
                        <a:pt x="678668" y="126187"/>
                      </a:lnTo>
                      <a:lnTo>
                        <a:pt x="675376" y="122347"/>
                      </a:lnTo>
                      <a:lnTo>
                        <a:pt x="675376" y="115763"/>
                      </a:lnTo>
                      <a:lnTo>
                        <a:pt x="678668" y="113569"/>
                      </a:lnTo>
                      <a:lnTo>
                        <a:pt x="669889" y="110825"/>
                      </a:lnTo>
                      <a:lnTo>
                        <a:pt x="674279" y="103693"/>
                      </a:lnTo>
                      <a:lnTo>
                        <a:pt x="673730" y="102596"/>
                      </a:lnTo>
                      <a:lnTo>
                        <a:pt x="652882" y="99304"/>
                      </a:lnTo>
                      <a:lnTo>
                        <a:pt x="655076" y="108631"/>
                      </a:lnTo>
                      <a:lnTo>
                        <a:pt x="651784" y="109179"/>
                      </a:lnTo>
                      <a:lnTo>
                        <a:pt x="646298" y="106985"/>
                      </a:lnTo>
                      <a:lnTo>
                        <a:pt x="646298" y="102596"/>
                      </a:lnTo>
                      <a:lnTo>
                        <a:pt x="644103" y="95463"/>
                      </a:lnTo>
                      <a:lnTo>
                        <a:pt x="641360" y="97658"/>
                      </a:lnTo>
                      <a:lnTo>
                        <a:pt x="640263" y="90526"/>
                      </a:lnTo>
                      <a:lnTo>
                        <a:pt x="635874" y="94366"/>
                      </a:lnTo>
                      <a:lnTo>
                        <a:pt x="634228" y="90526"/>
                      </a:lnTo>
                      <a:lnTo>
                        <a:pt x="630936" y="94366"/>
                      </a:lnTo>
                      <a:lnTo>
                        <a:pt x="630387" y="106436"/>
                      </a:lnTo>
                      <a:lnTo>
                        <a:pt x="623255" y="92172"/>
                      </a:lnTo>
                      <a:lnTo>
                        <a:pt x="621061" y="89977"/>
                      </a:lnTo>
                      <a:lnTo>
                        <a:pt x="621061" y="107533"/>
                      </a:lnTo>
                      <a:lnTo>
                        <a:pt x="632582" y="114117"/>
                      </a:lnTo>
                      <a:lnTo>
                        <a:pt x="636971" y="114117"/>
                      </a:lnTo>
                      <a:lnTo>
                        <a:pt x="635325" y="136611"/>
                      </a:lnTo>
                      <a:lnTo>
                        <a:pt x="638068" y="144292"/>
                      </a:lnTo>
                      <a:lnTo>
                        <a:pt x="638068" y="154168"/>
                      </a:lnTo>
                      <a:lnTo>
                        <a:pt x="610088" y="119604"/>
                      </a:lnTo>
                      <a:lnTo>
                        <a:pt x="612831" y="133320"/>
                      </a:lnTo>
                      <a:lnTo>
                        <a:pt x="608991" y="132771"/>
                      </a:lnTo>
                      <a:lnTo>
                        <a:pt x="606796" y="139903"/>
                      </a:lnTo>
                      <a:lnTo>
                        <a:pt x="603504" y="139903"/>
                      </a:lnTo>
                      <a:lnTo>
                        <a:pt x="601309" y="144841"/>
                      </a:lnTo>
                      <a:lnTo>
                        <a:pt x="598018" y="142098"/>
                      </a:lnTo>
                      <a:lnTo>
                        <a:pt x="598018" y="137709"/>
                      </a:lnTo>
                      <a:lnTo>
                        <a:pt x="600761" y="130028"/>
                      </a:lnTo>
                      <a:lnTo>
                        <a:pt x="595275" y="133320"/>
                      </a:lnTo>
                      <a:lnTo>
                        <a:pt x="590337" y="139903"/>
                      </a:lnTo>
                      <a:lnTo>
                        <a:pt x="587593" y="148681"/>
                      </a:lnTo>
                      <a:lnTo>
                        <a:pt x="584302" y="150327"/>
                      </a:lnTo>
                      <a:lnTo>
                        <a:pt x="586496" y="165141"/>
                      </a:lnTo>
                      <a:lnTo>
                        <a:pt x="576072" y="175016"/>
                      </a:lnTo>
                      <a:lnTo>
                        <a:pt x="571134" y="188184"/>
                      </a:lnTo>
                      <a:lnTo>
                        <a:pt x="565648" y="194767"/>
                      </a:lnTo>
                      <a:lnTo>
                        <a:pt x="572780" y="180503"/>
                      </a:lnTo>
                      <a:lnTo>
                        <a:pt x="573877" y="130028"/>
                      </a:lnTo>
                      <a:lnTo>
                        <a:pt x="566745" y="133320"/>
                      </a:lnTo>
                      <a:lnTo>
                        <a:pt x="555772" y="152522"/>
                      </a:lnTo>
                      <a:lnTo>
                        <a:pt x="550286" y="182149"/>
                      </a:lnTo>
                      <a:lnTo>
                        <a:pt x="549189" y="145938"/>
                      </a:lnTo>
                      <a:lnTo>
                        <a:pt x="532181" y="148681"/>
                      </a:lnTo>
                      <a:lnTo>
                        <a:pt x="525597" y="160752"/>
                      </a:lnTo>
                      <a:lnTo>
                        <a:pt x="526695" y="178308"/>
                      </a:lnTo>
                      <a:lnTo>
                        <a:pt x="533278" y="187635"/>
                      </a:lnTo>
                      <a:lnTo>
                        <a:pt x="538765" y="189829"/>
                      </a:lnTo>
                      <a:lnTo>
                        <a:pt x="543702" y="199156"/>
                      </a:lnTo>
                      <a:lnTo>
                        <a:pt x="543154" y="206289"/>
                      </a:lnTo>
                      <a:lnTo>
                        <a:pt x="537667" y="205740"/>
                      </a:lnTo>
                      <a:lnTo>
                        <a:pt x="533278" y="194767"/>
                      </a:lnTo>
                      <a:lnTo>
                        <a:pt x="525597" y="189829"/>
                      </a:lnTo>
                      <a:lnTo>
                        <a:pt x="514076" y="172273"/>
                      </a:lnTo>
                      <a:lnTo>
                        <a:pt x="505846" y="173919"/>
                      </a:lnTo>
                      <a:lnTo>
                        <a:pt x="510235" y="185989"/>
                      </a:lnTo>
                      <a:lnTo>
                        <a:pt x="519562" y="194767"/>
                      </a:lnTo>
                      <a:lnTo>
                        <a:pt x="512979" y="200802"/>
                      </a:lnTo>
                      <a:lnTo>
                        <a:pt x="507492" y="195865"/>
                      </a:lnTo>
                      <a:lnTo>
                        <a:pt x="504200" y="200254"/>
                      </a:lnTo>
                      <a:lnTo>
                        <a:pt x="503103" y="191475"/>
                      </a:lnTo>
                      <a:lnTo>
                        <a:pt x="497616" y="195316"/>
                      </a:lnTo>
                      <a:lnTo>
                        <a:pt x="497068" y="192024"/>
                      </a:lnTo>
                      <a:lnTo>
                        <a:pt x="499263" y="182149"/>
                      </a:lnTo>
                      <a:lnTo>
                        <a:pt x="495422" y="178308"/>
                      </a:lnTo>
                      <a:lnTo>
                        <a:pt x="488838" y="198608"/>
                      </a:lnTo>
                      <a:lnTo>
                        <a:pt x="489387" y="204643"/>
                      </a:lnTo>
                      <a:lnTo>
                        <a:pt x="493227" y="209581"/>
                      </a:lnTo>
                      <a:lnTo>
                        <a:pt x="472928" y="222199"/>
                      </a:lnTo>
                      <a:lnTo>
                        <a:pt x="470184" y="234818"/>
                      </a:lnTo>
                      <a:lnTo>
                        <a:pt x="471831" y="239756"/>
                      </a:lnTo>
                      <a:lnTo>
                        <a:pt x="477865" y="237561"/>
                      </a:lnTo>
                      <a:lnTo>
                        <a:pt x="481706" y="243596"/>
                      </a:lnTo>
                      <a:lnTo>
                        <a:pt x="474025" y="243048"/>
                      </a:lnTo>
                      <a:lnTo>
                        <a:pt x="476220" y="250180"/>
                      </a:lnTo>
                      <a:lnTo>
                        <a:pt x="476220" y="255118"/>
                      </a:lnTo>
                      <a:lnTo>
                        <a:pt x="467441" y="251826"/>
                      </a:lnTo>
                      <a:lnTo>
                        <a:pt x="464698" y="252923"/>
                      </a:lnTo>
                      <a:lnTo>
                        <a:pt x="469636" y="258409"/>
                      </a:lnTo>
                      <a:lnTo>
                        <a:pt x="465795" y="262250"/>
                      </a:lnTo>
                      <a:lnTo>
                        <a:pt x="458115" y="259507"/>
                      </a:lnTo>
                      <a:lnTo>
                        <a:pt x="456468" y="263896"/>
                      </a:lnTo>
                      <a:lnTo>
                        <a:pt x="450982" y="262250"/>
                      </a:lnTo>
                      <a:lnTo>
                        <a:pt x="440558" y="266639"/>
                      </a:lnTo>
                      <a:lnTo>
                        <a:pt x="436717" y="273223"/>
                      </a:lnTo>
                      <a:lnTo>
                        <a:pt x="432877" y="275417"/>
                      </a:lnTo>
                      <a:lnTo>
                        <a:pt x="431780" y="278161"/>
                      </a:lnTo>
                      <a:lnTo>
                        <a:pt x="438912" y="283098"/>
                      </a:lnTo>
                      <a:lnTo>
                        <a:pt x="445496" y="280904"/>
                      </a:lnTo>
                      <a:lnTo>
                        <a:pt x="449336" y="276515"/>
                      </a:lnTo>
                      <a:lnTo>
                        <a:pt x="460309" y="283647"/>
                      </a:lnTo>
                      <a:lnTo>
                        <a:pt x="468539" y="278161"/>
                      </a:lnTo>
                      <a:lnTo>
                        <a:pt x="470733" y="280355"/>
                      </a:lnTo>
                      <a:lnTo>
                        <a:pt x="472928" y="285841"/>
                      </a:lnTo>
                      <a:lnTo>
                        <a:pt x="465795" y="285841"/>
                      </a:lnTo>
                      <a:lnTo>
                        <a:pt x="462504" y="290779"/>
                      </a:lnTo>
                      <a:lnTo>
                        <a:pt x="461406" y="300106"/>
                      </a:lnTo>
                      <a:lnTo>
                        <a:pt x="450982" y="294620"/>
                      </a:lnTo>
                      <a:lnTo>
                        <a:pt x="443301" y="294071"/>
                      </a:lnTo>
                      <a:lnTo>
                        <a:pt x="441655" y="290231"/>
                      </a:lnTo>
                      <a:lnTo>
                        <a:pt x="433426" y="288036"/>
                      </a:lnTo>
                      <a:lnTo>
                        <a:pt x="424099" y="294071"/>
                      </a:lnTo>
                      <a:lnTo>
                        <a:pt x="421356" y="299557"/>
                      </a:lnTo>
                      <a:lnTo>
                        <a:pt x="427939" y="310530"/>
                      </a:lnTo>
                      <a:lnTo>
                        <a:pt x="428488" y="316017"/>
                      </a:lnTo>
                      <a:lnTo>
                        <a:pt x="424099" y="315468"/>
                      </a:lnTo>
                      <a:lnTo>
                        <a:pt x="427391" y="325344"/>
                      </a:lnTo>
                      <a:lnTo>
                        <a:pt x="427939" y="333025"/>
                      </a:lnTo>
                      <a:lnTo>
                        <a:pt x="422453" y="330830"/>
                      </a:lnTo>
                      <a:lnTo>
                        <a:pt x="422453" y="338511"/>
                      </a:lnTo>
                      <a:lnTo>
                        <a:pt x="417515" y="339608"/>
                      </a:lnTo>
                      <a:lnTo>
                        <a:pt x="413675" y="313273"/>
                      </a:lnTo>
                      <a:lnTo>
                        <a:pt x="408188" y="314371"/>
                      </a:lnTo>
                      <a:lnTo>
                        <a:pt x="405994" y="323698"/>
                      </a:lnTo>
                      <a:lnTo>
                        <a:pt x="401056" y="322052"/>
                      </a:lnTo>
                      <a:lnTo>
                        <a:pt x="398861" y="325344"/>
                      </a:lnTo>
                      <a:lnTo>
                        <a:pt x="405994" y="328087"/>
                      </a:lnTo>
                      <a:lnTo>
                        <a:pt x="404348" y="330830"/>
                      </a:lnTo>
                      <a:lnTo>
                        <a:pt x="398313" y="331927"/>
                      </a:lnTo>
                      <a:lnTo>
                        <a:pt x="393924" y="335768"/>
                      </a:lnTo>
                      <a:lnTo>
                        <a:pt x="391729" y="341803"/>
                      </a:lnTo>
                      <a:lnTo>
                        <a:pt x="392826" y="348386"/>
                      </a:lnTo>
                      <a:lnTo>
                        <a:pt x="398313" y="352776"/>
                      </a:lnTo>
                      <a:lnTo>
                        <a:pt x="393375" y="355519"/>
                      </a:lnTo>
                      <a:lnTo>
                        <a:pt x="397215" y="359359"/>
                      </a:lnTo>
                      <a:lnTo>
                        <a:pt x="392826" y="361005"/>
                      </a:lnTo>
                      <a:lnTo>
                        <a:pt x="390083" y="369235"/>
                      </a:lnTo>
                      <a:lnTo>
                        <a:pt x="387340" y="370881"/>
                      </a:lnTo>
                      <a:lnTo>
                        <a:pt x="383499" y="370881"/>
                      </a:lnTo>
                      <a:lnTo>
                        <a:pt x="384597" y="373624"/>
                      </a:lnTo>
                      <a:lnTo>
                        <a:pt x="391180" y="375818"/>
                      </a:lnTo>
                      <a:lnTo>
                        <a:pt x="404348" y="370881"/>
                      </a:lnTo>
                      <a:lnTo>
                        <a:pt x="390632" y="384597"/>
                      </a:lnTo>
                      <a:lnTo>
                        <a:pt x="378013" y="381305"/>
                      </a:lnTo>
                      <a:lnTo>
                        <a:pt x="375270" y="378562"/>
                      </a:lnTo>
                      <a:lnTo>
                        <a:pt x="374721" y="373624"/>
                      </a:lnTo>
                      <a:lnTo>
                        <a:pt x="369235" y="374721"/>
                      </a:lnTo>
                      <a:lnTo>
                        <a:pt x="361554" y="381305"/>
                      </a:lnTo>
                      <a:lnTo>
                        <a:pt x="358262" y="392278"/>
                      </a:lnTo>
                      <a:lnTo>
                        <a:pt x="351678" y="398313"/>
                      </a:lnTo>
                      <a:lnTo>
                        <a:pt x="351130" y="404348"/>
                      </a:lnTo>
                      <a:lnTo>
                        <a:pt x="355519" y="404348"/>
                      </a:lnTo>
                      <a:lnTo>
                        <a:pt x="353873" y="413126"/>
                      </a:lnTo>
                      <a:lnTo>
                        <a:pt x="347838" y="415321"/>
                      </a:lnTo>
                      <a:lnTo>
                        <a:pt x="345095" y="428488"/>
                      </a:lnTo>
                      <a:lnTo>
                        <a:pt x="340157" y="427391"/>
                      </a:lnTo>
                      <a:lnTo>
                        <a:pt x="336316" y="429585"/>
                      </a:lnTo>
                      <a:lnTo>
                        <a:pt x="331379" y="430682"/>
                      </a:lnTo>
                      <a:lnTo>
                        <a:pt x="325892" y="437815"/>
                      </a:lnTo>
                      <a:lnTo>
                        <a:pt x="329733" y="444398"/>
                      </a:lnTo>
                      <a:lnTo>
                        <a:pt x="327538" y="447690"/>
                      </a:lnTo>
                      <a:lnTo>
                        <a:pt x="319857" y="449336"/>
                      </a:lnTo>
                      <a:lnTo>
                        <a:pt x="319857" y="455920"/>
                      </a:lnTo>
                      <a:lnTo>
                        <a:pt x="312176" y="457017"/>
                      </a:lnTo>
                      <a:lnTo>
                        <a:pt x="313822" y="460858"/>
                      </a:lnTo>
                      <a:lnTo>
                        <a:pt x="310530" y="463052"/>
                      </a:lnTo>
                      <a:lnTo>
                        <a:pt x="309433" y="469087"/>
                      </a:lnTo>
                      <a:lnTo>
                        <a:pt x="318211" y="471282"/>
                      </a:lnTo>
                      <a:lnTo>
                        <a:pt x="316017" y="475122"/>
                      </a:lnTo>
                      <a:lnTo>
                        <a:pt x="310530" y="478414"/>
                      </a:lnTo>
                      <a:lnTo>
                        <a:pt x="306141" y="475671"/>
                      </a:lnTo>
                      <a:lnTo>
                        <a:pt x="306690" y="487192"/>
                      </a:lnTo>
                      <a:lnTo>
                        <a:pt x="311079" y="492679"/>
                      </a:lnTo>
                      <a:lnTo>
                        <a:pt x="313822" y="487741"/>
                      </a:lnTo>
                      <a:lnTo>
                        <a:pt x="317114" y="490484"/>
                      </a:lnTo>
                      <a:lnTo>
                        <a:pt x="315468" y="497068"/>
                      </a:lnTo>
                      <a:lnTo>
                        <a:pt x="301203" y="499262"/>
                      </a:lnTo>
                      <a:lnTo>
                        <a:pt x="298460" y="502006"/>
                      </a:lnTo>
                      <a:lnTo>
                        <a:pt x="297363" y="511881"/>
                      </a:lnTo>
                      <a:lnTo>
                        <a:pt x="291876" y="516270"/>
                      </a:lnTo>
                      <a:lnTo>
                        <a:pt x="285841" y="518465"/>
                      </a:lnTo>
                      <a:lnTo>
                        <a:pt x="282550" y="528340"/>
                      </a:lnTo>
                      <a:lnTo>
                        <a:pt x="288036" y="527243"/>
                      </a:lnTo>
                      <a:lnTo>
                        <a:pt x="293522" y="521208"/>
                      </a:lnTo>
                      <a:lnTo>
                        <a:pt x="300655" y="517916"/>
                      </a:lnTo>
                      <a:lnTo>
                        <a:pt x="300655" y="524500"/>
                      </a:lnTo>
                      <a:lnTo>
                        <a:pt x="305592" y="533827"/>
                      </a:lnTo>
                      <a:lnTo>
                        <a:pt x="291876" y="528889"/>
                      </a:lnTo>
                      <a:lnTo>
                        <a:pt x="290779" y="534924"/>
                      </a:lnTo>
                      <a:lnTo>
                        <a:pt x="293522" y="537119"/>
                      </a:lnTo>
                      <a:lnTo>
                        <a:pt x="289133" y="540959"/>
                      </a:lnTo>
                      <a:lnTo>
                        <a:pt x="287487" y="545348"/>
                      </a:lnTo>
                      <a:lnTo>
                        <a:pt x="289133" y="551932"/>
                      </a:lnTo>
                      <a:lnTo>
                        <a:pt x="286939" y="553029"/>
                      </a:lnTo>
                      <a:lnTo>
                        <a:pt x="282550" y="550835"/>
                      </a:lnTo>
                      <a:lnTo>
                        <a:pt x="279806" y="554675"/>
                      </a:lnTo>
                      <a:lnTo>
                        <a:pt x="282001" y="561807"/>
                      </a:lnTo>
                      <a:lnTo>
                        <a:pt x="285841" y="565099"/>
                      </a:lnTo>
                      <a:lnTo>
                        <a:pt x="287487" y="578267"/>
                      </a:lnTo>
                      <a:lnTo>
                        <a:pt x="282550" y="572780"/>
                      </a:lnTo>
                      <a:lnTo>
                        <a:pt x="277612" y="571134"/>
                      </a:lnTo>
                      <a:lnTo>
                        <a:pt x="273771" y="562356"/>
                      </a:lnTo>
                      <a:lnTo>
                        <a:pt x="274320" y="573878"/>
                      </a:lnTo>
                      <a:lnTo>
                        <a:pt x="272125" y="577718"/>
                      </a:lnTo>
                      <a:lnTo>
                        <a:pt x="267188" y="579364"/>
                      </a:lnTo>
                      <a:lnTo>
                        <a:pt x="264993" y="585948"/>
                      </a:lnTo>
                      <a:lnTo>
                        <a:pt x="268834" y="588142"/>
                      </a:lnTo>
                      <a:lnTo>
                        <a:pt x="272674" y="585948"/>
                      </a:lnTo>
                      <a:lnTo>
                        <a:pt x="275417" y="580461"/>
                      </a:lnTo>
                      <a:lnTo>
                        <a:pt x="277063" y="583204"/>
                      </a:lnTo>
                      <a:lnTo>
                        <a:pt x="275966" y="590885"/>
                      </a:lnTo>
                      <a:lnTo>
                        <a:pt x="277063" y="596372"/>
                      </a:lnTo>
                      <a:lnTo>
                        <a:pt x="272674" y="600761"/>
                      </a:lnTo>
                      <a:lnTo>
                        <a:pt x="264993" y="596920"/>
                      </a:lnTo>
                      <a:lnTo>
                        <a:pt x="261701" y="602407"/>
                      </a:lnTo>
                      <a:lnTo>
                        <a:pt x="257312" y="599664"/>
                      </a:lnTo>
                      <a:lnTo>
                        <a:pt x="251826" y="606796"/>
                      </a:lnTo>
                      <a:lnTo>
                        <a:pt x="251277" y="612831"/>
                      </a:lnTo>
                      <a:lnTo>
                        <a:pt x="246339" y="617220"/>
                      </a:lnTo>
                      <a:lnTo>
                        <a:pt x="240304" y="618866"/>
                      </a:lnTo>
                      <a:lnTo>
                        <a:pt x="237561" y="633131"/>
                      </a:lnTo>
                      <a:lnTo>
                        <a:pt x="244145" y="630936"/>
                      </a:lnTo>
                      <a:lnTo>
                        <a:pt x="250180" y="627096"/>
                      </a:lnTo>
                      <a:lnTo>
                        <a:pt x="252923" y="629839"/>
                      </a:lnTo>
                      <a:lnTo>
                        <a:pt x="241402" y="634228"/>
                      </a:lnTo>
                      <a:lnTo>
                        <a:pt x="240853" y="641360"/>
                      </a:lnTo>
                      <a:lnTo>
                        <a:pt x="243048" y="649041"/>
                      </a:lnTo>
                      <a:lnTo>
                        <a:pt x="240304" y="653979"/>
                      </a:lnTo>
                      <a:lnTo>
                        <a:pt x="233172" y="656174"/>
                      </a:lnTo>
                      <a:lnTo>
                        <a:pt x="223845" y="647944"/>
                      </a:lnTo>
                      <a:lnTo>
                        <a:pt x="221651" y="647944"/>
                      </a:lnTo>
                      <a:lnTo>
                        <a:pt x="215616" y="658368"/>
                      </a:lnTo>
                      <a:lnTo>
                        <a:pt x="208483" y="663306"/>
                      </a:lnTo>
                      <a:lnTo>
                        <a:pt x="207935" y="667695"/>
                      </a:lnTo>
                      <a:lnTo>
                        <a:pt x="189829" y="692932"/>
                      </a:lnTo>
                      <a:lnTo>
                        <a:pt x="192024" y="700065"/>
                      </a:lnTo>
                      <a:lnTo>
                        <a:pt x="192024" y="702259"/>
                      </a:lnTo>
                      <a:lnTo>
                        <a:pt x="176662" y="711038"/>
                      </a:lnTo>
                      <a:lnTo>
                        <a:pt x="176113" y="717621"/>
                      </a:lnTo>
                      <a:lnTo>
                        <a:pt x="179954" y="721462"/>
                      </a:lnTo>
                      <a:lnTo>
                        <a:pt x="187635" y="717621"/>
                      </a:lnTo>
                      <a:lnTo>
                        <a:pt x="184343" y="728045"/>
                      </a:lnTo>
                      <a:lnTo>
                        <a:pt x="189281" y="736275"/>
                      </a:lnTo>
                      <a:lnTo>
                        <a:pt x="193670" y="738470"/>
                      </a:lnTo>
                      <a:lnTo>
                        <a:pt x="233721" y="713232"/>
                      </a:lnTo>
                      <a:lnTo>
                        <a:pt x="237561" y="708843"/>
                      </a:lnTo>
                      <a:lnTo>
                        <a:pt x="240304" y="711038"/>
                      </a:lnTo>
                      <a:lnTo>
                        <a:pt x="238110" y="714878"/>
                      </a:lnTo>
                      <a:lnTo>
                        <a:pt x="228783" y="720364"/>
                      </a:lnTo>
                      <a:lnTo>
                        <a:pt x="223845" y="720364"/>
                      </a:lnTo>
                      <a:lnTo>
                        <a:pt x="210678" y="731337"/>
                      </a:lnTo>
                      <a:lnTo>
                        <a:pt x="214518" y="736275"/>
                      </a:lnTo>
                      <a:lnTo>
                        <a:pt x="213970" y="739018"/>
                      </a:lnTo>
                      <a:lnTo>
                        <a:pt x="201900" y="743407"/>
                      </a:lnTo>
                      <a:lnTo>
                        <a:pt x="194767" y="743407"/>
                      </a:lnTo>
                      <a:lnTo>
                        <a:pt x="192573" y="745602"/>
                      </a:lnTo>
                      <a:lnTo>
                        <a:pt x="194219" y="749991"/>
                      </a:lnTo>
                      <a:lnTo>
                        <a:pt x="191475" y="751637"/>
                      </a:lnTo>
                      <a:lnTo>
                        <a:pt x="185440" y="749991"/>
                      </a:lnTo>
                      <a:lnTo>
                        <a:pt x="185440" y="743956"/>
                      </a:lnTo>
                      <a:lnTo>
                        <a:pt x="179954" y="733532"/>
                      </a:lnTo>
                      <a:lnTo>
                        <a:pt x="176662" y="730240"/>
                      </a:lnTo>
                      <a:lnTo>
                        <a:pt x="172822" y="730240"/>
                      </a:lnTo>
                      <a:lnTo>
                        <a:pt x="171176" y="734080"/>
                      </a:lnTo>
                      <a:lnTo>
                        <a:pt x="166238" y="734629"/>
                      </a:lnTo>
                      <a:lnTo>
                        <a:pt x="161300" y="739567"/>
                      </a:lnTo>
                      <a:lnTo>
                        <a:pt x="160752" y="743956"/>
                      </a:lnTo>
                      <a:lnTo>
                        <a:pt x="164592" y="747248"/>
                      </a:lnTo>
                      <a:lnTo>
                        <a:pt x="166238" y="751088"/>
                      </a:lnTo>
                      <a:lnTo>
                        <a:pt x="158008" y="755477"/>
                      </a:lnTo>
                      <a:lnTo>
                        <a:pt x="155265" y="751088"/>
                      </a:lnTo>
                      <a:lnTo>
                        <a:pt x="155265" y="745053"/>
                      </a:lnTo>
                      <a:lnTo>
                        <a:pt x="153619" y="741213"/>
                      </a:lnTo>
                      <a:lnTo>
                        <a:pt x="135514" y="748345"/>
                      </a:lnTo>
                      <a:lnTo>
                        <a:pt x="132771" y="752186"/>
                      </a:lnTo>
                      <a:lnTo>
                        <a:pt x="130028" y="759318"/>
                      </a:lnTo>
                      <a:lnTo>
                        <a:pt x="125090" y="758769"/>
                      </a:lnTo>
                      <a:lnTo>
                        <a:pt x="126736" y="764256"/>
                      </a:lnTo>
                      <a:lnTo>
                        <a:pt x="125090" y="766450"/>
                      </a:lnTo>
                      <a:lnTo>
                        <a:pt x="119055" y="766999"/>
                      </a:lnTo>
                      <a:lnTo>
                        <a:pt x="119604" y="764256"/>
                      </a:lnTo>
                      <a:lnTo>
                        <a:pt x="117958" y="760964"/>
                      </a:lnTo>
                      <a:lnTo>
                        <a:pt x="115214" y="762061"/>
                      </a:lnTo>
                      <a:lnTo>
                        <a:pt x="113568" y="764804"/>
                      </a:lnTo>
                      <a:lnTo>
                        <a:pt x="114117" y="768096"/>
                      </a:lnTo>
                      <a:lnTo>
                        <a:pt x="113020" y="769742"/>
                      </a:lnTo>
                      <a:lnTo>
                        <a:pt x="106985" y="769742"/>
                      </a:lnTo>
                      <a:lnTo>
                        <a:pt x="97109" y="774131"/>
                      </a:lnTo>
                      <a:lnTo>
                        <a:pt x="92720" y="791139"/>
                      </a:lnTo>
                      <a:lnTo>
                        <a:pt x="87234" y="787847"/>
                      </a:lnTo>
                      <a:lnTo>
                        <a:pt x="80650" y="787298"/>
                      </a:lnTo>
                      <a:lnTo>
                        <a:pt x="74615" y="792236"/>
                      </a:lnTo>
                      <a:lnTo>
                        <a:pt x="72969" y="796625"/>
                      </a:lnTo>
                      <a:lnTo>
                        <a:pt x="79553" y="801563"/>
                      </a:lnTo>
                      <a:lnTo>
                        <a:pt x="76261" y="805404"/>
                      </a:lnTo>
                      <a:lnTo>
                        <a:pt x="82845" y="807050"/>
                      </a:lnTo>
                      <a:lnTo>
                        <a:pt x="89977" y="804855"/>
                      </a:lnTo>
                      <a:lnTo>
                        <a:pt x="93269" y="809244"/>
                      </a:lnTo>
                      <a:lnTo>
                        <a:pt x="96561" y="810890"/>
                      </a:lnTo>
                      <a:lnTo>
                        <a:pt x="92172" y="816925"/>
                      </a:lnTo>
                      <a:lnTo>
                        <a:pt x="94366" y="821314"/>
                      </a:lnTo>
                      <a:lnTo>
                        <a:pt x="88880" y="818571"/>
                      </a:lnTo>
                      <a:lnTo>
                        <a:pt x="62545" y="816925"/>
                      </a:lnTo>
                      <a:lnTo>
                        <a:pt x="59253" y="819668"/>
                      </a:lnTo>
                      <a:lnTo>
                        <a:pt x="54864" y="818571"/>
                      </a:lnTo>
                      <a:lnTo>
                        <a:pt x="50475" y="821863"/>
                      </a:lnTo>
                      <a:lnTo>
                        <a:pt x="51024" y="823509"/>
                      </a:lnTo>
                      <a:lnTo>
                        <a:pt x="55413" y="825703"/>
                      </a:lnTo>
                      <a:lnTo>
                        <a:pt x="51024" y="826801"/>
                      </a:lnTo>
                      <a:lnTo>
                        <a:pt x="51572" y="830641"/>
                      </a:lnTo>
                      <a:lnTo>
                        <a:pt x="56510" y="830092"/>
                      </a:lnTo>
                      <a:lnTo>
                        <a:pt x="60350" y="828446"/>
                      </a:lnTo>
                      <a:lnTo>
                        <a:pt x="55413" y="835030"/>
                      </a:lnTo>
                      <a:lnTo>
                        <a:pt x="58704" y="850941"/>
                      </a:lnTo>
                      <a:lnTo>
                        <a:pt x="55961" y="851489"/>
                      </a:lnTo>
                      <a:lnTo>
                        <a:pt x="53218" y="842162"/>
                      </a:lnTo>
                      <a:lnTo>
                        <a:pt x="49926" y="838322"/>
                      </a:lnTo>
                      <a:lnTo>
                        <a:pt x="43891" y="842162"/>
                      </a:lnTo>
                      <a:lnTo>
                        <a:pt x="37856" y="854233"/>
                      </a:lnTo>
                      <a:lnTo>
                        <a:pt x="41148" y="858073"/>
                      </a:lnTo>
                      <a:lnTo>
                        <a:pt x="42245" y="862462"/>
                      </a:lnTo>
                      <a:lnTo>
                        <a:pt x="35662" y="858622"/>
                      </a:lnTo>
                      <a:lnTo>
                        <a:pt x="33467" y="853135"/>
                      </a:lnTo>
                      <a:lnTo>
                        <a:pt x="27981" y="855330"/>
                      </a:lnTo>
                      <a:lnTo>
                        <a:pt x="18654" y="854781"/>
                      </a:lnTo>
                      <a:lnTo>
                        <a:pt x="18654" y="859170"/>
                      </a:lnTo>
                      <a:lnTo>
                        <a:pt x="19202" y="862462"/>
                      </a:lnTo>
                      <a:lnTo>
                        <a:pt x="8778" y="853684"/>
                      </a:lnTo>
                      <a:lnTo>
                        <a:pt x="5486" y="856427"/>
                      </a:lnTo>
                      <a:lnTo>
                        <a:pt x="10424" y="866851"/>
                      </a:lnTo>
                      <a:lnTo>
                        <a:pt x="7132" y="870143"/>
                      </a:lnTo>
                      <a:lnTo>
                        <a:pt x="8778" y="872338"/>
                      </a:lnTo>
                      <a:lnTo>
                        <a:pt x="44988" y="867949"/>
                      </a:lnTo>
                      <a:lnTo>
                        <a:pt x="34016" y="873435"/>
                      </a:lnTo>
                      <a:lnTo>
                        <a:pt x="36210" y="876178"/>
                      </a:lnTo>
                      <a:lnTo>
                        <a:pt x="50475" y="873435"/>
                      </a:lnTo>
                      <a:lnTo>
                        <a:pt x="52121" y="875081"/>
                      </a:lnTo>
                      <a:lnTo>
                        <a:pt x="45537" y="879470"/>
                      </a:lnTo>
                      <a:lnTo>
                        <a:pt x="24140" y="880567"/>
                      </a:lnTo>
                      <a:lnTo>
                        <a:pt x="19751" y="877275"/>
                      </a:lnTo>
                      <a:lnTo>
                        <a:pt x="15911" y="877275"/>
                      </a:lnTo>
                      <a:lnTo>
                        <a:pt x="8230" y="883859"/>
                      </a:lnTo>
                      <a:lnTo>
                        <a:pt x="7681" y="887151"/>
                      </a:lnTo>
                      <a:lnTo>
                        <a:pt x="2743" y="887151"/>
                      </a:lnTo>
                      <a:lnTo>
                        <a:pt x="1097" y="888248"/>
                      </a:lnTo>
                      <a:lnTo>
                        <a:pt x="0" y="893186"/>
                      </a:lnTo>
                      <a:lnTo>
                        <a:pt x="10424" y="896478"/>
                      </a:lnTo>
                      <a:lnTo>
                        <a:pt x="9876" y="900867"/>
                      </a:lnTo>
                      <a:lnTo>
                        <a:pt x="10424" y="905805"/>
                      </a:lnTo>
                      <a:lnTo>
                        <a:pt x="1646" y="914583"/>
                      </a:lnTo>
                      <a:lnTo>
                        <a:pt x="3840" y="918972"/>
                      </a:lnTo>
                      <a:lnTo>
                        <a:pt x="1646" y="922264"/>
                      </a:lnTo>
                      <a:lnTo>
                        <a:pt x="1646" y="927202"/>
                      </a:lnTo>
                      <a:lnTo>
                        <a:pt x="4389" y="929396"/>
                      </a:lnTo>
                      <a:lnTo>
                        <a:pt x="4389" y="934334"/>
                      </a:lnTo>
                      <a:lnTo>
                        <a:pt x="15362" y="936529"/>
                      </a:lnTo>
                      <a:lnTo>
                        <a:pt x="35662" y="928299"/>
                      </a:lnTo>
                      <a:lnTo>
                        <a:pt x="40599" y="931591"/>
                      </a:lnTo>
                      <a:lnTo>
                        <a:pt x="48280" y="931591"/>
                      </a:lnTo>
                      <a:lnTo>
                        <a:pt x="56510" y="912937"/>
                      </a:lnTo>
                      <a:lnTo>
                        <a:pt x="58156" y="919521"/>
                      </a:lnTo>
                      <a:lnTo>
                        <a:pt x="55961" y="928848"/>
                      </a:lnTo>
                      <a:lnTo>
                        <a:pt x="59253" y="930494"/>
                      </a:lnTo>
                      <a:lnTo>
                        <a:pt x="67483" y="930494"/>
                      </a:lnTo>
                      <a:lnTo>
                        <a:pt x="71872" y="928848"/>
                      </a:lnTo>
                      <a:lnTo>
                        <a:pt x="75712" y="931042"/>
                      </a:lnTo>
                      <a:lnTo>
                        <a:pt x="83393" y="922813"/>
                      </a:lnTo>
                      <a:lnTo>
                        <a:pt x="85588" y="906902"/>
                      </a:lnTo>
                      <a:lnTo>
                        <a:pt x="94366" y="901964"/>
                      </a:lnTo>
                      <a:lnTo>
                        <a:pt x="94915" y="905256"/>
                      </a:lnTo>
                      <a:lnTo>
                        <a:pt x="89428" y="915680"/>
                      </a:lnTo>
                      <a:lnTo>
                        <a:pt x="86685" y="927202"/>
                      </a:lnTo>
                      <a:lnTo>
                        <a:pt x="91074" y="926653"/>
                      </a:lnTo>
                      <a:lnTo>
                        <a:pt x="95463" y="923361"/>
                      </a:lnTo>
                      <a:lnTo>
                        <a:pt x="99304" y="925556"/>
                      </a:lnTo>
                      <a:lnTo>
                        <a:pt x="89428" y="933237"/>
                      </a:lnTo>
                      <a:lnTo>
                        <a:pt x="77358" y="937077"/>
                      </a:lnTo>
                      <a:lnTo>
                        <a:pt x="76261" y="943661"/>
                      </a:lnTo>
                      <a:lnTo>
                        <a:pt x="80650" y="948599"/>
                      </a:lnTo>
                      <a:lnTo>
                        <a:pt x="71323" y="954085"/>
                      </a:lnTo>
                      <a:lnTo>
                        <a:pt x="71323" y="946953"/>
                      </a:lnTo>
                      <a:lnTo>
                        <a:pt x="69129" y="941466"/>
                      </a:lnTo>
                      <a:lnTo>
                        <a:pt x="62545" y="937077"/>
                      </a:lnTo>
                      <a:lnTo>
                        <a:pt x="55413" y="937077"/>
                      </a:lnTo>
                      <a:lnTo>
                        <a:pt x="46086" y="939272"/>
                      </a:lnTo>
                      <a:lnTo>
                        <a:pt x="38953" y="937626"/>
                      </a:lnTo>
                      <a:lnTo>
                        <a:pt x="32370" y="939272"/>
                      </a:lnTo>
                      <a:lnTo>
                        <a:pt x="25237" y="938174"/>
                      </a:lnTo>
                      <a:lnTo>
                        <a:pt x="19751" y="943661"/>
                      </a:lnTo>
                      <a:lnTo>
                        <a:pt x="6584" y="940369"/>
                      </a:lnTo>
                      <a:lnTo>
                        <a:pt x="3292" y="949147"/>
                      </a:lnTo>
                      <a:lnTo>
                        <a:pt x="2195" y="956280"/>
                      </a:lnTo>
                      <a:lnTo>
                        <a:pt x="8778" y="956828"/>
                      </a:lnTo>
                      <a:lnTo>
                        <a:pt x="11521" y="955731"/>
                      </a:lnTo>
                      <a:lnTo>
                        <a:pt x="11521" y="965606"/>
                      </a:lnTo>
                      <a:lnTo>
                        <a:pt x="6035" y="962863"/>
                      </a:lnTo>
                      <a:lnTo>
                        <a:pt x="1646" y="959023"/>
                      </a:lnTo>
                      <a:lnTo>
                        <a:pt x="1097" y="960669"/>
                      </a:lnTo>
                      <a:lnTo>
                        <a:pt x="0" y="960669"/>
                      </a:lnTo>
                      <a:lnTo>
                        <a:pt x="0" y="962863"/>
                      </a:lnTo>
                      <a:lnTo>
                        <a:pt x="6584" y="975482"/>
                      </a:lnTo>
                      <a:lnTo>
                        <a:pt x="10973" y="976579"/>
                      </a:lnTo>
                      <a:lnTo>
                        <a:pt x="19751" y="970544"/>
                      </a:lnTo>
                      <a:lnTo>
                        <a:pt x="25786" y="968898"/>
                      </a:lnTo>
                      <a:lnTo>
                        <a:pt x="13716" y="983163"/>
                      </a:lnTo>
                      <a:lnTo>
                        <a:pt x="16459" y="986455"/>
                      </a:lnTo>
                      <a:lnTo>
                        <a:pt x="8778" y="990295"/>
                      </a:lnTo>
                      <a:lnTo>
                        <a:pt x="5486" y="994136"/>
                      </a:lnTo>
                      <a:lnTo>
                        <a:pt x="6584" y="999622"/>
                      </a:lnTo>
                      <a:lnTo>
                        <a:pt x="10424" y="1003463"/>
                      </a:lnTo>
                      <a:lnTo>
                        <a:pt x="11521" y="1007852"/>
                      </a:lnTo>
                      <a:lnTo>
                        <a:pt x="16459" y="1004560"/>
                      </a:lnTo>
                      <a:lnTo>
                        <a:pt x="20300" y="999622"/>
                      </a:lnTo>
                      <a:lnTo>
                        <a:pt x="20300" y="1006206"/>
                      </a:lnTo>
                      <a:lnTo>
                        <a:pt x="26335" y="1014984"/>
                      </a:lnTo>
                      <a:lnTo>
                        <a:pt x="20848" y="1016081"/>
                      </a:lnTo>
                      <a:lnTo>
                        <a:pt x="15362" y="1020470"/>
                      </a:lnTo>
                      <a:lnTo>
                        <a:pt x="15362" y="1023762"/>
                      </a:lnTo>
                      <a:lnTo>
                        <a:pt x="18654" y="1026506"/>
                      </a:lnTo>
                      <a:lnTo>
                        <a:pt x="25237" y="1022116"/>
                      </a:lnTo>
                      <a:lnTo>
                        <a:pt x="29627" y="1013887"/>
                      </a:lnTo>
                      <a:lnTo>
                        <a:pt x="30175" y="1006206"/>
                      </a:lnTo>
                      <a:lnTo>
                        <a:pt x="35662" y="1001817"/>
                      </a:lnTo>
                      <a:lnTo>
                        <a:pt x="49378" y="979322"/>
                      </a:lnTo>
                      <a:lnTo>
                        <a:pt x="55961" y="973836"/>
                      </a:lnTo>
                      <a:lnTo>
                        <a:pt x="59253" y="977677"/>
                      </a:lnTo>
                      <a:lnTo>
                        <a:pt x="59802" y="980420"/>
                      </a:lnTo>
                      <a:lnTo>
                        <a:pt x="68031" y="977677"/>
                      </a:lnTo>
                      <a:lnTo>
                        <a:pt x="74615" y="979322"/>
                      </a:lnTo>
                      <a:lnTo>
                        <a:pt x="63642" y="984260"/>
                      </a:lnTo>
                      <a:lnTo>
                        <a:pt x="60899" y="995782"/>
                      </a:lnTo>
                      <a:lnTo>
                        <a:pt x="59253" y="988101"/>
                      </a:lnTo>
                      <a:lnTo>
                        <a:pt x="55961" y="987552"/>
                      </a:lnTo>
                      <a:lnTo>
                        <a:pt x="43343" y="1004560"/>
                      </a:lnTo>
                      <a:lnTo>
                        <a:pt x="47732" y="1007852"/>
                      </a:lnTo>
                      <a:lnTo>
                        <a:pt x="47732" y="1010046"/>
                      </a:lnTo>
                      <a:lnTo>
                        <a:pt x="40599" y="1013887"/>
                      </a:lnTo>
                      <a:lnTo>
                        <a:pt x="26883" y="1031443"/>
                      </a:lnTo>
                      <a:lnTo>
                        <a:pt x="31821" y="1034735"/>
                      </a:lnTo>
                      <a:lnTo>
                        <a:pt x="44988" y="1034735"/>
                      </a:lnTo>
                      <a:lnTo>
                        <a:pt x="48829" y="1031443"/>
                      </a:lnTo>
                      <a:lnTo>
                        <a:pt x="49926" y="1033638"/>
                      </a:lnTo>
                      <a:lnTo>
                        <a:pt x="36210" y="1039673"/>
                      </a:lnTo>
                      <a:lnTo>
                        <a:pt x="32370" y="1043513"/>
                      </a:lnTo>
                      <a:lnTo>
                        <a:pt x="31821" y="1046257"/>
                      </a:lnTo>
                      <a:lnTo>
                        <a:pt x="25237" y="1046257"/>
                      </a:lnTo>
                      <a:lnTo>
                        <a:pt x="21946" y="1047902"/>
                      </a:lnTo>
                      <a:lnTo>
                        <a:pt x="18105" y="1046257"/>
                      </a:lnTo>
                      <a:lnTo>
                        <a:pt x="8778" y="1060521"/>
                      </a:lnTo>
                      <a:lnTo>
                        <a:pt x="8778" y="1066556"/>
                      </a:lnTo>
                      <a:lnTo>
                        <a:pt x="10973" y="1068202"/>
                      </a:lnTo>
                      <a:lnTo>
                        <a:pt x="11521" y="1070945"/>
                      </a:lnTo>
                      <a:lnTo>
                        <a:pt x="18105" y="1070397"/>
                      </a:lnTo>
                      <a:lnTo>
                        <a:pt x="20300" y="1063813"/>
                      </a:lnTo>
                      <a:lnTo>
                        <a:pt x="22494" y="1070397"/>
                      </a:lnTo>
                      <a:lnTo>
                        <a:pt x="26883" y="1069848"/>
                      </a:lnTo>
                      <a:lnTo>
                        <a:pt x="28529" y="1066008"/>
                      </a:lnTo>
                      <a:lnTo>
                        <a:pt x="27432" y="1061618"/>
                      </a:lnTo>
                      <a:lnTo>
                        <a:pt x="32370" y="1064910"/>
                      </a:lnTo>
                      <a:lnTo>
                        <a:pt x="42245" y="1059424"/>
                      </a:lnTo>
                      <a:lnTo>
                        <a:pt x="46086" y="1055035"/>
                      </a:lnTo>
                      <a:lnTo>
                        <a:pt x="49378" y="1057229"/>
                      </a:lnTo>
                      <a:lnTo>
                        <a:pt x="39502" y="1069299"/>
                      </a:lnTo>
                      <a:lnTo>
                        <a:pt x="43891" y="1068751"/>
                      </a:lnTo>
                      <a:lnTo>
                        <a:pt x="43891" y="1075883"/>
                      </a:lnTo>
                      <a:lnTo>
                        <a:pt x="37856" y="1086307"/>
                      </a:lnTo>
                      <a:lnTo>
                        <a:pt x="34016" y="1090696"/>
                      </a:lnTo>
                      <a:lnTo>
                        <a:pt x="34016" y="1098377"/>
                      </a:lnTo>
                      <a:lnTo>
                        <a:pt x="30724" y="1098377"/>
                      </a:lnTo>
                      <a:lnTo>
                        <a:pt x="26883" y="1099475"/>
                      </a:lnTo>
                      <a:lnTo>
                        <a:pt x="24689" y="1094537"/>
                      </a:lnTo>
                      <a:lnTo>
                        <a:pt x="22494" y="1094537"/>
                      </a:lnTo>
                      <a:lnTo>
                        <a:pt x="17008" y="1115934"/>
                      </a:lnTo>
                      <a:lnTo>
                        <a:pt x="49926" y="1147206"/>
                      </a:lnTo>
                      <a:lnTo>
                        <a:pt x="58156" y="1148304"/>
                      </a:lnTo>
                      <a:lnTo>
                        <a:pt x="63094" y="1139525"/>
                      </a:lnTo>
                      <a:lnTo>
                        <a:pt x="61448" y="1160374"/>
                      </a:lnTo>
                      <a:lnTo>
                        <a:pt x="65837" y="1157082"/>
                      </a:lnTo>
                      <a:lnTo>
                        <a:pt x="72420" y="1160374"/>
                      </a:lnTo>
                      <a:lnTo>
                        <a:pt x="74615" y="1154339"/>
                      </a:lnTo>
                      <a:lnTo>
                        <a:pt x="85039" y="1154887"/>
                      </a:lnTo>
                      <a:lnTo>
                        <a:pt x="80101" y="1160922"/>
                      </a:lnTo>
                      <a:lnTo>
                        <a:pt x="91623" y="1165311"/>
                      </a:lnTo>
                      <a:lnTo>
                        <a:pt x="99852" y="1162020"/>
                      </a:lnTo>
                      <a:lnTo>
                        <a:pt x="108082" y="1154887"/>
                      </a:lnTo>
                      <a:lnTo>
                        <a:pt x="111374" y="1145560"/>
                      </a:lnTo>
                      <a:lnTo>
                        <a:pt x="116312" y="1152693"/>
                      </a:lnTo>
                      <a:lnTo>
                        <a:pt x="130028" y="1143914"/>
                      </a:lnTo>
                      <a:lnTo>
                        <a:pt x="143744" y="1125261"/>
                      </a:lnTo>
                      <a:lnTo>
                        <a:pt x="151973" y="1121420"/>
                      </a:lnTo>
                      <a:lnTo>
                        <a:pt x="153619" y="1114288"/>
                      </a:lnTo>
                      <a:lnTo>
                        <a:pt x="158557" y="1109899"/>
                      </a:lnTo>
                      <a:lnTo>
                        <a:pt x="160203" y="1106058"/>
                      </a:lnTo>
                      <a:lnTo>
                        <a:pt x="171176" y="1093988"/>
                      </a:lnTo>
                      <a:lnTo>
                        <a:pt x="169530" y="1087953"/>
                      </a:lnTo>
                      <a:lnTo>
                        <a:pt x="178308" y="1093440"/>
                      </a:lnTo>
                      <a:lnTo>
                        <a:pt x="187635" y="1093440"/>
                      </a:lnTo>
                      <a:lnTo>
                        <a:pt x="192573" y="1090696"/>
                      </a:lnTo>
                      <a:lnTo>
                        <a:pt x="195864" y="1077529"/>
                      </a:lnTo>
                      <a:lnTo>
                        <a:pt x="200802" y="1072591"/>
                      </a:lnTo>
                      <a:lnTo>
                        <a:pt x="200802" y="1065459"/>
                      </a:lnTo>
                      <a:lnTo>
                        <a:pt x="195864" y="1060521"/>
                      </a:lnTo>
                      <a:lnTo>
                        <a:pt x="193121" y="1055035"/>
                      </a:lnTo>
                      <a:lnTo>
                        <a:pt x="195316" y="1053389"/>
                      </a:lnTo>
                      <a:lnTo>
                        <a:pt x="195864" y="1050097"/>
                      </a:lnTo>
                      <a:lnTo>
                        <a:pt x="194219" y="1041867"/>
                      </a:lnTo>
                      <a:lnTo>
                        <a:pt x="197510" y="1044611"/>
                      </a:lnTo>
                      <a:lnTo>
                        <a:pt x="200254" y="1049548"/>
                      </a:lnTo>
                      <a:lnTo>
                        <a:pt x="200254" y="1055035"/>
                      </a:lnTo>
                      <a:lnTo>
                        <a:pt x="204643" y="1053938"/>
                      </a:lnTo>
                      <a:lnTo>
                        <a:pt x="205191" y="1049548"/>
                      </a:lnTo>
                      <a:lnTo>
                        <a:pt x="202448" y="1043513"/>
                      </a:lnTo>
                      <a:lnTo>
                        <a:pt x="201351" y="1033089"/>
                      </a:lnTo>
                      <a:lnTo>
                        <a:pt x="202448" y="1030895"/>
                      </a:lnTo>
                      <a:lnTo>
                        <a:pt x="204643" y="1031443"/>
                      </a:lnTo>
                      <a:lnTo>
                        <a:pt x="208483" y="1028700"/>
                      </a:lnTo>
                      <a:lnTo>
                        <a:pt x="212324" y="1030895"/>
                      </a:lnTo>
                      <a:lnTo>
                        <a:pt x="212324" y="1035832"/>
                      </a:lnTo>
                      <a:lnTo>
                        <a:pt x="207386" y="1038027"/>
                      </a:lnTo>
                      <a:lnTo>
                        <a:pt x="212324" y="1078078"/>
                      </a:lnTo>
                      <a:lnTo>
                        <a:pt x="217261" y="1076432"/>
                      </a:lnTo>
                      <a:lnTo>
                        <a:pt x="223845" y="1082467"/>
                      </a:lnTo>
                      <a:lnTo>
                        <a:pt x="228234" y="1081918"/>
                      </a:lnTo>
                      <a:lnTo>
                        <a:pt x="232623" y="1089599"/>
                      </a:lnTo>
                      <a:lnTo>
                        <a:pt x="232623" y="1105510"/>
                      </a:lnTo>
                      <a:lnTo>
                        <a:pt x="234269" y="1096183"/>
                      </a:lnTo>
                      <a:lnTo>
                        <a:pt x="237561" y="1101669"/>
                      </a:lnTo>
                      <a:lnTo>
                        <a:pt x="243048" y="1098377"/>
                      </a:lnTo>
                      <a:lnTo>
                        <a:pt x="248534" y="1072043"/>
                      </a:lnTo>
                      <a:lnTo>
                        <a:pt x="244693" y="1052840"/>
                      </a:lnTo>
                      <a:lnTo>
                        <a:pt x="253472" y="1038027"/>
                      </a:lnTo>
                      <a:lnTo>
                        <a:pt x="253472" y="1028700"/>
                      </a:lnTo>
                      <a:lnTo>
                        <a:pt x="271577" y="1021019"/>
                      </a:lnTo>
                      <a:lnTo>
                        <a:pt x="275966" y="1013887"/>
                      </a:lnTo>
                      <a:lnTo>
                        <a:pt x="277063" y="1003463"/>
                      </a:lnTo>
                      <a:lnTo>
                        <a:pt x="273771" y="997976"/>
                      </a:lnTo>
                      <a:lnTo>
                        <a:pt x="279258" y="977677"/>
                      </a:lnTo>
                      <a:lnTo>
                        <a:pt x="273223" y="954634"/>
                      </a:lnTo>
                      <a:lnTo>
                        <a:pt x="266639" y="945855"/>
                      </a:lnTo>
                      <a:lnTo>
                        <a:pt x="268285" y="941466"/>
                      </a:lnTo>
                      <a:lnTo>
                        <a:pt x="278160" y="937077"/>
                      </a:lnTo>
                      <a:lnTo>
                        <a:pt x="285293" y="929396"/>
                      </a:lnTo>
                      <a:lnTo>
                        <a:pt x="289682" y="917326"/>
                      </a:lnTo>
                      <a:lnTo>
                        <a:pt x="287487" y="903062"/>
                      </a:lnTo>
                      <a:lnTo>
                        <a:pt x="273223" y="892089"/>
                      </a:lnTo>
                      <a:lnTo>
                        <a:pt x="267188" y="882213"/>
                      </a:lnTo>
                      <a:lnTo>
                        <a:pt x="267188" y="838322"/>
                      </a:lnTo>
                      <a:lnTo>
                        <a:pt x="264444" y="828446"/>
                      </a:lnTo>
                      <a:lnTo>
                        <a:pt x="262250" y="826252"/>
                      </a:lnTo>
                      <a:lnTo>
                        <a:pt x="267736" y="783458"/>
                      </a:lnTo>
                      <a:lnTo>
                        <a:pt x="272125" y="776874"/>
                      </a:lnTo>
                      <a:lnTo>
                        <a:pt x="268834" y="773034"/>
                      </a:lnTo>
                      <a:lnTo>
                        <a:pt x="263896" y="763707"/>
                      </a:lnTo>
                      <a:lnTo>
                        <a:pt x="261701" y="751088"/>
                      </a:lnTo>
                      <a:lnTo>
                        <a:pt x="268834" y="727497"/>
                      </a:lnTo>
                      <a:lnTo>
                        <a:pt x="285841" y="706100"/>
                      </a:lnTo>
                      <a:lnTo>
                        <a:pt x="297363" y="698419"/>
                      </a:lnTo>
                      <a:lnTo>
                        <a:pt x="312176" y="694578"/>
                      </a:lnTo>
                      <a:lnTo>
                        <a:pt x="333573" y="697870"/>
                      </a:lnTo>
                      <a:lnTo>
                        <a:pt x="340705" y="689641"/>
                      </a:lnTo>
                      <a:lnTo>
                        <a:pt x="342351" y="667695"/>
                      </a:lnTo>
                      <a:lnTo>
                        <a:pt x="328087" y="649041"/>
                      </a:lnTo>
                      <a:lnTo>
                        <a:pt x="327538" y="642458"/>
                      </a:lnTo>
                      <a:lnTo>
                        <a:pt x="352227" y="595823"/>
                      </a:lnTo>
                      <a:lnTo>
                        <a:pt x="358262" y="516270"/>
                      </a:lnTo>
                      <a:lnTo>
                        <a:pt x="363200" y="513527"/>
                      </a:lnTo>
                      <a:lnTo>
                        <a:pt x="370881" y="513527"/>
                      </a:lnTo>
                      <a:lnTo>
                        <a:pt x="382951" y="504200"/>
                      </a:lnTo>
                      <a:lnTo>
                        <a:pt x="391729" y="470733"/>
                      </a:lnTo>
                      <a:lnTo>
                        <a:pt x="427391" y="416966"/>
                      </a:lnTo>
                      <a:lnTo>
                        <a:pt x="426293" y="408188"/>
                      </a:lnTo>
                      <a:lnTo>
                        <a:pt x="417515" y="392278"/>
                      </a:lnTo>
                      <a:lnTo>
                        <a:pt x="419710" y="383499"/>
                      </a:lnTo>
                      <a:lnTo>
                        <a:pt x="433426" y="364297"/>
                      </a:lnTo>
                      <a:lnTo>
                        <a:pt x="437266" y="343997"/>
                      </a:lnTo>
                      <a:lnTo>
                        <a:pt x="455920" y="323149"/>
                      </a:lnTo>
                      <a:lnTo>
                        <a:pt x="464698" y="320954"/>
                      </a:lnTo>
                      <a:lnTo>
                        <a:pt x="472928" y="325344"/>
                      </a:lnTo>
                      <a:lnTo>
                        <a:pt x="479511" y="334122"/>
                      </a:lnTo>
                      <a:lnTo>
                        <a:pt x="482255" y="335219"/>
                      </a:lnTo>
                      <a:lnTo>
                        <a:pt x="493776" y="302849"/>
                      </a:lnTo>
                      <a:lnTo>
                        <a:pt x="492130" y="286939"/>
                      </a:lnTo>
                      <a:lnTo>
                        <a:pt x="495422" y="280355"/>
                      </a:lnTo>
                      <a:lnTo>
                        <a:pt x="499263" y="277063"/>
                      </a:lnTo>
                      <a:lnTo>
                        <a:pt x="505297" y="275966"/>
                      </a:lnTo>
                      <a:lnTo>
                        <a:pt x="556321" y="289133"/>
                      </a:lnTo>
                      <a:lnTo>
                        <a:pt x="562356" y="287487"/>
                      </a:lnTo>
                      <a:lnTo>
                        <a:pt x="566745" y="282001"/>
                      </a:lnTo>
                      <a:lnTo>
                        <a:pt x="560161" y="275417"/>
                      </a:lnTo>
                      <a:lnTo>
                        <a:pt x="559064" y="268285"/>
                      </a:lnTo>
                      <a:lnTo>
                        <a:pt x="563453" y="261153"/>
                      </a:lnTo>
                      <a:lnTo>
                        <a:pt x="565648" y="250729"/>
                      </a:lnTo>
                      <a:lnTo>
                        <a:pt x="568940" y="246888"/>
                      </a:lnTo>
                      <a:lnTo>
                        <a:pt x="570037" y="240853"/>
                      </a:lnTo>
                      <a:lnTo>
                        <a:pt x="569488" y="233721"/>
                      </a:lnTo>
                      <a:lnTo>
                        <a:pt x="565648" y="229880"/>
                      </a:lnTo>
                      <a:lnTo>
                        <a:pt x="565099" y="223297"/>
                      </a:lnTo>
                      <a:lnTo>
                        <a:pt x="568940" y="221102"/>
                      </a:lnTo>
                      <a:lnTo>
                        <a:pt x="584302" y="221651"/>
                      </a:lnTo>
                      <a:lnTo>
                        <a:pt x="586496" y="216164"/>
                      </a:lnTo>
                      <a:lnTo>
                        <a:pt x="592531" y="214518"/>
                      </a:lnTo>
                      <a:lnTo>
                        <a:pt x="598018" y="216713"/>
                      </a:lnTo>
                      <a:lnTo>
                        <a:pt x="604053" y="214518"/>
                      </a:lnTo>
                      <a:lnTo>
                        <a:pt x="601309" y="198059"/>
                      </a:lnTo>
                      <a:lnTo>
                        <a:pt x="610088" y="193670"/>
                      </a:lnTo>
                      <a:lnTo>
                        <a:pt x="619415" y="197510"/>
                      </a:lnTo>
                      <a:lnTo>
                        <a:pt x="648493" y="235367"/>
                      </a:lnTo>
                      <a:lnTo>
                        <a:pt x="651784" y="248534"/>
                      </a:lnTo>
                      <a:lnTo>
                        <a:pt x="655625" y="254020"/>
                      </a:lnTo>
                      <a:lnTo>
                        <a:pt x="672633" y="256764"/>
                      </a:lnTo>
                      <a:lnTo>
                        <a:pt x="683057" y="262250"/>
                      </a:lnTo>
                      <a:lnTo>
                        <a:pt x="691287" y="261153"/>
                      </a:lnTo>
                      <a:lnTo>
                        <a:pt x="701162" y="255118"/>
                      </a:lnTo>
                      <a:lnTo>
                        <a:pt x="713781" y="241950"/>
                      </a:lnTo>
                      <a:lnTo>
                        <a:pt x="719816" y="246339"/>
                      </a:lnTo>
                      <a:lnTo>
                        <a:pt x="728045" y="261153"/>
                      </a:lnTo>
                      <a:lnTo>
                        <a:pt x="735726" y="263347"/>
                      </a:lnTo>
                      <a:lnTo>
                        <a:pt x="754380" y="251826"/>
                      </a:lnTo>
                      <a:lnTo>
                        <a:pt x="760415" y="242499"/>
                      </a:lnTo>
                      <a:lnTo>
                        <a:pt x="777972" y="229332"/>
                      </a:lnTo>
                      <a:lnTo>
                        <a:pt x="780715" y="166787"/>
                      </a:lnTo>
                      <a:lnTo>
                        <a:pt x="789493" y="144841"/>
                      </a:lnTo>
                      <a:lnTo>
                        <a:pt x="797174" y="136611"/>
                      </a:lnTo>
                      <a:lnTo>
                        <a:pt x="864657" y="114666"/>
                      </a:lnTo>
                      <a:lnTo>
                        <a:pt x="868497" y="117409"/>
                      </a:lnTo>
                      <a:lnTo>
                        <a:pt x="875081" y="132222"/>
                      </a:lnTo>
                      <a:lnTo>
                        <a:pt x="882762" y="137709"/>
                      </a:lnTo>
                      <a:lnTo>
                        <a:pt x="894832" y="142098"/>
                      </a:lnTo>
                      <a:lnTo>
                        <a:pt x="906902" y="154168"/>
                      </a:lnTo>
                      <a:lnTo>
                        <a:pt x="912937" y="184343"/>
                      </a:lnTo>
                      <a:lnTo>
                        <a:pt x="899221" y="200802"/>
                      </a:lnTo>
                      <a:lnTo>
                        <a:pt x="897027" y="209032"/>
                      </a:lnTo>
                      <a:lnTo>
                        <a:pt x="897027" y="216713"/>
                      </a:lnTo>
                      <a:lnTo>
                        <a:pt x="903610" y="222199"/>
                      </a:lnTo>
                      <a:lnTo>
                        <a:pt x="905805" y="221102"/>
                      </a:lnTo>
                      <a:lnTo>
                        <a:pt x="911840" y="215616"/>
                      </a:lnTo>
                      <a:lnTo>
                        <a:pt x="912937" y="212872"/>
                      </a:lnTo>
                      <a:lnTo>
                        <a:pt x="913486" y="205191"/>
                      </a:lnTo>
                      <a:lnTo>
                        <a:pt x="915132" y="201900"/>
                      </a:lnTo>
                      <a:lnTo>
                        <a:pt x="936529" y="188732"/>
                      </a:lnTo>
                      <a:lnTo>
                        <a:pt x="941466" y="183794"/>
                      </a:lnTo>
                      <a:lnTo>
                        <a:pt x="945855" y="162946"/>
                      </a:lnTo>
                      <a:lnTo>
                        <a:pt x="960669" y="172822"/>
                      </a:lnTo>
                      <a:lnTo>
                        <a:pt x="968898" y="170627"/>
                      </a:lnTo>
                      <a:lnTo>
                        <a:pt x="973287" y="158008"/>
                      </a:lnTo>
                      <a:lnTo>
                        <a:pt x="973836" y="150876"/>
                      </a:lnTo>
                      <a:lnTo>
                        <a:pt x="972190" y="148133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32" name="Graphic 7">
                  <a:extLst>
                    <a:ext uri="{FF2B5EF4-FFF2-40B4-BE49-F238E27FC236}">
                      <a16:creationId xmlns:a16="http://schemas.microsoft.com/office/drawing/2014/main" id="{E064CFCA-886E-8AD4-D158-136E89F45220}"/>
                    </a:ext>
                  </a:extLst>
                </p:cNvPr>
                <p:cNvSpPr/>
                <p:nvPr/>
              </p:nvSpPr>
              <p:spPr>
                <a:xfrm>
                  <a:off x="5885897" y="2667632"/>
                  <a:ext cx="531945" cy="352344"/>
                </a:xfrm>
                <a:custGeom>
                  <a:avLst/>
                  <a:gdLst>
                    <a:gd name="connsiteX0" fmla="*/ 170078 w 680862"/>
                    <a:gd name="connsiteY0" fmla="*/ 242499 h 450982"/>
                    <a:gd name="connsiteX1" fmla="*/ 165141 w 680862"/>
                    <a:gd name="connsiteY1" fmla="*/ 241950 h 450982"/>
                    <a:gd name="connsiteX2" fmla="*/ 141549 w 680862"/>
                    <a:gd name="connsiteY2" fmla="*/ 256215 h 450982"/>
                    <a:gd name="connsiteX3" fmla="*/ 118506 w 680862"/>
                    <a:gd name="connsiteY3" fmla="*/ 259507 h 450982"/>
                    <a:gd name="connsiteX4" fmla="*/ 107533 w 680862"/>
                    <a:gd name="connsiteY4" fmla="*/ 267188 h 450982"/>
                    <a:gd name="connsiteX5" fmla="*/ 93269 w 680862"/>
                    <a:gd name="connsiteY5" fmla="*/ 256763 h 450982"/>
                    <a:gd name="connsiteX6" fmla="*/ 31821 w 680862"/>
                    <a:gd name="connsiteY6" fmla="*/ 256763 h 450982"/>
                    <a:gd name="connsiteX7" fmla="*/ 26883 w 680862"/>
                    <a:gd name="connsiteY7" fmla="*/ 258958 h 450982"/>
                    <a:gd name="connsiteX8" fmla="*/ 24140 w 680862"/>
                    <a:gd name="connsiteY8" fmla="*/ 251277 h 450982"/>
                    <a:gd name="connsiteX9" fmla="*/ 0 w 680862"/>
                    <a:gd name="connsiteY9" fmla="*/ 234269 h 450982"/>
                    <a:gd name="connsiteX10" fmla="*/ 12619 w 680862"/>
                    <a:gd name="connsiteY10" fmla="*/ 193670 h 450982"/>
                    <a:gd name="connsiteX11" fmla="*/ 15911 w 680862"/>
                    <a:gd name="connsiteY11" fmla="*/ 194767 h 450982"/>
                    <a:gd name="connsiteX12" fmla="*/ 22494 w 680862"/>
                    <a:gd name="connsiteY12" fmla="*/ 193121 h 450982"/>
                    <a:gd name="connsiteX13" fmla="*/ 20848 w 680862"/>
                    <a:gd name="connsiteY13" fmla="*/ 184892 h 450982"/>
                    <a:gd name="connsiteX14" fmla="*/ 22494 w 680862"/>
                    <a:gd name="connsiteY14" fmla="*/ 175016 h 450982"/>
                    <a:gd name="connsiteX15" fmla="*/ 44989 w 680862"/>
                    <a:gd name="connsiteY15" fmla="*/ 135514 h 450982"/>
                    <a:gd name="connsiteX16" fmla="*/ 70226 w 680862"/>
                    <a:gd name="connsiteY16" fmla="*/ 116312 h 450982"/>
                    <a:gd name="connsiteX17" fmla="*/ 73518 w 680862"/>
                    <a:gd name="connsiteY17" fmla="*/ 106985 h 450982"/>
                    <a:gd name="connsiteX18" fmla="*/ 69677 w 680862"/>
                    <a:gd name="connsiteY18" fmla="*/ 96561 h 450982"/>
                    <a:gd name="connsiteX19" fmla="*/ 70226 w 680862"/>
                    <a:gd name="connsiteY19" fmla="*/ 88880 h 450982"/>
                    <a:gd name="connsiteX20" fmla="*/ 61996 w 680862"/>
                    <a:gd name="connsiteY20" fmla="*/ 78455 h 450982"/>
                    <a:gd name="connsiteX21" fmla="*/ 52121 w 680862"/>
                    <a:gd name="connsiteY21" fmla="*/ 48829 h 450982"/>
                    <a:gd name="connsiteX22" fmla="*/ 56510 w 680862"/>
                    <a:gd name="connsiteY22" fmla="*/ 44440 h 450982"/>
                    <a:gd name="connsiteX23" fmla="*/ 61996 w 680862"/>
                    <a:gd name="connsiteY23" fmla="*/ 43891 h 450982"/>
                    <a:gd name="connsiteX24" fmla="*/ 67483 w 680862"/>
                    <a:gd name="connsiteY24" fmla="*/ 44440 h 450982"/>
                    <a:gd name="connsiteX25" fmla="*/ 78456 w 680862"/>
                    <a:gd name="connsiteY25" fmla="*/ 39502 h 450982"/>
                    <a:gd name="connsiteX26" fmla="*/ 82845 w 680862"/>
                    <a:gd name="connsiteY26" fmla="*/ 35662 h 450982"/>
                    <a:gd name="connsiteX27" fmla="*/ 84491 w 680862"/>
                    <a:gd name="connsiteY27" fmla="*/ 30724 h 450982"/>
                    <a:gd name="connsiteX28" fmla="*/ 117409 w 680862"/>
                    <a:gd name="connsiteY28" fmla="*/ 23591 h 450982"/>
                    <a:gd name="connsiteX29" fmla="*/ 122895 w 680862"/>
                    <a:gd name="connsiteY29" fmla="*/ 25786 h 450982"/>
                    <a:gd name="connsiteX30" fmla="*/ 139903 w 680862"/>
                    <a:gd name="connsiteY30" fmla="*/ 25237 h 450982"/>
                    <a:gd name="connsiteX31" fmla="*/ 160752 w 680862"/>
                    <a:gd name="connsiteY31" fmla="*/ 34016 h 450982"/>
                    <a:gd name="connsiteX32" fmla="*/ 166238 w 680862"/>
                    <a:gd name="connsiteY32" fmla="*/ 35113 h 450982"/>
                    <a:gd name="connsiteX33" fmla="*/ 172273 w 680862"/>
                    <a:gd name="connsiteY33" fmla="*/ 34016 h 450982"/>
                    <a:gd name="connsiteX34" fmla="*/ 187086 w 680862"/>
                    <a:gd name="connsiteY34" fmla="*/ 41148 h 450982"/>
                    <a:gd name="connsiteX35" fmla="*/ 188732 w 680862"/>
                    <a:gd name="connsiteY35" fmla="*/ 46634 h 450982"/>
                    <a:gd name="connsiteX36" fmla="*/ 193121 w 680862"/>
                    <a:gd name="connsiteY36" fmla="*/ 50475 h 450982"/>
                    <a:gd name="connsiteX37" fmla="*/ 204094 w 680862"/>
                    <a:gd name="connsiteY37" fmla="*/ 49378 h 450982"/>
                    <a:gd name="connsiteX38" fmla="*/ 204643 w 680862"/>
                    <a:gd name="connsiteY38" fmla="*/ 54864 h 450982"/>
                    <a:gd name="connsiteX39" fmla="*/ 209032 w 680862"/>
                    <a:gd name="connsiteY39" fmla="*/ 58705 h 450982"/>
                    <a:gd name="connsiteX40" fmla="*/ 213421 w 680862"/>
                    <a:gd name="connsiteY40" fmla="*/ 54864 h 450982"/>
                    <a:gd name="connsiteX41" fmla="*/ 218907 w 680862"/>
                    <a:gd name="connsiteY41" fmla="*/ 53218 h 450982"/>
                    <a:gd name="connsiteX42" fmla="*/ 224394 w 680862"/>
                    <a:gd name="connsiteY42" fmla="*/ 53218 h 450982"/>
                    <a:gd name="connsiteX43" fmla="*/ 228783 w 680862"/>
                    <a:gd name="connsiteY43" fmla="*/ 48829 h 450982"/>
                    <a:gd name="connsiteX44" fmla="*/ 233172 w 680862"/>
                    <a:gd name="connsiteY44" fmla="*/ 52121 h 450982"/>
                    <a:gd name="connsiteX45" fmla="*/ 238658 w 680862"/>
                    <a:gd name="connsiteY45" fmla="*/ 54315 h 450982"/>
                    <a:gd name="connsiteX46" fmla="*/ 244145 w 680862"/>
                    <a:gd name="connsiteY46" fmla="*/ 52669 h 450982"/>
                    <a:gd name="connsiteX47" fmla="*/ 247437 w 680862"/>
                    <a:gd name="connsiteY47" fmla="*/ 57059 h 450982"/>
                    <a:gd name="connsiteX48" fmla="*/ 252374 w 680862"/>
                    <a:gd name="connsiteY48" fmla="*/ 60350 h 450982"/>
                    <a:gd name="connsiteX49" fmla="*/ 263347 w 680862"/>
                    <a:gd name="connsiteY49" fmla="*/ 47732 h 450982"/>
                    <a:gd name="connsiteX50" fmla="*/ 272674 w 680862"/>
                    <a:gd name="connsiteY50" fmla="*/ 54864 h 450982"/>
                    <a:gd name="connsiteX51" fmla="*/ 274869 w 680862"/>
                    <a:gd name="connsiteY51" fmla="*/ 60350 h 450982"/>
                    <a:gd name="connsiteX52" fmla="*/ 279258 w 680862"/>
                    <a:gd name="connsiteY52" fmla="*/ 63642 h 450982"/>
                    <a:gd name="connsiteX53" fmla="*/ 283647 w 680862"/>
                    <a:gd name="connsiteY53" fmla="*/ 60350 h 450982"/>
                    <a:gd name="connsiteX54" fmla="*/ 306690 w 680862"/>
                    <a:gd name="connsiteY54" fmla="*/ 59253 h 450982"/>
                    <a:gd name="connsiteX55" fmla="*/ 311628 w 680862"/>
                    <a:gd name="connsiteY55" fmla="*/ 61448 h 450982"/>
                    <a:gd name="connsiteX56" fmla="*/ 315468 w 680862"/>
                    <a:gd name="connsiteY56" fmla="*/ 66385 h 450982"/>
                    <a:gd name="connsiteX57" fmla="*/ 320954 w 680862"/>
                    <a:gd name="connsiteY57" fmla="*/ 64739 h 450982"/>
                    <a:gd name="connsiteX58" fmla="*/ 323698 w 680862"/>
                    <a:gd name="connsiteY58" fmla="*/ 59253 h 450982"/>
                    <a:gd name="connsiteX59" fmla="*/ 322052 w 680862"/>
                    <a:gd name="connsiteY59" fmla="*/ 47732 h 450982"/>
                    <a:gd name="connsiteX60" fmla="*/ 323698 w 680862"/>
                    <a:gd name="connsiteY60" fmla="*/ 42245 h 450982"/>
                    <a:gd name="connsiteX61" fmla="*/ 323698 w 680862"/>
                    <a:gd name="connsiteY61" fmla="*/ 36210 h 450982"/>
                    <a:gd name="connsiteX62" fmla="*/ 325892 w 680862"/>
                    <a:gd name="connsiteY62" fmla="*/ 30724 h 450982"/>
                    <a:gd name="connsiteX63" fmla="*/ 337962 w 680862"/>
                    <a:gd name="connsiteY63" fmla="*/ 18654 h 450982"/>
                    <a:gd name="connsiteX64" fmla="*/ 342900 w 680862"/>
                    <a:gd name="connsiteY64" fmla="*/ 15911 h 450982"/>
                    <a:gd name="connsiteX65" fmla="*/ 348935 w 680862"/>
                    <a:gd name="connsiteY65" fmla="*/ 15911 h 450982"/>
                    <a:gd name="connsiteX66" fmla="*/ 353873 w 680862"/>
                    <a:gd name="connsiteY66" fmla="*/ 12619 h 450982"/>
                    <a:gd name="connsiteX67" fmla="*/ 368137 w 680862"/>
                    <a:gd name="connsiteY67" fmla="*/ 12619 h 450982"/>
                    <a:gd name="connsiteX68" fmla="*/ 367589 w 680862"/>
                    <a:gd name="connsiteY68" fmla="*/ 12619 h 450982"/>
                    <a:gd name="connsiteX69" fmla="*/ 371978 w 680862"/>
                    <a:gd name="connsiteY69" fmla="*/ 16459 h 450982"/>
                    <a:gd name="connsiteX70" fmla="*/ 376916 w 680862"/>
                    <a:gd name="connsiteY70" fmla="*/ 17557 h 450982"/>
                    <a:gd name="connsiteX71" fmla="*/ 381853 w 680862"/>
                    <a:gd name="connsiteY71" fmla="*/ 15362 h 450982"/>
                    <a:gd name="connsiteX72" fmla="*/ 385694 w 680862"/>
                    <a:gd name="connsiteY72" fmla="*/ 10973 h 450982"/>
                    <a:gd name="connsiteX73" fmla="*/ 386791 w 680862"/>
                    <a:gd name="connsiteY73" fmla="*/ 5486 h 450982"/>
                    <a:gd name="connsiteX74" fmla="*/ 391729 w 680862"/>
                    <a:gd name="connsiteY74" fmla="*/ 2195 h 450982"/>
                    <a:gd name="connsiteX75" fmla="*/ 408737 w 680862"/>
                    <a:gd name="connsiteY75" fmla="*/ 4389 h 450982"/>
                    <a:gd name="connsiteX76" fmla="*/ 419710 w 680862"/>
                    <a:gd name="connsiteY76" fmla="*/ 1097 h 450982"/>
                    <a:gd name="connsiteX77" fmla="*/ 430682 w 680862"/>
                    <a:gd name="connsiteY77" fmla="*/ 2743 h 450982"/>
                    <a:gd name="connsiteX78" fmla="*/ 441655 w 680862"/>
                    <a:gd name="connsiteY78" fmla="*/ 0 h 450982"/>
                    <a:gd name="connsiteX79" fmla="*/ 450434 w 680862"/>
                    <a:gd name="connsiteY79" fmla="*/ 7132 h 450982"/>
                    <a:gd name="connsiteX80" fmla="*/ 453177 w 680862"/>
                    <a:gd name="connsiteY80" fmla="*/ 12070 h 450982"/>
                    <a:gd name="connsiteX81" fmla="*/ 453177 w 680862"/>
                    <a:gd name="connsiteY81" fmla="*/ 17557 h 450982"/>
                    <a:gd name="connsiteX82" fmla="*/ 465247 w 680862"/>
                    <a:gd name="connsiteY82" fmla="*/ 30175 h 450982"/>
                    <a:gd name="connsiteX83" fmla="*/ 465247 w 680862"/>
                    <a:gd name="connsiteY83" fmla="*/ 36210 h 450982"/>
                    <a:gd name="connsiteX84" fmla="*/ 459212 w 680862"/>
                    <a:gd name="connsiteY84" fmla="*/ 39502 h 450982"/>
                    <a:gd name="connsiteX85" fmla="*/ 453725 w 680862"/>
                    <a:gd name="connsiteY85" fmla="*/ 39502 h 450982"/>
                    <a:gd name="connsiteX86" fmla="*/ 459212 w 680862"/>
                    <a:gd name="connsiteY86" fmla="*/ 60899 h 450982"/>
                    <a:gd name="connsiteX87" fmla="*/ 480060 w 680862"/>
                    <a:gd name="connsiteY87" fmla="*/ 69129 h 450982"/>
                    <a:gd name="connsiteX88" fmla="*/ 485546 w 680862"/>
                    <a:gd name="connsiteY88" fmla="*/ 66934 h 450982"/>
                    <a:gd name="connsiteX89" fmla="*/ 491033 w 680862"/>
                    <a:gd name="connsiteY89" fmla="*/ 66934 h 450982"/>
                    <a:gd name="connsiteX90" fmla="*/ 493227 w 680862"/>
                    <a:gd name="connsiteY90" fmla="*/ 72421 h 450982"/>
                    <a:gd name="connsiteX91" fmla="*/ 499811 w 680862"/>
                    <a:gd name="connsiteY91" fmla="*/ 80650 h 450982"/>
                    <a:gd name="connsiteX92" fmla="*/ 505298 w 680862"/>
                    <a:gd name="connsiteY92" fmla="*/ 99304 h 450982"/>
                    <a:gd name="connsiteX93" fmla="*/ 503652 w 680862"/>
                    <a:gd name="connsiteY93" fmla="*/ 104790 h 450982"/>
                    <a:gd name="connsiteX94" fmla="*/ 505298 w 680862"/>
                    <a:gd name="connsiteY94" fmla="*/ 110277 h 450982"/>
                    <a:gd name="connsiteX95" fmla="*/ 514624 w 680862"/>
                    <a:gd name="connsiteY95" fmla="*/ 116860 h 450982"/>
                    <a:gd name="connsiteX96" fmla="*/ 519562 w 680862"/>
                    <a:gd name="connsiteY96" fmla="*/ 114117 h 450982"/>
                    <a:gd name="connsiteX97" fmla="*/ 525049 w 680862"/>
                    <a:gd name="connsiteY97" fmla="*/ 113020 h 450982"/>
                    <a:gd name="connsiteX98" fmla="*/ 530535 w 680862"/>
                    <a:gd name="connsiteY98" fmla="*/ 114117 h 450982"/>
                    <a:gd name="connsiteX99" fmla="*/ 538216 w 680862"/>
                    <a:gd name="connsiteY99" fmla="*/ 121249 h 450982"/>
                    <a:gd name="connsiteX100" fmla="*/ 543702 w 680862"/>
                    <a:gd name="connsiteY100" fmla="*/ 120152 h 450982"/>
                    <a:gd name="connsiteX101" fmla="*/ 548640 w 680862"/>
                    <a:gd name="connsiteY101" fmla="*/ 122347 h 450982"/>
                    <a:gd name="connsiteX102" fmla="*/ 576072 w 680862"/>
                    <a:gd name="connsiteY102" fmla="*/ 111923 h 450982"/>
                    <a:gd name="connsiteX103" fmla="*/ 581010 w 680862"/>
                    <a:gd name="connsiteY103" fmla="*/ 113569 h 450982"/>
                    <a:gd name="connsiteX104" fmla="*/ 599115 w 680862"/>
                    <a:gd name="connsiteY104" fmla="*/ 142098 h 450982"/>
                    <a:gd name="connsiteX105" fmla="*/ 605150 w 680862"/>
                    <a:gd name="connsiteY105" fmla="*/ 141549 h 450982"/>
                    <a:gd name="connsiteX106" fmla="*/ 607345 w 680862"/>
                    <a:gd name="connsiteY106" fmla="*/ 136063 h 450982"/>
                    <a:gd name="connsiteX107" fmla="*/ 612831 w 680862"/>
                    <a:gd name="connsiteY107" fmla="*/ 136611 h 450982"/>
                    <a:gd name="connsiteX108" fmla="*/ 616123 w 680862"/>
                    <a:gd name="connsiteY108" fmla="*/ 141001 h 450982"/>
                    <a:gd name="connsiteX109" fmla="*/ 626547 w 680862"/>
                    <a:gd name="connsiteY109" fmla="*/ 144292 h 450982"/>
                    <a:gd name="connsiteX110" fmla="*/ 630936 w 680862"/>
                    <a:gd name="connsiteY110" fmla="*/ 148133 h 450982"/>
                    <a:gd name="connsiteX111" fmla="*/ 641909 w 680862"/>
                    <a:gd name="connsiteY111" fmla="*/ 147584 h 450982"/>
                    <a:gd name="connsiteX112" fmla="*/ 650687 w 680862"/>
                    <a:gd name="connsiteY112" fmla="*/ 154168 h 450982"/>
                    <a:gd name="connsiteX113" fmla="*/ 656174 w 680862"/>
                    <a:gd name="connsiteY113" fmla="*/ 153619 h 450982"/>
                    <a:gd name="connsiteX114" fmla="*/ 664403 w 680862"/>
                    <a:gd name="connsiteY114" fmla="*/ 161300 h 450982"/>
                    <a:gd name="connsiteX115" fmla="*/ 675925 w 680862"/>
                    <a:gd name="connsiteY115" fmla="*/ 161849 h 450982"/>
                    <a:gd name="connsiteX116" fmla="*/ 680314 w 680862"/>
                    <a:gd name="connsiteY116" fmla="*/ 165141 h 450982"/>
                    <a:gd name="connsiteX117" fmla="*/ 675376 w 680862"/>
                    <a:gd name="connsiteY117" fmla="*/ 167884 h 450982"/>
                    <a:gd name="connsiteX118" fmla="*/ 680862 w 680862"/>
                    <a:gd name="connsiteY118" fmla="*/ 183794 h 450982"/>
                    <a:gd name="connsiteX119" fmla="*/ 675376 w 680862"/>
                    <a:gd name="connsiteY119" fmla="*/ 193670 h 450982"/>
                    <a:gd name="connsiteX120" fmla="*/ 664403 w 680862"/>
                    <a:gd name="connsiteY120" fmla="*/ 196413 h 450982"/>
                    <a:gd name="connsiteX121" fmla="*/ 667695 w 680862"/>
                    <a:gd name="connsiteY121" fmla="*/ 200802 h 450982"/>
                    <a:gd name="connsiteX122" fmla="*/ 673181 w 680862"/>
                    <a:gd name="connsiteY122" fmla="*/ 201899 h 450982"/>
                    <a:gd name="connsiteX123" fmla="*/ 676473 w 680862"/>
                    <a:gd name="connsiteY123" fmla="*/ 206289 h 450982"/>
                    <a:gd name="connsiteX124" fmla="*/ 665500 w 680862"/>
                    <a:gd name="connsiteY124" fmla="*/ 209581 h 450982"/>
                    <a:gd name="connsiteX125" fmla="*/ 663306 w 680862"/>
                    <a:gd name="connsiteY125" fmla="*/ 214518 h 450982"/>
                    <a:gd name="connsiteX126" fmla="*/ 662757 w 680862"/>
                    <a:gd name="connsiteY126" fmla="*/ 220005 h 450982"/>
                    <a:gd name="connsiteX127" fmla="*/ 666049 w 680862"/>
                    <a:gd name="connsiteY127" fmla="*/ 223845 h 450982"/>
                    <a:gd name="connsiteX128" fmla="*/ 668244 w 680862"/>
                    <a:gd name="connsiteY128" fmla="*/ 229331 h 450982"/>
                    <a:gd name="connsiteX129" fmla="*/ 667146 w 680862"/>
                    <a:gd name="connsiteY129" fmla="*/ 234818 h 450982"/>
                    <a:gd name="connsiteX130" fmla="*/ 671535 w 680862"/>
                    <a:gd name="connsiteY130" fmla="*/ 237561 h 450982"/>
                    <a:gd name="connsiteX131" fmla="*/ 664952 w 680862"/>
                    <a:gd name="connsiteY131" fmla="*/ 264993 h 450982"/>
                    <a:gd name="connsiteX132" fmla="*/ 659465 w 680862"/>
                    <a:gd name="connsiteY132" fmla="*/ 267188 h 450982"/>
                    <a:gd name="connsiteX133" fmla="*/ 649041 w 680862"/>
                    <a:gd name="connsiteY133" fmla="*/ 264445 h 450982"/>
                    <a:gd name="connsiteX134" fmla="*/ 643555 w 680862"/>
                    <a:gd name="connsiteY134" fmla="*/ 265542 h 450982"/>
                    <a:gd name="connsiteX135" fmla="*/ 633679 w 680862"/>
                    <a:gd name="connsiteY135" fmla="*/ 260055 h 450982"/>
                    <a:gd name="connsiteX136" fmla="*/ 629290 w 680862"/>
                    <a:gd name="connsiteY136" fmla="*/ 263896 h 450982"/>
                    <a:gd name="connsiteX137" fmla="*/ 623255 w 680862"/>
                    <a:gd name="connsiteY137" fmla="*/ 273223 h 450982"/>
                    <a:gd name="connsiteX138" fmla="*/ 612831 w 680862"/>
                    <a:gd name="connsiteY138" fmla="*/ 277612 h 450982"/>
                    <a:gd name="connsiteX139" fmla="*/ 607893 w 680862"/>
                    <a:gd name="connsiteY139" fmla="*/ 286939 h 450982"/>
                    <a:gd name="connsiteX140" fmla="*/ 608990 w 680862"/>
                    <a:gd name="connsiteY140" fmla="*/ 303398 h 450982"/>
                    <a:gd name="connsiteX141" fmla="*/ 583753 w 680862"/>
                    <a:gd name="connsiteY141" fmla="*/ 307787 h 450982"/>
                    <a:gd name="connsiteX142" fmla="*/ 577169 w 680862"/>
                    <a:gd name="connsiteY142" fmla="*/ 314371 h 450982"/>
                    <a:gd name="connsiteX143" fmla="*/ 572232 w 680862"/>
                    <a:gd name="connsiteY143" fmla="*/ 314371 h 450982"/>
                    <a:gd name="connsiteX144" fmla="*/ 559064 w 680862"/>
                    <a:gd name="connsiteY144" fmla="*/ 319309 h 450982"/>
                    <a:gd name="connsiteX145" fmla="*/ 556870 w 680862"/>
                    <a:gd name="connsiteY145" fmla="*/ 327538 h 450982"/>
                    <a:gd name="connsiteX146" fmla="*/ 548640 w 680862"/>
                    <a:gd name="connsiteY146" fmla="*/ 322600 h 450982"/>
                    <a:gd name="connsiteX147" fmla="*/ 533827 w 680862"/>
                    <a:gd name="connsiteY147" fmla="*/ 330281 h 450982"/>
                    <a:gd name="connsiteX148" fmla="*/ 531084 w 680862"/>
                    <a:gd name="connsiteY148" fmla="*/ 333025 h 450982"/>
                    <a:gd name="connsiteX149" fmla="*/ 530535 w 680862"/>
                    <a:gd name="connsiteY149" fmla="*/ 329733 h 450982"/>
                    <a:gd name="connsiteX150" fmla="*/ 522854 w 680862"/>
                    <a:gd name="connsiteY150" fmla="*/ 332476 h 450982"/>
                    <a:gd name="connsiteX151" fmla="*/ 517916 w 680862"/>
                    <a:gd name="connsiteY151" fmla="*/ 332476 h 450982"/>
                    <a:gd name="connsiteX152" fmla="*/ 506943 w 680862"/>
                    <a:gd name="connsiteY152" fmla="*/ 342900 h 450982"/>
                    <a:gd name="connsiteX153" fmla="*/ 504749 w 680862"/>
                    <a:gd name="connsiteY153" fmla="*/ 342900 h 450982"/>
                    <a:gd name="connsiteX154" fmla="*/ 495422 w 680862"/>
                    <a:gd name="connsiteY154" fmla="*/ 357713 h 450982"/>
                    <a:gd name="connsiteX155" fmla="*/ 490484 w 680862"/>
                    <a:gd name="connsiteY155" fmla="*/ 360457 h 450982"/>
                    <a:gd name="connsiteX156" fmla="*/ 492130 w 680862"/>
                    <a:gd name="connsiteY156" fmla="*/ 356616 h 450982"/>
                    <a:gd name="connsiteX157" fmla="*/ 496519 w 680862"/>
                    <a:gd name="connsiteY157" fmla="*/ 354421 h 450982"/>
                    <a:gd name="connsiteX158" fmla="*/ 499811 w 680862"/>
                    <a:gd name="connsiteY158" fmla="*/ 351130 h 450982"/>
                    <a:gd name="connsiteX159" fmla="*/ 496519 w 680862"/>
                    <a:gd name="connsiteY159" fmla="*/ 340705 h 450982"/>
                    <a:gd name="connsiteX160" fmla="*/ 493227 w 680862"/>
                    <a:gd name="connsiteY160" fmla="*/ 340705 h 450982"/>
                    <a:gd name="connsiteX161" fmla="*/ 489936 w 680862"/>
                    <a:gd name="connsiteY161" fmla="*/ 351130 h 450982"/>
                    <a:gd name="connsiteX162" fmla="*/ 483352 w 680862"/>
                    <a:gd name="connsiteY162" fmla="*/ 357713 h 450982"/>
                    <a:gd name="connsiteX163" fmla="*/ 484998 w 680862"/>
                    <a:gd name="connsiteY163" fmla="*/ 374173 h 450982"/>
                    <a:gd name="connsiteX164" fmla="*/ 481706 w 680862"/>
                    <a:gd name="connsiteY164" fmla="*/ 374173 h 450982"/>
                    <a:gd name="connsiteX165" fmla="*/ 481706 w 680862"/>
                    <a:gd name="connsiteY165" fmla="*/ 371429 h 450982"/>
                    <a:gd name="connsiteX166" fmla="*/ 477866 w 680862"/>
                    <a:gd name="connsiteY166" fmla="*/ 363748 h 450982"/>
                    <a:gd name="connsiteX167" fmla="*/ 478963 w 680862"/>
                    <a:gd name="connsiteY167" fmla="*/ 361554 h 450982"/>
                    <a:gd name="connsiteX168" fmla="*/ 477317 w 680862"/>
                    <a:gd name="connsiteY168" fmla="*/ 358262 h 450982"/>
                    <a:gd name="connsiteX169" fmla="*/ 472928 w 680862"/>
                    <a:gd name="connsiteY169" fmla="*/ 361554 h 450982"/>
                    <a:gd name="connsiteX170" fmla="*/ 469636 w 680862"/>
                    <a:gd name="connsiteY170" fmla="*/ 365943 h 450982"/>
                    <a:gd name="connsiteX171" fmla="*/ 468539 w 680862"/>
                    <a:gd name="connsiteY171" fmla="*/ 364846 h 450982"/>
                    <a:gd name="connsiteX172" fmla="*/ 470185 w 680862"/>
                    <a:gd name="connsiteY172" fmla="*/ 360457 h 450982"/>
                    <a:gd name="connsiteX173" fmla="*/ 468539 w 680862"/>
                    <a:gd name="connsiteY173" fmla="*/ 358262 h 450982"/>
                    <a:gd name="connsiteX174" fmla="*/ 459212 w 680862"/>
                    <a:gd name="connsiteY174" fmla="*/ 358262 h 450982"/>
                    <a:gd name="connsiteX175" fmla="*/ 458663 w 680862"/>
                    <a:gd name="connsiteY175" fmla="*/ 356616 h 450982"/>
                    <a:gd name="connsiteX176" fmla="*/ 458114 w 680862"/>
                    <a:gd name="connsiteY176" fmla="*/ 351130 h 450982"/>
                    <a:gd name="connsiteX177" fmla="*/ 455371 w 680862"/>
                    <a:gd name="connsiteY177" fmla="*/ 347838 h 450982"/>
                    <a:gd name="connsiteX178" fmla="*/ 454274 w 680862"/>
                    <a:gd name="connsiteY178" fmla="*/ 357165 h 450982"/>
                    <a:gd name="connsiteX179" fmla="*/ 452628 w 680862"/>
                    <a:gd name="connsiteY179" fmla="*/ 357713 h 450982"/>
                    <a:gd name="connsiteX180" fmla="*/ 440558 w 680862"/>
                    <a:gd name="connsiteY180" fmla="*/ 354421 h 450982"/>
                    <a:gd name="connsiteX181" fmla="*/ 447142 w 680862"/>
                    <a:gd name="connsiteY181" fmla="*/ 360457 h 450982"/>
                    <a:gd name="connsiteX182" fmla="*/ 449885 w 680862"/>
                    <a:gd name="connsiteY182" fmla="*/ 360457 h 450982"/>
                    <a:gd name="connsiteX183" fmla="*/ 452079 w 680862"/>
                    <a:gd name="connsiteY183" fmla="*/ 361554 h 450982"/>
                    <a:gd name="connsiteX184" fmla="*/ 453725 w 680862"/>
                    <a:gd name="connsiteY184" fmla="*/ 364846 h 450982"/>
                    <a:gd name="connsiteX185" fmla="*/ 453725 w 680862"/>
                    <a:gd name="connsiteY185" fmla="*/ 369235 h 450982"/>
                    <a:gd name="connsiteX186" fmla="*/ 456469 w 680862"/>
                    <a:gd name="connsiteY186" fmla="*/ 371978 h 450982"/>
                    <a:gd name="connsiteX187" fmla="*/ 458114 w 680862"/>
                    <a:gd name="connsiteY187" fmla="*/ 370332 h 450982"/>
                    <a:gd name="connsiteX188" fmla="*/ 458663 w 680862"/>
                    <a:gd name="connsiteY188" fmla="*/ 365943 h 450982"/>
                    <a:gd name="connsiteX189" fmla="*/ 465247 w 680862"/>
                    <a:gd name="connsiteY189" fmla="*/ 367040 h 450982"/>
                    <a:gd name="connsiteX190" fmla="*/ 468539 w 680862"/>
                    <a:gd name="connsiteY190" fmla="*/ 369784 h 450982"/>
                    <a:gd name="connsiteX191" fmla="*/ 472379 w 680862"/>
                    <a:gd name="connsiteY191" fmla="*/ 369784 h 450982"/>
                    <a:gd name="connsiteX192" fmla="*/ 469087 w 680862"/>
                    <a:gd name="connsiteY192" fmla="*/ 378013 h 450982"/>
                    <a:gd name="connsiteX193" fmla="*/ 470733 w 680862"/>
                    <a:gd name="connsiteY193" fmla="*/ 379110 h 450982"/>
                    <a:gd name="connsiteX194" fmla="*/ 475122 w 680862"/>
                    <a:gd name="connsiteY194" fmla="*/ 376916 h 450982"/>
                    <a:gd name="connsiteX195" fmla="*/ 476768 w 680862"/>
                    <a:gd name="connsiteY195" fmla="*/ 378013 h 450982"/>
                    <a:gd name="connsiteX196" fmla="*/ 475671 w 680862"/>
                    <a:gd name="connsiteY196" fmla="*/ 384048 h 450982"/>
                    <a:gd name="connsiteX197" fmla="*/ 484449 w 680862"/>
                    <a:gd name="connsiteY197" fmla="*/ 382951 h 450982"/>
                    <a:gd name="connsiteX198" fmla="*/ 488290 w 680862"/>
                    <a:gd name="connsiteY198" fmla="*/ 388437 h 450982"/>
                    <a:gd name="connsiteX199" fmla="*/ 490484 w 680862"/>
                    <a:gd name="connsiteY199" fmla="*/ 403250 h 450982"/>
                    <a:gd name="connsiteX200" fmla="*/ 492679 w 680862"/>
                    <a:gd name="connsiteY200" fmla="*/ 399959 h 450982"/>
                    <a:gd name="connsiteX201" fmla="*/ 505298 w 680862"/>
                    <a:gd name="connsiteY201" fmla="*/ 403250 h 450982"/>
                    <a:gd name="connsiteX202" fmla="*/ 505846 w 680862"/>
                    <a:gd name="connsiteY202" fmla="*/ 399410 h 450982"/>
                    <a:gd name="connsiteX203" fmla="*/ 512978 w 680862"/>
                    <a:gd name="connsiteY203" fmla="*/ 404896 h 450982"/>
                    <a:gd name="connsiteX204" fmla="*/ 521208 w 680862"/>
                    <a:gd name="connsiteY204" fmla="*/ 396118 h 450982"/>
                    <a:gd name="connsiteX205" fmla="*/ 523951 w 680862"/>
                    <a:gd name="connsiteY205" fmla="*/ 395569 h 450982"/>
                    <a:gd name="connsiteX206" fmla="*/ 525597 w 680862"/>
                    <a:gd name="connsiteY206" fmla="*/ 399410 h 450982"/>
                    <a:gd name="connsiteX207" fmla="*/ 531084 w 680862"/>
                    <a:gd name="connsiteY207" fmla="*/ 396118 h 450982"/>
                    <a:gd name="connsiteX208" fmla="*/ 539862 w 680862"/>
                    <a:gd name="connsiteY208" fmla="*/ 394472 h 450982"/>
                    <a:gd name="connsiteX209" fmla="*/ 548091 w 680862"/>
                    <a:gd name="connsiteY209" fmla="*/ 395021 h 450982"/>
                    <a:gd name="connsiteX210" fmla="*/ 546446 w 680862"/>
                    <a:gd name="connsiteY210" fmla="*/ 401056 h 450982"/>
                    <a:gd name="connsiteX211" fmla="*/ 543702 w 680862"/>
                    <a:gd name="connsiteY211" fmla="*/ 403250 h 450982"/>
                    <a:gd name="connsiteX212" fmla="*/ 543154 w 680862"/>
                    <a:gd name="connsiteY212" fmla="*/ 416418 h 450982"/>
                    <a:gd name="connsiteX213" fmla="*/ 530535 w 680862"/>
                    <a:gd name="connsiteY213" fmla="*/ 416966 h 450982"/>
                    <a:gd name="connsiteX214" fmla="*/ 528340 w 680862"/>
                    <a:gd name="connsiteY214" fmla="*/ 419161 h 450982"/>
                    <a:gd name="connsiteX215" fmla="*/ 506943 w 680862"/>
                    <a:gd name="connsiteY215" fmla="*/ 412577 h 450982"/>
                    <a:gd name="connsiteX216" fmla="*/ 488290 w 680862"/>
                    <a:gd name="connsiteY216" fmla="*/ 430682 h 450982"/>
                    <a:gd name="connsiteX217" fmla="*/ 480060 w 680862"/>
                    <a:gd name="connsiteY217" fmla="*/ 429037 h 450982"/>
                    <a:gd name="connsiteX218" fmla="*/ 470185 w 680862"/>
                    <a:gd name="connsiteY218" fmla="*/ 431780 h 450982"/>
                    <a:gd name="connsiteX219" fmla="*/ 474025 w 680862"/>
                    <a:gd name="connsiteY219" fmla="*/ 433974 h 450982"/>
                    <a:gd name="connsiteX220" fmla="*/ 469087 w 680862"/>
                    <a:gd name="connsiteY220" fmla="*/ 435071 h 450982"/>
                    <a:gd name="connsiteX221" fmla="*/ 466344 w 680862"/>
                    <a:gd name="connsiteY221" fmla="*/ 440009 h 450982"/>
                    <a:gd name="connsiteX222" fmla="*/ 465247 w 680862"/>
                    <a:gd name="connsiteY222" fmla="*/ 443301 h 450982"/>
                    <a:gd name="connsiteX223" fmla="*/ 463052 w 680862"/>
                    <a:gd name="connsiteY223" fmla="*/ 444947 h 450982"/>
                    <a:gd name="connsiteX224" fmla="*/ 458663 w 680862"/>
                    <a:gd name="connsiteY224" fmla="*/ 446044 h 450982"/>
                    <a:gd name="connsiteX225" fmla="*/ 450982 w 680862"/>
                    <a:gd name="connsiteY225" fmla="*/ 450982 h 450982"/>
                    <a:gd name="connsiteX226" fmla="*/ 439461 w 680862"/>
                    <a:gd name="connsiteY226" fmla="*/ 450433 h 450982"/>
                    <a:gd name="connsiteX227" fmla="*/ 437815 w 680862"/>
                    <a:gd name="connsiteY227" fmla="*/ 449336 h 450982"/>
                    <a:gd name="connsiteX228" fmla="*/ 429585 w 680862"/>
                    <a:gd name="connsiteY228" fmla="*/ 442753 h 450982"/>
                    <a:gd name="connsiteX229" fmla="*/ 432328 w 680862"/>
                    <a:gd name="connsiteY229" fmla="*/ 437815 h 450982"/>
                    <a:gd name="connsiteX230" fmla="*/ 432877 w 680862"/>
                    <a:gd name="connsiteY230" fmla="*/ 418612 h 450982"/>
                    <a:gd name="connsiteX231" fmla="*/ 429585 w 680862"/>
                    <a:gd name="connsiteY231" fmla="*/ 411480 h 450982"/>
                    <a:gd name="connsiteX232" fmla="*/ 425196 w 680862"/>
                    <a:gd name="connsiteY232" fmla="*/ 409834 h 450982"/>
                    <a:gd name="connsiteX233" fmla="*/ 420258 w 680862"/>
                    <a:gd name="connsiteY233" fmla="*/ 410383 h 450982"/>
                    <a:gd name="connsiteX234" fmla="*/ 407091 w 680862"/>
                    <a:gd name="connsiteY234" fmla="*/ 399959 h 450982"/>
                    <a:gd name="connsiteX235" fmla="*/ 396118 w 680862"/>
                    <a:gd name="connsiteY235" fmla="*/ 399959 h 450982"/>
                    <a:gd name="connsiteX236" fmla="*/ 395569 w 680862"/>
                    <a:gd name="connsiteY236" fmla="*/ 398313 h 450982"/>
                    <a:gd name="connsiteX237" fmla="*/ 398313 w 680862"/>
                    <a:gd name="connsiteY237" fmla="*/ 393923 h 450982"/>
                    <a:gd name="connsiteX238" fmla="*/ 404896 w 680862"/>
                    <a:gd name="connsiteY238" fmla="*/ 390632 h 450982"/>
                    <a:gd name="connsiteX239" fmla="*/ 419710 w 680862"/>
                    <a:gd name="connsiteY239" fmla="*/ 376916 h 450982"/>
                    <a:gd name="connsiteX240" fmla="*/ 438363 w 680862"/>
                    <a:gd name="connsiteY240" fmla="*/ 371429 h 450982"/>
                    <a:gd name="connsiteX241" fmla="*/ 441655 w 680862"/>
                    <a:gd name="connsiteY241" fmla="*/ 369784 h 450982"/>
                    <a:gd name="connsiteX242" fmla="*/ 438363 w 680862"/>
                    <a:gd name="connsiteY242" fmla="*/ 368137 h 450982"/>
                    <a:gd name="connsiteX243" fmla="*/ 438363 w 680862"/>
                    <a:gd name="connsiteY243" fmla="*/ 362651 h 450982"/>
                    <a:gd name="connsiteX244" fmla="*/ 433426 w 680862"/>
                    <a:gd name="connsiteY244" fmla="*/ 358262 h 450982"/>
                    <a:gd name="connsiteX245" fmla="*/ 430134 w 680862"/>
                    <a:gd name="connsiteY245" fmla="*/ 363200 h 450982"/>
                    <a:gd name="connsiteX246" fmla="*/ 423550 w 680862"/>
                    <a:gd name="connsiteY246" fmla="*/ 359359 h 450982"/>
                    <a:gd name="connsiteX247" fmla="*/ 423001 w 680862"/>
                    <a:gd name="connsiteY247" fmla="*/ 356068 h 450982"/>
                    <a:gd name="connsiteX248" fmla="*/ 416966 w 680862"/>
                    <a:gd name="connsiteY248" fmla="*/ 357713 h 450982"/>
                    <a:gd name="connsiteX249" fmla="*/ 415869 w 680862"/>
                    <a:gd name="connsiteY249" fmla="*/ 360457 h 450982"/>
                    <a:gd name="connsiteX250" fmla="*/ 396118 w 680862"/>
                    <a:gd name="connsiteY250" fmla="*/ 363748 h 450982"/>
                    <a:gd name="connsiteX251" fmla="*/ 384597 w 680862"/>
                    <a:gd name="connsiteY251" fmla="*/ 359359 h 450982"/>
                    <a:gd name="connsiteX252" fmla="*/ 380756 w 680862"/>
                    <a:gd name="connsiteY252" fmla="*/ 354970 h 450982"/>
                    <a:gd name="connsiteX253" fmla="*/ 376367 w 680862"/>
                    <a:gd name="connsiteY253" fmla="*/ 353873 h 450982"/>
                    <a:gd name="connsiteX254" fmla="*/ 368686 w 680862"/>
                    <a:gd name="connsiteY254" fmla="*/ 354970 h 450982"/>
                    <a:gd name="connsiteX255" fmla="*/ 368137 w 680862"/>
                    <a:gd name="connsiteY255" fmla="*/ 351678 h 450982"/>
                    <a:gd name="connsiteX256" fmla="*/ 376916 w 680862"/>
                    <a:gd name="connsiteY256" fmla="*/ 345095 h 450982"/>
                    <a:gd name="connsiteX257" fmla="*/ 375818 w 680862"/>
                    <a:gd name="connsiteY257" fmla="*/ 342900 h 450982"/>
                    <a:gd name="connsiteX258" fmla="*/ 364846 w 680862"/>
                    <a:gd name="connsiteY258" fmla="*/ 341803 h 450982"/>
                    <a:gd name="connsiteX259" fmla="*/ 361005 w 680862"/>
                    <a:gd name="connsiteY259" fmla="*/ 340157 h 450982"/>
                    <a:gd name="connsiteX260" fmla="*/ 366492 w 680862"/>
                    <a:gd name="connsiteY260" fmla="*/ 337962 h 450982"/>
                    <a:gd name="connsiteX261" fmla="*/ 383499 w 680862"/>
                    <a:gd name="connsiteY261" fmla="*/ 340157 h 450982"/>
                    <a:gd name="connsiteX262" fmla="*/ 385145 w 680862"/>
                    <a:gd name="connsiteY262" fmla="*/ 339059 h 450982"/>
                    <a:gd name="connsiteX263" fmla="*/ 383499 w 680862"/>
                    <a:gd name="connsiteY263" fmla="*/ 336865 h 450982"/>
                    <a:gd name="connsiteX264" fmla="*/ 379659 w 680862"/>
                    <a:gd name="connsiteY264" fmla="*/ 335768 h 450982"/>
                    <a:gd name="connsiteX265" fmla="*/ 371429 w 680862"/>
                    <a:gd name="connsiteY265" fmla="*/ 323149 h 450982"/>
                    <a:gd name="connsiteX266" fmla="*/ 369783 w 680862"/>
                    <a:gd name="connsiteY266" fmla="*/ 328087 h 450982"/>
                    <a:gd name="connsiteX267" fmla="*/ 358811 w 680862"/>
                    <a:gd name="connsiteY267" fmla="*/ 332476 h 450982"/>
                    <a:gd name="connsiteX268" fmla="*/ 359908 w 680862"/>
                    <a:gd name="connsiteY268" fmla="*/ 325892 h 450982"/>
                    <a:gd name="connsiteX269" fmla="*/ 347838 w 680862"/>
                    <a:gd name="connsiteY269" fmla="*/ 333025 h 450982"/>
                    <a:gd name="connsiteX270" fmla="*/ 326989 w 680862"/>
                    <a:gd name="connsiteY270" fmla="*/ 339059 h 450982"/>
                    <a:gd name="connsiteX271" fmla="*/ 325892 w 680862"/>
                    <a:gd name="connsiteY271" fmla="*/ 345095 h 450982"/>
                    <a:gd name="connsiteX272" fmla="*/ 318211 w 680862"/>
                    <a:gd name="connsiteY272" fmla="*/ 356616 h 450982"/>
                    <a:gd name="connsiteX273" fmla="*/ 316017 w 680862"/>
                    <a:gd name="connsiteY273" fmla="*/ 356068 h 450982"/>
                    <a:gd name="connsiteX274" fmla="*/ 313273 w 680862"/>
                    <a:gd name="connsiteY274" fmla="*/ 350581 h 450982"/>
                    <a:gd name="connsiteX275" fmla="*/ 307238 w 680862"/>
                    <a:gd name="connsiteY275" fmla="*/ 349484 h 450982"/>
                    <a:gd name="connsiteX276" fmla="*/ 305044 w 680862"/>
                    <a:gd name="connsiteY276" fmla="*/ 346192 h 450982"/>
                    <a:gd name="connsiteX277" fmla="*/ 306690 w 680862"/>
                    <a:gd name="connsiteY277" fmla="*/ 351130 h 450982"/>
                    <a:gd name="connsiteX278" fmla="*/ 312725 w 680862"/>
                    <a:gd name="connsiteY278" fmla="*/ 356068 h 450982"/>
                    <a:gd name="connsiteX279" fmla="*/ 314371 w 680862"/>
                    <a:gd name="connsiteY279" fmla="*/ 363748 h 450982"/>
                    <a:gd name="connsiteX280" fmla="*/ 306690 w 680862"/>
                    <a:gd name="connsiteY280" fmla="*/ 375270 h 450982"/>
                    <a:gd name="connsiteX281" fmla="*/ 296814 w 680862"/>
                    <a:gd name="connsiteY281" fmla="*/ 375270 h 450982"/>
                    <a:gd name="connsiteX282" fmla="*/ 295717 w 680862"/>
                    <a:gd name="connsiteY282" fmla="*/ 378562 h 450982"/>
                    <a:gd name="connsiteX283" fmla="*/ 291328 w 680862"/>
                    <a:gd name="connsiteY283" fmla="*/ 380756 h 450982"/>
                    <a:gd name="connsiteX284" fmla="*/ 291328 w 680862"/>
                    <a:gd name="connsiteY284" fmla="*/ 385694 h 450982"/>
                    <a:gd name="connsiteX285" fmla="*/ 287487 w 680862"/>
                    <a:gd name="connsiteY285" fmla="*/ 384048 h 450982"/>
                    <a:gd name="connsiteX286" fmla="*/ 286939 w 680862"/>
                    <a:gd name="connsiteY286" fmla="*/ 377464 h 450982"/>
                    <a:gd name="connsiteX287" fmla="*/ 285841 w 680862"/>
                    <a:gd name="connsiteY287" fmla="*/ 374173 h 450982"/>
                    <a:gd name="connsiteX288" fmla="*/ 286939 w 680862"/>
                    <a:gd name="connsiteY288" fmla="*/ 398313 h 450982"/>
                    <a:gd name="connsiteX289" fmla="*/ 284744 w 680862"/>
                    <a:gd name="connsiteY289" fmla="*/ 398861 h 450982"/>
                    <a:gd name="connsiteX290" fmla="*/ 281452 w 680862"/>
                    <a:gd name="connsiteY290" fmla="*/ 396667 h 450982"/>
                    <a:gd name="connsiteX291" fmla="*/ 275417 w 680862"/>
                    <a:gd name="connsiteY291" fmla="*/ 396118 h 450982"/>
                    <a:gd name="connsiteX292" fmla="*/ 258958 w 680862"/>
                    <a:gd name="connsiteY292" fmla="*/ 400507 h 450982"/>
                    <a:gd name="connsiteX293" fmla="*/ 251826 w 680862"/>
                    <a:gd name="connsiteY293" fmla="*/ 405994 h 450982"/>
                    <a:gd name="connsiteX294" fmla="*/ 244145 w 680862"/>
                    <a:gd name="connsiteY294" fmla="*/ 405994 h 450982"/>
                    <a:gd name="connsiteX295" fmla="*/ 235367 w 680862"/>
                    <a:gd name="connsiteY295" fmla="*/ 394472 h 450982"/>
                    <a:gd name="connsiteX296" fmla="*/ 229880 w 680862"/>
                    <a:gd name="connsiteY296" fmla="*/ 395569 h 450982"/>
                    <a:gd name="connsiteX297" fmla="*/ 229880 w 680862"/>
                    <a:gd name="connsiteY297" fmla="*/ 393375 h 450982"/>
                    <a:gd name="connsiteX298" fmla="*/ 236464 w 680862"/>
                    <a:gd name="connsiteY298" fmla="*/ 393375 h 450982"/>
                    <a:gd name="connsiteX299" fmla="*/ 239756 w 680862"/>
                    <a:gd name="connsiteY299" fmla="*/ 388986 h 450982"/>
                    <a:gd name="connsiteX300" fmla="*/ 240304 w 680862"/>
                    <a:gd name="connsiteY300" fmla="*/ 383500 h 450982"/>
                    <a:gd name="connsiteX301" fmla="*/ 242499 w 680862"/>
                    <a:gd name="connsiteY301" fmla="*/ 378562 h 450982"/>
                    <a:gd name="connsiteX302" fmla="*/ 247985 w 680862"/>
                    <a:gd name="connsiteY302" fmla="*/ 375818 h 450982"/>
                    <a:gd name="connsiteX303" fmla="*/ 248534 w 680862"/>
                    <a:gd name="connsiteY303" fmla="*/ 369784 h 450982"/>
                    <a:gd name="connsiteX304" fmla="*/ 252374 w 680862"/>
                    <a:gd name="connsiteY304" fmla="*/ 365943 h 450982"/>
                    <a:gd name="connsiteX305" fmla="*/ 257312 w 680862"/>
                    <a:gd name="connsiteY305" fmla="*/ 363200 h 450982"/>
                    <a:gd name="connsiteX306" fmla="*/ 259507 w 680862"/>
                    <a:gd name="connsiteY306" fmla="*/ 346741 h 450982"/>
                    <a:gd name="connsiteX307" fmla="*/ 261701 w 680862"/>
                    <a:gd name="connsiteY307" fmla="*/ 341803 h 450982"/>
                    <a:gd name="connsiteX308" fmla="*/ 267188 w 680862"/>
                    <a:gd name="connsiteY308" fmla="*/ 339059 h 450982"/>
                    <a:gd name="connsiteX309" fmla="*/ 269931 w 680862"/>
                    <a:gd name="connsiteY309" fmla="*/ 343997 h 450982"/>
                    <a:gd name="connsiteX310" fmla="*/ 274869 w 680862"/>
                    <a:gd name="connsiteY310" fmla="*/ 341254 h 450982"/>
                    <a:gd name="connsiteX311" fmla="*/ 290779 w 680862"/>
                    <a:gd name="connsiteY311" fmla="*/ 345095 h 450982"/>
                    <a:gd name="connsiteX312" fmla="*/ 295717 w 680862"/>
                    <a:gd name="connsiteY312" fmla="*/ 342352 h 450982"/>
                    <a:gd name="connsiteX313" fmla="*/ 297912 w 680862"/>
                    <a:gd name="connsiteY313" fmla="*/ 336865 h 450982"/>
                    <a:gd name="connsiteX314" fmla="*/ 295717 w 680862"/>
                    <a:gd name="connsiteY314" fmla="*/ 331927 h 450982"/>
                    <a:gd name="connsiteX315" fmla="*/ 296266 w 680862"/>
                    <a:gd name="connsiteY315" fmla="*/ 326441 h 450982"/>
                    <a:gd name="connsiteX316" fmla="*/ 295717 w 680862"/>
                    <a:gd name="connsiteY316" fmla="*/ 320954 h 450982"/>
                    <a:gd name="connsiteX317" fmla="*/ 292974 w 680862"/>
                    <a:gd name="connsiteY317" fmla="*/ 316017 h 450982"/>
                    <a:gd name="connsiteX318" fmla="*/ 283098 w 680862"/>
                    <a:gd name="connsiteY318" fmla="*/ 311079 h 450982"/>
                    <a:gd name="connsiteX319" fmla="*/ 278161 w 680862"/>
                    <a:gd name="connsiteY319" fmla="*/ 301203 h 450982"/>
                    <a:gd name="connsiteX320" fmla="*/ 279806 w 680862"/>
                    <a:gd name="connsiteY320" fmla="*/ 295717 h 450982"/>
                    <a:gd name="connsiteX321" fmla="*/ 277612 w 680862"/>
                    <a:gd name="connsiteY321" fmla="*/ 290231 h 450982"/>
                    <a:gd name="connsiteX322" fmla="*/ 272125 w 680862"/>
                    <a:gd name="connsiteY322" fmla="*/ 289133 h 450982"/>
                    <a:gd name="connsiteX323" fmla="*/ 269382 w 680862"/>
                    <a:gd name="connsiteY323" fmla="*/ 284744 h 450982"/>
                    <a:gd name="connsiteX324" fmla="*/ 265542 w 680862"/>
                    <a:gd name="connsiteY324" fmla="*/ 280904 h 450982"/>
                    <a:gd name="connsiteX325" fmla="*/ 267736 w 680862"/>
                    <a:gd name="connsiteY325" fmla="*/ 258409 h 450982"/>
                    <a:gd name="connsiteX326" fmla="*/ 264993 w 680862"/>
                    <a:gd name="connsiteY326" fmla="*/ 253472 h 450982"/>
                    <a:gd name="connsiteX327" fmla="*/ 259507 w 680862"/>
                    <a:gd name="connsiteY327" fmla="*/ 255118 h 450982"/>
                    <a:gd name="connsiteX328" fmla="*/ 251277 w 680862"/>
                    <a:gd name="connsiteY328" fmla="*/ 246888 h 450982"/>
                    <a:gd name="connsiteX329" fmla="*/ 245791 w 680862"/>
                    <a:gd name="connsiteY329" fmla="*/ 245791 h 450982"/>
                    <a:gd name="connsiteX330" fmla="*/ 234818 w 680862"/>
                    <a:gd name="connsiteY330" fmla="*/ 247437 h 450982"/>
                    <a:gd name="connsiteX331" fmla="*/ 229880 w 680862"/>
                    <a:gd name="connsiteY331" fmla="*/ 245791 h 450982"/>
                    <a:gd name="connsiteX332" fmla="*/ 211775 w 680862"/>
                    <a:gd name="connsiteY332" fmla="*/ 232623 h 450982"/>
                    <a:gd name="connsiteX333" fmla="*/ 200802 w 680862"/>
                    <a:gd name="connsiteY333" fmla="*/ 228783 h 450982"/>
                    <a:gd name="connsiteX334" fmla="*/ 184343 w 680862"/>
                    <a:gd name="connsiteY334" fmla="*/ 233172 h 450982"/>
                    <a:gd name="connsiteX335" fmla="*/ 178857 w 680862"/>
                    <a:gd name="connsiteY335" fmla="*/ 232075 h 450982"/>
                    <a:gd name="connsiteX336" fmla="*/ 173919 w 680862"/>
                    <a:gd name="connsiteY336" fmla="*/ 234818 h 450982"/>
                    <a:gd name="connsiteX337" fmla="*/ 170078 w 680862"/>
                    <a:gd name="connsiteY337" fmla="*/ 242499 h 4509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  <a:cxn ang="0">
                      <a:pos x="connsiteX328" y="connsiteY328"/>
                    </a:cxn>
                    <a:cxn ang="0">
                      <a:pos x="connsiteX329" y="connsiteY329"/>
                    </a:cxn>
                    <a:cxn ang="0">
                      <a:pos x="connsiteX330" y="connsiteY330"/>
                    </a:cxn>
                    <a:cxn ang="0">
                      <a:pos x="connsiteX331" y="connsiteY331"/>
                    </a:cxn>
                    <a:cxn ang="0">
                      <a:pos x="connsiteX332" y="connsiteY332"/>
                    </a:cxn>
                    <a:cxn ang="0">
                      <a:pos x="connsiteX333" y="connsiteY333"/>
                    </a:cxn>
                    <a:cxn ang="0">
                      <a:pos x="connsiteX334" y="connsiteY334"/>
                    </a:cxn>
                    <a:cxn ang="0">
                      <a:pos x="connsiteX335" y="connsiteY335"/>
                    </a:cxn>
                    <a:cxn ang="0">
                      <a:pos x="connsiteX336" y="connsiteY336"/>
                    </a:cxn>
                    <a:cxn ang="0">
                      <a:pos x="connsiteX337" y="connsiteY337"/>
                    </a:cxn>
                  </a:cxnLst>
                  <a:rect l="l" t="t" r="r" b="b"/>
                  <a:pathLst>
                    <a:path w="680862" h="450982">
                      <a:moveTo>
                        <a:pt x="170078" y="242499"/>
                      </a:moveTo>
                      <a:lnTo>
                        <a:pt x="165141" y="241950"/>
                      </a:lnTo>
                      <a:lnTo>
                        <a:pt x="141549" y="256215"/>
                      </a:lnTo>
                      <a:lnTo>
                        <a:pt x="118506" y="259507"/>
                      </a:lnTo>
                      <a:lnTo>
                        <a:pt x="107533" y="267188"/>
                      </a:lnTo>
                      <a:lnTo>
                        <a:pt x="93269" y="256763"/>
                      </a:lnTo>
                      <a:lnTo>
                        <a:pt x="31821" y="256763"/>
                      </a:lnTo>
                      <a:lnTo>
                        <a:pt x="26883" y="258958"/>
                      </a:lnTo>
                      <a:lnTo>
                        <a:pt x="24140" y="251277"/>
                      </a:lnTo>
                      <a:lnTo>
                        <a:pt x="0" y="234269"/>
                      </a:lnTo>
                      <a:lnTo>
                        <a:pt x="12619" y="193670"/>
                      </a:lnTo>
                      <a:lnTo>
                        <a:pt x="15911" y="194767"/>
                      </a:lnTo>
                      <a:lnTo>
                        <a:pt x="22494" y="193121"/>
                      </a:lnTo>
                      <a:lnTo>
                        <a:pt x="20848" y="184892"/>
                      </a:lnTo>
                      <a:lnTo>
                        <a:pt x="22494" y="175016"/>
                      </a:lnTo>
                      <a:lnTo>
                        <a:pt x="44989" y="135514"/>
                      </a:lnTo>
                      <a:lnTo>
                        <a:pt x="70226" y="116312"/>
                      </a:lnTo>
                      <a:lnTo>
                        <a:pt x="73518" y="106985"/>
                      </a:lnTo>
                      <a:lnTo>
                        <a:pt x="69677" y="96561"/>
                      </a:lnTo>
                      <a:lnTo>
                        <a:pt x="70226" y="88880"/>
                      </a:lnTo>
                      <a:lnTo>
                        <a:pt x="61996" y="78455"/>
                      </a:lnTo>
                      <a:lnTo>
                        <a:pt x="52121" y="48829"/>
                      </a:lnTo>
                      <a:lnTo>
                        <a:pt x="56510" y="44440"/>
                      </a:lnTo>
                      <a:lnTo>
                        <a:pt x="61996" y="43891"/>
                      </a:lnTo>
                      <a:lnTo>
                        <a:pt x="67483" y="44440"/>
                      </a:lnTo>
                      <a:lnTo>
                        <a:pt x="78456" y="39502"/>
                      </a:lnTo>
                      <a:lnTo>
                        <a:pt x="82845" y="35662"/>
                      </a:lnTo>
                      <a:lnTo>
                        <a:pt x="84491" y="30724"/>
                      </a:lnTo>
                      <a:lnTo>
                        <a:pt x="117409" y="23591"/>
                      </a:lnTo>
                      <a:lnTo>
                        <a:pt x="122895" y="25786"/>
                      </a:lnTo>
                      <a:lnTo>
                        <a:pt x="139903" y="25237"/>
                      </a:lnTo>
                      <a:lnTo>
                        <a:pt x="160752" y="34016"/>
                      </a:lnTo>
                      <a:lnTo>
                        <a:pt x="166238" y="35113"/>
                      </a:lnTo>
                      <a:lnTo>
                        <a:pt x="172273" y="34016"/>
                      </a:lnTo>
                      <a:lnTo>
                        <a:pt x="187086" y="41148"/>
                      </a:lnTo>
                      <a:lnTo>
                        <a:pt x="188732" y="46634"/>
                      </a:lnTo>
                      <a:lnTo>
                        <a:pt x="193121" y="50475"/>
                      </a:lnTo>
                      <a:lnTo>
                        <a:pt x="204094" y="49378"/>
                      </a:lnTo>
                      <a:lnTo>
                        <a:pt x="204643" y="54864"/>
                      </a:lnTo>
                      <a:lnTo>
                        <a:pt x="209032" y="58705"/>
                      </a:lnTo>
                      <a:lnTo>
                        <a:pt x="213421" y="54864"/>
                      </a:lnTo>
                      <a:lnTo>
                        <a:pt x="218907" y="53218"/>
                      </a:lnTo>
                      <a:lnTo>
                        <a:pt x="224394" y="53218"/>
                      </a:lnTo>
                      <a:lnTo>
                        <a:pt x="228783" y="48829"/>
                      </a:lnTo>
                      <a:lnTo>
                        <a:pt x="233172" y="52121"/>
                      </a:lnTo>
                      <a:lnTo>
                        <a:pt x="238658" y="54315"/>
                      </a:lnTo>
                      <a:lnTo>
                        <a:pt x="244145" y="52669"/>
                      </a:lnTo>
                      <a:lnTo>
                        <a:pt x="247437" y="57059"/>
                      </a:lnTo>
                      <a:lnTo>
                        <a:pt x="252374" y="60350"/>
                      </a:lnTo>
                      <a:lnTo>
                        <a:pt x="263347" y="47732"/>
                      </a:lnTo>
                      <a:lnTo>
                        <a:pt x="272674" y="54864"/>
                      </a:lnTo>
                      <a:lnTo>
                        <a:pt x="274869" y="60350"/>
                      </a:lnTo>
                      <a:lnTo>
                        <a:pt x="279258" y="63642"/>
                      </a:lnTo>
                      <a:lnTo>
                        <a:pt x="283647" y="60350"/>
                      </a:lnTo>
                      <a:lnTo>
                        <a:pt x="306690" y="59253"/>
                      </a:lnTo>
                      <a:lnTo>
                        <a:pt x="311628" y="61448"/>
                      </a:lnTo>
                      <a:lnTo>
                        <a:pt x="315468" y="66385"/>
                      </a:lnTo>
                      <a:lnTo>
                        <a:pt x="320954" y="64739"/>
                      </a:lnTo>
                      <a:lnTo>
                        <a:pt x="323698" y="59253"/>
                      </a:lnTo>
                      <a:lnTo>
                        <a:pt x="322052" y="47732"/>
                      </a:lnTo>
                      <a:lnTo>
                        <a:pt x="323698" y="42245"/>
                      </a:lnTo>
                      <a:lnTo>
                        <a:pt x="323698" y="36210"/>
                      </a:lnTo>
                      <a:lnTo>
                        <a:pt x="325892" y="30724"/>
                      </a:lnTo>
                      <a:lnTo>
                        <a:pt x="337962" y="18654"/>
                      </a:lnTo>
                      <a:lnTo>
                        <a:pt x="342900" y="15911"/>
                      </a:lnTo>
                      <a:lnTo>
                        <a:pt x="348935" y="15911"/>
                      </a:lnTo>
                      <a:lnTo>
                        <a:pt x="353873" y="12619"/>
                      </a:lnTo>
                      <a:lnTo>
                        <a:pt x="368137" y="12619"/>
                      </a:lnTo>
                      <a:lnTo>
                        <a:pt x="367589" y="12619"/>
                      </a:lnTo>
                      <a:lnTo>
                        <a:pt x="371978" y="16459"/>
                      </a:lnTo>
                      <a:lnTo>
                        <a:pt x="376916" y="17557"/>
                      </a:lnTo>
                      <a:lnTo>
                        <a:pt x="381853" y="15362"/>
                      </a:lnTo>
                      <a:lnTo>
                        <a:pt x="385694" y="10973"/>
                      </a:lnTo>
                      <a:lnTo>
                        <a:pt x="386791" y="5486"/>
                      </a:lnTo>
                      <a:lnTo>
                        <a:pt x="391729" y="2195"/>
                      </a:lnTo>
                      <a:lnTo>
                        <a:pt x="408737" y="4389"/>
                      </a:lnTo>
                      <a:lnTo>
                        <a:pt x="419710" y="1097"/>
                      </a:lnTo>
                      <a:lnTo>
                        <a:pt x="430682" y="2743"/>
                      </a:lnTo>
                      <a:lnTo>
                        <a:pt x="441655" y="0"/>
                      </a:lnTo>
                      <a:lnTo>
                        <a:pt x="450434" y="7132"/>
                      </a:lnTo>
                      <a:lnTo>
                        <a:pt x="453177" y="12070"/>
                      </a:lnTo>
                      <a:lnTo>
                        <a:pt x="453177" y="17557"/>
                      </a:lnTo>
                      <a:lnTo>
                        <a:pt x="465247" y="30175"/>
                      </a:lnTo>
                      <a:lnTo>
                        <a:pt x="465247" y="36210"/>
                      </a:lnTo>
                      <a:lnTo>
                        <a:pt x="459212" y="39502"/>
                      </a:lnTo>
                      <a:lnTo>
                        <a:pt x="453725" y="39502"/>
                      </a:lnTo>
                      <a:lnTo>
                        <a:pt x="459212" y="60899"/>
                      </a:lnTo>
                      <a:lnTo>
                        <a:pt x="480060" y="69129"/>
                      </a:lnTo>
                      <a:lnTo>
                        <a:pt x="485546" y="66934"/>
                      </a:lnTo>
                      <a:lnTo>
                        <a:pt x="491033" y="66934"/>
                      </a:lnTo>
                      <a:lnTo>
                        <a:pt x="493227" y="72421"/>
                      </a:lnTo>
                      <a:lnTo>
                        <a:pt x="499811" y="80650"/>
                      </a:lnTo>
                      <a:lnTo>
                        <a:pt x="505298" y="99304"/>
                      </a:lnTo>
                      <a:lnTo>
                        <a:pt x="503652" y="104790"/>
                      </a:lnTo>
                      <a:lnTo>
                        <a:pt x="505298" y="110277"/>
                      </a:lnTo>
                      <a:lnTo>
                        <a:pt x="514624" y="116860"/>
                      </a:lnTo>
                      <a:lnTo>
                        <a:pt x="519562" y="114117"/>
                      </a:lnTo>
                      <a:lnTo>
                        <a:pt x="525049" y="113020"/>
                      </a:lnTo>
                      <a:lnTo>
                        <a:pt x="530535" y="114117"/>
                      </a:lnTo>
                      <a:lnTo>
                        <a:pt x="538216" y="121249"/>
                      </a:lnTo>
                      <a:lnTo>
                        <a:pt x="543702" y="120152"/>
                      </a:lnTo>
                      <a:lnTo>
                        <a:pt x="548640" y="122347"/>
                      </a:lnTo>
                      <a:lnTo>
                        <a:pt x="576072" y="111923"/>
                      </a:lnTo>
                      <a:lnTo>
                        <a:pt x="581010" y="113569"/>
                      </a:lnTo>
                      <a:lnTo>
                        <a:pt x="599115" y="142098"/>
                      </a:lnTo>
                      <a:lnTo>
                        <a:pt x="605150" y="141549"/>
                      </a:lnTo>
                      <a:lnTo>
                        <a:pt x="607345" y="136063"/>
                      </a:lnTo>
                      <a:lnTo>
                        <a:pt x="612831" y="136611"/>
                      </a:lnTo>
                      <a:lnTo>
                        <a:pt x="616123" y="141001"/>
                      </a:lnTo>
                      <a:lnTo>
                        <a:pt x="626547" y="144292"/>
                      </a:lnTo>
                      <a:lnTo>
                        <a:pt x="630936" y="148133"/>
                      </a:lnTo>
                      <a:lnTo>
                        <a:pt x="641909" y="147584"/>
                      </a:lnTo>
                      <a:lnTo>
                        <a:pt x="650687" y="154168"/>
                      </a:lnTo>
                      <a:lnTo>
                        <a:pt x="656174" y="153619"/>
                      </a:lnTo>
                      <a:lnTo>
                        <a:pt x="664403" y="161300"/>
                      </a:lnTo>
                      <a:lnTo>
                        <a:pt x="675925" y="161849"/>
                      </a:lnTo>
                      <a:lnTo>
                        <a:pt x="680314" y="165141"/>
                      </a:lnTo>
                      <a:lnTo>
                        <a:pt x="675376" y="167884"/>
                      </a:lnTo>
                      <a:lnTo>
                        <a:pt x="680862" y="183794"/>
                      </a:lnTo>
                      <a:lnTo>
                        <a:pt x="675376" y="193670"/>
                      </a:lnTo>
                      <a:lnTo>
                        <a:pt x="664403" y="196413"/>
                      </a:lnTo>
                      <a:lnTo>
                        <a:pt x="667695" y="200802"/>
                      </a:lnTo>
                      <a:lnTo>
                        <a:pt x="673181" y="201899"/>
                      </a:lnTo>
                      <a:lnTo>
                        <a:pt x="676473" y="206289"/>
                      </a:lnTo>
                      <a:lnTo>
                        <a:pt x="665500" y="209581"/>
                      </a:lnTo>
                      <a:lnTo>
                        <a:pt x="663306" y="214518"/>
                      </a:lnTo>
                      <a:lnTo>
                        <a:pt x="662757" y="220005"/>
                      </a:lnTo>
                      <a:lnTo>
                        <a:pt x="666049" y="223845"/>
                      </a:lnTo>
                      <a:lnTo>
                        <a:pt x="668244" y="229331"/>
                      </a:lnTo>
                      <a:lnTo>
                        <a:pt x="667146" y="234818"/>
                      </a:lnTo>
                      <a:lnTo>
                        <a:pt x="671535" y="237561"/>
                      </a:lnTo>
                      <a:lnTo>
                        <a:pt x="664952" y="264993"/>
                      </a:lnTo>
                      <a:lnTo>
                        <a:pt x="659465" y="267188"/>
                      </a:lnTo>
                      <a:lnTo>
                        <a:pt x="649041" y="264445"/>
                      </a:lnTo>
                      <a:lnTo>
                        <a:pt x="643555" y="265542"/>
                      </a:lnTo>
                      <a:lnTo>
                        <a:pt x="633679" y="260055"/>
                      </a:lnTo>
                      <a:lnTo>
                        <a:pt x="629290" y="263896"/>
                      </a:lnTo>
                      <a:lnTo>
                        <a:pt x="623255" y="273223"/>
                      </a:lnTo>
                      <a:lnTo>
                        <a:pt x="612831" y="277612"/>
                      </a:lnTo>
                      <a:lnTo>
                        <a:pt x="607893" y="286939"/>
                      </a:lnTo>
                      <a:lnTo>
                        <a:pt x="608990" y="303398"/>
                      </a:lnTo>
                      <a:lnTo>
                        <a:pt x="583753" y="307787"/>
                      </a:lnTo>
                      <a:lnTo>
                        <a:pt x="577169" y="314371"/>
                      </a:lnTo>
                      <a:lnTo>
                        <a:pt x="572232" y="314371"/>
                      </a:lnTo>
                      <a:lnTo>
                        <a:pt x="559064" y="319309"/>
                      </a:lnTo>
                      <a:lnTo>
                        <a:pt x="556870" y="327538"/>
                      </a:lnTo>
                      <a:lnTo>
                        <a:pt x="548640" y="322600"/>
                      </a:lnTo>
                      <a:lnTo>
                        <a:pt x="533827" y="330281"/>
                      </a:lnTo>
                      <a:lnTo>
                        <a:pt x="531084" y="333025"/>
                      </a:lnTo>
                      <a:lnTo>
                        <a:pt x="530535" y="329733"/>
                      </a:lnTo>
                      <a:lnTo>
                        <a:pt x="522854" y="332476"/>
                      </a:lnTo>
                      <a:lnTo>
                        <a:pt x="517916" y="332476"/>
                      </a:lnTo>
                      <a:lnTo>
                        <a:pt x="506943" y="342900"/>
                      </a:lnTo>
                      <a:lnTo>
                        <a:pt x="504749" y="342900"/>
                      </a:lnTo>
                      <a:lnTo>
                        <a:pt x="495422" y="357713"/>
                      </a:lnTo>
                      <a:lnTo>
                        <a:pt x="490484" y="360457"/>
                      </a:lnTo>
                      <a:lnTo>
                        <a:pt x="492130" y="356616"/>
                      </a:lnTo>
                      <a:lnTo>
                        <a:pt x="496519" y="354421"/>
                      </a:lnTo>
                      <a:lnTo>
                        <a:pt x="499811" y="351130"/>
                      </a:lnTo>
                      <a:lnTo>
                        <a:pt x="496519" y="340705"/>
                      </a:lnTo>
                      <a:lnTo>
                        <a:pt x="493227" y="340705"/>
                      </a:lnTo>
                      <a:lnTo>
                        <a:pt x="489936" y="351130"/>
                      </a:lnTo>
                      <a:lnTo>
                        <a:pt x="483352" y="357713"/>
                      </a:lnTo>
                      <a:lnTo>
                        <a:pt x="484998" y="374173"/>
                      </a:lnTo>
                      <a:lnTo>
                        <a:pt x="481706" y="374173"/>
                      </a:lnTo>
                      <a:lnTo>
                        <a:pt x="481706" y="371429"/>
                      </a:lnTo>
                      <a:lnTo>
                        <a:pt x="477866" y="363748"/>
                      </a:lnTo>
                      <a:lnTo>
                        <a:pt x="478963" y="361554"/>
                      </a:lnTo>
                      <a:lnTo>
                        <a:pt x="477317" y="358262"/>
                      </a:lnTo>
                      <a:lnTo>
                        <a:pt x="472928" y="361554"/>
                      </a:lnTo>
                      <a:lnTo>
                        <a:pt x="469636" y="365943"/>
                      </a:lnTo>
                      <a:lnTo>
                        <a:pt x="468539" y="364846"/>
                      </a:lnTo>
                      <a:lnTo>
                        <a:pt x="470185" y="360457"/>
                      </a:lnTo>
                      <a:lnTo>
                        <a:pt x="468539" y="358262"/>
                      </a:lnTo>
                      <a:lnTo>
                        <a:pt x="459212" y="358262"/>
                      </a:lnTo>
                      <a:lnTo>
                        <a:pt x="458663" y="356616"/>
                      </a:lnTo>
                      <a:lnTo>
                        <a:pt x="458114" y="351130"/>
                      </a:lnTo>
                      <a:lnTo>
                        <a:pt x="455371" y="347838"/>
                      </a:lnTo>
                      <a:lnTo>
                        <a:pt x="454274" y="357165"/>
                      </a:lnTo>
                      <a:lnTo>
                        <a:pt x="452628" y="357713"/>
                      </a:lnTo>
                      <a:lnTo>
                        <a:pt x="440558" y="354421"/>
                      </a:lnTo>
                      <a:lnTo>
                        <a:pt x="447142" y="360457"/>
                      </a:lnTo>
                      <a:lnTo>
                        <a:pt x="449885" y="360457"/>
                      </a:lnTo>
                      <a:lnTo>
                        <a:pt x="452079" y="361554"/>
                      </a:lnTo>
                      <a:lnTo>
                        <a:pt x="453725" y="364846"/>
                      </a:lnTo>
                      <a:lnTo>
                        <a:pt x="453725" y="369235"/>
                      </a:lnTo>
                      <a:lnTo>
                        <a:pt x="456469" y="371978"/>
                      </a:lnTo>
                      <a:lnTo>
                        <a:pt x="458114" y="370332"/>
                      </a:lnTo>
                      <a:lnTo>
                        <a:pt x="458663" y="365943"/>
                      </a:lnTo>
                      <a:lnTo>
                        <a:pt x="465247" y="367040"/>
                      </a:lnTo>
                      <a:lnTo>
                        <a:pt x="468539" y="369784"/>
                      </a:lnTo>
                      <a:lnTo>
                        <a:pt x="472379" y="369784"/>
                      </a:lnTo>
                      <a:lnTo>
                        <a:pt x="469087" y="378013"/>
                      </a:lnTo>
                      <a:lnTo>
                        <a:pt x="470733" y="379110"/>
                      </a:lnTo>
                      <a:lnTo>
                        <a:pt x="475122" y="376916"/>
                      </a:lnTo>
                      <a:lnTo>
                        <a:pt x="476768" y="378013"/>
                      </a:lnTo>
                      <a:lnTo>
                        <a:pt x="475671" y="384048"/>
                      </a:lnTo>
                      <a:lnTo>
                        <a:pt x="484449" y="382951"/>
                      </a:lnTo>
                      <a:lnTo>
                        <a:pt x="488290" y="388437"/>
                      </a:lnTo>
                      <a:lnTo>
                        <a:pt x="490484" y="403250"/>
                      </a:lnTo>
                      <a:lnTo>
                        <a:pt x="492679" y="399959"/>
                      </a:lnTo>
                      <a:lnTo>
                        <a:pt x="505298" y="403250"/>
                      </a:lnTo>
                      <a:lnTo>
                        <a:pt x="505846" y="399410"/>
                      </a:lnTo>
                      <a:lnTo>
                        <a:pt x="512978" y="404896"/>
                      </a:lnTo>
                      <a:lnTo>
                        <a:pt x="521208" y="396118"/>
                      </a:lnTo>
                      <a:lnTo>
                        <a:pt x="523951" y="395569"/>
                      </a:lnTo>
                      <a:lnTo>
                        <a:pt x="525597" y="399410"/>
                      </a:lnTo>
                      <a:lnTo>
                        <a:pt x="531084" y="396118"/>
                      </a:lnTo>
                      <a:lnTo>
                        <a:pt x="539862" y="394472"/>
                      </a:lnTo>
                      <a:lnTo>
                        <a:pt x="548091" y="395021"/>
                      </a:lnTo>
                      <a:lnTo>
                        <a:pt x="546446" y="401056"/>
                      </a:lnTo>
                      <a:lnTo>
                        <a:pt x="543702" y="403250"/>
                      </a:lnTo>
                      <a:lnTo>
                        <a:pt x="543154" y="416418"/>
                      </a:lnTo>
                      <a:lnTo>
                        <a:pt x="530535" y="416966"/>
                      </a:lnTo>
                      <a:lnTo>
                        <a:pt x="528340" y="419161"/>
                      </a:lnTo>
                      <a:lnTo>
                        <a:pt x="506943" y="412577"/>
                      </a:lnTo>
                      <a:lnTo>
                        <a:pt x="488290" y="430682"/>
                      </a:lnTo>
                      <a:lnTo>
                        <a:pt x="480060" y="429037"/>
                      </a:lnTo>
                      <a:lnTo>
                        <a:pt x="470185" y="431780"/>
                      </a:lnTo>
                      <a:lnTo>
                        <a:pt x="474025" y="433974"/>
                      </a:lnTo>
                      <a:lnTo>
                        <a:pt x="469087" y="435071"/>
                      </a:lnTo>
                      <a:lnTo>
                        <a:pt x="466344" y="440009"/>
                      </a:lnTo>
                      <a:lnTo>
                        <a:pt x="465247" y="443301"/>
                      </a:lnTo>
                      <a:lnTo>
                        <a:pt x="463052" y="444947"/>
                      </a:lnTo>
                      <a:lnTo>
                        <a:pt x="458663" y="446044"/>
                      </a:lnTo>
                      <a:lnTo>
                        <a:pt x="450982" y="450982"/>
                      </a:lnTo>
                      <a:lnTo>
                        <a:pt x="439461" y="450433"/>
                      </a:lnTo>
                      <a:lnTo>
                        <a:pt x="437815" y="449336"/>
                      </a:lnTo>
                      <a:lnTo>
                        <a:pt x="429585" y="442753"/>
                      </a:lnTo>
                      <a:lnTo>
                        <a:pt x="432328" y="437815"/>
                      </a:lnTo>
                      <a:lnTo>
                        <a:pt x="432877" y="418612"/>
                      </a:lnTo>
                      <a:lnTo>
                        <a:pt x="429585" y="411480"/>
                      </a:lnTo>
                      <a:lnTo>
                        <a:pt x="425196" y="409834"/>
                      </a:lnTo>
                      <a:lnTo>
                        <a:pt x="420258" y="410383"/>
                      </a:lnTo>
                      <a:lnTo>
                        <a:pt x="407091" y="399959"/>
                      </a:lnTo>
                      <a:lnTo>
                        <a:pt x="396118" y="399959"/>
                      </a:lnTo>
                      <a:lnTo>
                        <a:pt x="395569" y="398313"/>
                      </a:lnTo>
                      <a:lnTo>
                        <a:pt x="398313" y="393923"/>
                      </a:lnTo>
                      <a:lnTo>
                        <a:pt x="404896" y="390632"/>
                      </a:lnTo>
                      <a:lnTo>
                        <a:pt x="419710" y="376916"/>
                      </a:lnTo>
                      <a:lnTo>
                        <a:pt x="438363" y="371429"/>
                      </a:lnTo>
                      <a:lnTo>
                        <a:pt x="441655" y="369784"/>
                      </a:lnTo>
                      <a:lnTo>
                        <a:pt x="438363" y="368137"/>
                      </a:lnTo>
                      <a:lnTo>
                        <a:pt x="438363" y="362651"/>
                      </a:lnTo>
                      <a:lnTo>
                        <a:pt x="433426" y="358262"/>
                      </a:lnTo>
                      <a:lnTo>
                        <a:pt x="430134" y="363200"/>
                      </a:lnTo>
                      <a:lnTo>
                        <a:pt x="423550" y="359359"/>
                      </a:lnTo>
                      <a:lnTo>
                        <a:pt x="423001" y="356068"/>
                      </a:lnTo>
                      <a:lnTo>
                        <a:pt x="416966" y="357713"/>
                      </a:lnTo>
                      <a:lnTo>
                        <a:pt x="415869" y="360457"/>
                      </a:lnTo>
                      <a:lnTo>
                        <a:pt x="396118" y="363748"/>
                      </a:lnTo>
                      <a:lnTo>
                        <a:pt x="384597" y="359359"/>
                      </a:lnTo>
                      <a:lnTo>
                        <a:pt x="380756" y="354970"/>
                      </a:lnTo>
                      <a:lnTo>
                        <a:pt x="376367" y="353873"/>
                      </a:lnTo>
                      <a:lnTo>
                        <a:pt x="368686" y="354970"/>
                      </a:lnTo>
                      <a:lnTo>
                        <a:pt x="368137" y="351678"/>
                      </a:lnTo>
                      <a:lnTo>
                        <a:pt x="376916" y="345095"/>
                      </a:lnTo>
                      <a:lnTo>
                        <a:pt x="375818" y="342900"/>
                      </a:lnTo>
                      <a:lnTo>
                        <a:pt x="364846" y="341803"/>
                      </a:lnTo>
                      <a:lnTo>
                        <a:pt x="361005" y="340157"/>
                      </a:lnTo>
                      <a:lnTo>
                        <a:pt x="366492" y="337962"/>
                      </a:lnTo>
                      <a:lnTo>
                        <a:pt x="383499" y="340157"/>
                      </a:lnTo>
                      <a:lnTo>
                        <a:pt x="385145" y="339059"/>
                      </a:lnTo>
                      <a:lnTo>
                        <a:pt x="383499" y="336865"/>
                      </a:lnTo>
                      <a:lnTo>
                        <a:pt x="379659" y="335768"/>
                      </a:lnTo>
                      <a:lnTo>
                        <a:pt x="371429" y="323149"/>
                      </a:lnTo>
                      <a:lnTo>
                        <a:pt x="369783" y="328087"/>
                      </a:lnTo>
                      <a:lnTo>
                        <a:pt x="358811" y="332476"/>
                      </a:lnTo>
                      <a:lnTo>
                        <a:pt x="359908" y="325892"/>
                      </a:lnTo>
                      <a:lnTo>
                        <a:pt x="347838" y="333025"/>
                      </a:lnTo>
                      <a:lnTo>
                        <a:pt x="326989" y="339059"/>
                      </a:lnTo>
                      <a:lnTo>
                        <a:pt x="325892" y="345095"/>
                      </a:lnTo>
                      <a:lnTo>
                        <a:pt x="318211" y="356616"/>
                      </a:lnTo>
                      <a:lnTo>
                        <a:pt x="316017" y="356068"/>
                      </a:lnTo>
                      <a:lnTo>
                        <a:pt x="313273" y="350581"/>
                      </a:lnTo>
                      <a:lnTo>
                        <a:pt x="307238" y="349484"/>
                      </a:lnTo>
                      <a:lnTo>
                        <a:pt x="305044" y="346192"/>
                      </a:lnTo>
                      <a:lnTo>
                        <a:pt x="306690" y="351130"/>
                      </a:lnTo>
                      <a:lnTo>
                        <a:pt x="312725" y="356068"/>
                      </a:lnTo>
                      <a:lnTo>
                        <a:pt x="314371" y="363748"/>
                      </a:lnTo>
                      <a:lnTo>
                        <a:pt x="306690" y="375270"/>
                      </a:lnTo>
                      <a:lnTo>
                        <a:pt x="296814" y="375270"/>
                      </a:lnTo>
                      <a:lnTo>
                        <a:pt x="295717" y="378562"/>
                      </a:lnTo>
                      <a:lnTo>
                        <a:pt x="291328" y="380756"/>
                      </a:lnTo>
                      <a:lnTo>
                        <a:pt x="291328" y="385694"/>
                      </a:lnTo>
                      <a:lnTo>
                        <a:pt x="287487" y="384048"/>
                      </a:lnTo>
                      <a:lnTo>
                        <a:pt x="286939" y="377464"/>
                      </a:lnTo>
                      <a:lnTo>
                        <a:pt x="285841" y="374173"/>
                      </a:lnTo>
                      <a:lnTo>
                        <a:pt x="286939" y="398313"/>
                      </a:lnTo>
                      <a:lnTo>
                        <a:pt x="284744" y="398861"/>
                      </a:lnTo>
                      <a:lnTo>
                        <a:pt x="281452" y="396667"/>
                      </a:lnTo>
                      <a:lnTo>
                        <a:pt x="275417" y="396118"/>
                      </a:lnTo>
                      <a:lnTo>
                        <a:pt x="258958" y="400507"/>
                      </a:lnTo>
                      <a:lnTo>
                        <a:pt x="251826" y="405994"/>
                      </a:lnTo>
                      <a:lnTo>
                        <a:pt x="244145" y="405994"/>
                      </a:lnTo>
                      <a:lnTo>
                        <a:pt x="235367" y="394472"/>
                      </a:lnTo>
                      <a:lnTo>
                        <a:pt x="229880" y="395569"/>
                      </a:lnTo>
                      <a:lnTo>
                        <a:pt x="229880" y="393375"/>
                      </a:lnTo>
                      <a:lnTo>
                        <a:pt x="236464" y="393375"/>
                      </a:lnTo>
                      <a:lnTo>
                        <a:pt x="239756" y="388986"/>
                      </a:lnTo>
                      <a:lnTo>
                        <a:pt x="240304" y="383500"/>
                      </a:lnTo>
                      <a:lnTo>
                        <a:pt x="242499" y="378562"/>
                      </a:lnTo>
                      <a:lnTo>
                        <a:pt x="247985" y="375818"/>
                      </a:lnTo>
                      <a:lnTo>
                        <a:pt x="248534" y="369784"/>
                      </a:lnTo>
                      <a:lnTo>
                        <a:pt x="252374" y="365943"/>
                      </a:lnTo>
                      <a:lnTo>
                        <a:pt x="257312" y="363200"/>
                      </a:lnTo>
                      <a:lnTo>
                        <a:pt x="259507" y="346741"/>
                      </a:lnTo>
                      <a:lnTo>
                        <a:pt x="261701" y="341803"/>
                      </a:lnTo>
                      <a:lnTo>
                        <a:pt x="267188" y="339059"/>
                      </a:lnTo>
                      <a:lnTo>
                        <a:pt x="269931" y="343997"/>
                      </a:lnTo>
                      <a:lnTo>
                        <a:pt x="274869" y="341254"/>
                      </a:lnTo>
                      <a:lnTo>
                        <a:pt x="290779" y="345095"/>
                      </a:lnTo>
                      <a:lnTo>
                        <a:pt x="295717" y="342352"/>
                      </a:lnTo>
                      <a:lnTo>
                        <a:pt x="297912" y="336865"/>
                      </a:lnTo>
                      <a:lnTo>
                        <a:pt x="295717" y="331927"/>
                      </a:lnTo>
                      <a:lnTo>
                        <a:pt x="296266" y="326441"/>
                      </a:lnTo>
                      <a:lnTo>
                        <a:pt x="295717" y="320954"/>
                      </a:lnTo>
                      <a:lnTo>
                        <a:pt x="292974" y="316017"/>
                      </a:lnTo>
                      <a:lnTo>
                        <a:pt x="283098" y="311079"/>
                      </a:lnTo>
                      <a:lnTo>
                        <a:pt x="278161" y="301203"/>
                      </a:lnTo>
                      <a:lnTo>
                        <a:pt x="279806" y="295717"/>
                      </a:lnTo>
                      <a:lnTo>
                        <a:pt x="277612" y="290231"/>
                      </a:lnTo>
                      <a:lnTo>
                        <a:pt x="272125" y="289133"/>
                      </a:lnTo>
                      <a:lnTo>
                        <a:pt x="269382" y="284744"/>
                      </a:lnTo>
                      <a:lnTo>
                        <a:pt x="265542" y="280904"/>
                      </a:lnTo>
                      <a:lnTo>
                        <a:pt x="267736" y="258409"/>
                      </a:lnTo>
                      <a:lnTo>
                        <a:pt x="264993" y="253472"/>
                      </a:lnTo>
                      <a:lnTo>
                        <a:pt x="259507" y="255118"/>
                      </a:lnTo>
                      <a:lnTo>
                        <a:pt x="251277" y="246888"/>
                      </a:lnTo>
                      <a:lnTo>
                        <a:pt x="245791" y="245791"/>
                      </a:lnTo>
                      <a:lnTo>
                        <a:pt x="234818" y="247437"/>
                      </a:lnTo>
                      <a:lnTo>
                        <a:pt x="229880" y="245791"/>
                      </a:lnTo>
                      <a:lnTo>
                        <a:pt x="211775" y="232623"/>
                      </a:lnTo>
                      <a:lnTo>
                        <a:pt x="200802" y="228783"/>
                      </a:lnTo>
                      <a:lnTo>
                        <a:pt x="184343" y="233172"/>
                      </a:lnTo>
                      <a:lnTo>
                        <a:pt x="178857" y="232075"/>
                      </a:lnTo>
                      <a:lnTo>
                        <a:pt x="173919" y="234818"/>
                      </a:lnTo>
                      <a:lnTo>
                        <a:pt x="170078" y="242499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33" name="Graphic 7">
                  <a:extLst>
                    <a:ext uri="{FF2B5EF4-FFF2-40B4-BE49-F238E27FC236}">
                      <a16:creationId xmlns:a16="http://schemas.microsoft.com/office/drawing/2014/main" id="{E1BF8123-4C33-225C-C304-72EABA993A0B}"/>
                    </a:ext>
                  </a:extLst>
                </p:cNvPr>
                <p:cNvSpPr/>
                <p:nvPr/>
              </p:nvSpPr>
              <p:spPr>
                <a:xfrm>
                  <a:off x="5588419" y="2727642"/>
                  <a:ext cx="202319" cy="118734"/>
                </a:xfrm>
                <a:custGeom>
                  <a:avLst/>
                  <a:gdLst>
                    <a:gd name="connsiteX0" fmla="*/ 258958 w 258958"/>
                    <a:gd name="connsiteY0" fmla="*/ 92720 h 151973"/>
                    <a:gd name="connsiteX1" fmla="*/ 254020 w 258958"/>
                    <a:gd name="connsiteY1" fmla="*/ 97109 h 151973"/>
                    <a:gd name="connsiteX2" fmla="*/ 246339 w 258958"/>
                    <a:gd name="connsiteY2" fmla="*/ 96561 h 151973"/>
                    <a:gd name="connsiteX3" fmla="*/ 239207 w 258958"/>
                    <a:gd name="connsiteY3" fmla="*/ 106985 h 151973"/>
                    <a:gd name="connsiteX4" fmla="*/ 233172 w 258958"/>
                    <a:gd name="connsiteY4" fmla="*/ 108631 h 151973"/>
                    <a:gd name="connsiteX5" fmla="*/ 231526 w 258958"/>
                    <a:gd name="connsiteY5" fmla="*/ 111923 h 151973"/>
                    <a:gd name="connsiteX6" fmla="*/ 231526 w 258958"/>
                    <a:gd name="connsiteY6" fmla="*/ 120701 h 151973"/>
                    <a:gd name="connsiteX7" fmla="*/ 227686 w 258958"/>
                    <a:gd name="connsiteY7" fmla="*/ 126187 h 151973"/>
                    <a:gd name="connsiteX8" fmla="*/ 221651 w 258958"/>
                    <a:gd name="connsiteY8" fmla="*/ 127285 h 151973"/>
                    <a:gd name="connsiteX9" fmla="*/ 221651 w 258958"/>
                    <a:gd name="connsiteY9" fmla="*/ 132222 h 151973"/>
                    <a:gd name="connsiteX10" fmla="*/ 212872 w 258958"/>
                    <a:gd name="connsiteY10" fmla="*/ 139355 h 151973"/>
                    <a:gd name="connsiteX11" fmla="*/ 202448 w 258958"/>
                    <a:gd name="connsiteY11" fmla="*/ 140452 h 151973"/>
                    <a:gd name="connsiteX12" fmla="*/ 198608 w 258958"/>
                    <a:gd name="connsiteY12" fmla="*/ 137160 h 151973"/>
                    <a:gd name="connsiteX13" fmla="*/ 193670 w 258958"/>
                    <a:gd name="connsiteY13" fmla="*/ 137160 h 151973"/>
                    <a:gd name="connsiteX14" fmla="*/ 185440 w 258958"/>
                    <a:gd name="connsiteY14" fmla="*/ 151973 h 151973"/>
                    <a:gd name="connsiteX15" fmla="*/ 185440 w 258958"/>
                    <a:gd name="connsiteY15" fmla="*/ 151973 h 151973"/>
                    <a:gd name="connsiteX16" fmla="*/ 185440 w 258958"/>
                    <a:gd name="connsiteY16" fmla="*/ 142098 h 151973"/>
                    <a:gd name="connsiteX17" fmla="*/ 179954 w 258958"/>
                    <a:gd name="connsiteY17" fmla="*/ 134965 h 151973"/>
                    <a:gd name="connsiteX18" fmla="*/ 155814 w 258958"/>
                    <a:gd name="connsiteY18" fmla="*/ 137160 h 151973"/>
                    <a:gd name="connsiteX19" fmla="*/ 140452 w 258958"/>
                    <a:gd name="connsiteY19" fmla="*/ 125639 h 151973"/>
                    <a:gd name="connsiteX20" fmla="*/ 116860 w 258958"/>
                    <a:gd name="connsiteY20" fmla="*/ 123993 h 151973"/>
                    <a:gd name="connsiteX21" fmla="*/ 110825 w 258958"/>
                    <a:gd name="connsiteY21" fmla="*/ 137160 h 151973"/>
                    <a:gd name="connsiteX22" fmla="*/ 104242 w 258958"/>
                    <a:gd name="connsiteY22" fmla="*/ 142646 h 151973"/>
                    <a:gd name="connsiteX23" fmla="*/ 98207 w 258958"/>
                    <a:gd name="connsiteY23" fmla="*/ 145390 h 151973"/>
                    <a:gd name="connsiteX24" fmla="*/ 82296 w 258958"/>
                    <a:gd name="connsiteY24" fmla="*/ 145390 h 151973"/>
                    <a:gd name="connsiteX25" fmla="*/ 77358 w 258958"/>
                    <a:gd name="connsiteY25" fmla="*/ 141549 h 151973"/>
                    <a:gd name="connsiteX26" fmla="*/ 69129 w 258958"/>
                    <a:gd name="connsiteY26" fmla="*/ 138257 h 151973"/>
                    <a:gd name="connsiteX27" fmla="*/ 15362 w 258958"/>
                    <a:gd name="connsiteY27" fmla="*/ 87234 h 151973"/>
                    <a:gd name="connsiteX28" fmla="*/ 13716 w 258958"/>
                    <a:gd name="connsiteY28" fmla="*/ 66385 h 151973"/>
                    <a:gd name="connsiteX29" fmla="*/ 5486 w 258958"/>
                    <a:gd name="connsiteY29" fmla="*/ 62545 h 151973"/>
                    <a:gd name="connsiteX30" fmla="*/ 0 w 258958"/>
                    <a:gd name="connsiteY30" fmla="*/ 55413 h 151973"/>
                    <a:gd name="connsiteX31" fmla="*/ 0 w 258958"/>
                    <a:gd name="connsiteY31" fmla="*/ 49378 h 151973"/>
                    <a:gd name="connsiteX32" fmla="*/ 549 w 258958"/>
                    <a:gd name="connsiteY32" fmla="*/ 46634 h 151973"/>
                    <a:gd name="connsiteX33" fmla="*/ 11521 w 258958"/>
                    <a:gd name="connsiteY33" fmla="*/ 56510 h 151973"/>
                    <a:gd name="connsiteX34" fmla="*/ 13167 w 258958"/>
                    <a:gd name="connsiteY34" fmla="*/ 55961 h 151973"/>
                    <a:gd name="connsiteX35" fmla="*/ 16459 w 258958"/>
                    <a:gd name="connsiteY35" fmla="*/ 47183 h 151973"/>
                    <a:gd name="connsiteX36" fmla="*/ 51023 w 258958"/>
                    <a:gd name="connsiteY36" fmla="*/ 32370 h 151973"/>
                    <a:gd name="connsiteX37" fmla="*/ 55413 w 258958"/>
                    <a:gd name="connsiteY37" fmla="*/ 24689 h 151973"/>
                    <a:gd name="connsiteX38" fmla="*/ 81199 w 258958"/>
                    <a:gd name="connsiteY38" fmla="*/ 15362 h 151973"/>
                    <a:gd name="connsiteX39" fmla="*/ 83942 w 258958"/>
                    <a:gd name="connsiteY39" fmla="*/ 0 h 151973"/>
                    <a:gd name="connsiteX40" fmla="*/ 90526 w 258958"/>
                    <a:gd name="connsiteY40" fmla="*/ 1646 h 151973"/>
                    <a:gd name="connsiteX41" fmla="*/ 100401 w 258958"/>
                    <a:gd name="connsiteY41" fmla="*/ 15911 h 151973"/>
                    <a:gd name="connsiteX42" fmla="*/ 104790 w 258958"/>
                    <a:gd name="connsiteY42" fmla="*/ 15911 h 151973"/>
                    <a:gd name="connsiteX43" fmla="*/ 109179 w 258958"/>
                    <a:gd name="connsiteY43" fmla="*/ 18654 h 151973"/>
                    <a:gd name="connsiteX44" fmla="*/ 119055 w 258958"/>
                    <a:gd name="connsiteY44" fmla="*/ 8230 h 151973"/>
                    <a:gd name="connsiteX45" fmla="*/ 126187 w 258958"/>
                    <a:gd name="connsiteY45" fmla="*/ 12070 h 151973"/>
                    <a:gd name="connsiteX46" fmla="*/ 130028 w 258958"/>
                    <a:gd name="connsiteY46" fmla="*/ 18654 h 151973"/>
                    <a:gd name="connsiteX47" fmla="*/ 134965 w 258958"/>
                    <a:gd name="connsiteY47" fmla="*/ 18105 h 151973"/>
                    <a:gd name="connsiteX48" fmla="*/ 149779 w 258958"/>
                    <a:gd name="connsiteY48" fmla="*/ 20848 h 151973"/>
                    <a:gd name="connsiteX49" fmla="*/ 155814 w 258958"/>
                    <a:gd name="connsiteY49" fmla="*/ 29078 h 151973"/>
                    <a:gd name="connsiteX50" fmla="*/ 164043 w 258958"/>
                    <a:gd name="connsiteY50" fmla="*/ 30724 h 151973"/>
                    <a:gd name="connsiteX51" fmla="*/ 164592 w 258958"/>
                    <a:gd name="connsiteY51" fmla="*/ 31821 h 151973"/>
                    <a:gd name="connsiteX52" fmla="*/ 164592 w 258958"/>
                    <a:gd name="connsiteY52" fmla="*/ 33467 h 151973"/>
                    <a:gd name="connsiteX53" fmla="*/ 161300 w 258958"/>
                    <a:gd name="connsiteY53" fmla="*/ 41148 h 151973"/>
                    <a:gd name="connsiteX54" fmla="*/ 174467 w 258958"/>
                    <a:gd name="connsiteY54" fmla="*/ 53767 h 151973"/>
                    <a:gd name="connsiteX55" fmla="*/ 179405 w 258958"/>
                    <a:gd name="connsiteY55" fmla="*/ 55413 h 151973"/>
                    <a:gd name="connsiteX56" fmla="*/ 187635 w 258958"/>
                    <a:gd name="connsiteY56" fmla="*/ 50475 h 151973"/>
                    <a:gd name="connsiteX57" fmla="*/ 185440 w 258958"/>
                    <a:gd name="connsiteY57" fmla="*/ 46086 h 151973"/>
                    <a:gd name="connsiteX58" fmla="*/ 185989 w 258958"/>
                    <a:gd name="connsiteY58" fmla="*/ 42245 h 151973"/>
                    <a:gd name="connsiteX59" fmla="*/ 216164 w 258958"/>
                    <a:gd name="connsiteY59" fmla="*/ 49926 h 151973"/>
                    <a:gd name="connsiteX60" fmla="*/ 216713 w 258958"/>
                    <a:gd name="connsiteY60" fmla="*/ 60899 h 151973"/>
                    <a:gd name="connsiteX61" fmla="*/ 223297 w 258958"/>
                    <a:gd name="connsiteY61" fmla="*/ 65288 h 151973"/>
                    <a:gd name="connsiteX62" fmla="*/ 226040 w 258958"/>
                    <a:gd name="connsiteY62" fmla="*/ 64191 h 151973"/>
                    <a:gd name="connsiteX63" fmla="*/ 232623 w 258958"/>
                    <a:gd name="connsiteY63" fmla="*/ 67483 h 151973"/>
                    <a:gd name="connsiteX64" fmla="*/ 245791 w 258958"/>
                    <a:gd name="connsiteY64" fmla="*/ 87234 h 151973"/>
                    <a:gd name="connsiteX65" fmla="*/ 258958 w 258958"/>
                    <a:gd name="connsiteY65" fmla="*/ 92720 h 1519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</a:cxnLst>
                  <a:rect l="l" t="t" r="r" b="b"/>
                  <a:pathLst>
                    <a:path w="258958" h="151973">
                      <a:moveTo>
                        <a:pt x="258958" y="92720"/>
                      </a:moveTo>
                      <a:lnTo>
                        <a:pt x="254020" y="97109"/>
                      </a:lnTo>
                      <a:lnTo>
                        <a:pt x="246339" y="96561"/>
                      </a:lnTo>
                      <a:lnTo>
                        <a:pt x="239207" y="106985"/>
                      </a:lnTo>
                      <a:lnTo>
                        <a:pt x="233172" y="108631"/>
                      </a:lnTo>
                      <a:lnTo>
                        <a:pt x="231526" y="111923"/>
                      </a:lnTo>
                      <a:lnTo>
                        <a:pt x="231526" y="120701"/>
                      </a:lnTo>
                      <a:lnTo>
                        <a:pt x="227686" y="126187"/>
                      </a:lnTo>
                      <a:lnTo>
                        <a:pt x="221651" y="127285"/>
                      </a:lnTo>
                      <a:lnTo>
                        <a:pt x="221651" y="132222"/>
                      </a:lnTo>
                      <a:lnTo>
                        <a:pt x="212872" y="139355"/>
                      </a:lnTo>
                      <a:lnTo>
                        <a:pt x="202448" y="140452"/>
                      </a:lnTo>
                      <a:lnTo>
                        <a:pt x="198608" y="137160"/>
                      </a:lnTo>
                      <a:lnTo>
                        <a:pt x="193670" y="137160"/>
                      </a:lnTo>
                      <a:lnTo>
                        <a:pt x="185440" y="151973"/>
                      </a:lnTo>
                      <a:lnTo>
                        <a:pt x="185440" y="151973"/>
                      </a:lnTo>
                      <a:lnTo>
                        <a:pt x="185440" y="142098"/>
                      </a:lnTo>
                      <a:lnTo>
                        <a:pt x="179954" y="134965"/>
                      </a:lnTo>
                      <a:lnTo>
                        <a:pt x="155814" y="137160"/>
                      </a:lnTo>
                      <a:lnTo>
                        <a:pt x="140452" y="125639"/>
                      </a:lnTo>
                      <a:lnTo>
                        <a:pt x="116860" y="123993"/>
                      </a:lnTo>
                      <a:lnTo>
                        <a:pt x="110825" y="137160"/>
                      </a:lnTo>
                      <a:lnTo>
                        <a:pt x="104242" y="142646"/>
                      </a:lnTo>
                      <a:lnTo>
                        <a:pt x="98207" y="145390"/>
                      </a:lnTo>
                      <a:lnTo>
                        <a:pt x="82296" y="145390"/>
                      </a:lnTo>
                      <a:lnTo>
                        <a:pt x="77358" y="141549"/>
                      </a:lnTo>
                      <a:lnTo>
                        <a:pt x="69129" y="138257"/>
                      </a:lnTo>
                      <a:lnTo>
                        <a:pt x="15362" y="87234"/>
                      </a:lnTo>
                      <a:lnTo>
                        <a:pt x="13716" y="66385"/>
                      </a:lnTo>
                      <a:lnTo>
                        <a:pt x="5486" y="62545"/>
                      </a:lnTo>
                      <a:lnTo>
                        <a:pt x="0" y="55413"/>
                      </a:lnTo>
                      <a:lnTo>
                        <a:pt x="0" y="49378"/>
                      </a:lnTo>
                      <a:lnTo>
                        <a:pt x="549" y="46634"/>
                      </a:lnTo>
                      <a:lnTo>
                        <a:pt x="11521" y="56510"/>
                      </a:lnTo>
                      <a:lnTo>
                        <a:pt x="13167" y="55961"/>
                      </a:lnTo>
                      <a:lnTo>
                        <a:pt x="16459" y="47183"/>
                      </a:lnTo>
                      <a:lnTo>
                        <a:pt x="51023" y="32370"/>
                      </a:lnTo>
                      <a:lnTo>
                        <a:pt x="55413" y="24689"/>
                      </a:lnTo>
                      <a:lnTo>
                        <a:pt x="81199" y="15362"/>
                      </a:lnTo>
                      <a:lnTo>
                        <a:pt x="83942" y="0"/>
                      </a:lnTo>
                      <a:lnTo>
                        <a:pt x="90526" y="1646"/>
                      </a:lnTo>
                      <a:lnTo>
                        <a:pt x="100401" y="15911"/>
                      </a:lnTo>
                      <a:lnTo>
                        <a:pt x="104790" y="15911"/>
                      </a:lnTo>
                      <a:lnTo>
                        <a:pt x="109179" y="18654"/>
                      </a:lnTo>
                      <a:lnTo>
                        <a:pt x="119055" y="8230"/>
                      </a:lnTo>
                      <a:lnTo>
                        <a:pt x="126187" y="12070"/>
                      </a:lnTo>
                      <a:lnTo>
                        <a:pt x="130028" y="18654"/>
                      </a:lnTo>
                      <a:lnTo>
                        <a:pt x="134965" y="18105"/>
                      </a:lnTo>
                      <a:lnTo>
                        <a:pt x="149779" y="20848"/>
                      </a:lnTo>
                      <a:lnTo>
                        <a:pt x="155814" y="29078"/>
                      </a:lnTo>
                      <a:lnTo>
                        <a:pt x="164043" y="30724"/>
                      </a:lnTo>
                      <a:lnTo>
                        <a:pt x="164592" y="31821"/>
                      </a:lnTo>
                      <a:lnTo>
                        <a:pt x="164592" y="33467"/>
                      </a:lnTo>
                      <a:lnTo>
                        <a:pt x="161300" y="41148"/>
                      </a:lnTo>
                      <a:lnTo>
                        <a:pt x="174467" y="53767"/>
                      </a:lnTo>
                      <a:lnTo>
                        <a:pt x="179405" y="55413"/>
                      </a:lnTo>
                      <a:lnTo>
                        <a:pt x="187635" y="50475"/>
                      </a:lnTo>
                      <a:lnTo>
                        <a:pt x="185440" y="46086"/>
                      </a:lnTo>
                      <a:lnTo>
                        <a:pt x="185989" y="42245"/>
                      </a:lnTo>
                      <a:lnTo>
                        <a:pt x="216164" y="49926"/>
                      </a:lnTo>
                      <a:lnTo>
                        <a:pt x="216713" y="60899"/>
                      </a:lnTo>
                      <a:lnTo>
                        <a:pt x="223297" y="65288"/>
                      </a:lnTo>
                      <a:lnTo>
                        <a:pt x="226040" y="64191"/>
                      </a:lnTo>
                      <a:lnTo>
                        <a:pt x="232623" y="67483"/>
                      </a:lnTo>
                      <a:lnTo>
                        <a:pt x="245791" y="87234"/>
                      </a:lnTo>
                      <a:lnTo>
                        <a:pt x="258958" y="9272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34" name="Graphic 7">
                  <a:extLst>
                    <a:ext uri="{FF2B5EF4-FFF2-40B4-BE49-F238E27FC236}">
                      <a16:creationId xmlns:a16="http://schemas.microsoft.com/office/drawing/2014/main" id="{1AFED3EF-C0BB-4338-7224-0AD253F21493}"/>
                    </a:ext>
                  </a:extLst>
                </p:cNvPr>
                <p:cNvSpPr/>
                <p:nvPr/>
              </p:nvSpPr>
              <p:spPr>
                <a:xfrm>
                  <a:off x="5414390" y="2883668"/>
                  <a:ext cx="129450" cy="76298"/>
                </a:xfrm>
                <a:custGeom>
                  <a:avLst/>
                  <a:gdLst>
                    <a:gd name="connsiteX0" fmla="*/ 37308 w 165689"/>
                    <a:gd name="connsiteY0" fmla="*/ 97658 h 97658"/>
                    <a:gd name="connsiteX1" fmla="*/ 35113 w 165689"/>
                    <a:gd name="connsiteY1" fmla="*/ 89977 h 97658"/>
                    <a:gd name="connsiteX2" fmla="*/ 30175 w 165689"/>
                    <a:gd name="connsiteY2" fmla="*/ 88880 h 97658"/>
                    <a:gd name="connsiteX3" fmla="*/ 28529 w 165689"/>
                    <a:gd name="connsiteY3" fmla="*/ 69677 h 97658"/>
                    <a:gd name="connsiteX4" fmla="*/ 26335 w 165689"/>
                    <a:gd name="connsiteY4" fmla="*/ 68580 h 97658"/>
                    <a:gd name="connsiteX5" fmla="*/ 14265 w 165689"/>
                    <a:gd name="connsiteY5" fmla="*/ 68580 h 97658"/>
                    <a:gd name="connsiteX6" fmla="*/ 7132 w 165689"/>
                    <a:gd name="connsiteY6" fmla="*/ 80101 h 97658"/>
                    <a:gd name="connsiteX7" fmla="*/ 2743 w 165689"/>
                    <a:gd name="connsiteY7" fmla="*/ 82845 h 97658"/>
                    <a:gd name="connsiteX8" fmla="*/ 0 w 165689"/>
                    <a:gd name="connsiteY8" fmla="*/ 81199 h 97658"/>
                    <a:gd name="connsiteX9" fmla="*/ 3292 w 165689"/>
                    <a:gd name="connsiteY9" fmla="*/ 57607 h 97658"/>
                    <a:gd name="connsiteX10" fmla="*/ 6035 w 165689"/>
                    <a:gd name="connsiteY10" fmla="*/ 55413 h 97658"/>
                    <a:gd name="connsiteX11" fmla="*/ 8778 w 165689"/>
                    <a:gd name="connsiteY11" fmla="*/ 51024 h 97658"/>
                    <a:gd name="connsiteX12" fmla="*/ 13167 w 165689"/>
                    <a:gd name="connsiteY12" fmla="*/ 47732 h 97658"/>
                    <a:gd name="connsiteX13" fmla="*/ 14265 w 165689"/>
                    <a:gd name="connsiteY13" fmla="*/ 46086 h 97658"/>
                    <a:gd name="connsiteX14" fmla="*/ 16459 w 165689"/>
                    <a:gd name="connsiteY14" fmla="*/ 39502 h 97658"/>
                    <a:gd name="connsiteX15" fmla="*/ 36210 w 165689"/>
                    <a:gd name="connsiteY15" fmla="*/ 15911 h 97658"/>
                    <a:gd name="connsiteX16" fmla="*/ 33467 w 165689"/>
                    <a:gd name="connsiteY16" fmla="*/ 12070 h 97658"/>
                    <a:gd name="connsiteX17" fmla="*/ 36210 w 165689"/>
                    <a:gd name="connsiteY17" fmla="*/ 7681 h 97658"/>
                    <a:gd name="connsiteX18" fmla="*/ 48280 w 165689"/>
                    <a:gd name="connsiteY18" fmla="*/ 8778 h 97658"/>
                    <a:gd name="connsiteX19" fmla="*/ 52669 w 165689"/>
                    <a:gd name="connsiteY19" fmla="*/ 6584 h 97658"/>
                    <a:gd name="connsiteX20" fmla="*/ 57607 w 165689"/>
                    <a:gd name="connsiteY20" fmla="*/ 2195 h 97658"/>
                    <a:gd name="connsiteX21" fmla="*/ 63094 w 165689"/>
                    <a:gd name="connsiteY21" fmla="*/ 6584 h 97658"/>
                    <a:gd name="connsiteX22" fmla="*/ 104242 w 165689"/>
                    <a:gd name="connsiteY22" fmla="*/ 0 h 97658"/>
                    <a:gd name="connsiteX23" fmla="*/ 130028 w 165689"/>
                    <a:gd name="connsiteY23" fmla="*/ 9327 h 97658"/>
                    <a:gd name="connsiteX24" fmla="*/ 134965 w 165689"/>
                    <a:gd name="connsiteY24" fmla="*/ 14813 h 97658"/>
                    <a:gd name="connsiteX25" fmla="*/ 132222 w 165689"/>
                    <a:gd name="connsiteY25" fmla="*/ 27432 h 97658"/>
                    <a:gd name="connsiteX26" fmla="*/ 137160 w 165689"/>
                    <a:gd name="connsiteY26" fmla="*/ 35662 h 97658"/>
                    <a:gd name="connsiteX27" fmla="*/ 148681 w 165689"/>
                    <a:gd name="connsiteY27" fmla="*/ 42245 h 97658"/>
                    <a:gd name="connsiteX28" fmla="*/ 155265 w 165689"/>
                    <a:gd name="connsiteY28" fmla="*/ 42794 h 97658"/>
                    <a:gd name="connsiteX29" fmla="*/ 160203 w 165689"/>
                    <a:gd name="connsiteY29" fmla="*/ 40051 h 97658"/>
                    <a:gd name="connsiteX30" fmla="*/ 165689 w 165689"/>
                    <a:gd name="connsiteY30" fmla="*/ 43891 h 97658"/>
                    <a:gd name="connsiteX31" fmla="*/ 163495 w 165689"/>
                    <a:gd name="connsiteY31" fmla="*/ 51572 h 97658"/>
                    <a:gd name="connsiteX32" fmla="*/ 164043 w 165689"/>
                    <a:gd name="connsiteY32" fmla="*/ 55961 h 97658"/>
                    <a:gd name="connsiteX33" fmla="*/ 161300 w 165689"/>
                    <a:gd name="connsiteY33" fmla="*/ 57607 h 97658"/>
                    <a:gd name="connsiteX34" fmla="*/ 153619 w 165689"/>
                    <a:gd name="connsiteY34" fmla="*/ 58156 h 97658"/>
                    <a:gd name="connsiteX35" fmla="*/ 152522 w 165689"/>
                    <a:gd name="connsiteY35" fmla="*/ 63094 h 97658"/>
                    <a:gd name="connsiteX36" fmla="*/ 153071 w 165689"/>
                    <a:gd name="connsiteY36" fmla="*/ 68031 h 97658"/>
                    <a:gd name="connsiteX37" fmla="*/ 155265 w 165689"/>
                    <a:gd name="connsiteY37" fmla="*/ 71872 h 97658"/>
                    <a:gd name="connsiteX38" fmla="*/ 154168 w 165689"/>
                    <a:gd name="connsiteY38" fmla="*/ 74615 h 97658"/>
                    <a:gd name="connsiteX39" fmla="*/ 132222 w 165689"/>
                    <a:gd name="connsiteY39" fmla="*/ 71323 h 97658"/>
                    <a:gd name="connsiteX40" fmla="*/ 127833 w 165689"/>
                    <a:gd name="connsiteY40" fmla="*/ 68031 h 97658"/>
                    <a:gd name="connsiteX41" fmla="*/ 122895 w 165689"/>
                    <a:gd name="connsiteY41" fmla="*/ 65288 h 97658"/>
                    <a:gd name="connsiteX42" fmla="*/ 121249 w 165689"/>
                    <a:gd name="connsiteY42" fmla="*/ 72969 h 97658"/>
                    <a:gd name="connsiteX43" fmla="*/ 114117 w 165689"/>
                    <a:gd name="connsiteY43" fmla="*/ 86136 h 97658"/>
                    <a:gd name="connsiteX44" fmla="*/ 112471 w 165689"/>
                    <a:gd name="connsiteY44" fmla="*/ 92720 h 97658"/>
                    <a:gd name="connsiteX45" fmla="*/ 110825 w 165689"/>
                    <a:gd name="connsiteY45" fmla="*/ 95463 h 97658"/>
                    <a:gd name="connsiteX46" fmla="*/ 106436 w 165689"/>
                    <a:gd name="connsiteY46" fmla="*/ 92720 h 97658"/>
                    <a:gd name="connsiteX47" fmla="*/ 102047 w 165689"/>
                    <a:gd name="connsiteY47" fmla="*/ 87234 h 97658"/>
                    <a:gd name="connsiteX48" fmla="*/ 94366 w 165689"/>
                    <a:gd name="connsiteY48" fmla="*/ 81199 h 97658"/>
                    <a:gd name="connsiteX49" fmla="*/ 89977 w 165689"/>
                    <a:gd name="connsiteY49" fmla="*/ 68580 h 97658"/>
                    <a:gd name="connsiteX50" fmla="*/ 82845 w 165689"/>
                    <a:gd name="connsiteY50" fmla="*/ 72420 h 97658"/>
                    <a:gd name="connsiteX51" fmla="*/ 78456 w 165689"/>
                    <a:gd name="connsiteY51" fmla="*/ 77907 h 97658"/>
                    <a:gd name="connsiteX52" fmla="*/ 78456 w 165689"/>
                    <a:gd name="connsiteY52" fmla="*/ 83942 h 97658"/>
                    <a:gd name="connsiteX53" fmla="*/ 68580 w 165689"/>
                    <a:gd name="connsiteY53" fmla="*/ 93269 h 97658"/>
                    <a:gd name="connsiteX54" fmla="*/ 37308 w 165689"/>
                    <a:gd name="connsiteY54" fmla="*/ 97658 h 976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</a:cxnLst>
                  <a:rect l="l" t="t" r="r" b="b"/>
                  <a:pathLst>
                    <a:path w="165689" h="97658">
                      <a:moveTo>
                        <a:pt x="37308" y="97658"/>
                      </a:moveTo>
                      <a:lnTo>
                        <a:pt x="35113" y="89977"/>
                      </a:lnTo>
                      <a:lnTo>
                        <a:pt x="30175" y="88880"/>
                      </a:lnTo>
                      <a:lnTo>
                        <a:pt x="28529" y="69677"/>
                      </a:lnTo>
                      <a:lnTo>
                        <a:pt x="26335" y="68580"/>
                      </a:lnTo>
                      <a:lnTo>
                        <a:pt x="14265" y="68580"/>
                      </a:lnTo>
                      <a:lnTo>
                        <a:pt x="7132" y="80101"/>
                      </a:lnTo>
                      <a:lnTo>
                        <a:pt x="2743" y="82845"/>
                      </a:lnTo>
                      <a:lnTo>
                        <a:pt x="0" y="81199"/>
                      </a:lnTo>
                      <a:lnTo>
                        <a:pt x="3292" y="57607"/>
                      </a:lnTo>
                      <a:lnTo>
                        <a:pt x="6035" y="55413"/>
                      </a:lnTo>
                      <a:lnTo>
                        <a:pt x="8778" y="51024"/>
                      </a:lnTo>
                      <a:lnTo>
                        <a:pt x="13167" y="47732"/>
                      </a:lnTo>
                      <a:lnTo>
                        <a:pt x="14265" y="46086"/>
                      </a:lnTo>
                      <a:lnTo>
                        <a:pt x="16459" y="39502"/>
                      </a:lnTo>
                      <a:lnTo>
                        <a:pt x="36210" y="15911"/>
                      </a:lnTo>
                      <a:lnTo>
                        <a:pt x="33467" y="12070"/>
                      </a:lnTo>
                      <a:lnTo>
                        <a:pt x="36210" y="7681"/>
                      </a:lnTo>
                      <a:lnTo>
                        <a:pt x="48280" y="8778"/>
                      </a:lnTo>
                      <a:lnTo>
                        <a:pt x="52669" y="6584"/>
                      </a:lnTo>
                      <a:lnTo>
                        <a:pt x="57607" y="2195"/>
                      </a:lnTo>
                      <a:lnTo>
                        <a:pt x="63094" y="6584"/>
                      </a:lnTo>
                      <a:lnTo>
                        <a:pt x="104242" y="0"/>
                      </a:lnTo>
                      <a:lnTo>
                        <a:pt x="130028" y="9327"/>
                      </a:lnTo>
                      <a:lnTo>
                        <a:pt x="134965" y="14813"/>
                      </a:lnTo>
                      <a:lnTo>
                        <a:pt x="132222" y="27432"/>
                      </a:lnTo>
                      <a:lnTo>
                        <a:pt x="137160" y="35662"/>
                      </a:lnTo>
                      <a:lnTo>
                        <a:pt x="148681" y="42245"/>
                      </a:lnTo>
                      <a:lnTo>
                        <a:pt x="155265" y="42794"/>
                      </a:lnTo>
                      <a:lnTo>
                        <a:pt x="160203" y="40051"/>
                      </a:lnTo>
                      <a:lnTo>
                        <a:pt x="165689" y="43891"/>
                      </a:lnTo>
                      <a:lnTo>
                        <a:pt x="163495" y="51572"/>
                      </a:lnTo>
                      <a:lnTo>
                        <a:pt x="164043" y="55961"/>
                      </a:lnTo>
                      <a:lnTo>
                        <a:pt x="161300" y="57607"/>
                      </a:lnTo>
                      <a:lnTo>
                        <a:pt x="153619" y="58156"/>
                      </a:lnTo>
                      <a:lnTo>
                        <a:pt x="152522" y="63094"/>
                      </a:lnTo>
                      <a:lnTo>
                        <a:pt x="153071" y="68031"/>
                      </a:lnTo>
                      <a:lnTo>
                        <a:pt x="155265" y="71872"/>
                      </a:lnTo>
                      <a:lnTo>
                        <a:pt x="154168" y="74615"/>
                      </a:lnTo>
                      <a:lnTo>
                        <a:pt x="132222" y="71323"/>
                      </a:lnTo>
                      <a:lnTo>
                        <a:pt x="127833" y="68031"/>
                      </a:lnTo>
                      <a:lnTo>
                        <a:pt x="122895" y="65288"/>
                      </a:lnTo>
                      <a:lnTo>
                        <a:pt x="121249" y="72969"/>
                      </a:lnTo>
                      <a:lnTo>
                        <a:pt x="114117" y="86136"/>
                      </a:lnTo>
                      <a:lnTo>
                        <a:pt x="112471" y="92720"/>
                      </a:lnTo>
                      <a:lnTo>
                        <a:pt x="110825" y="95463"/>
                      </a:lnTo>
                      <a:lnTo>
                        <a:pt x="106436" y="92720"/>
                      </a:lnTo>
                      <a:lnTo>
                        <a:pt x="102047" y="87234"/>
                      </a:lnTo>
                      <a:lnTo>
                        <a:pt x="94366" y="81199"/>
                      </a:lnTo>
                      <a:lnTo>
                        <a:pt x="89977" y="68580"/>
                      </a:lnTo>
                      <a:lnTo>
                        <a:pt x="82845" y="72420"/>
                      </a:lnTo>
                      <a:lnTo>
                        <a:pt x="78456" y="77907"/>
                      </a:lnTo>
                      <a:lnTo>
                        <a:pt x="78456" y="83942"/>
                      </a:lnTo>
                      <a:lnTo>
                        <a:pt x="68580" y="93269"/>
                      </a:lnTo>
                      <a:lnTo>
                        <a:pt x="37308" y="97658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35" name="Graphic 7">
                  <a:extLst>
                    <a:ext uri="{FF2B5EF4-FFF2-40B4-BE49-F238E27FC236}">
                      <a16:creationId xmlns:a16="http://schemas.microsoft.com/office/drawing/2014/main" id="{E249825A-8B34-7B5B-9A7E-9274222A46ED}"/>
                    </a:ext>
                  </a:extLst>
                </p:cNvPr>
                <p:cNvSpPr/>
                <p:nvPr/>
              </p:nvSpPr>
              <p:spPr>
                <a:xfrm>
                  <a:off x="5320947" y="2713068"/>
                  <a:ext cx="100731" cy="85728"/>
                </a:xfrm>
                <a:custGeom>
                  <a:avLst/>
                  <a:gdLst>
                    <a:gd name="connsiteX0" fmla="*/ 109179 w 128930"/>
                    <a:gd name="connsiteY0" fmla="*/ 108631 h 109728"/>
                    <a:gd name="connsiteX1" fmla="*/ 103144 w 128930"/>
                    <a:gd name="connsiteY1" fmla="*/ 109728 h 109728"/>
                    <a:gd name="connsiteX2" fmla="*/ 96012 w 128930"/>
                    <a:gd name="connsiteY2" fmla="*/ 108082 h 109728"/>
                    <a:gd name="connsiteX3" fmla="*/ 82845 w 128930"/>
                    <a:gd name="connsiteY3" fmla="*/ 98755 h 109728"/>
                    <a:gd name="connsiteX4" fmla="*/ 84491 w 128930"/>
                    <a:gd name="connsiteY4" fmla="*/ 95463 h 109728"/>
                    <a:gd name="connsiteX5" fmla="*/ 81199 w 128930"/>
                    <a:gd name="connsiteY5" fmla="*/ 93817 h 109728"/>
                    <a:gd name="connsiteX6" fmla="*/ 81199 w 128930"/>
                    <a:gd name="connsiteY6" fmla="*/ 77358 h 109728"/>
                    <a:gd name="connsiteX7" fmla="*/ 76810 w 128930"/>
                    <a:gd name="connsiteY7" fmla="*/ 77358 h 109728"/>
                    <a:gd name="connsiteX8" fmla="*/ 69677 w 128930"/>
                    <a:gd name="connsiteY8" fmla="*/ 87782 h 109728"/>
                    <a:gd name="connsiteX9" fmla="*/ 62545 w 128930"/>
                    <a:gd name="connsiteY9" fmla="*/ 87782 h 109728"/>
                    <a:gd name="connsiteX10" fmla="*/ 55961 w 128930"/>
                    <a:gd name="connsiteY10" fmla="*/ 85588 h 109728"/>
                    <a:gd name="connsiteX11" fmla="*/ 52669 w 128930"/>
                    <a:gd name="connsiteY11" fmla="*/ 68580 h 109728"/>
                    <a:gd name="connsiteX12" fmla="*/ 48829 w 128930"/>
                    <a:gd name="connsiteY12" fmla="*/ 64739 h 109728"/>
                    <a:gd name="connsiteX13" fmla="*/ 23591 w 128930"/>
                    <a:gd name="connsiteY13" fmla="*/ 54315 h 109728"/>
                    <a:gd name="connsiteX14" fmla="*/ 17008 w 128930"/>
                    <a:gd name="connsiteY14" fmla="*/ 41697 h 109728"/>
                    <a:gd name="connsiteX15" fmla="*/ 9875 w 128930"/>
                    <a:gd name="connsiteY15" fmla="*/ 42245 h 109728"/>
                    <a:gd name="connsiteX16" fmla="*/ 2195 w 128930"/>
                    <a:gd name="connsiteY16" fmla="*/ 38953 h 109728"/>
                    <a:gd name="connsiteX17" fmla="*/ 0 w 128930"/>
                    <a:gd name="connsiteY17" fmla="*/ 32370 h 109728"/>
                    <a:gd name="connsiteX18" fmla="*/ 0 w 128930"/>
                    <a:gd name="connsiteY18" fmla="*/ 19202 h 109728"/>
                    <a:gd name="connsiteX19" fmla="*/ 22494 w 128930"/>
                    <a:gd name="connsiteY19" fmla="*/ 6584 h 109728"/>
                    <a:gd name="connsiteX20" fmla="*/ 27981 w 128930"/>
                    <a:gd name="connsiteY20" fmla="*/ 6035 h 109728"/>
                    <a:gd name="connsiteX21" fmla="*/ 27981 w 128930"/>
                    <a:gd name="connsiteY21" fmla="*/ 6584 h 109728"/>
                    <a:gd name="connsiteX22" fmla="*/ 39502 w 128930"/>
                    <a:gd name="connsiteY22" fmla="*/ 13167 h 109728"/>
                    <a:gd name="connsiteX23" fmla="*/ 63094 w 128930"/>
                    <a:gd name="connsiteY23" fmla="*/ 2195 h 109728"/>
                    <a:gd name="connsiteX24" fmla="*/ 81747 w 128930"/>
                    <a:gd name="connsiteY24" fmla="*/ 0 h 109728"/>
                    <a:gd name="connsiteX25" fmla="*/ 85039 w 128930"/>
                    <a:gd name="connsiteY25" fmla="*/ 3840 h 109728"/>
                    <a:gd name="connsiteX26" fmla="*/ 87234 w 128930"/>
                    <a:gd name="connsiteY26" fmla="*/ 3840 h 109728"/>
                    <a:gd name="connsiteX27" fmla="*/ 88880 w 128930"/>
                    <a:gd name="connsiteY27" fmla="*/ 8230 h 109728"/>
                    <a:gd name="connsiteX28" fmla="*/ 94366 w 128930"/>
                    <a:gd name="connsiteY28" fmla="*/ 11521 h 109728"/>
                    <a:gd name="connsiteX29" fmla="*/ 100950 w 128930"/>
                    <a:gd name="connsiteY29" fmla="*/ 12070 h 109728"/>
                    <a:gd name="connsiteX30" fmla="*/ 106436 w 128930"/>
                    <a:gd name="connsiteY30" fmla="*/ 15911 h 109728"/>
                    <a:gd name="connsiteX31" fmla="*/ 106985 w 128930"/>
                    <a:gd name="connsiteY31" fmla="*/ 37307 h 109728"/>
                    <a:gd name="connsiteX32" fmla="*/ 112471 w 128930"/>
                    <a:gd name="connsiteY32" fmla="*/ 41697 h 109728"/>
                    <a:gd name="connsiteX33" fmla="*/ 120701 w 128930"/>
                    <a:gd name="connsiteY33" fmla="*/ 41697 h 109728"/>
                    <a:gd name="connsiteX34" fmla="*/ 123444 w 128930"/>
                    <a:gd name="connsiteY34" fmla="*/ 45537 h 109728"/>
                    <a:gd name="connsiteX35" fmla="*/ 125090 w 128930"/>
                    <a:gd name="connsiteY35" fmla="*/ 52669 h 109728"/>
                    <a:gd name="connsiteX36" fmla="*/ 128930 w 128930"/>
                    <a:gd name="connsiteY36" fmla="*/ 59253 h 109728"/>
                    <a:gd name="connsiteX37" fmla="*/ 128930 w 128930"/>
                    <a:gd name="connsiteY37" fmla="*/ 64739 h 109728"/>
                    <a:gd name="connsiteX38" fmla="*/ 121798 w 128930"/>
                    <a:gd name="connsiteY38" fmla="*/ 75712 h 109728"/>
                    <a:gd name="connsiteX39" fmla="*/ 116860 w 128930"/>
                    <a:gd name="connsiteY39" fmla="*/ 75712 h 109728"/>
                    <a:gd name="connsiteX40" fmla="*/ 110277 w 128930"/>
                    <a:gd name="connsiteY40" fmla="*/ 81199 h 109728"/>
                    <a:gd name="connsiteX41" fmla="*/ 106436 w 128930"/>
                    <a:gd name="connsiteY41" fmla="*/ 89428 h 109728"/>
                    <a:gd name="connsiteX42" fmla="*/ 109179 w 128930"/>
                    <a:gd name="connsiteY42" fmla="*/ 98207 h 109728"/>
                    <a:gd name="connsiteX43" fmla="*/ 109179 w 128930"/>
                    <a:gd name="connsiteY43" fmla="*/ 108631 h 1097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</a:cxnLst>
                  <a:rect l="l" t="t" r="r" b="b"/>
                  <a:pathLst>
                    <a:path w="128930" h="109728">
                      <a:moveTo>
                        <a:pt x="109179" y="108631"/>
                      </a:moveTo>
                      <a:lnTo>
                        <a:pt x="103144" y="109728"/>
                      </a:lnTo>
                      <a:lnTo>
                        <a:pt x="96012" y="108082"/>
                      </a:lnTo>
                      <a:lnTo>
                        <a:pt x="82845" y="98755"/>
                      </a:lnTo>
                      <a:lnTo>
                        <a:pt x="84491" y="95463"/>
                      </a:lnTo>
                      <a:lnTo>
                        <a:pt x="81199" y="93817"/>
                      </a:lnTo>
                      <a:lnTo>
                        <a:pt x="81199" y="77358"/>
                      </a:lnTo>
                      <a:lnTo>
                        <a:pt x="76810" y="77358"/>
                      </a:lnTo>
                      <a:lnTo>
                        <a:pt x="69677" y="87782"/>
                      </a:lnTo>
                      <a:lnTo>
                        <a:pt x="62545" y="87782"/>
                      </a:lnTo>
                      <a:lnTo>
                        <a:pt x="55961" y="85588"/>
                      </a:lnTo>
                      <a:lnTo>
                        <a:pt x="52669" y="68580"/>
                      </a:lnTo>
                      <a:lnTo>
                        <a:pt x="48829" y="64739"/>
                      </a:lnTo>
                      <a:lnTo>
                        <a:pt x="23591" y="54315"/>
                      </a:lnTo>
                      <a:lnTo>
                        <a:pt x="17008" y="41697"/>
                      </a:lnTo>
                      <a:lnTo>
                        <a:pt x="9875" y="42245"/>
                      </a:lnTo>
                      <a:lnTo>
                        <a:pt x="2195" y="38953"/>
                      </a:lnTo>
                      <a:lnTo>
                        <a:pt x="0" y="32370"/>
                      </a:lnTo>
                      <a:lnTo>
                        <a:pt x="0" y="19202"/>
                      </a:lnTo>
                      <a:lnTo>
                        <a:pt x="22494" y="6584"/>
                      </a:lnTo>
                      <a:lnTo>
                        <a:pt x="27981" y="6035"/>
                      </a:lnTo>
                      <a:lnTo>
                        <a:pt x="27981" y="6584"/>
                      </a:lnTo>
                      <a:lnTo>
                        <a:pt x="39502" y="13167"/>
                      </a:lnTo>
                      <a:lnTo>
                        <a:pt x="63094" y="2195"/>
                      </a:lnTo>
                      <a:lnTo>
                        <a:pt x="81747" y="0"/>
                      </a:lnTo>
                      <a:lnTo>
                        <a:pt x="85039" y="3840"/>
                      </a:lnTo>
                      <a:lnTo>
                        <a:pt x="87234" y="3840"/>
                      </a:lnTo>
                      <a:lnTo>
                        <a:pt x="88880" y="8230"/>
                      </a:lnTo>
                      <a:lnTo>
                        <a:pt x="94366" y="11521"/>
                      </a:lnTo>
                      <a:lnTo>
                        <a:pt x="100950" y="12070"/>
                      </a:lnTo>
                      <a:lnTo>
                        <a:pt x="106436" y="15911"/>
                      </a:lnTo>
                      <a:lnTo>
                        <a:pt x="106985" y="37307"/>
                      </a:lnTo>
                      <a:lnTo>
                        <a:pt x="112471" y="41697"/>
                      </a:lnTo>
                      <a:lnTo>
                        <a:pt x="120701" y="41697"/>
                      </a:lnTo>
                      <a:lnTo>
                        <a:pt x="123444" y="45537"/>
                      </a:lnTo>
                      <a:lnTo>
                        <a:pt x="125090" y="52669"/>
                      </a:lnTo>
                      <a:lnTo>
                        <a:pt x="128930" y="59253"/>
                      </a:lnTo>
                      <a:lnTo>
                        <a:pt x="128930" y="64739"/>
                      </a:lnTo>
                      <a:lnTo>
                        <a:pt x="121798" y="75712"/>
                      </a:lnTo>
                      <a:lnTo>
                        <a:pt x="116860" y="75712"/>
                      </a:lnTo>
                      <a:lnTo>
                        <a:pt x="110277" y="81199"/>
                      </a:lnTo>
                      <a:lnTo>
                        <a:pt x="106436" y="89428"/>
                      </a:lnTo>
                      <a:lnTo>
                        <a:pt x="109179" y="98207"/>
                      </a:lnTo>
                      <a:lnTo>
                        <a:pt x="109179" y="108631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36" name="Graphic 7">
                  <a:extLst>
                    <a:ext uri="{FF2B5EF4-FFF2-40B4-BE49-F238E27FC236}">
                      <a16:creationId xmlns:a16="http://schemas.microsoft.com/office/drawing/2014/main" id="{F192DDC0-F8A9-AC4E-FF29-92B20C49EA9C}"/>
                    </a:ext>
                  </a:extLst>
                </p:cNvPr>
                <p:cNvSpPr/>
                <p:nvPr/>
              </p:nvSpPr>
              <p:spPr>
                <a:xfrm>
                  <a:off x="5280226" y="3094559"/>
                  <a:ext cx="11144" cy="6858"/>
                </a:xfrm>
                <a:custGeom>
                  <a:avLst/>
                  <a:gdLst>
                    <a:gd name="connsiteX0" fmla="*/ 13167 w 14264"/>
                    <a:gd name="connsiteY0" fmla="*/ 4938 h 8778"/>
                    <a:gd name="connsiteX1" fmla="*/ 14265 w 14264"/>
                    <a:gd name="connsiteY1" fmla="*/ 7681 h 8778"/>
                    <a:gd name="connsiteX2" fmla="*/ 11521 w 14264"/>
                    <a:gd name="connsiteY2" fmla="*/ 8778 h 8778"/>
                    <a:gd name="connsiteX3" fmla="*/ 7132 w 14264"/>
                    <a:gd name="connsiteY3" fmla="*/ 8778 h 8778"/>
                    <a:gd name="connsiteX4" fmla="*/ 4938 w 14264"/>
                    <a:gd name="connsiteY4" fmla="*/ 4389 h 8778"/>
                    <a:gd name="connsiteX5" fmla="*/ 0 w 14264"/>
                    <a:gd name="connsiteY5" fmla="*/ 0 h 8778"/>
                    <a:gd name="connsiteX6" fmla="*/ 9327 w 14264"/>
                    <a:gd name="connsiteY6" fmla="*/ 1097 h 8778"/>
                    <a:gd name="connsiteX7" fmla="*/ 13167 w 14264"/>
                    <a:gd name="connsiteY7" fmla="*/ 4938 h 87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4264" h="8778">
                      <a:moveTo>
                        <a:pt x="13167" y="4938"/>
                      </a:moveTo>
                      <a:lnTo>
                        <a:pt x="14265" y="7681"/>
                      </a:lnTo>
                      <a:lnTo>
                        <a:pt x="11521" y="8778"/>
                      </a:lnTo>
                      <a:lnTo>
                        <a:pt x="7132" y="8778"/>
                      </a:lnTo>
                      <a:lnTo>
                        <a:pt x="4938" y="4389"/>
                      </a:lnTo>
                      <a:lnTo>
                        <a:pt x="0" y="0"/>
                      </a:lnTo>
                      <a:lnTo>
                        <a:pt x="9327" y="1097"/>
                      </a:lnTo>
                      <a:lnTo>
                        <a:pt x="13167" y="4938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37" name="Graphic 7">
                  <a:extLst>
                    <a:ext uri="{FF2B5EF4-FFF2-40B4-BE49-F238E27FC236}">
                      <a16:creationId xmlns:a16="http://schemas.microsoft.com/office/drawing/2014/main" id="{8DD97FCA-5791-19FA-263C-7AC5E6D9FA8B}"/>
                    </a:ext>
                  </a:extLst>
                </p:cNvPr>
                <p:cNvSpPr/>
                <p:nvPr/>
              </p:nvSpPr>
              <p:spPr>
                <a:xfrm>
                  <a:off x="4971174" y="3049123"/>
                  <a:ext cx="367346" cy="291477"/>
                </a:xfrm>
                <a:custGeom>
                  <a:avLst/>
                  <a:gdLst>
                    <a:gd name="connsiteX0" fmla="*/ 70775 w 470184"/>
                    <a:gd name="connsiteY0" fmla="*/ 320406 h 373075"/>
                    <a:gd name="connsiteX1" fmla="*/ 68031 w 470184"/>
                    <a:gd name="connsiteY1" fmla="*/ 301204 h 373075"/>
                    <a:gd name="connsiteX2" fmla="*/ 87234 w 470184"/>
                    <a:gd name="connsiteY2" fmla="*/ 280355 h 373075"/>
                    <a:gd name="connsiteX3" fmla="*/ 85588 w 470184"/>
                    <a:gd name="connsiteY3" fmla="*/ 273223 h 373075"/>
                    <a:gd name="connsiteX4" fmla="*/ 79004 w 470184"/>
                    <a:gd name="connsiteY4" fmla="*/ 266090 h 373075"/>
                    <a:gd name="connsiteX5" fmla="*/ 76810 w 470184"/>
                    <a:gd name="connsiteY5" fmla="*/ 256763 h 373075"/>
                    <a:gd name="connsiteX6" fmla="*/ 76810 w 470184"/>
                    <a:gd name="connsiteY6" fmla="*/ 247437 h 373075"/>
                    <a:gd name="connsiteX7" fmla="*/ 84491 w 470184"/>
                    <a:gd name="connsiteY7" fmla="*/ 232624 h 373075"/>
                    <a:gd name="connsiteX8" fmla="*/ 74615 w 470184"/>
                    <a:gd name="connsiteY8" fmla="*/ 216713 h 373075"/>
                    <a:gd name="connsiteX9" fmla="*/ 72420 w 470184"/>
                    <a:gd name="connsiteY9" fmla="*/ 205740 h 373075"/>
                    <a:gd name="connsiteX10" fmla="*/ 78456 w 470184"/>
                    <a:gd name="connsiteY10" fmla="*/ 201899 h 373075"/>
                    <a:gd name="connsiteX11" fmla="*/ 85588 w 470184"/>
                    <a:gd name="connsiteY11" fmla="*/ 199156 h 373075"/>
                    <a:gd name="connsiteX12" fmla="*/ 92172 w 470184"/>
                    <a:gd name="connsiteY12" fmla="*/ 191476 h 373075"/>
                    <a:gd name="connsiteX13" fmla="*/ 92720 w 470184"/>
                    <a:gd name="connsiteY13" fmla="*/ 184892 h 373075"/>
                    <a:gd name="connsiteX14" fmla="*/ 88331 w 470184"/>
                    <a:gd name="connsiteY14" fmla="*/ 178308 h 373075"/>
                    <a:gd name="connsiteX15" fmla="*/ 94915 w 470184"/>
                    <a:gd name="connsiteY15" fmla="*/ 137160 h 373075"/>
                    <a:gd name="connsiteX16" fmla="*/ 115214 w 470184"/>
                    <a:gd name="connsiteY16" fmla="*/ 112471 h 373075"/>
                    <a:gd name="connsiteX17" fmla="*/ 115214 w 470184"/>
                    <a:gd name="connsiteY17" fmla="*/ 106985 h 373075"/>
                    <a:gd name="connsiteX18" fmla="*/ 105888 w 470184"/>
                    <a:gd name="connsiteY18" fmla="*/ 93817 h 373075"/>
                    <a:gd name="connsiteX19" fmla="*/ 83942 w 470184"/>
                    <a:gd name="connsiteY19" fmla="*/ 91623 h 373075"/>
                    <a:gd name="connsiteX20" fmla="*/ 74615 w 470184"/>
                    <a:gd name="connsiteY20" fmla="*/ 96012 h 373075"/>
                    <a:gd name="connsiteX21" fmla="*/ 49378 w 470184"/>
                    <a:gd name="connsiteY21" fmla="*/ 95463 h 373075"/>
                    <a:gd name="connsiteX22" fmla="*/ 44440 w 470184"/>
                    <a:gd name="connsiteY22" fmla="*/ 92720 h 373075"/>
                    <a:gd name="connsiteX23" fmla="*/ 43343 w 470184"/>
                    <a:gd name="connsiteY23" fmla="*/ 83942 h 373075"/>
                    <a:gd name="connsiteX24" fmla="*/ 24140 w 470184"/>
                    <a:gd name="connsiteY24" fmla="*/ 89977 h 373075"/>
                    <a:gd name="connsiteX25" fmla="*/ 18105 w 470184"/>
                    <a:gd name="connsiteY25" fmla="*/ 96561 h 373075"/>
                    <a:gd name="connsiteX26" fmla="*/ 16459 w 470184"/>
                    <a:gd name="connsiteY26" fmla="*/ 93817 h 373075"/>
                    <a:gd name="connsiteX27" fmla="*/ 16459 w 470184"/>
                    <a:gd name="connsiteY27" fmla="*/ 87234 h 373075"/>
                    <a:gd name="connsiteX28" fmla="*/ 18654 w 470184"/>
                    <a:gd name="connsiteY28" fmla="*/ 79004 h 373075"/>
                    <a:gd name="connsiteX29" fmla="*/ 23592 w 470184"/>
                    <a:gd name="connsiteY29" fmla="*/ 72969 h 373075"/>
                    <a:gd name="connsiteX30" fmla="*/ 17556 w 470184"/>
                    <a:gd name="connsiteY30" fmla="*/ 73518 h 373075"/>
                    <a:gd name="connsiteX31" fmla="*/ 19751 w 470184"/>
                    <a:gd name="connsiteY31" fmla="*/ 68031 h 373075"/>
                    <a:gd name="connsiteX32" fmla="*/ 13167 w 470184"/>
                    <a:gd name="connsiteY32" fmla="*/ 65288 h 373075"/>
                    <a:gd name="connsiteX33" fmla="*/ 18105 w 470184"/>
                    <a:gd name="connsiteY33" fmla="*/ 55961 h 373075"/>
                    <a:gd name="connsiteX34" fmla="*/ 14813 w 470184"/>
                    <a:gd name="connsiteY34" fmla="*/ 56510 h 373075"/>
                    <a:gd name="connsiteX35" fmla="*/ 9876 w 470184"/>
                    <a:gd name="connsiteY35" fmla="*/ 53767 h 373075"/>
                    <a:gd name="connsiteX36" fmla="*/ 10973 w 470184"/>
                    <a:gd name="connsiteY36" fmla="*/ 47732 h 373075"/>
                    <a:gd name="connsiteX37" fmla="*/ 0 w 470184"/>
                    <a:gd name="connsiteY37" fmla="*/ 38953 h 373075"/>
                    <a:gd name="connsiteX38" fmla="*/ 3292 w 470184"/>
                    <a:gd name="connsiteY38" fmla="*/ 29627 h 373075"/>
                    <a:gd name="connsiteX39" fmla="*/ 10973 w 470184"/>
                    <a:gd name="connsiteY39" fmla="*/ 23591 h 373075"/>
                    <a:gd name="connsiteX40" fmla="*/ 19202 w 470184"/>
                    <a:gd name="connsiteY40" fmla="*/ 21397 h 373075"/>
                    <a:gd name="connsiteX41" fmla="*/ 31821 w 470184"/>
                    <a:gd name="connsiteY41" fmla="*/ 20848 h 373075"/>
                    <a:gd name="connsiteX42" fmla="*/ 37308 w 470184"/>
                    <a:gd name="connsiteY42" fmla="*/ 15362 h 373075"/>
                    <a:gd name="connsiteX43" fmla="*/ 36759 w 470184"/>
                    <a:gd name="connsiteY43" fmla="*/ 10424 h 373075"/>
                    <a:gd name="connsiteX44" fmla="*/ 41697 w 470184"/>
                    <a:gd name="connsiteY44" fmla="*/ 3292 h 373075"/>
                    <a:gd name="connsiteX45" fmla="*/ 57059 w 470184"/>
                    <a:gd name="connsiteY45" fmla="*/ 0 h 373075"/>
                    <a:gd name="connsiteX46" fmla="*/ 74615 w 470184"/>
                    <a:gd name="connsiteY46" fmla="*/ 6035 h 373075"/>
                    <a:gd name="connsiteX47" fmla="*/ 115763 w 470184"/>
                    <a:gd name="connsiteY47" fmla="*/ 8778 h 373075"/>
                    <a:gd name="connsiteX48" fmla="*/ 122895 w 470184"/>
                    <a:gd name="connsiteY48" fmla="*/ 4938 h 373075"/>
                    <a:gd name="connsiteX49" fmla="*/ 278709 w 470184"/>
                    <a:gd name="connsiteY49" fmla="*/ 18654 h 373075"/>
                    <a:gd name="connsiteX50" fmla="*/ 279806 w 470184"/>
                    <a:gd name="connsiteY50" fmla="*/ 21397 h 373075"/>
                    <a:gd name="connsiteX51" fmla="*/ 301203 w 470184"/>
                    <a:gd name="connsiteY51" fmla="*/ 36210 h 373075"/>
                    <a:gd name="connsiteX52" fmla="*/ 308336 w 470184"/>
                    <a:gd name="connsiteY52" fmla="*/ 38405 h 373075"/>
                    <a:gd name="connsiteX53" fmla="*/ 320954 w 470184"/>
                    <a:gd name="connsiteY53" fmla="*/ 47183 h 373075"/>
                    <a:gd name="connsiteX54" fmla="*/ 362651 w 470184"/>
                    <a:gd name="connsiteY54" fmla="*/ 56510 h 373075"/>
                    <a:gd name="connsiteX55" fmla="*/ 367040 w 470184"/>
                    <a:gd name="connsiteY55" fmla="*/ 55413 h 373075"/>
                    <a:gd name="connsiteX56" fmla="*/ 374172 w 470184"/>
                    <a:gd name="connsiteY56" fmla="*/ 50475 h 373075"/>
                    <a:gd name="connsiteX57" fmla="*/ 380208 w 470184"/>
                    <a:gd name="connsiteY57" fmla="*/ 49378 h 373075"/>
                    <a:gd name="connsiteX58" fmla="*/ 400507 w 470184"/>
                    <a:gd name="connsiteY58" fmla="*/ 62545 h 373075"/>
                    <a:gd name="connsiteX59" fmla="*/ 402702 w 470184"/>
                    <a:gd name="connsiteY59" fmla="*/ 66934 h 373075"/>
                    <a:gd name="connsiteX60" fmla="*/ 407091 w 470184"/>
                    <a:gd name="connsiteY60" fmla="*/ 66934 h 373075"/>
                    <a:gd name="connsiteX61" fmla="*/ 409834 w 470184"/>
                    <a:gd name="connsiteY61" fmla="*/ 65837 h 373075"/>
                    <a:gd name="connsiteX62" fmla="*/ 408737 w 470184"/>
                    <a:gd name="connsiteY62" fmla="*/ 63094 h 373075"/>
                    <a:gd name="connsiteX63" fmla="*/ 416418 w 470184"/>
                    <a:gd name="connsiteY63" fmla="*/ 68580 h 373075"/>
                    <a:gd name="connsiteX64" fmla="*/ 421356 w 470184"/>
                    <a:gd name="connsiteY64" fmla="*/ 70775 h 373075"/>
                    <a:gd name="connsiteX65" fmla="*/ 463601 w 470184"/>
                    <a:gd name="connsiteY65" fmla="*/ 68031 h 373075"/>
                    <a:gd name="connsiteX66" fmla="*/ 468539 w 470184"/>
                    <a:gd name="connsiteY66" fmla="*/ 69677 h 373075"/>
                    <a:gd name="connsiteX67" fmla="*/ 470184 w 470184"/>
                    <a:gd name="connsiteY67" fmla="*/ 75164 h 373075"/>
                    <a:gd name="connsiteX68" fmla="*/ 464150 w 470184"/>
                    <a:gd name="connsiteY68" fmla="*/ 77907 h 373075"/>
                    <a:gd name="connsiteX69" fmla="*/ 464698 w 470184"/>
                    <a:gd name="connsiteY69" fmla="*/ 84491 h 373075"/>
                    <a:gd name="connsiteX70" fmla="*/ 467441 w 470184"/>
                    <a:gd name="connsiteY70" fmla="*/ 90526 h 373075"/>
                    <a:gd name="connsiteX71" fmla="*/ 461406 w 470184"/>
                    <a:gd name="connsiteY71" fmla="*/ 98755 h 373075"/>
                    <a:gd name="connsiteX72" fmla="*/ 426293 w 470184"/>
                    <a:gd name="connsiteY72" fmla="*/ 123444 h 373075"/>
                    <a:gd name="connsiteX73" fmla="*/ 385694 w 470184"/>
                    <a:gd name="connsiteY73" fmla="*/ 138257 h 373075"/>
                    <a:gd name="connsiteX74" fmla="*/ 377464 w 470184"/>
                    <a:gd name="connsiteY74" fmla="*/ 148681 h 373075"/>
                    <a:gd name="connsiteX75" fmla="*/ 377464 w 470184"/>
                    <a:gd name="connsiteY75" fmla="*/ 153071 h 373075"/>
                    <a:gd name="connsiteX76" fmla="*/ 338511 w 470184"/>
                    <a:gd name="connsiteY76" fmla="*/ 205192 h 373075"/>
                    <a:gd name="connsiteX77" fmla="*/ 334122 w 470184"/>
                    <a:gd name="connsiteY77" fmla="*/ 217810 h 373075"/>
                    <a:gd name="connsiteX78" fmla="*/ 334122 w 470184"/>
                    <a:gd name="connsiteY78" fmla="*/ 220005 h 373075"/>
                    <a:gd name="connsiteX79" fmla="*/ 336316 w 470184"/>
                    <a:gd name="connsiteY79" fmla="*/ 223297 h 373075"/>
                    <a:gd name="connsiteX80" fmla="*/ 339608 w 470184"/>
                    <a:gd name="connsiteY80" fmla="*/ 234818 h 373075"/>
                    <a:gd name="connsiteX81" fmla="*/ 342900 w 470184"/>
                    <a:gd name="connsiteY81" fmla="*/ 238658 h 373075"/>
                    <a:gd name="connsiteX82" fmla="*/ 346740 w 470184"/>
                    <a:gd name="connsiteY82" fmla="*/ 240853 h 373075"/>
                    <a:gd name="connsiteX83" fmla="*/ 351678 w 470184"/>
                    <a:gd name="connsiteY83" fmla="*/ 241950 h 373075"/>
                    <a:gd name="connsiteX84" fmla="*/ 354421 w 470184"/>
                    <a:gd name="connsiteY84" fmla="*/ 245791 h 373075"/>
                    <a:gd name="connsiteX85" fmla="*/ 351130 w 470184"/>
                    <a:gd name="connsiteY85" fmla="*/ 252374 h 373075"/>
                    <a:gd name="connsiteX86" fmla="*/ 331379 w 470184"/>
                    <a:gd name="connsiteY86" fmla="*/ 268285 h 373075"/>
                    <a:gd name="connsiteX87" fmla="*/ 318211 w 470184"/>
                    <a:gd name="connsiteY87" fmla="*/ 297363 h 373075"/>
                    <a:gd name="connsiteX88" fmla="*/ 319308 w 470184"/>
                    <a:gd name="connsiteY88" fmla="*/ 301752 h 373075"/>
                    <a:gd name="connsiteX89" fmla="*/ 297912 w 470184"/>
                    <a:gd name="connsiteY89" fmla="*/ 304495 h 373075"/>
                    <a:gd name="connsiteX90" fmla="*/ 283647 w 470184"/>
                    <a:gd name="connsiteY90" fmla="*/ 317114 h 373075"/>
                    <a:gd name="connsiteX91" fmla="*/ 275966 w 470184"/>
                    <a:gd name="connsiteY91" fmla="*/ 335768 h 373075"/>
                    <a:gd name="connsiteX92" fmla="*/ 272674 w 470184"/>
                    <a:gd name="connsiteY92" fmla="*/ 340157 h 373075"/>
                    <a:gd name="connsiteX93" fmla="*/ 267188 w 470184"/>
                    <a:gd name="connsiteY93" fmla="*/ 340705 h 373075"/>
                    <a:gd name="connsiteX94" fmla="*/ 258958 w 470184"/>
                    <a:gd name="connsiteY94" fmla="*/ 339059 h 373075"/>
                    <a:gd name="connsiteX95" fmla="*/ 248534 w 470184"/>
                    <a:gd name="connsiteY95" fmla="*/ 343449 h 373075"/>
                    <a:gd name="connsiteX96" fmla="*/ 228783 w 470184"/>
                    <a:gd name="connsiteY96" fmla="*/ 340157 h 373075"/>
                    <a:gd name="connsiteX97" fmla="*/ 217810 w 470184"/>
                    <a:gd name="connsiteY97" fmla="*/ 341803 h 373075"/>
                    <a:gd name="connsiteX98" fmla="*/ 209032 w 470184"/>
                    <a:gd name="connsiteY98" fmla="*/ 340705 h 373075"/>
                    <a:gd name="connsiteX99" fmla="*/ 184343 w 470184"/>
                    <a:gd name="connsiteY99" fmla="*/ 343997 h 373075"/>
                    <a:gd name="connsiteX100" fmla="*/ 176662 w 470184"/>
                    <a:gd name="connsiteY100" fmla="*/ 352227 h 373075"/>
                    <a:gd name="connsiteX101" fmla="*/ 167884 w 470184"/>
                    <a:gd name="connsiteY101" fmla="*/ 353324 h 373075"/>
                    <a:gd name="connsiteX102" fmla="*/ 160203 w 470184"/>
                    <a:gd name="connsiteY102" fmla="*/ 356616 h 373075"/>
                    <a:gd name="connsiteX103" fmla="*/ 154168 w 470184"/>
                    <a:gd name="connsiteY103" fmla="*/ 362651 h 373075"/>
                    <a:gd name="connsiteX104" fmla="*/ 151973 w 470184"/>
                    <a:gd name="connsiteY104" fmla="*/ 366491 h 373075"/>
                    <a:gd name="connsiteX105" fmla="*/ 148681 w 470184"/>
                    <a:gd name="connsiteY105" fmla="*/ 370332 h 373075"/>
                    <a:gd name="connsiteX106" fmla="*/ 143195 w 470184"/>
                    <a:gd name="connsiteY106" fmla="*/ 373075 h 373075"/>
                    <a:gd name="connsiteX107" fmla="*/ 131674 w 470184"/>
                    <a:gd name="connsiteY107" fmla="*/ 370881 h 373075"/>
                    <a:gd name="connsiteX108" fmla="*/ 123444 w 470184"/>
                    <a:gd name="connsiteY108" fmla="*/ 365394 h 373075"/>
                    <a:gd name="connsiteX109" fmla="*/ 115763 w 470184"/>
                    <a:gd name="connsiteY109" fmla="*/ 353873 h 373075"/>
                    <a:gd name="connsiteX110" fmla="*/ 115214 w 470184"/>
                    <a:gd name="connsiteY110" fmla="*/ 347838 h 373075"/>
                    <a:gd name="connsiteX111" fmla="*/ 110277 w 470184"/>
                    <a:gd name="connsiteY111" fmla="*/ 343449 h 373075"/>
                    <a:gd name="connsiteX112" fmla="*/ 109179 w 470184"/>
                    <a:gd name="connsiteY112" fmla="*/ 333573 h 373075"/>
                    <a:gd name="connsiteX113" fmla="*/ 100950 w 470184"/>
                    <a:gd name="connsiteY113" fmla="*/ 325892 h 373075"/>
                    <a:gd name="connsiteX114" fmla="*/ 90526 w 470184"/>
                    <a:gd name="connsiteY114" fmla="*/ 320406 h 373075"/>
                    <a:gd name="connsiteX115" fmla="*/ 85588 w 470184"/>
                    <a:gd name="connsiteY115" fmla="*/ 319309 h 373075"/>
                    <a:gd name="connsiteX116" fmla="*/ 70775 w 470184"/>
                    <a:gd name="connsiteY116" fmla="*/ 320406 h 3730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</a:cxnLst>
                  <a:rect l="l" t="t" r="r" b="b"/>
                  <a:pathLst>
                    <a:path w="470184" h="373075">
                      <a:moveTo>
                        <a:pt x="70775" y="320406"/>
                      </a:moveTo>
                      <a:lnTo>
                        <a:pt x="68031" y="301204"/>
                      </a:lnTo>
                      <a:lnTo>
                        <a:pt x="87234" y="280355"/>
                      </a:lnTo>
                      <a:lnTo>
                        <a:pt x="85588" y="273223"/>
                      </a:lnTo>
                      <a:lnTo>
                        <a:pt x="79004" y="266090"/>
                      </a:lnTo>
                      <a:lnTo>
                        <a:pt x="76810" y="256763"/>
                      </a:lnTo>
                      <a:lnTo>
                        <a:pt x="76810" y="247437"/>
                      </a:lnTo>
                      <a:lnTo>
                        <a:pt x="84491" y="232624"/>
                      </a:lnTo>
                      <a:lnTo>
                        <a:pt x="74615" y="216713"/>
                      </a:lnTo>
                      <a:lnTo>
                        <a:pt x="72420" y="205740"/>
                      </a:lnTo>
                      <a:lnTo>
                        <a:pt x="78456" y="201899"/>
                      </a:lnTo>
                      <a:lnTo>
                        <a:pt x="85588" y="199156"/>
                      </a:lnTo>
                      <a:lnTo>
                        <a:pt x="92172" y="191476"/>
                      </a:lnTo>
                      <a:lnTo>
                        <a:pt x="92720" y="184892"/>
                      </a:lnTo>
                      <a:lnTo>
                        <a:pt x="88331" y="178308"/>
                      </a:lnTo>
                      <a:lnTo>
                        <a:pt x="94915" y="137160"/>
                      </a:lnTo>
                      <a:lnTo>
                        <a:pt x="115214" y="112471"/>
                      </a:lnTo>
                      <a:lnTo>
                        <a:pt x="115214" y="106985"/>
                      </a:lnTo>
                      <a:lnTo>
                        <a:pt x="105888" y="93817"/>
                      </a:lnTo>
                      <a:lnTo>
                        <a:pt x="83942" y="91623"/>
                      </a:lnTo>
                      <a:lnTo>
                        <a:pt x="74615" y="96012"/>
                      </a:lnTo>
                      <a:lnTo>
                        <a:pt x="49378" y="95463"/>
                      </a:lnTo>
                      <a:lnTo>
                        <a:pt x="44440" y="92720"/>
                      </a:lnTo>
                      <a:lnTo>
                        <a:pt x="43343" y="83942"/>
                      </a:lnTo>
                      <a:lnTo>
                        <a:pt x="24140" y="89977"/>
                      </a:lnTo>
                      <a:lnTo>
                        <a:pt x="18105" y="96561"/>
                      </a:lnTo>
                      <a:lnTo>
                        <a:pt x="16459" y="93817"/>
                      </a:lnTo>
                      <a:lnTo>
                        <a:pt x="16459" y="87234"/>
                      </a:lnTo>
                      <a:lnTo>
                        <a:pt x="18654" y="79004"/>
                      </a:lnTo>
                      <a:lnTo>
                        <a:pt x="23592" y="72969"/>
                      </a:lnTo>
                      <a:lnTo>
                        <a:pt x="17556" y="73518"/>
                      </a:lnTo>
                      <a:lnTo>
                        <a:pt x="19751" y="68031"/>
                      </a:lnTo>
                      <a:lnTo>
                        <a:pt x="13167" y="65288"/>
                      </a:lnTo>
                      <a:lnTo>
                        <a:pt x="18105" y="55961"/>
                      </a:lnTo>
                      <a:lnTo>
                        <a:pt x="14813" y="56510"/>
                      </a:lnTo>
                      <a:lnTo>
                        <a:pt x="9876" y="53767"/>
                      </a:lnTo>
                      <a:lnTo>
                        <a:pt x="10973" y="47732"/>
                      </a:lnTo>
                      <a:lnTo>
                        <a:pt x="0" y="38953"/>
                      </a:lnTo>
                      <a:lnTo>
                        <a:pt x="3292" y="29627"/>
                      </a:lnTo>
                      <a:lnTo>
                        <a:pt x="10973" y="23591"/>
                      </a:lnTo>
                      <a:lnTo>
                        <a:pt x="19202" y="21397"/>
                      </a:lnTo>
                      <a:lnTo>
                        <a:pt x="31821" y="20848"/>
                      </a:lnTo>
                      <a:lnTo>
                        <a:pt x="37308" y="15362"/>
                      </a:lnTo>
                      <a:lnTo>
                        <a:pt x="36759" y="10424"/>
                      </a:lnTo>
                      <a:lnTo>
                        <a:pt x="41697" y="3292"/>
                      </a:lnTo>
                      <a:lnTo>
                        <a:pt x="57059" y="0"/>
                      </a:lnTo>
                      <a:lnTo>
                        <a:pt x="74615" y="6035"/>
                      </a:lnTo>
                      <a:lnTo>
                        <a:pt x="115763" y="8778"/>
                      </a:lnTo>
                      <a:lnTo>
                        <a:pt x="122895" y="4938"/>
                      </a:lnTo>
                      <a:lnTo>
                        <a:pt x="278709" y="18654"/>
                      </a:lnTo>
                      <a:lnTo>
                        <a:pt x="279806" y="21397"/>
                      </a:lnTo>
                      <a:lnTo>
                        <a:pt x="301203" y="36210"/>
                      </a:lnTo>
                      <a:lnTo>
                        <a:pt x="308336" y="38405"/>
                      </a:lnTo>
                      <a:lnTo>
                        <a:pt x="320954" y="47183"/>
                      </a:lnTo>
                      <a:lnTo>
                        <a:pt x="362651" y="56510"/>
                      </a:lnTo>
                      <a:lnTo>
                        <a:pt x="367040" y="55413"/>
                      </a:lnTo>
                      <a:lnTo>
                        <a:pt x="374172" y="50475"/>
                      </a:lnTo>
                      <a:lnTo>
                        <a:pt x="380208" y="49378"/>
                      </a:lnTo>
                      <a:lnTo>
                        <a:pt x="400507" y="62545"/>
                      </a:lnTo>
                      <a:lnTo>
                        <a:pt x="402702" y="66934"/>
                      </a:lnTo>
                      <a:lnTo>
                        <a:pt x="407091" y="66934"/>
                      </a:lnTo>
                      <a:lnTo>
                        <a:pt x="409834" y="65837"/>
                      </a:lnTo>
                      <a:lnTo>
                        <a:pt x="408737" y="63094"/>
                      </a:lnTo>
                      <a:lnTo>
                        <a:pt x="416418" y="68580"/>
                      </a:lnTo>
                      <a:lnTo>
                        <a:pt x="421356" y="70775"/>
                      </a:lnTo>
                      <a:lnTo>
                        <a:pt x="463601" y="68031"/>
                      </a:lnTo>
                      <a:lnTo>
                        <a:pt x="468539" y="69677"/>
                      </a:lnTo>
                      <a:lnTo>
                        <a:pt x="470184" y="75164"/>
                      </a:lnTo>
                      <a:lnTo>
                        <a:pt x="464150" y="77907"/>
                      </a:lnTo>
                      <a:lnTo>
                        <a:pt x="464698" y="84491"/>
                      </a:lnTo>
                      <a:lnTo>
                        <a:pt x="467441" y="90526"/>
                      </a:lnTo>
                      <a:lnTo>
                        <a:pt x="461406" y="98755"/>
                      </a:lnTo>
                      <a:lnTo>
                        <a:pt x="426293" y="123444"/>
                      </a:lnTo>
                      <a:lnTo>
                        <a:pt x="385694" y="138257"/>
                      </a:lnTo>
                      <a:lnTo>
                        <a:pt x="377464" y="148681"/>
                      </a:lnTo>
                      <a:lnTo>
                        <a:pt x="377464" y="153071"/>
                      </a:lnTo>
                      <a:lnTo>
                        <a:pt x="338511" y="205192"/>
                      </a:lnTo>
                      <a:lnTo>
                        <a:pt x="334122" y="217810"/>
                      </a:lnTo>
                      <a:lnTo>
                        <a:pt x="334122" y="220005"/>
                      </a:lnTo>
                      <a:lnTo>
                        <a:pt x="336316" y="223297"/>
                      </a:lnTo>
                      <a:lnTo>
                        <a:pt x="339608" y="234818"/>
                      </a:lnTo>
                      <a:lnTo>
                        <a:pt x="342900" y="238658"/>
                      </a:lnTo>
                      <a:lnTo>
                        <a:pt x="346740" y="240853"/>
                      </a:lnTo>
                      <a:lnTo>
                        <a:pt x="351678" y="241950"/>
                      </a:lnTo>
                      <a:lnTo>
                        <a:pt x="354421" y="245791"/>
                      </a:lnTo>
                      <a:lnTo>
                        <a:pt x="351130" y="252374"/>
                      </a:lnTo>
                      <a:lnTo>
                        <a:pt x="331379" y="268285"/>
                      </a:lnTo>
                      <a:lnTo>
                        <a:pt x="318211" y="297363"/>
                      </a:lnTo>
                      <a:lnTo>
                        <a:pt x="319308" y="301752"/>
                      </a:lnTo>
                      <a:lnTo>
                        <a:pt x="297912" y="304495"/>
                      </a:lnTo>
                      <a:lnTo>
                        <a:pt x="283647" y="317114"/>
                      </a:lnTo>
                      <a:lnTo>
                        <a:pt x="275966" y="335768"/>
                      </a:lnTo>
                      <a:lnTo>
                        <a:pt x="272674" y="340157"/>
                      </a:lnTo>
                      <a:lnTo>
                        <a:pt x="267188" y="340705"/>
                      </a:lnTo>
                      <a:lnTo>
                        <a:pt x="258958" y="339059"/>
                      </a:lnTo>
                      <a:lnTo>
                        <a:pt x="248534" y="343449"/>
                      </a:lnTo>
                      <a:lnTo>
                        <a:pt x="228783" y="340157"/>
                      </a:lnTo>
                      <a:lnTo>
                        <a:pt x="217810" y="341803"/>
                      </a:lnTo>
                      <a:lnTo>
                        <a:pt x="209032" y="340705"/>
                      </a:lnTo>
                      <a:lnTo>
                        <a:pt x="184343" y="343997"/>
                      </a:lnTo>
                      <a:lnTo>
                        <a:pt x="176662" y="352227"/>
                      </a:lnTo>
                      <a:lnTo>
                        <a:pt x="167884" y="353324"/>
                      </a:lnTo>
                      <a:lnTo>
                        <a:pt x="160203" y="356616"/>
                      </a:lnTo>
                      <a:lnTo>
                        <a:pt x="154168" y="362651"/>
                      </a:lnTo>
                      <a:lnTo>
                        <a:pt x="151973" y="366491"/>
                      </a:lnTo>
                      <a:lnTo>
                        <a:pt x="148681" y="370332"/>
                      </a:lnTo>
                      <a:lnTo>
                        <a:pt x="143195" y="373075"/>
                      </a:lnTo>
                      <a:lnTo>
                        <a:pt x="131674" y="370881"/>
                      </a:lnTo>
                      <a:lnTo>
                        <a:pt x="123444" y="365394"/>
                      </a:lnTo>
                      <a:lnTo>
                        <a:pt x="115763" y="353873"/>
                      </a:lnTo>
                      <a:lnTo>
                        <a:pt x="115214" y="347838"/>
                      </a:lnTo>
                      <a:lnTo>
                        <a:pt x="110277" y="343449"/>
                      </a:lnTo>
                      <a:lnTo>
                        <a:pt x="109179" y="333573"/>
                      </a:lnTo>
                      <a:lnTo>
                        <a:pt x="100950" y="325892"/>
                      </a:lnTo>
                      <a:lnTo>
                        <a:pt x="90526" y="320406"/>
                      </a:lnTo>
                      <a:lnTo>
                        <a:pt x="85588" y="319309"/>
                      </a:lnTo>
                      <a:lnTo>
                        <a:pt x="70775" y="320406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38" name="Graphic 7">
                  <a:extLst>
                    <a:ext uri="{FF2B5EF4-FFF2-40B4-BE49-F238E27FC236}">
                      <a16:creationId xmlns:a16="http://schemas.microsoft.com/office/drawing/2014/main" id="{FED75E08-44DF-F37F-B7DA-1739C257D5BC}"/>
                    </a:ext>
                  </a:extLst>
                </p:cNvPr>
                <p:cNvSpPr/>
                <p:nvPr/>
              </p:nvSpPr>
              <p:spPr>
                <a:xfrm>
                  <a:off x="5896184" y="3029835"/>
                  <a:ext cx="183459" cy="115305"/>
                </a:xfrm>
                <a:custGeom>
                  <a:avLst/>
                  <a:gdLst>
                    <a:gd name="connsiteX0" fmla="*/ 20300 w 234818"/>
                    <a:gd name="connsiteY0" fmla="*/ 142646 h 147584"/>
                    <a:gd name="connsiteX1" fmla="*/ 15911 w 234818"/>
                    <a:gd name="connsiteY1" fmla="*/ 110825 h 147584"/>
                    <a:gd name="connsiteX2" fmla="*/ 0 w 234818"/>
                    <a:gd name="connsiteY2" fmla="*/ 97658 h 147584"/>
                    <a:gd name="connsiteX3" fmla="*/ 0 w 234818"/>
                    <a:gd name="connsiteY3" fmla="*/ 81199 h 147584"/>
                    <a:gd name="connsiteX4" fmla="*/ 8230 w 234818"/>
                    <a:gd name="connsiteY4" fmla="*/ 63642 h 147584"/>
                    <a:gd name="connsiteX5" fmla="*/ 16459 w 234818"/>
                    <a:gd name="connsiteY5" fmla="*/ 55961 h 147584"/>
                    <a:gd name="connsiteX6" fmla="*/ 0 w 234818"/>
                    <a:gd name="connsiteY6" fmla="*/ 34564 h 147584"/>
                    <a:gd name="connsiteX7" fmla="*/ 549 w 234818"/>
                    <a:gd name="connsiteY7" fmla="*/ 5486 h 147584"/>
                    <a:gd name="connsiteX8" fmla="*/ 12070 w 234818"/>
                    <a:gd name="connsiteY8" fmla="*/ 0 h 147584"/>
                    <a:gd name="connsiteX9" fmla="*/ 20848 w 234818"/>
                    <a:gd name="connsiteY9" fmla="*/ 2743 h 147584"/>
                    <a:gd name="connsiteX10" fmla="*/ 16459 w 234818"/>
                    <a:gd name="connsiteY10" fmla="*/ 12619 h 147584"/>
                    <a:gd name="connsiteX11" fmla="*/ 23592 w 234818"/>
                    <a:gd name="connsiteY11" fmla="*/ 19202 h 147584"/>
                    <a:gd name="connsiteX12" fmla="*/ 114666 w 234818"/>
                    <a:gd name="connsiteY12" fmla="*/ 26883 h 147584"/>
                    <a:gd name="connsiteX13" fmla="*/ 171176 w 234818"/>
                    <a:gd name="connsiteY13" fmla="*/ 2743 h 147584"/>
                    <a:gd name="connsiteX14" fmla="*/ 184343 w 234818"/>
                    <a:gd name="connsiteY14" fmla="*/ 3292 h 147584"/>
                    <a:gd name="connsiteX15" fmla="*/ 188732 w 234818"/>
                    <a:gd name="connsiteY15" fmla="*/ 7132 h 147584"/>
                    <a:gd name="connsiteX16" fmla="*/ 209032 w 234818"/>
                    <a:gd name="connsiteY16" fmla="*/ 12619 h 147584"/>
                    <a:gd name="connsiteX17" fmla="*/ 222748 w 234818"/>
                    <a:gd name="connsiteY17" fmla="*/ 22494 h 147584"/>
                    <a:gd name="connsiteX18" fmla="*/ 234818 w 234818"/>
                    <a:gd name="connsiteY18" fmla="*/ 20848 h 147584"/>
                    <a:gd name="connsiteX19" fmla="*/ 233172 w 234818"/>
                    <a:gd name="connsiteY19" fmla="*/ 31821 h 147584"/>
                    <a:gd name="connsiteX20" fmla="*/ 229332 w 234818"/>
                    <a:gd name="connsiteY20" fmla="*/ 40051 h 147584"/>
                    <a:gd name="connsiteX21" fmla="*/ 216713 w 234818"/>
                    <a:gd name="connsiteY21" fmla="*/ 43343 h 147584"/>
                    <a:gd name="connsiteX22" fmla="*/ 208483 w 234818"/>
                    <a:gd name="connsiteY22" fmla="*/ 53218 h 147584"/>
                    <a:gd name="connsiteX23" fmla="*/ 207935 w 234818"/>
                    <a:gd name="connsiteY23" fmla="*/ 73518 h 147584"/>
                    <a:gd name="connsiteX24" fmla="*/ 201900 w 234818"/>
                    <a:gd name="connsiteY24" fmla="*/ 75164 h 147584"/>
                    <a:gd name="connsiteX25" fmla="*/ 200254 w 234818"/>
                    <a:gd name="connsiteY25" fmla="*/ 79004 h 147584"/>
                    <a:gd name="connsiteX26" fmla="*/ 192573 w 234818"/>
                    <a:gd name="connsiteY26" fmla="*/ 85588 h 147584"/>
                    <a:gd name="connsiteX27" fmla="*/ 194767 w 234818"/>
                    <a:gd name="connsiteY27" fmla="*/ 88880 h 147584"/>
                    <a:gd name="connsiteX28" fmla="*/ 198059 w 234818"/>
                    <a:gd name="connsiteY28" fmla="*/ 89977 h 147584"/>
                    <a:gd name="connsiteX29" fmla="*/ 210678 w 234818"/>
                    <a:gd name="connsiteY29" fmla="*/ 111374 h 147584"/>
                    <a:gd name="connsiteX30" fmla="*/ 211226 w 234818"/>
                    <a:gd name="connsiteY30" fmla="*/ 115763 h 147584"/>
                    <a:gd name="connsiteX31" fmla="*/ 205740 w 234818"/>
                    <a:gd name="connsiteY31" fmla="*/ 115214 h 147584"/>
                    <a:gd name="connsiteX32" fmla="*/ 190378 w 234818"/>
                    <a:gd name="connsiteY32" fmla="*/ 117409 h 147584"/>
                    <a:gd name="connsiteX33" fmla="*/ 178308 w 234818"/>
                    <a:gd name="connsiteY33" fmla="*/ 110825 h 147584"/>
                    <a:gd name="connsiteX34" fmla="*/ 154717 w 234818"/>
                    <a:gd name="connsiteY34" fmla="*/ 117409 h 147584"/>
                    <a:gd name="connsiteX35" fmla="*/ 148681 w 234818"/>
                    <a:gd name="connsiteY35" fmla="*/ 122347 h 147584"/>
                    <a:gd name="connsiteX36" fmla="*/ 140452 w 234818"/>
                    <a:gd name="connsiteY36" fmla="*/ 122895 h 147584"/>
                    <a:gd name="connsiteX37" fmla="*/ 139355 w 234818"/>
                    <a:gd name="connsiteY37" fmla="*/ 136612 h 147584"/>
                    <a:gd name="connsiteX38" fmla="*/ 129479 w 234818"/>
                    <a:gd name="connsiteY38" fmla="*/ 144841 h 147584"/>
                    <a:gd name="connsiteX39" fmla="*/ 116312 w 234818"/>
                    <a:gd name="connsiteY39" fmla="*/ 147584 h 147584"/>
                    <a:gd name="connsiteX40" fmla="*/ 91623 w 234818"/>
                    <a:gd name="connsiteY40" fmla="*/ 139355 h 147584"/>
                    <a:gd name="connsiteX41" fmla="*/ 85039 w 234818"/>
                    <a:gd name="connsiteY41" fmla="*/ 133319 h 147584"/>
                    <a:gd name="connsiteX42" fmla="*/ 20300 w 234818"/>
                    <a:gd name="connsiteY42" fmla="*/ 142646 h 1475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</a:cxnLst>
                  <a:rect l="l" t="t" r="r" b="b"/>
                  <a:pathLst>
                    <a:path w="234818" h="147584">
                      <a:moveTo>
                        <a:pt x="20300" y="142646"/>
                      </a:moveTo>
                      <a:lnTo>
                        <a:pt x="15911" y="110825"/>
                      </a:lnTo>
                      <a:lnTo>
                        <a:pt x="0" y="97658"/>
                      </a:lnTo>
                      <a:lnTo>
                        <a:pt x="0" y="81199"/>
                      </a:lnTo>
                      <a:lnTo>
                        <a:pt x="8230" y="63642"/>
                      </a:lnTo>
                      <a:lnTo>
                        <a:pt x="16459" y="55961"/>
                      </a:lnTo>
                      <a:lnTo>
                        <a:pt x="0" y="34564"/>
                      </a:lnTo>
                      <a:lnTo>
                        <a:pt x="549" y="5486"/>
                      </a:lnTo>
                      <a:lnTo>
                        <a:pt x="12070" y="0"/>
                      </a:lnTo>
                      <a:lnTo>
                        <a:pt x="20848" y="2743"/>
                      </a:lnTo>
                      <a:lnTo>
                        <a:pt x="16459" y="12619"/>
                      </a:lnTo>
                      <a:lnTo>
                        <a:pt x="23592" y="19202"/>
                      </a:lnTo>
                      <a:lnTo>
                        <a:pt x="114666" y="26883"/>
                      </a:lnTo>
                      <a:lnTo>
                        <a:pt x="171176" y="2743"/>
                      </a:lnTo>
                      <a:lnTo>
                        <a:pt x="184343" y="3292"/>
                      </a:lnTo>
                      <a:lnTo>
                        <a:pt x="188732" y="7132"/>
                      </a:lnTo>
                      <a:lnTo>
                        <a:pt x="209032" y="12619"/>
                      </a:lnTo>
                      <a:lnTo>
                        <a:pt x="222748" y="22494"/>
                      </a:lnTo>
                      <a:lnTo>
                        <a:pt x="234818" y="20848"/>
                      </a:lnTo>
                      <a:lnTo>
                        <a:pt x="233172" y="31821"/>
                      </a:lnTo>
                      <a:lnTo>
                        <a:pt x="229332" y="40051"/>
                      </a:lnTo>
                      <a:lnTo>
                        <a:pt x="216713" y="43343"/>
                      </a:lnTo>
                      <a:lnTo>
                        <a:pt x="208483" y="53218"/>
                      </a:lnTo>
                      <a:lnTo>
                        <a:pt x="207935" y="73518"/>
                      </a:lnTo>
                      <a:lnTo>
                        <a:pt x="201900" y="75164"/>
                      </a:lnTo>
                      <a:lnTo>
                        <a:pt x="200254" y="79004"/>
                      </a:lnTo>
                      <a:lnTo>
                        <a:pt x="192573" y="85588"/>
                      </a:lnTo>
                      <a:lnTo>
                        <a:pt x="194767" y="88880"/>
                      </a:lnTo>
                      <a:lnTo>
                        <a:pt x="198059" y="89977"/>
                      </a:lnTo>
                      <a:lnTo>
                        <a:pt x="210678" y="111374"/>
                      </a:lnTo>
                      <a:lnTo>
                        <a:pt x="211226" y="115763"/>
                      </a:lnTo>
                      <a:lnTo>
                        <a:pt x="205740" y="115214"/>
                      </a:lnTo>
                      <a:lnTo>
                        <a:pt x="190378" y="117409"/>
                      </a:lnTo>
                      <a:lnTo>
                        <a:pt x="178308" y="110825"/>
                      </a:lnTo>
                      <a:lnTo>
                        <a:pt x="154717" y="117409"/>
                      </a:lnTo>
                      <a:lnTo>
                        <a:pt x="148681" y="122347"/>
                      </a:lnTo>
                      <a:lnTo>
                        <a:pt x="140452" y="122895"/>
                      </a:lnTo>
                      <a:lnTo>
                        <a:pt x="139355" y="136612"/>
                      </a:lnTo>
                      <a:lnTo>
                        <a:pt x="129479" y="144841"/>
                      </a:lnTo>
                      <a:lnTo>
                        <a:pt x="116312" y="147584"/>
                      </a:lnTo>
                      <a:lnTo>
                        <a:pt x="91623" y="139355"/>
                      </a:lnTo>
                      <a:lnTo>
                        <a:pt x="85039" y="133319"/>
                      </a:lnTo>
                      <a:lnTo>
                        <a:pt x="20300" y="142646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39" name="Graphic 7">
                  <a:extLst>
                    <a:ext uri="{FF2B5EF4-FFF2-40B4-BE49-F238E27FC236}">
                      <a16:creationId xmlns:a16="http://schemas.microsoft.com/office/drawing/2014/main" id="{29BB7FA0-8330-7564-5141-AF656C204F16}"/>
                    </a:ext>
                  </a:extLst>
                </p:cNvPr>
                <p:cNvSpPr/>
                <p:nvPr/>
              </p:nvSpPr>
              <p:spPr>
                <a:xfrm>
                  <a:off x="5661717" y="2986971"/>
                  <a:ext cx="9001" cy="10287"/>
                </a:xfrm>
                <a:custGeom>
                  <a:avLst/>
                  <a:gdLst>
                    <a:gd name="connsiteX0" fmla="*/ 3292 w 11521"/>
                    <a:gd name="connsiteY0" fmla="*/ 0 h 13167"/>
                    <a:gd name="connsiteX1" fmla="*/ 5486 w 11521"/>
                    <a:gd name="connsiteY1" fmla="*/ 6584 h 13167"/>
                    <a:gd name="connsiteX2" fmla="*/ 10424 w 11521"/>
                    <a:gd name="connsiteY2" fmla="*/ 10424 h 13167"/>
                    <a:gd name="connsiteX3" fmla="*/ 11521 w 11521"/>
                    <a:gd name="connsiteY3" fmla="*/ 13167 h 13167"/>
                    <a:gd name="connsiteX4" fmla="*/ 6584 w 11521"/>
                    <a:gd name="connsiteY4" fmla="*/ 10973 h 13167"/>
                    <a:gd name="connsiteX5" fmla="*/ 2195 w 11521"/>
                    <a:gd name="connsiteY5" fmla="*/ 10424 h 13167"/>
                    <a:gd name="connsiteX6" fmla="*/ 0 w 11521"/>
                    <a:gd name="connsiteY6" fmla="*/ 8778 h 13167"/>
                    <a:gd name="connsiteX7" fmla="*/ 1646 w 11521"/>
                    <a:gd name="connsiteY7" fmla="*/ 2195 h 13167"/>
                    <a:gd name="connsiteX8" fmla="*/ 3292 w 11521"/>
                    <a:gd name="connsiteY8" fmla="*/ 0 h 131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1521" h="13167">
                      <a:moveTo>
                        <a:pt x="3292" y="0"/>
                      </a:moveTo>
                      <a:lnTo>
                        <a:pt x="5486" y="6584"/>
                      </a:lnTo>
                      <a:lnTo>
                        <a:pt x="10424" y="10424"/>
                      </a:lnTo>
                      <a:lnTo>
                        <a:pt x="11521" y="13167"/>
                      </a:lnTo>
                      <a:lnTo>
                        <a:pt x="6584" y="10973"/>
                      </a:lnTo>
                      <a:lnTo>
                        <a:pt x="2195" y="10424"/>
                      </a:lnTo>
                      <a:lnTo>
                        <a:pt x="0" y="8778"/>
                      </a:lnTo>
                      <a:lnTo>
                        <a:pt x="1646" y="2195"/>
                      </a:lnTo>
                      <a:lnTo>
                        <a:pt x="3292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40" name="Graphic 7">
                  <a:extLst>
                    <a:ext uri="{FF2B5EF4-FFF2-40B4-BE49-F238E27FC236}">
                      <a16:creationId xmlns:a16="http://schemas.microsoft.com/office/drawing/2014/main" id="{01764ED0-EAFE-D8D8-0F0F-10FB3115662F}"/>
                    </a:ext>
                  </a:extLst>
                </p:cNvPr>
                <p:cNvSpPr/>
                <p:nvPr/>
              </p:nvSpPr>
              <p:spPr>
                <a:xfrm>
                  <a:off x="5657003" y="2989114"/>
                  <a:ext cx="5572" cy="21003"/>
                </a:xfrm>
                <a:custGeom>
                  <a:avLst/>
                  <a:gdLst>
                    <a:gd name="connsiteX0" fmla="*/ 1097 w 7132"/>
                    <a:gd name="connsiteY0" fmla="*/ 1097 h 26883"/>
                    <a:gd name="connsiteX1" fmla="*/ 549 w 7132"/>
                    <a:gd name="connsiteY1" fmla="*/ 0 h 26883"/>
                    <a:gd name="connsiteX2" fmla="*/ 2195 w 7132"/>
                    <a:gd name="connsiteY2" fmla="*/ 0 h 26883"/>
                    <a:gd name="connsiteX3" fmla="*/ 3292 w 7132"/>
                    <a:gd name="connsiteY3" fmla="*/ 2195 h 26883"/>
                    <a:gd name="connsiteX4" fmla="*/ 7132 w 7132"/>
                    <a:gd name="connsiteY4" fmla="*/ 26883 h 26883"/>
                    <a:gd name="connsiteX5" fmla="*/ 0 w 7132"/>
                    <a:gd name="connsiteY5" fmla="*/ 15911 h 26883"/>
                    <a:gd name="connsiteX6" fmla="*/ 0 w 7132"/>
                    <a:gd name="connsiteY6" fmla="*/ 14813 h 26883"/>
                    <a:gd name="connsiteX7" fmla="*/ 3292 w 7132"/>
                    <a:gd name="connsiteY7" fmla="*/ 10973 h 26883"/>
                    <a:gd name="connsiteX8" fmla="*/ 3292 w 7132"/>
                    <a:gd name="connsiteY8" fmla="*/ 8230 h 26883"/>
                    <a:gd name="connsiteX9" fmla="*/ 1097 w 7132"/>
                    <a:gd name="connsiteY9" fmla="*/ 1097 h 268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132" h="26883">
                      <a:moveTo>
                        <a:pt x="1097" y="1097"/>
                      </a:moveTo>
                      <a:lnTo>
                        <a:pt x="549" y="0"/>
                      </a:lnTo>
                      <a:lnTo>
                        <a:pt x="2195" y="0"/>
                      </a:lnTo>
                      <a:lnTo>
                        <a:pt x="3292" y="2195"/>
                      </a:lnTo>
                      <a:lnTo>
                        <a:pt x="7132" y="26883"/>
                      </a:lnTo>
                      <a:lnTo>
                        <a:pt x="0" y="15911"/>
                      </a:lnTo>
                      <a:lnTo>
                        <a:pt x="0" y="14813"/>
                      </a:lnTo>
                      <a:lnTo>
                        <a:pt x="3292" y="10973"/>
                      </a:lnTo>
                      <a:lnTo>
                        <a:pt x="3292" y="8230"/>
                      </a:lnTo>
                      <a:lnTo>
                        <a:pt x="1097" y="1097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41" name="Graphic 7">
                  <a:extLst>
                    <a:ext uri="{FF2B5EF4-FFF2-40B4-BE49-F238E27FC236}">
                      <a16:creationId xmlns:a16="http://schemas.microsoft.com/office/drawing/2014/main" id="{29D36CBF-F0B3-39AE-1211-CDE69867580B}"/>
                    </a:ext>
                  </a:extLst>
                </p:cNvPr>
                <p:cNvSpPr/>
                <p:nvPr/>
              </p:nvSpPr>
              <p:spPr>
                <a:xfrm>
                  <a:off x="5719583" y="3061126"/>
                  <a:ext cx="13287" cy="4286"/>
                </a:xfrm>
                <a:custGeom>
                  <a:avLst/>
                  <a:gdLst>
                    <a:gd name="connsiteX0" fmla="*/ 0 w 17007"/>
                    <a:gd name="connsiteY0" fmla="*/ 549 h 5486"/>
                    <a:gd name="connsiteX1" fmla="*/ 1646 w 17007"/>
                    <a:gd name="connsiteY1" fmla="*/ 0 h 5486"/>
                    <a:gd name="connsiteX2" fmla="*/ 15911 w 17007"/>
                    <a:gd name="connsiteY2" fmla="*/ 3292 h 5486"/>
                    <a:gd name="connsiteX3" fmla="*/ 17008 w 17007"/>
                    <a:gd name="connsiteY3" fmla="*/ 4389 h 5486"/>
                    <a:gd name="connsiteX4" fmla="*/ 15911 w 17007"/>
                    <a:gd name="connsiteY4" fmla="*/ 5486 h 5486"/>
                    <a:gd name="connsiteX5" fmla="*/ 1646 w 17007"/>
                    <a:gd name="connsiteY5" fmla="*/ 5486 h 5486"/>
                    <a:gd name="connsiteX6" fmla="*/ 0 w 17007"/>
                    <a:gd name="connsiteY6" fmla="*/ 549 h 54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7007" h="5486">
                      <a:moveTo>
                        <a:pt x="0" y="549"/>
                      </a:moveTo>
                      <a:lnTo>
                        <a:pt x="1646" y="0"/>
                      </a:lnTo>
                      <a:lnTo>
                        <a:pt x="15911" y="3292"/>
                      </a:lnTo>
                      <a:lnTo>
                        <a:pt x="17008" y="4389"/>
                      </a:lnTo>
                      <a:lnTo>
                        <a:pt x="15911" y="5486"/>
                      </a:lnTo>
                      <a:lnTo>
                        <a:pt x="1646" y="5486"/>
                      </a:lnTo>
                      <a:lnTo>
                        <a:pt x="0" y="549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42" name="Graphic 7">
                  <a:extLst>
                    <a:ext uri="{FF2B5EF4-FFF2-40B4-BE49-F238E27FC236}">
                      <a16:creationId xmlns:a16="http://schemas.microsoft.com/office/drawing/2014/main" id="{55A6F23D-99C3-E95D-51C6-73822A946605}"/>
                    </a:ext>
                  </a:extLst>
                </p:cNvPr>
                <p:cNvSpPr/>
                <p:nvPr/>
              </p:nvSpPr>
              <p:spPr>
                <a:xfrm>
                  <a:off x="5726871" y="3077842"/>
                  <a:ext cx="13287" cy="2571"/>
                </a:xfrm>
                <a:custGeom>
                  <a:avLst/>
                  <a:gdLst>
                    <a:gd name="connsiteX0" fmla="*/ 0 w 17007"/>
                    <a:gd name="connsiteY0" fmla="*/ 1646 h 3291"/>
                    <a:gd name="connsiteX1" fmla="*/ 1646 w 17007"/>
                    <a:gd name="connsiteY1" fmla="*/ 0 h 3291"/>
                    <a:gd name="connsiteX2" fmla="*/ 14265 w 17007"/>
                    <a:gd name="connsiteY2" fmla="*/ 0 h 3291"/>
                    <a:gd name="connsiteX3" fmla="*/ 16459 w 17007"/>
                    <a:gd name="connsiteY3" fmla="*/ 549 h 3291"/>
                    <a:gd name="connsiteX4" fmla="*/ 17008 w 17007"/>
                    <a:gd name="connsiteY4" fmla="*/ 3292 h 3291"/>
                    <a:gd name="connsiteX5" fmla="*/ 549 w 17007"/>
                    <a:gd name="connsiteY5" fmla="*/ 3292 h 3291"/>
                    <a:gd name="connsiteX6" fmla="*/ 0 w 17007"/>
                    <a:gd name="connsiteY6" fmla="*/ 1646 h 32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7007" h="3291">
                      <a:moveTo>
                        <a:pt x="0" y="1646"/>
                      </a:moveTo>
                      <a:lnTo>
                        <a:pt x="1646" y="0"/>
                      </a:lnTo>
                      <a:lnTo>
                        <a:pt x="14265" y="0"/>
                      </a:lnTo>
                      <a:lnTo>
                        <a:pt x="16459" y="549"/>
                      </a:lnTo>
                      <a:lnTo>
                        <a:pt x="17008" y="3292"/>
                      </a:lnTo>
                      <a:lnTo>
                        <a:pt x="549" y="3292"/>
                      </a:lnTo>
                      <a:lnTo>
                        <a:pt x="0" y="1646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43" name="Graphic 7">
                  <a:extLst>
                    <a:ext uri="{FF2B5EF4-FFF2-40B4-BE49-F238E27FC236}">
                      <a16:creationId xmlns:a16="http://schemas.microsoft.com/office/drawing/2014/main" id="{CD4036BC-C3E1-C83B-E4F9-AC98EC37868C}"/>
                    </a:ext>
                  </a:extLst>
                </p:cNvPr>
                <p:cNvSpPr/>
                <p:nvPr/>
              </p:nvSpPr>
              <p:spPr>
                <a:xfrm>
                  <a:off x="5739730" y="3074842"/>
                  <a:ext cx="40292" cy="22289"/>
                </a:xfrm>
                <a:custGeom>
                  <a:avLst/>
                  <a:gdLst>
                    <a:gd name="connsiteX0" fmla="*/ 51024 w 51572"/>
                    <a:gd name="connsiteY0" fmla="*/ 28529 h 28529"/>
                    <a:gd name="connsiteX1" fmla="*/ 30724 w 51572"/>
                    <a:gd name="connsiteY1" fmla="*/ 13167 h 28529"/>
                    <a:gd name="connsiteX2" fmla="*/ 19751 w 51572"/>
                    <a:gd name="connsiteY2" fmla="*/ 11521 h 28529"/>
                    <a:gd name="connsiteX3" fmla="*/ 8778 w 51572"/>
                    <a:gd name="connsiteY3" fmla="*/ 4938 h 28529"/>
                    <a:gd name="connsiteX4" fmla="*/ 0 w 51572"/>
                    <a:gd name="connsiteY4" fmla="*/ 2743 h 28529"/>
                    <a:gd name="connsiteX5" fmla="*/ 2195 w 51572"/>
                    <a:gd name="connsiteY5" fmla="*/ 0 h 28529"/>
                    <a:gd name="connsiteX6" fmla="*/ 9876 w 51572"/>
                    <a:gd name="connsiteY6" fmla="*/ 1646 h 28529"/>
                    <a:gd name="connsiteX7" fmla="*/ 13716 w 51572"/>
                    <a:gd name="connsiteY7" fmla="*/ 6035 h 28529"/>
                    <a:gd name="connsiteX8" fmla="*/ 17008 w 51572"/>
                    <a:gd name="connsiteY8" fmla="*/ 6584 h 28529"/>
                    <a:gd name="connsiteX9" fmla="*/ 22494 w 51572"/>
                    <a:gd name="connsiteY9" fmla="*/ 3292 h 28529"/>
                    <a:gd name="connsiteX10" fmla="*/ 26883 w 51572"/>
                    <a:gd name="connsiteY10" fmla="*/ 4389 h 28529"/>
                    <a:gd name="connsiteX11" fmla="*/ 27432 w 51572"/>
                    <a:gd name="connsiteY11" fmla="*/ 7681 h 28529"/>
                    <a:gd name="connsiteX12" fmla="*/ 32370 w 51572"/>
                    <a:gd name="connsiteY12" fmla="*/ 11521 h 28529"/>
                    <a:gd name="connsiteX13" fmla="*/ 37308 w 51572"/>
                    <a:gd name="connsiteY13" fmla="*/ 12619 h 28529"/>
                    <a:gd name="connsiteX14" fmla="*/ 43343 w 51572"/>
                    <a:gd name="connsiteY14" fmla="*/ 18654 h 28529"/>
                    <a:gd name="connsiteX15" fmla="*/ 48280 w 51572"/>
                    <a:gd name="connsiteY15" fmla="*/ 19751 h 28529"/>
                    <a:gd name="connsiteX16" fmla="*/ 48280 w 51572"/>
                    <a:gd name="connsiteY16" fmla="*/ 23043 h 28529"/>
                    <a:gd name="connsiteX17" fmla="*/ 51572 w 51572"/>
                    <a:gd name="connsiteY17" fmla="*/ 23591 h 28529"/>
                    <a:gd name="connsiteX18" fmla="*/ 51024 w 51572"/>
                    <a:gd name="connsiteY18" fmla="*/ 28529 h 285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51572" h="28529">
                      <a:moveTo>
                        <a:pt x="51024" y="28529"/>
                      </a:moveTo>
                      <a:lnTo>
                        <a:pt x="30724" y="13167"/>
                      </a:lnTo>
                      <a:lnTo>
                        <a:pt x="19751" y="11521"/>
                      </a:lnTo>
                      <a:lnTo>
                        <a:pt x="8778" y="4938"/>
                      </a:lnTo>
                      <a:lnTo>
                        <a:pt x="0" y="2743"/>
                      </a:lnTo>
                      <a:lnTo>
                        <a:pt x="2195" y="0"/>
                      </a:lnTo>
                      <a:lnTo>
                        <a:pt x="9876" y="1646"/>
                      </a:lnTo>
                      <a:lnTo>
                        <a:pt x="13716" y="6035"/>
                      </a:lnTo>
                      <a:lnTo>
                        <a:pt x="17008" y="6584"/>
                      </a:lnTo>
                      <a:lnTo>
                        <a:pt x="22494" y="3292"/>
                      </a:lnTo>
                      <a:lnTo>
                        <a:pt x="26883" y="4389"/>
                      </a:lnTo>
                      <a:lnTo>
                        <a:pt x="27432" y="7681"/>
                      </a:lnTo>
                      <a:lnTo>
                        <a:pt x="32370" y="11521"/>
                      </a:lnTo>
                      <a:lnTo>
                        <a:pt x="37308" y="12619"/>
                      </a:lnTo>
                      <a:lnTo>
                        <a:pt x="43343" y="18654"/>
                      </a:lnTo>
                      <a:lnTo>
                        <a:pt x="48280" y="19751"/>
                      </a:lnTo>
                      <a:lnTo>
                        <a:pt x="48280" y="23043"/>
                      </a:lnTo>
                      <a:lnTo>
                        <a:pt x="51572" y="23591"/>
                      </a:lnTo>
                      <a:lnTo>
                        <a:pt x="51024" y="28529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44" name="Graphic 7">
                  <a:extLst>
                    <a:ext uri="{FF2B5EF4-FFF2-40B4-BE49-F238E27FC236}">
                      <a16:creationId xmlns:a16="http://schemas.microsoft.com/office/drawing/2014/main" id="{FE076771-C8D3-43CE-8DFC-A14565C0DD75}"/>
                    </a:ext>
                  </a:extLst>
                </p:cNvPr>
                <p:cNvSpPr/>
                <p:nvPr/>
              </p:nvSpPr>
              <p:spPr>
                <a:xfrm>
                  <a:off x="5635141" y="2929532"/>
                  <a:ext cx="172743" cy="147881"/>
                </a:xfrm>
                <a:custGeom>
                  <a:avLst/>
                  <a:gdLst>
                    <a:gd name="connsiteX0" fmla="*/ 194767 w 221102"/>
                    <a:gd name="connsiteY0" fmla="*/ 34564 h 189280"/>
                    <a:gd name="connsiteX1" fmla="*/ 186538 w 221102"/>
                    <a:gd name="connsiteY1" fmla="*/ 40051 h 189280"/>
                    <a:gd name="connsiteX2" fmla="*/ 165141 w 221102"/>
                    <a:gd name="connsiteY2" fmla="*/ 43343 h 189280"/>
                    <a:gd name="connsiteX3" fmla="*/ 155265 w 221102"/>
                    <a:gd name="connsiteY3" fmla="*/ 36759 h 189280"/>
                    <a:gd name="connsiteX4" fmla="*/ 147584 w 221102"/>
                    <a:gd name="connsiteY4" fmla="*/ 34016 h 189280"/>
                    <a:gd name="connsiteX5" fmla="*/ 139903 w 221102"/>
                    <a:gd name="connsiteY5" fmla="*/ 24140 h 189280"/>
                    <a:gd name="connsiteX6" fmla="*/ 130028 w 221102"/>
                    <a:gd name="connsiteY6" fmla="*/ 19202 h 189280"/>
                    <a:gd name="connsiteX7" fmla="*/ 122895 w 221102"/>
                    <a:gd name="connsiteY7" fmla="*/ 8778 h 189280"/>
                    <a:gd name="connsiteX8" fmla="*/ 115214 w 221102"/>
                    <a:gd name="connsiteY8" fmla="*/ 4938 h 189280"/>
                    <a:gd name="connsiteX9" fmla="*/ 114666 w 221102"/>
                    <a:gd name="connsiteY9" fmla="*/ 3292 h 189280"/>
                    <a:gd name="connsiteX10" fmla="*/ 112471 w 221102"/>
                    <a:gd name="connsiteY10" fmla="*/ 4938 h 189280"/>
                    <a:gd name="connsiteX11" fmla="*/ 106436 w 221102"/>
                    <a:gd name="connsiteY11" fmla="*/ 549 h 189280"/>
                    <a:gd name="connsiteX12" fmla="*/ 103693 w 221102"/>
                    <a:gd name="connsiteY12" fmla="*/ 0 h 189280"/>
                    <a:gd name="connsiteX13" fmla="*/ 100950 w 221102"/>
                    <a:gd name="connsiteY13" fmla="*/ 2743 h 189280"/>
                    <a:gd name="connsiteX14" fmla="*/ 100950 w 221102"/>
                    <a:gd name="connsiteY14" fmla="*/ 6035 h 189280"/>
                    <a:gd name="connsiteX15" fmla="*/ 102047 w 221102"/>
                    <a:gd name="connsiteY15" fmla="*/ 10424 h 189280"/>
                    <a:gd name="connsiteX16" fmla="*/ 102047 w 221102"/>
                    <a:gd name="connsiteY16" fmla="*/ 11521 h 189280"/>
                    <a:gd name="connsiteX17" fmla="*/ 99853 w 221102"/>
                    <a:gd name="connsiteY17" fmla="*/ 9876 h 189280"/>
                    <a:gd name="connsiteX18" fmla="*/ 94366 w 221102"/>
                    <a:gd name="connsiteY18" fmla="*/ 9876 h 189280"/>
                    <a:gd name="connsiteX19" fmla="*/ 94366 w 221102"/>
                    <a:gd name="connsiteY19" fmla="*/ 13167 h 189280"/>
                    <a:gd name="connsiteX20" fmla="*/ 92172 w 221102"/>
                    <a:gd name="connsiteY20" fmla="*/ 15362 h 189280"/>
                    <a:gd name="connsiteX21" fmla="*/ 78456 w 221102"/>
                    <a:gd name="connsiteY21" fmla="*/ 19751 h 189280"/>
                    <a:gd name="connsiteX22" fmla="*/ 76261 w 221102"/>
                    <a:gd name="connsiteY22" fmla="*/ 23592 h 189280"/>
                    <a:gd name="connsiteX23" fmla="*/ 76810 w 221102"/>
                    <a:gd name="connsiteY23" fmla="*/ 26335 h 189280"/>
                    <a:gd name="connsiteX24" fmla="*/ 81199 w 221102"/>
                    <a:gd name="connsiteY24" fmla="*/ 30724 h 189280"/>
                    <a:gd name="connsiteX25" fmla="*/ 80650 w 221102"/>
                    <a:gd name="connsiteY25" fmla="*/ 38405 h 189280"/>
                    <a:gd name="connsiteX26" fmla="*/ 77907 w 221102"/>
                    <a:gd name="connsiteY26" fmla="*/ 43891 h 189280"/>
                    <a:gd name="connsiteX27" fmla="*/ 71872 w 221102"/>
                    <a:gd name="connsiteY27" fmla="*/ 43891 h 189280"/>
                    <a:gd name="connsiteX28" fmla="*/ 64740 w 221102"/>
                    <a:gd name="connsiteY28" fmla="*/ 50475 h 189280"/>
                    <a:gd name="connsiteX29" fmla="*/ 66934 w 221102"/>
                    <a:gd name="connsiteY29" fmla="*/ 53767 h 189280"/>
                    <a:gd name="connsiteX30" fmla="*/ 64191 w 221102"/>
                    <a:gd name="connsiteY30" fmla="*/ 57607 h 189280"/>
                    <a:gd name="connsiteX31" fmla="*/ 65288 w 221102"/>
                    <a:gd name="connsiteY31" fmla="*/ 65288 h 189280"/>
                    <a:gd name="connsiteX32" fmla="*/ 61448 w 221102"/>
                    <a:gd name="connsiteY32" fmla="*/ 68031 h 189280"/>
                    <a:gd name="connsiteX33" fmla="*/ 59253 w 221102"/>
                    <a:gd name="connsiteY33" fmla="*/ 68031 h 189280"/>
                    <a:gd name="connsiteX34" fmla="*/ 55961 w 221102"/>
                    <a:gd name="connsiteY34" fmla="*/ 64191 h 189280"/>
                    <a:gd name="connsiteX35" fmla="*/ 53218 w 221102"/>
                    <a:gd name="connsiteY35" fmla="*/ 63642 h 189280"/>
                    <a:gd name="connsiteX36" fmla="*/ 52121 w 221102"/>
                    <a:gd name="connsiteY36" fmla="*/ 61996 h 189280"/>
                    <a:gd name="connsiteX37" fmla="*/ 50475 w 221102"/>
                    <a:gd name="connsiteY37" fmla="*/ 61996 h 189280"/>
                    <a:gd name="connsiteX38" fmla="*/ 49926 w 221102"/>
                    <a:gd name="connsiteY38" fmla="*/ 64740 h 189280"/>
                    <a:gd name="connsiteX39" fmla="*/ 47183 w 221102"/>
                    <a:gd name="connsiteY39" fmla="*/ 65288 h 189280"/>
                    <a:gd name="connsiteX40" fmla="*/ 38953 w 221102"/>
                    <a:gd name="connsiteY40" fmla="*/ 52121 h 189280"/>
                    <a:gd name="connsiteX41" fmla="*/ 37308 w 221102"/>
                    <a:gd name="connsiteY41" fmla="*/ 52121 h 189280"/>
                    <a:gd name="connsiteX42" fmla="*/ 31821 w 221102"/>
                    <a:gd name="connsiteY42" fmla="*/ 62545 h 189280"/>
                    <a:gd name="connsiteX43" fmla="*/ 20300 w 221102"/>
                    <a:gd name="connsiteY43" fmla="*/ 63093 h 189280"/>
                    <a:gd name="connsiteX44" fmla="*/ 16459 w 221102"/>
                    <a:gd name="connsiteY44" fmla="*/ 59253 h 189280"/>
                    <a:gd name="connsiteX45" fmla="*/ 15362 w 221102"/>
                    <a:gd name="connsiteY45" fmla="*/ 63642 h 189280"/>
                    <a:gd name="connsiteX46" fmla="*/ 4938 w 221102"/>
                    <a:gd name="connsiteY46" fmla="*/ 63642 h 189280"/>
                    <a:gd name="connsiteX47" fmla="*/ 0 w 221102"/>
                    <a:gd name="connsiteY47" fmla="*/ 59253 h 189280"/>
                    <a:gd name="connsiteX48" fmla="*/ 2743 w 221102"/>
                    <a:gd name="connsiteY48" fmla="*/ 74066 h 189280"/>
                    <a:gd name="connsiteX49" fmla="*/ 11521 w 221102"/>
                    <a:gd name="connsiteY49" fmla="*/ 92172 h 189280"/>
                    <a:gd name="connsiteX50" fmla="*/ 14813 w 221102"/>
                    <a:gd name="connsiteY50" fmla="*/ 94366 h 189280"/>
                    <a:gd name="connsiteX51" fmla="*/ 18654 w 221102"/>
                    <a:gd name="connsiteY51" fmla="*/ 93817 h 189280"/>
                    <a:gd name="connsiteX52" fmla="*/ 30724 w 221102"/>
                    <a:gd name="connsiteY52" fmla="*/ 67483 h 189280"/>
                    <a:gd name="connsiteX53" fmla="*/ 38953 w 221102"/>
                    <a:gd name="connsiteY53" fmla="*/ 70775 h 189280"/>
                    <a:gd name="connsiteX54" fmla="*/ 44989 w 221102"/>
                    <a:gd name="connsiteY54" fmla="*/ 77358 h 189280"/>
                    <a:gd name="connsiteX55" fmla="*/ 47183 w 221102"/>
                    <a:gd name="connsiteY55" fmla="*/ 77358 h 189280"/>
                    <a:gd name="connsiteX56" fmla="*/ 49926 w 221102"/>
                    <a:gd name="connsiteY56" fmla="*/ 81199 h 189280"/>
                    <a:gd name="connsiteX57" fmla="*/ 51572 w 221102"/>
                    <a:gd name="connsiteY57" fmla="*/ 88331 h 189280"/>
                    <a:gd name="connsiteX58" fmla="*/ 51572 w 221102"/>
                    <a:gd name="connsiteY58" fmla="*/ 98207 h 189280"/>
                    <a:gd name="connsiteX59" fmla="*/ 57059 w 221102"/>
                    <a:gd name="connsiteY59" fmla="*/ 109728 h 189280"/>
                    <a:gd name="connsiteX60" fmla="*/ 71323 w 221102"/>
                    <a:gd name="connsiteY60" fmla="*/ 120701 h 189280"/>
                    <a:gd name="connsiteX61" fmla="*/ 64191 w 221102"/>
                    <a:gd name="connsiteY61" fmla="*/ 122347 h 189280"/>
                    <a:gd name="connsiteX62" fmla="*/ 61996 w 221102"/>
                    <a:gd name="connsiteY62" fmla="*/ 125090 h 189280"/>
                    <a:gd name="connsiteX63" fmla="*/ 62545 w 221102"/>
                    <a:gd name="connsiteY63" fmla="*/ 128930 h 189280"/>
                    <a:gd name="connsiteX64" fmla="*/ 70226 w 221102"/>
                    <a:gd name="connsiteY64" fmla="*/ 138806 h 189280"/>
                    <a:gd name="connsiteX65" fmla="*/ 88880 w 221102"/>
                    <a:gd name="connsiteY65" fmla="*/ 151425 h 189280"/>
                    <a:gd name="connsiteX66" fmla="*/ 93269 w 221102"/>
                    <a:gd name="connsiteY66" fmla="*/ 162946 h 189280"/>
                    <a:gd name="connsiteX67" fmla="*/ 114117 w 221102"/>
                    <a:gd name="connsiteY67" fmla="*/ 163495 h 189280"/>
                    <a:gd name="connsiteX68" fmla="*/ 150327 w 221102"/>
                    <a:gd name="connsiteY68" fmla="*/ 189281 h 189280"/>
                    <a:gd name="connsiteX69" fmla="*/ 155265 w 221102"/>
                    <a:gd name="connsiteY69" fmla="*/ 186537 h 189280"/>
                    <a:gd name="connsiteX70" fmla="*/ 139903 w 221102"/>
                    <a:gd name="connsiteY70" fmla="*/ 170078 h 189280"/>
                    <a:gd name="connsiteX71" fmla="*/ 138806 w 221102"/>
                    <a:gd name="connsiteY71" fmla="*/ 162397 h 189280"/>
                    <a:gd name="connsiteX72" fmla="*/ 136063 w 221102"/>
                    <a:gd name="connsiteY72" fmla="*/ 159654 h 189280"/>
                    <a:gd name="connsiteX73" fmla="*/ 132222 w 221102"/>
                    <a:gd name="connsiteY73" fmla="*/ 158008 h 189280"/>
                    <a:gd name="connsiteX74" fmla="*/ 118506 w 221102"/>
                    <a:gd name="connsiteY74" fmla="*/ 144292 h 189280"/>
                    <a:gd name="connsiteX75" fmla="*/ 118506 w 221102"/>
                    <a:gd name="connsiteY75" fmla="*/ 141000 h 189280"/>
                    <a:gd name="connsiteX76" fmla="*/ 111923 w 221102"/>
                    <a:gd name="connsiteY76" fmla="*/ 131673 h 189280"/>
                    <a:gd name="connsiteX77" fmla="*/ 106985 w 221102"/>
                    <a:gd name="connsiteY77" fmla="*/ 130576 h 189280"/>
                    <a:gd name="connsiteX78" fmla="*/ 101498 w 221102"/>
                    <a:gd name="connsiteY78" fmla="*/ 121249 h 189280"/>
                    <a:gd name="connsiteX79" fmla="*/ 98207 w 221102"/>
                    <a:gd name="connsiteY79" fmla="*/ 121249 h 189280"/>
                    <a:gd name="connsiteX80" fmla="*/ 98755 w 221102"/>
                    <a:gd name="connsiteY80" fmla="*/ 116312 h 189280"/>
                    <a:gd name="connsiteX81" fmla="*/ 100401 w 221102"/>
                    <a:gd name="connsiteY81" fmla="*/ 115214 h 189280"/>
                    <a:gd name="connsiteX82" fmla="*/ 97658 w 221102"/>
                    <a:gd name="connsiteY82" fmla="*/ 110825 h 189280"/>
                    <a:gd name="connsiteX83" fmla="*/ 97658 w 221102"/>
                    <a:gd name="connsiteY83" fmla="*/ 107533 h 189280"/>
                    <a:gd name="connsiteX84" fmla="*/ 93817 w 221102"/>
                    <a:gd name="connsiteY84" fmla="*/ 103144 h 189280"/>
                    <a:gd name="connsiteX85" fmla="*/ 91074 w 221102"/>
                    <a:gd name="connsiteY85" fmla="*/ 94915 h 189280"/>
                    <a:gd name="connsiteX86" fmla="*/ 87782 w 221102"/>
                    <a:gd name="connsiteY86" fmla="*/ 94366 h 189280"/>
                    <a:gd name="connsiteX87" fmla="*/ 82845 w 221102"/>
                    <a:gd name="connsiteY87" fmla="*/ 89977 h 189280"/>
                    <a:gd name="connsiteX88" fmla="*/ 82845 w 221102"/>
                    <a:gd name="connsiteY88" fmla="*/ 88331 h 189280"/>
                    <a:gd name="connsiteX89" fmla="*/ 85039 w 221102"/>
                    <a:gd name="connsiteY89" fmla="*/ 86685 h 189280"/>
                    <a:gd name="connsiteX90" fmla="*/ 84491 w 221102"/>
                    <a:gd name="connsiteY90" fmla="*/ 83942 h 189280"/>
                    <a:gd name="connsiteX91" fmla="*/ 84491 w 221102"/>
                    <a:gd name="connsiteY91" fmla="*/ 70775 h 189280"/>
                    <a:gd name="connsiteX92" fmla="*/ 88880 w 221102"/>
                    <a:gd name="connsiteY92" fmla="*/ 66385 h 189280"/>
                    <a:gd name="connsiteX93" fmla="*/ 94366 w 221102"/>
                    <a:gd name="connsiteY93" fmla="*/ 68031 h 189280"/>
                    <a:gd name="connsiteX94" fmla="*/ 94915 w 221102"/>
                    <a:gd name="connsiteY94" fmla="*/ 70226 h 189280"/>
                    <a:gd name="connsiteX95" fmla="*/ 104242 w 221102"/>
                    <a:gd name="connsiteY95" fmla="*/ 79553 h 189280"/>
                    <a:gd name="connsiteX96" fmla="*/ 105888 w 221102"/>
                    <a:gd name="connsiteY96" fmla="*/ 80101 h 189280"/>
                    <a:gd name="connsiteX97" fmla="*/ 112471 w 221102"/>
                    <a:gd name="connsiteY97" fmla="*/ 68031 h 189280"/>
                    <a:gd name="connsiteX98" fmla="*/ 125090 w 221102"/>
                    <a:gd name="connsiteY98" fmla="*/ 69677 h 189280"/>
                    <a:gd name="connsiteX99" fmla="*/ 127833 w 221102"/>
                    <a:gd name="connsiteY99" fmla="*/ 65837 h 189280"/>
                    <a:gd name="connsiteX100" fmla="*/ 128930 w 221102"/>
                    <a:gd name="connsiteY100" fmla="*/ 65837 h 189280"/>
                    <a:gd name="connsiteX101" fmla="*/ 137160 w 221102"/>
                    <a:gd name="connsiteY101" fmla="*/ 72420 h 189280"/>
                    <a:gd name="connsiteX102" fmla="*/ 139903 w 221102"/>
                    <a:gd name="connsiteY102" fmla="*/ 72420 h 189280"/>
                    <a:gd name="connsiteX103" fmla="*/ 141001 w 221102"/>
                    <a:gd name="connsiteY103" fmla="*/ 70226 h 189280"/>
                    <a:gd name="connsiteX104" fmla="*/ 144292 w 221102"/>
                    <a:gd name="connsiteY104" fmla="*/ 72969 h 189280"/>
                    <a:gd name="connsiteX105" fmla="*/ 154717 w 221102"/>
                    <a:gd name="connsiteY105" fmla="*/ 74615 h 189280"/>
                    <a:gd name="connsiteX106" fmla="*/ 155265 w 221102"/>
                    <a:gd name="connsiteY106" fmla="*/ 73518 h 189280"/>
                    <a:gd name="connsiteX107" fmla="*/ 156911 w 221102"/>
                    <a:gd name="connsiteY107" fmla="*/ 73518 h 189280"/>
                    <a:gd name="connsiteX108" fmla="*/ 162397 w 221102"/>
                    <a:gd name="connsiteY108" fmla="*/ 77907 h 189280"/>
                    <a:gd name="connsiteX109" fmla="*/ 164592 w 221102"/>
                    <a:gd name="connsiteY109" fmla="*/ 77907 h 189280"/>
                    <a:gd name="connsiteX110" fmla="*/ 168433 w 221102"/>
                    <a:gd name="connsiteY110" fmla="*/ 72969 h 189280"/>
                    <a:gd name="connsiteX111" fmla="*/ 170627 w 221102"/>
                    <a:gd name="connsiteY111" fmla="*/ 73518 h 189280"/>
                    <a:gd name="connsiteX112" fmla="*/ 173370 w 221102"/>
                    <a:gd name="connsiteY112" fmla="*/ 76809 h 189280"/>
                    <a:gd name="connsiteX113" fmla="*/ 175565 w 221102"/>
                    <a:gd name="connsiteY113" fmla="*/ 76809 h 189280"/>
                    <a:gd name="connsiteX114" fmla="*/ 177211 w 221102"/>
                    <a:gd name="connsiteY114" fmla="*/ 74066 h 189280"/>
                    <a:gd name="connsiteX115" fmla="*/ 184892 w 221102"/>
                    <a:gd name="connsiteY115" fmla="*/ 75164 h 189280"/>
                    <a:gd name="connsiteX116" fmla="*/ 187635 w 221102"/>
                    <a:gd name="connsiteY116" fmla="*/ 79004 h 189280"/>
                    <a:gd name="connsiteX117" fmla="*/ 189281 w 221102"/>
                    <a:gd name="connsiteY117" fmla="*/ 77907 h 189280"/>
                    <a:gd name="connsiteX118" fmla="*/ 188732 w 221102"/>
                    <a:gd name="connsiteY118" fmla="*/ 76261 h 189280"/>
                    <a:gd name="connsiteX119" fmla="*/ 193670 w 221102"/>
                    <a:gd name="connsiteY119" fmla="*/ 76261 h 189280"/>
                    <a:gd name="connsiteX120" fmla="*/ 198059 w 221102"/>
                    <a:gd name="connsiteY120" fmla="*/ 81747 h 189280"/>
                    <a:gd name="connsiteX121" fmla="*/ 197510 w 221102"/>
                    <a:gd name="connsiteY121" fmla="*/ 84491 h 189280"/>
                    <a:gd name="connsiteX122" fmla="*/ 197510 w 221102"/>
                    <a:gd name="connsiteY122" fmla="*/ 86136 h 189280"/>
                    <a:gd name="connsiteX123" fmla="*/ 200802 w 221102"/>
                    <a:gd name="connsiteY123" fmla="*/ 88880 h 189280"/>
                    <a:gd name="connsiteX124" fmla="*/ 206837 w 221102"/>
                    <a:gd name="connsiteY124" fmla="*/ 88880 h 189280"/>
                    <a:gd name="connsiteX125" fmla="*/ 210678 w 221102"/>
                    <a:gd name="connsiteY125" fmla="*/ 85039 h 189280"/>
                    <a:gd name="connsiteX126" fmla="*/ 211775 w 221102"/>
                    <a:gd name="connsiteY126" fmla="*/ 82296 h 189280"/>
                    <a:gd name="connsiteX127" fmla="*/ 210129 w 221102"/>
                    <a:gd name="connsiteY127" fmla="*/ 81199 h 189280"/>
                    <a:gd name="connsiteX128" fmla="*/ 209032 w 221102"/>
                    <a:gd name="connsiteY128" fmla="*/ 74615 h 189280"/>
                    <a:gd name="connsiteX129" fmla="*/ 211226 w 221102"/>
                    <a:gd name="connsiteY129" fmla="*/ 72969 h 189280"/>
                    <a:gd name="connsiteX130" fmla="*/ 211775 w 221102"/>
                    <a:gd name="connsiteY130" fmla="*/ 69677 h 189280"/>
                    <a:gd name="connsiteX131" fmla="*/ 213421 w 221102"/>
                    <a:gd name="connsiteY131" fmla="*/ 69129 h 189280"/>
                    <a:gd name="connsiteX132" fmla="*/ 218359 w 221102"/>
                    <a:gd name="connsiteY132" fmla="*/ 70226 h 189280"/>
                    <a:gd name="connsiteX133" fmla="*/ 221102 w 221102"/>
                    <a:gd name="connsiteY133" fmla="*/ 69129 h 189280"/>
                    <a:gd name="connsiteX134" fmla="*/ 220553 w 221102"/>
                    <a:gd name="connsiteY134" fmla="*/ 67483 h 189280"/>
                    <a:gd name="connsiteX135" fmla="*/ 218907 w 221102"/>
                    <a:gd name="connsiteY135" fmla="*/ 66385 h 189280"/>
                    <a:gd name="connsiteX136" fmla="*/ 216164 w 221102"/>
                    <a:gd name="connsiteY136" fmla="*/ 66934 h 189280"/>
                    <a:gd name="connsiteX137" fmla="*/ 213970 w 221102"/>
                    <a:gd name="connsiteY137" fmla="*/ 65837 h 189280"/>
                    <a:gd name="connsiteX138" fmla="*/ 210678 w 221102"/>
                    <a:gd name="connsiteY138" fmla="*/ 65837 h 189280"/>
                    <a:gd name="connsiteX139" fmla="*/ 207386 w 221102"/>
                    <a:gd name="connsiteY139" fmla="*/ 62545 h 189280"/>
                    <a:gd name="connsiteX140" fmla="*/ 205191 w 221102"/>
                    <a:gd name="connsiteY140" fmla="*/ 62545 h 189280"/>
                    <a:gd name="connsiteX141" fmla="*/ 204094 w 221102"/>
                    <a:gd name="connsiteY141" fmla="*/ 61448 h 189280"/>
                    <a:gd name="connsiteX142" fmla="*/ 204643 w 221102"/>
                    <a:gd name="connsiteY142" fmla="*/ 58704 h 189280"/>
                    <a:gd name="connsiteX143" fmla="*/ 204094 w 221102"/>
                    <a:gd name="connsiteY143" fmla="*/ 57059 h 189280"/>
                    <a:gd name="connsiteX144" fmla="*/ 204643 w 221102"/>
                    <a:gd name="connsiteY144" fmla="*/ 55413 h 189280"/>
                    <a:gd name="connsiteX145" fmla="*/ 205740 w 221102"/>
                    <a:gd name="connsiteY145" fmla="*/ 55413 h 189280"/>
                    <a:gd name="connsiteX146" fmla="*/ 207386 w 221102"/>
                    <a:gd name="connsiteY146" fmla="*/ 54315 h 189280"/>
                    <a:gd name="connsiteX147" fmla="*/ 206837 w 221102"/>
                    <a:gd name="connsiteY147" fmla="*/ 53218 h 189280"/>
                    <a:gd name="connsiteX148" fmla="*/ 205191 w 221102"/>
                    <a:gd name="connsiteY148" fmla="*/ 51572 h 189280"/>
                    <a:gd name="connsiteX149" fmla="*/ 203545 w 221102"/>
                    <a:gd name="connsiteY149" fmla="*/ 51572 h 189280"/>
                    <a:gd name="connsiteX150" fmla="*/ 201900 w 221102"/>
                    <a:gd name="connsiteY150" fmla="*/ 53218 h 189280"/>
                    <a:gd name="connsiteX151" fmla="*/ 200254 w 221102"/>
                    <a:gd name="connsiteY151" fmla="*/ 52121 h 189280"/>
                    <a:gd name="connsiteX152" fmla="*/ 199705 w 221102"/>
                    <a:gd name="connsiteY152" fmla="*/ 50475 h 189280"/>
                    <a:gd name="connsiteX153" fmla="*/ 201900 w 221102"/>
                    <a:gd name="connsiteY153" fmla="*/ 47732 h 189280"/>
                    <a:gd name="connsiteX154" fmla="*/ 201351 w 221102"/>
                    <a:gd name="connsiteY154" fmla="*/ 45537 h 189280"/>
                    <a:gd name="connsiteX155" fmla="*/ 199705 w 221102"/>
                    <a:gd name="connsiteY155" fmla="*/ 43891 h 189280"/>
                    <a:gd name="connsiteX156" fmla="*/ 200802 w 221102"/>
                    <a:gd name="connsiteY156" fmla="*/ 42245 h 189280"/>
                    <a:gd name="connsiteX157" fmla="*/ 200254 w 221102"/>
                    <a:gd name="connsiteY157" fmla="*/ 39502 h 189280"/>
                    <a:gd name="connsiteX158" fmla="*/ 194767 w 221102"/>
                    <a:gd name="connsiteY158" fmla="*/ 34564 h 1892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</a:cxnLst>
                  <a:rect l="l" t="t" r="r" b="b"/>
                  <a:pathLst>
                    <a:path w="221102" h="189280">
                      <a:moveTo>
                        <a:pt x="194767" y="34564"/>
                      </a:moveTo>
                      <a:lnTo>
                        <a:pt x="186538" y="40051"/>
                      </a:lnTo>
                      <a:lnTo>
                        <a:pt x="165141" y="43343"/>
                      </a:lnTo>
                      <a:lnTo>
                        <a:pt x="155265" y="36759"/>
                      </a:lnTo>
                      <a:lnTo>
                        <a:pt x="147584" y="34016"/>
                      </a:lnTo>
                      <a:lnTo>
                        <a:pt x="139903" y="24140"/>
                      </a:lnTo>
                      <a:lnTo>
                        <a:pt x="130028" y="19202"/>
                      </a:lnTo>
                      <a:lnTo>
                        <a:pt x="122895" y="8778"/>
                      </a:lnTo>
                      <a:lnTo>
                        <a:pt x="115214" y="4938"/>
                      </a:lnTo>
                      <a:lnTo>
                        <a:pt x="114666" y="3292"/>
                      </a:lnTo>
                      <a:lnTo>
                        <a:pt x="112471" y="4938"/>
                      </a:lnTo>
                      <a:lnTo>
                        <a:pt x="106436" y="549"/>
                      </a:lnTo>
                      <a:lnTo>
                        <a:pt x="103693" y="0"/>
                      </a:lnTo>
                      <a:lnTo>
                        <a:pt x="100950" y="2743"/>
                      </a:lnTo>
                      <a:lnTo>
                        <a:pt x="100950" y="6035"/>
                      </a:lnTo>
                      <a:lnTo>
                        <a:pt x="102047" y="10424"/>
                      </a:lnTo>
                      <a:lnTo>
                        <a:pt x="102047" y="11521"/>
                      </a:lnTo>
                      <a:lnTo>
                        <a:pt x="99853" y="9876"/>
                      </a:lnTo>
                      <a:lnTo>
                        <a:pt x="94366" y="9876"/>
                      </a:lnTo>
                      <a:lnTo>
                        <a:pt x="94366" y="13167"/>
                      </a:lnTo>
                      <a:lnTo>
                        <a:pt x="92172" y="15362"/>
                      </a:lnTo>
                      <a:lnTo>
                        <a:pt x="78456" y="19751"/>
                      </a:lnTo>
                      <a:lnTo>
                        <a:pt x="76261" y="23592"/>
                      </a:lnTo>
                      <a:lnTo>
                        <a:pt x="76810" y="26335"/>
                      </a:lnTo>
                      <a:lnTo>
                        <a:pt x="81199" y="30724"/>
                      </a:lnTo>
                      <a:lnTo>
                        <a:pt x="80650" y="38405"/>
                      </a:lnTo>
                      <a:lnTo>
                        <a:pt x="77907" y="43891"/>
                      </a:lnTo>
                      <a:lnTo>
                        <a:pt x="71872" y="43891"/>
                      </a:lnTo>
                      <a:lnTo>
                        <a:pt x="64740" y="50475"/>
                      </a:lnTo>
                      <a:lnTo>
                        <a:pt x="66934" y="53767"/>
                      </a:lnTo>
                      <a:lnTo>
                        <a:pt x="64191" y="57607"/>
                      </a:lnTo>
                      <a:lnTo>
                        <a:pt x="65288" y="65288"/>
                      </a:lnTo>
                      <a:lnTo>
                        <a:pt x="61448" y="68031"/>
                      </a:lnTo>
                      <a:lnTo>
                        <a:pt x="59253" y="68031"/>
                      </a:lnTo>
                      <a:lnTo>
                        <a:pt x="55961" y="64191"/>
                      </a:lnTo>
                      <a:lnTo>
                        <a:pt x="53218" y="63642"/>
                      </a:lnTo>
                      <a:lnTo>
                        <a:pt x="52121" y="61996"/>
                      </a:lnTo>
                      <a:lnTo>
                        <a:pt x="50475" y="61996"/>
                      </a:lnTo>
                      <a:lnTo>
                        <a:pt x="49926" y="64740"/>
                      </a:lnTo>
                      <a:lnTo>
                        <a:pt x="47183" y="65288"/>
                      </a:lnTo>
                      <a:lnTo>
                        <a:pt x="38953" y="52121"/>
                      </a:lnTo>
                      <a:lnTo>
                        <a:pt x="37308" y="52121"/>
                      </a:lnTo>
                      <a:lnTo>
                        <a:pt x="31821" y="62545"/>
                      </a:lnTo>
                      <a:lnTo>
                        <a:pt x="20300" y="63093"/>
                      </a:lnTo>
                      <a:lnTo>
                        <a:pt x="16459" y="59253"/>
                      </a:lnTo>
                      <a:lnTo>
                        <a:pt x="15362" y="63642"/>
                      </a:lnTo>
                      <a:lnTo>
                        <a:pt x="4938" y="63642"/>
                      </a:lnTo>
                      <a:lnTo>
                        <a:pt x="0" y="59253"/>
                      </a:lnTo>
                      <a:lnTo>
                        <a:pt x="2743" y="74066"/>
                      </a:lnTo>
                      <a:lnTo>
                        <a:pt x="11521" y="92172"/>
                      </a:lnTo>
                      <a:lnTo>
                        <a:pt x="14813" y="94366"/>
                      </a:lnTo>
                      <a:lnTo>
                        <a:pt x="18654" y="93817"/>
                      </a:lnTo>
                      <a:lnTo>
                        <a:pt x="30724" y="67483"/>
                      </a:lnTo>
                      <a:lnTo>
                        <a:pt x="38953" y="70775"/>
                      </a:lnTo>
                      <a:lnTo>
                        <a:pt x="44989" y="77358"/>
                      </a:lnTo>
                      <a:lnTo>
                        <a:pt x="47183" y="77358"/>
                      </a:lnTo>
                      <a:lnTo>
                        <a:pt x="49926" y="81199"/>
                      </a:lnTo>
                      <a:lnTo>
                        <a:pt x="51572" y="88331"/>
                      </a:lnTo>
                      <a:lnTo>
                        <a:pt x="51572" y="98207"/>
                      </a:lnTo>
                      <a:lnTo>
                        <a:pt x="57059" y="109728"/>
                      </a:lnTo>
                      <a:lnTo>
                        <a:pt x="71323" y="120701"/>
                      </a:lnTo>
                      <a:lnTo>
                        <a:pt x="64191" y="122347"/>
                      </a:lnTo>
                      <a:lnTo>
                        <a:pt x="61996" y="125090"/>
                      </a:lnTo>
                      <a:lnTo>
                        <a:pt x="62545" y="128930"/>
                      </a:lnTo>
                      <a:lnTo>
                        <a:pt x="70226" y="138806"/>
                      </a:lnTo>
                      <a:lnTo>
                        <a:pt x="88880" y="151425"/>
                      </a:lnTo>
                      <a:lnTo>
                        <a:pt x="93269" y="162946"/>
                      </a:lnTo>
                      <a:lnTo>
                        <a:pt x="114117" y="163495"/>
                      </a:lnTo>
                      <a:lnTo>
                        <a:pt x="150327" y="189281"/>
                      </a:lnTo>
                      <a:lnTo>
                        <a:pt x="155265" y="186537"/>
                      </a:lnTo>
                      <a:lnTo>
                        <a:pt x="139903" y="170078"/>
                      </a:lnTo>
                      <a:lnTo>
                        <a:pt x="138806" y="162397"/>
                      </a:lnTo>
                      <a:lnTo>
                        <a:pt x="136063" y="159654"/>
                      </a:lnTo>
                      <a:lnTo>
                        <a:pt x="132222" y="158008"/>
                      </a:lnTo>
                      <a:lnTo>
                        <a:pt x="118506" y="144292"/>
                      </a:lnTo>
                      <a:lnTo>
                        <a:pt x="118506" y="141000"/>
                      </a:lnTo>
                      <a:lnTo>
                        <a:pt x="111923" y="131673"/>
                      </a:lnTo>
                      <a:lnTo>
                        <a:pt x="106985" y="130576"/>
                      </a:lnTo>
                      <a:lnTo>
                        <a:pt x="101498" y="121249"/>
                      </a:lnTo>
                      <a:lnTo>
                        <a:pt x="98207" y="121249"/>
                      </a:lnTo>
                      <a:lnTo>
                        <a:pt x="98755" y="116312"/>
                      </a:lnTo>
                      <a:lnTo>
                        <a:pt x="100401" y="115214"/>
                      </a:lnTo>
                      <a:lnTo>
                        <a:pt x="97658" y="110825"/>
                      </a:lnTo>
                      <a:lnTo>
                        <a:pt x="97658" y="107533"/>
                      </a:lnTo>
                      <a:lnTo>
                        <a:pt x="93817" y="103144"/>
                      </a:lnTo>
                      <a:lnTo>
                        <a:pt x="91074" y="94915"/>
                      </a:lnTo>
                      <a:lnTo>
                        <a:pt x="87782" y="94366"/>
                      </a:lnTo>
                      <a:lnTo>
                        <a:pt x="82845" y="89977"/>
                      </a:lnTo>
                      <a:lnTo>
                        <a:pt x="82845" y="88331"/>
                      </a:lnTo>
                      <a:lnTo>
                        <a:pt x="85039" y="86685"/>
                      </a:lnTo>
                      <a:lnTo>
                        <a:pt x="84491" y="83942"/>
                      </a:lnTo>
                      <a:lnTo>
                        <a:pt x="84491" y="70775"/>
                      </a:lnTo>
                      <a:lnTo>
                        <a:pt x="88880" y="66385"/>
                      </a:lnTo>
                      <a:lnTo>
                        <a:pt x="94366" y="68031"/>
                      </a:lnTo>
                      <a:lnTo>
                        <a:pt x="94915" y="70226"/>
                      </a:lnTo>
                      <a:lnTo>
                        <a:pt x="104242" y="79553"/>
                      </a:lnTo>
                      <a:lnTo>
                        <a:pt x="105888" y="80101"/>
                      </a:lnTo>
                      <a:lnTo>
                        <a:pt x="112471" y="68031"/>
                      </a:lnTo>
                      <a:lnTo>
                        <a:pt x="125090" y="69677"/>
                      </a:lnTo>
                      <a:lnTo>
                        <a:pt x="127833" y="65837"/>
                      </a:lnTo>
                      <a:lnTo>
                        <a:pt x="128930" y="65837"/>
                      </a:lnTo>
                      <a:lnTo>
                        <a:pt x="137160" y="72420"/>
                      </a:lnTo>
                      <a:lnTo>
                        <a:pt x="139903" y="72420"/>
                      </a:lnTo>
                      <a:lnTo>
                        <a:pt x="141001" y="70226"/>
                      </a:lnTo>
                      <a:lnTo>
                        <a:pt x="144292" y="72969"/>
                      </a:lnTo>
                      <a:lnTo>
                        <a:pt x="154717" y="74615"/>
                      </a:lnTo>
                      <a:lnTo>
                        <a:pt x="155265" y="73518"/>
                      </a:lnTo>
                      <a:lnTo>
                        <a:pt x="156911" y="73518"/>
                      </a:lnTo>
                      <a:lnTo>
                        <a:pt x="162397" y="77907"/>
                      </a:lnTo>
                      <a:lnTo>
                        <a:pt x="164592" y="77907"/>
                      </a:lnTo>
                      <a:lnTo>
                        <a:pt x="168433" y="72969"/>
                      </a:lnTo>
                      <a:lnTo>
                        <a:pt x="170627" y="73518"/>
                      </a:lnTo>
                      <a:lnTo>
                        <a:pt x="173370" y="76809"/>
                      </a:lnTo>
                      <a:lnTo>
                        <a:pt x="175565" y="76809"/>
                      </a:lnTo>
                      <a:lnTo>
                        <a:pt x="177211" y="74066"/>
                      </a:lnTo>
                      <a:lnTo>
                        <a:pt x="184892" y="75164"/>
                      </a:lnTo>
                      <a:lnTo>
                        <a:pt x="187635" y="79004"/>
                      </a:lnTo>
                      <a:lnTo>
                        <a:pt x="189281" y="77907"/>
                      </a:lnTo>
                      <a:lnTo>
                        <a:pt x="188732" y="76261"/>
                      </a:lnTo>
                      <a:lnTo>
                        <a:pt x="193670" y="76261"/>
                      </a:lnTo>
                      <a:lnTo>
                        <a:pt x="198059" y="81747"/>
                      </a:lnTo>
                      <a:lnTo>
                        <a:pt x="197510" y="84491"/>
                      </a:lnTo>
                      <a:lnTo>
                        <a:pt x="197510" y="86136"/>
                      </a:lnTo>
                      <a:lnTo>
                        <a:pt x="200802" y="88880"/>
                      </a:lnTo>
                      <a:lnTo>
                        <a:pt x="206837" y="88880"/>
                      </a:lnTo>
                      <a:lnTo>
                        <a:pt x="210678" y="85039"/>
                      </a:lnTo>
                      <a:lnTo>
                        <a:pt x="211775" y="82296"/>
                      </a:lnTo>
                      <a:lnTo>
                        <a:pt x="210129" y="81199"/>
                      </a:lnTo>
                      <a:lnTo>
                        <a:pt x="209032" y="74615"/>
                      </a:lnTo>
                      <a:lnTo>
                        <a:pt x="211226" y="72969"/>
                      </a:lnTo>
                      <a:lnTo>
                        <a:pt x="211775" y="69677"/>
                      </a:lnTo>
                      <a:lnTo>
                        <a:pt x="213421" y="69129"/>
                      </a:lnTo>
                      <a:lnTo>
                        <a:pt x="218359" y="70226"/>
                      </a:lnTo>
                      <a:lnTo>
                        <a:pt x="221102" y="69129"/>
                      </a:lnTo>
                      <a:lnTo>
                        <a:pt x="220553" y="67483"/>
                      </a:lnTo>
                      <a:lnTo>
                        <a:pt x="218907" y="66385"/>
                      </a:lnTo>
                      <a:lnTo>
                        <a:pt x="216164" y="66934"/>
                      </a:lnTo>
                      <a:lnTo>
                        <a:pt x="213970" y="65837"/>
                      </a:lnTo>
                      <a:lnTo>
                        <a:pt x="210678" y="65837"/>
                      </a:lnTo>
                      <a:lnTo>
                        <a:pt x="207386" y="62545"/>
                      </a:lnTo>
                      <a:lnTo>
                        <a:pt x="205191" y="62545"/>
                      </a:lnTo>
                      <a:lnTo>
                        <a:pt x="204094" y="61448"/>
                      </a:lnTo>
                      <a:lnTo>
                        <a:pt x="204643" y="58704"/>
                      </a:lnTo>
                      <a:lnTo>
                        <a:pt x="204094" y="57059"/>
                      </a:lnTo>
                      <a:lnTo>
                        <a:pt x="204643" y="55413"/>
                      </a:lnTo>
                      <a:lnTo>
                        <a:pt x="205740" y="55413"/>
                      </a:lnTo>
                      <a:lnTo>
                        <a:pt x="207386" y="54315"/>
                      </a:lnTo>
                      <a:lnTo>
                        <a:pt x="206837" y="53218"/>
                      </a:lnTo>
                      <a:lnTo>
                        <a:pt x="205191" y="51572"/>
                      </a:lnTo>
                      <a:lnTo>
                        <a:pt x="203545" y="51572"/>
                      </a:lnTo>
                      <a:lnTo>
                        <a:pt x="201900" y="53218"/>
                      </a:lnTo>
                      <a:lnTo>
                        <a:pt x="200254" y="52121"/>
                      </a:lnTo>
                      <a:lnTo>
                        <a:pt x="199705" y="50475"/>
                      </a:lnTo>
                      <a:lnTo>
                        <a:pt x="201900" y="47732"/>
                      </a:lnTo>
                      <a:lnTo>
                        <a:pt x="201351" y="45537"/>
                      </a:lnTo>
                      <a:lnTo>
                        <a:pt x="199705" y="43891"/>
                      </a:lnTo>
                      <a:lnTo>
                        <a:pt x="200802" y="42245"/>
                      </a:lnTo>
                      <a:lnTo>
                        <a:pt x="200254" y="39502"/>
                      </a:lnTo>
                      <a:lnTo>
                        <a:pt x="194767" y="34564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45" name="Graphic 7">
                  <a:extLst>
                    <a:ext uri="{FF2B5EF4-FFF2-40B4-BE49-F238E27FC236}">
                      <a16:creationId xmlns:a16="http://schemas.microsoft.com/office/drawing/2014/main" id="{76C37DAA-80AC-4609-5AE8-FC0C0184067D}"/>
                    </a:ext>
                  </a:extLst>
                </p:cNvPr>
                <p:cNvSpPr/>
                <p:nvPr/>
              </p:nvSpPr>
              <p:spPr>
                <a:xfrm>
                  <a:off x="5804456" y="3091559"/>
                  <a:ext cx="51865" cy="115304"/>
                </a:xfrm>
                <a:custGeom>
                  <a:avLst/>
                  <a:gdLst>
                    <a:gd name="connsiteX0" fmla="*/ 32918 w 66385"/>
                    <a:gd name="connsiteY0" fmla="*/ 147584 h 147583"/>
                    <a:gd name="connsiteX1" fmla="*/ 26883 w 66385"/>
                    <a:gd name="connsiteY1" fmla="*/ 144292 h 147583"/>
                    <a:gd name="connsiteX2" fmla="*/ 25786 w 66385"/>
                    <a:gd name="connsiteY2" fmla="*/ 137160 h 147583"/>
                    <a:gd name="connsiteX3" fmla="*/ 21397 w 66385"/>
                    <a:gd name="connsiteY3" fmla="*/ 130576 h 147583"/>
                    <a:gd name="connsiteX4" fmla="*/ 8778 w 66385"/>
                    <a:gd name="connsiteY4" fmla="*/ 125638 h 147583"/>
                    <a:gd name="connsiteX5" fmla="*/ 0 w 66385"/>
                    <a:gd name="connsiteY5" fmla="*/ 109728 h 147583"/>
                    <a:gd name="connsiteX6" fmla="*/ 4938 w 66385"/>
                    <a:gd name="connsiteY6" fmla="*/ 110825 h 147583"/>
                    <a:gd name="connsiteX7" fmla="*/ 2195 w 66385"/>
                    <a:gd name="connsiteY7" fmla="*/ 95463 h 147583"/>
                    <a:gd name="connsiteX8" fmla="*/ 4938 w 66385"/>
                    <a:gd name="connsiteY8" fmla="*/ 86685 h 147583"/>
                    <a:gd name="connsiteX9" fmla="*/ 6035 w 66385"/>
                    <a:gd name="connsiteY9" fmla="*/ 85039 h 147583"/>
                    <a:gd name="connsiteX10" fmla="*/ 5486 w 66385"/>
                    <a:gd name="connsiteY10" fmla="*/ 78455 h 147583"/>
                    <a:gd name="connsiteX11" fmla="*/ 7132 w 66385"/>
                    <a:gd name="connsiteY11" fmla="*/ 72420 h 147583"/>
                    <a:gd name="connsiteX12" fmla="*/ 3841 w 66385"/>
                    <a:gd name="connsiteY12" fmla="*/ 64739 h 147583"/>
                    <a:gd name="connsiteX13" fmla="*/ 9876 w 66385"/>
                    <a:gd name="connsiteY13" fmla="*/ 43891 h 147583"/>
                    <a:gd name="connsiteX14" fmla="*/ 7132 w 66385"/>
                    <a:gd name="connsiteY14" fmla="*/ 40051 h 147583"/>
                    <a:gd name="connsiteX15" fmla="*/ 1097 w 66385"/>
                    <a:gd name="connsiteY15" fmla="*/ 38953 h 147583"/>
                    <a:gd name="connsiteX16" fmla="*/ 4938 w 66385"/>
                    <a:gd name="connsiteY16" fmla="*/ 28529 h 147583"/>
                    <a:gd name="connsiteX17" fmla="*/ 3841 w 66385"/>
                    <a:gd name="connsiteY17" fmla="*/ 20848 h 147583"/>
                    <a:gd name="connsiteX18" fmla="*/ 6584 w 66385"/>
                    <a:gd name="connsiteY18" fmla="*/ 10973 h 147583"/>
                    <a:gd name="connsiteX19" fmla="*/ 11521 w 66385"/>
                    <a:gd name="connsiteY19" fmla="*/ 6583 h 147583"/>
                    <a:gd name="connsiteX20" fmla="*/ 15911 w 66385"/>
                    <a:gd name="connsiteY20" fmla="*/ 0 h 147583"/>
                    <a:gd name="connsiteX21" fmla="*/ 21397 w 66385"/>
                    <a:gd name="connsiteY21" fmla="*/ 5486 h 147583"/>
                    <a:gd name="connsiteX22" fmla="*/ 30724 w 66385"/>
                    <a:gd name="connsiteY22" fmla="*/ 6035 h 147583"/>
                    <a:gd name="connsiteX23" fmla="*/ 35113 w 66385"/>
                    <a:gd name="connsiteY23" fmla="*/ 14265 h 147583"/>
                    <a:gd name="connsiteX24" fmla="*/ 42245 w 66385"/>
                    <a:gd name="connsiteY24" fmla="*/ 17008 h 147583"/>
                    <a:gd name="connsiteX25" fmla="*/ 49926 w 66385"/>
                    <a:gd name="connsiteY25" fmla="*/ 27981 h 147583"/>
                    <a:gd name="connsiteX26" fmla="*/ 47183 w 66385"/>
                    <a:gd name="connsiteY26" fmla="*/ 64191 h 147583"/>
                    <a:gd name="connsiteX27" fmla="*/ 53218 w 66385"/>
                    <a:gd name="connsiteY27" fmla="*/ 77907 h 147583"/>
                    <a:gd name="connsiteX28" fmla="*/ 64740 w 66385"/>
                    <a:gd name="connsiteY28" fmla="*/ 89428 h 147583"/>
                    <a:gd name="connsiteX29" fmla="*/ 66385 w 66385"/>
                    <a:gd name="connsiteY29" fmla="*/ 105887 h 147583"/>
                    <a:gd name="connsiteX30" fmla="*/ 57607 w 66385"/>
                    <a:gd name="connsiteY30" fmla="*/ 114117 h 147583"/>
                    <a:gd name="connsiteX31" fmla="*/ 51024 w 66385"/>
                    <a:gd name="connsiteY31" fmla="*/ 125638 h 147583"/>
                    <a:gd name="connsiteX32" fmla="*/ 44989 w 66385"/>
                    <a:gd name="connsiteY32" fmla="*/ 130576 h 147583"/>
                    <a:gd name="connsiteX33" fmla="*/ 42794 w 66385"/>
                    <a:gd name="connsiteY33" fmla="*/ 138806 h 147583"/>
                    <a:gd name="connsiteX34" fmla="*/ 39502 w 66385"/>
                    <a:gd name="connsiteY34" fmla="*/ 143195 h 147583"/>
                    <a:gd name="connsiteX35" fmla="*/ 34016 w 66385"/>
                    <a:gd name="connsiteY35" fmla="*/ 147584 h 147583"/>
                    <a:gd name="connsiteX36" fmla="*/ 32918 w 66385"/>
                    <a:gd name="connsiteY36" fmla="*/ 147584 h 1475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</a:cxnLst>
                  <a:rect l="l" t="t" r="r" b="b"/>
                  <a:pathLst>
                    <a:path w="66385" h="147583">
                      <a:moveTo>
                        <a:pt x="32918" y="147584"/>
                      </a:moveTo>
                      <a:lnTo>
                        <a:pt x="26883" y="144292"/>
                      </a:lnTo>
                      <a:lnTo>
                        <a:pt x="25786" y="137160"/>
                      </a:lnTo>
                      <a:lnTo>
                        <a:pt x="21397" y="130576"/>
                      </a:lnTo>
                      <a:lnTo>
                        <a:pt x="8778" y="125638"/>
                      </a:lnTo>
                      <a:lnTo>
                        <a:pt x="0" y="109728"/>
                      </a:lnTo>
                      <a:lnTo>
                        <a:pt x="4938" y="110825"/>
                      </a:lnTo>
                      <a:lnTo>
                        <a:pt x="2195" y="95463"/>
                      </a:lnTo>
                      <a:lnTo>
                        <a:pt x="4938" y="86685"/>
                      </a:lnTo>
                      <a:lnTo>
                        <a:pt x="6035" y="85039"/>
                      </a:lnTo>
                      <a:lnTo>
                        <a:pt x="5486" y="78455"/>
                      </a:lnTo>
                      <a:lnTo>
                        <a:pt x="7132" y="72420"/>
                      </a:lnTo>
                      <a:lnTo>
                        <a:pt x="3841" y="64739"/>
                      </a:lnTo>
                      <a:lnTo>
                        <a:pt x="9876" y="43891"/>
                      </a:lnTo>
                      <a:lnTo>
                        <a:pt x="7132" y="40051"/>
                      </a:lnTo>
                      <a:lnTo>
                        <a:pt x="1097" y="38953"/>
                      </a:lnTo>
                      <a:lnTo>
                        <a:pt x="4938" y="28529"/>
                      </a:lnTo>
                      <a:lnTo>
                        <a:pt x="3841" y="20848"/>
                      </a:lnTo>
                      <a:lnTo>
                        <a:pt x="6584" y="10973"/>
                      </a:lnTo>
                      <a:lnTo>
                        <a:pt x="11521" y="6583"/>
                      </a:lnTo>
                      <a:lnTo>
                        <a:pt x="15911" y="0"/>
                      </a:lnTo>
                      <a:lnTo>
                        <a:pt x="21397" y="5486"/>
                      </a:lnTo>
                      <a:lnTo>
                        <a:pt x="30724" y="6035"/>
                      </a:lnTo>
                      <a:lnTo>
                        <a:pt x="35113" y="14265"/>
                      </a:lnTo>
                      <a:lnTo>
                        <a:pt x="42245" y="17008"/>
                      </a:lnTo>
                      <a:lnTo>
                        <a:pt x="49926" y="27981"/>
                      </a:lnTo>
                      <a:lnTo>
                        <a:pt x="47183" y="64191"/>
                      </a:lnTo>
                      <a:lnTo>
                        <a:pt x="53218" y="77907"/>
                      </a:lnTo>
                      <a:lnTo>
                        <a:pt x="64740" y="89428"/>
                      </a:lnTo>
                      <a:lnTo>
                        <a:pt x="66385" y="105887"/>
                      </a:lnTo>
                      <a:lnTo>
                        <a:pt x="57607" y="114117"/>
                      </a:lnTo>
                      <a:lnTo>
                        <a:pt x="51024" y="125638"/>
                      </a:lnTo>
                      <a:lnTo>
                        <a:pt x="44989" y="130576"/>
                      </a:lnTo>
                      <a:lnTo>
                        <a:pt x="42794" y="138806"/>
                      </a:lnTo>
                      <a:lnTo>
                        <a:pt x="39502" y="143195"/>
                      </a:lnTo>
                      <a:lnTo>
                        <a:pt x="34016" y="147584"/>
                      </a:lnTo>
                      <a:lnTo>
                        <a:pt x="32918" y="147584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46" name="Graphic 7">
                  <a:extLst>
                    <a:ext uri="{FF2B5EF4-FFF2-40B4-BE49-F238E27FC236}">
                      <a16:creationId xmlns:a16="http://schemas.microsoft.com/office/drawing/2014/main" id="{F9AC9537-8D55-FFE7-199F-B5BE9DF9E407}"/>
                    </a:ext>
                  </a:extLst>
                </p:cNvPr>
                <p:cNvSpPr/>
                <p:nvPr/>
              </p:nvSpPr>
              <p:spPr>
                <a:xfrm>
                  <a:off x="5854177" y="2460598"/>
                  <a:ext cx="169742" cy="130736"/>
                </a:xfrm>
                <a:custGeom>
                  <a:avLst/>
                  <a:gdLst>
                    <a:gd name="connsiteX0" fmla="*/ 0 w 217261"/>
                    <a:gd name="connsiteY0" fmla="*/ 25237 h 167335"/>
                    <a:gd name="connsiteX1" fmla="*/ 3292 w 217261"/>
                    <a:gd name="connsiteY1" fmla="*/ 53767 h 167335"/>
                    <a:gd name="connsiteX2" fmla="*/ 2195 w 217261"/>
                    <a:gd name="connsiteY2" fmla="*/ 37856 h 167335"/>
                    <a:gd name="connsiteX3" fmla="*/ 8230 w 217261"/>
                    <a:gd name="connsiteY3" fmla="*/ 70775 h 167335"/>
                    <a:gd name="connsiteX4" fmla="*/ 7132 w 217261"/>
                    <a:gd name="connsiteY4" fmla="*/ 75712 h 167335"/>
                    <a:gd name="connsiteX5" fmla="*/ 9327 w 217261"/>
                    <a:gd name="connsiteY5" fmla="*/ 75712 h 167335"/>
                    <a:gd name="connsiteX6" fmla="*/ 10424 w 217261"/>
                    <a:gd name="connsiteY6" fmla="*/ 81199 h 167335"/>
                    <a:gd name="connsiteX7" fmla="*/ 17008 w 217261"/>
                    <a:gd name="connsiteY7" fmla="*/ 79004 h 167335"/>
                    <a:gd name="connsiteX8" fmla="*/ 20848 w 217261"/>
                    <a:gd name="connsiteY8" fmla="*/ 83393 h 167335"/>
                    <a:gd name="connsiteX9" fmla="*/ 26335 w 217261"/>
                    <a:gd name="connsiteY9" fmla="*/ 84491 h 167335"/>
                    <a:gd name="connsiteX10" fmla="*/ 30724 w 217261"/>
                    <a:gd name="connsiteY10" fmla="*/ 88331 h 167335"/>
                    <a:gd name="connsiteX11" fmla="*/ 47183 w 217261"/>
                    <a:gd name="connsiteY11" fmla="*/ 92171 h 167335"/>
                    <a:gd name="connsiteX12" fmla="*/ 58156 w 217261"/>
                    <a:gd name="connsiteY12" fmla="*/ 91074 h 167335"/>
                    <a:gd name="connsiteX13" fmla="*/ 62545 w 217261"/>
                    <a:gd name="connsiteY13" fmla="*/ 93817 h 167335"/>
                    <a:gd name="connsiteX14" fmla="*/ 70226 w 217261"/>
                    <a:gd name="connsiteY14" fmla="*/ 109179 h 167335"/>
                    <a:gd name="connsiteX15" fmla="*/ 65837 w 217261"/>
                    <a:gd name="connsiteY15" fmla="*/ 120152 h 167335"/>
                    <a:gd name="connsiteX16" fmla="*/ 67483 w 217261"/>
                    <a:gd name="connsiteY16" fmla="*/ 138257 h 167335"/>
                    <a:gd name="connsiteX17" fmla="*/ 89977 w 217261"/>
                    <a:gd name="connsiteY17" fmla="*/ 152522 h 167335"/>
                    <a:gd name="connsiteX18" fmla="*/ 93817 w 217261"/>
                    <a:gd name="connsiteY18" fmla="*/ 165141 h 167335"/>
                    <a:gd name="connsiteX19" fmla="*/ 104242 w 217261"/>
                    <a:gd name="connsiteY19" fmla="*/ 167335 h 167335"/>
                    <a:gd name="connsiteX20" fmla="*/ 114666 w 217261"/>
                    <a:gd name="connsiteY20" fmla="*/ 165141 h 167335"/>
                    <a:gd name="connsiteX21" fmla="*/ 125639 w 217261"/>
                    <a:gd name="connsiteY21" fmla="*/ 166787 h 167335"/>
                    <a:gd name="connsiteX22" fmla="*/ 130576 w 217261"/>
                    <a:gd name="connsiteY22" fmla="*/ 164592 h 167335"/>
                    <a:gd name="connsiteX23" fmla="*/ 134417 w 217261"/>
                    <a:gd name="connsiteY23" fmla="*/ 161300 h 167335"/>
                    <a:gd name="connsiteX24" fmla="*/ 139355 w 217261"/>
                    <a:gd name="connsiteY24" fmla="*/ 163495 h 167335"/>
                    <a:gd name="connsiteX25" fmla="*/ 144841 w 217261"/>
                    <a:gd name="connsiteY25" fmla="*/ 162946 h 167335"/>
                    <a:gd name="connsiteX26" fmla="*/ 142646 w 217261"/>
                    <a:gd name="connsiteY26" fmla="*/ 153071 h 167335"/>
                    <a:gd name="connsiteX27" fmla="*/ 147584 w 217261"/>
                    <a:gd name="connsiteY27" fmla="*/ 150327 h 167335"/>
                    <a:gd name="connsiteX28" fmla="*/ 153071 w 217261"/>
                    <a:gd name="connsiteY28" fmla="*/ 150876 h 167335"/>
                    <a:gd name="connsiteX29" fmla="*/ 156911 w 217261"/>
                    <a:gd name="connsiteY29" fmla="*/ 146487 h 167335"/>
                    <a:gd name="connsiteX30" fmla="*/ 161849 w 217261"/>
                    <a:gd name="connsiteY30" fmla="*/ 143744 h 167335"/>
                    <a:gd name="connsiteX31" fmla="*/ 167335 w 217261"/>
                    <a:gd name="connsiteY31" fmla="*/ 145390 h 167335"/>
                    <a:gd name="connsiteX32" fmla="*/ 170078 w 217261"/>
                    <a:gd name="connsiteY32" fmla="*/ 149779 h 167335"/>
                    <a:gd name="connsiteX33" fmla="*/ 175016 w 217261"/>
                    <a:gd name="connsiteY33" fmla="*/ 153071 h 167335"/>
                    <a:gd name="connsiteX34" fmla="*/ 179954 w 217261"/>
                    <a:gd name="connsiteY34" fmla="*/ 150876 h 167335"/>
                    <a:gd name="connsiteX35" fmla="*/ 179405 w 217261"/>
                    <a:gd name="connsiteY35" fmla="*/ 145390 h 167335"/>
                    <a:gd name="connsiteX36" fmla="*/ 175565 w 217261"/>
                    <a:gd name="connsiteY36" fmla="*/ 141000 h 167335"/>
                    <a:gd name="connsiteX37" fmla="*/ 173370 w 217261"/>
                    <a:gd name="connsiteY37" fmla="*/ 135514 h 167335"/>
                    <a:gd name="connsiteX38" fmla="*/ 174467 w 217261"/>
                    <a:gd name="connsiteY38" fmla="*/ 130576 h 167335"/>
                    <a:gd name="connsiteX39" fmla="*/ 180503 w 217261"/>
                    <a:gd name="connsiteY39" fmla="*/ 121249 h 167335"/>
                    <a:gd name="connsiteX40" fmla="*/ 180503 w 217261"/>
                    <a:gd name="connsiteY40" fmla="*/ 115214 h 167335"/>
                    <a:gd name="connsiteX41" fmla="*/ 182149 w 217261"/>
                    <a:gd name="connsiteY41" fmla="*/ 109728 h 167335"/>
                    <a:gd name="connsiteX42" fmla="*/ 181600 w 217261"/>
                    <a:gd name="connsiteY42" fmla="*/ 104242 h 167335"/>
                    <a:gd name="connsiteX43" fmla="*/ 183246 w 217261"/>
                    <a:gd name="connsiteY43" fmla="*/ 98755 h 167335"/>
                    <a:gd name="connsiteX44" fmla="*/ 187635 w 217261"/>
                    <a:gd name="connsiteY44" fmla="*/ 96012 h 167335"/>
                    <a:gd name="connsiteX45" fmla="*/ 193121 w 217261"/>
                    <a:gd name="connsiteY45" fmla="*/ 94915 h 167335"/>
                    <a:gd name="connsiteX46" fmla="*/ 197510 w 217261"/>
                    <a:gd name="connsiteY46" fmla="*/ 91074 h 167335"/>
                    <a:gd name="connsiteX47" fmla="*/ 202448 w 217261"/>
                    <a:gd name="connsiteY47" fmla="*/ 88331 h 167335"/>
                    <a:gd name="connsiteX48" fmla="*/ 211226 w 217261"/>
                    <a:gd name="connsiteY48" fmla="*/ 88331 h 167335"/>
                    <a:gd name="connsiteX49" fmla="*/ 217261 w 217261"/>
                    <a:gd name="connsiteY49" fmla="*/ 76261 h 167335"/>
                    <a:gd name="connsiteX50" fmla="*/ 212324 w 217261"/>
                    <a:gd name="connsiteY50" fmla="*/ 73518 h 167335"/>
                    <a:gd name="connsiteX51" fmla="*/ 206289 w 217261"/>
                    <a:gd name="connsiteY51" fmla="*/ 73518 h 167335"/>
                    <a:gd name="connsiteX52" fmla="*/ 206289 w 217261"/>
                    <a:gd name="connsiteY52" fmla="*/ 62545 h 167335"/>
                    <a:gd name="connsiteX53" fmla="*/ 211226 w 217261"/>
                    <a:gd name="connsiteY53" fmla="*/ 60350 h 167335"/>
                    <a:gd name="connsiteX54" fmla="*/ 215067 w 217261"/>
                    <a:gd name="connsiteY54" fmla="*/ 56510 h 167335"/>
                    <a:gd name="connsiteX55" fmla="*/ 215067 w 217261"/>
                    <a:gd name="connsiteY55" fmla="*/ 53767 h 167335"/>
                    <a:gd name="connsiteX56" fmla="*/ 210129 w 217261"/>
                    <a:gd name="connsiteY56" fmla="*/ 51023 h 167335"/>
                    <a:gd name="connsiteX57" fmla="*/ 205191 w 217261"/>
                    <a:gd name="connsiteY57" fmla="*/ 48829 h 167335"/>
                    <a:gd name="connsiteX58" fmla="*/ 192573 w 217261"/>
                    <a:gd name="connsiteY58" fmla="*/ 33467 h 167335"/>
                    <a:gd name="connsiteX59" fmla="*/ 174467 w 217261"/>
                    <a:gd name="connsiteY59" fmla="*/ 20848 h 167335"/>
                    <a:gd name="connsiteX60" fmla="*/ 163495 w 217261"/>
                    <a:gd name="connsiteY60" fmla="*/ 21397 h 167335"/>
                    <a:gd name="connsiteX61" fmla="*/ 158008 w 217261"/>
                    <a:gd name="connsiteY61" fmla="*/ 19751 h 167335"/>
                    <a:gd name="connsiteX62" fmla="*/ 151425 w 217261"/>
                    <a:gd name="connsiteY62" fmla="*/ 3840 h 167335"/>
                    <a:gd name="connsiteX63" fmla="*/ 147584 w 217261"/>
                    <a:gd name="connsiteY63" fmla="*/ 0 h 167335"/>
                    <a:gd name="connsiteX64" fmla="*/ 142646 w 217261"/>
                    <a:gd name="connsiteY64" fmla="*/ 1646 h 167335"/>
                    <a:gd name="connsiteX65" fmla="*/ 134417 w 217261"/>
                    <a:gd name="connsiteY65" fmla="*/ 9875 h 167335"/>
                    <a:gd name="connsiteX66" fmla="*/ 123993 w 217261"/>
                    <a:gd name="connsiteY66" fmla="*/ 12619 h 167335"/>
                    <a:gd name="connsiteX67" fmla="*/ 102596 w 217261"/>
                    <a:gd name="connsiteY67" fmla="*/ 4389 h 167335"/>
                    <a:gd name="connsiteX68" fmla="*/ 86137 w 217261"/>
                    <a:gd name="connsiteY68" fmla="*/ 3292 h 167335"/>
                    <a:gd name="connsiteX69" fmla="*/ 81199 w 217261"/>
                    <a:gd name="connsiteY69" fmla="*/ 4389 h 167335"/>
                    <a:gd name="connsiteX70" fmla="*/ 76261 w 217261"/>
                    <a:gd name="connsiteY70" fmla="*/ 3292 h 167335"/>
                    <a:gd name="connsiteX71" fmla="*/ 71323 w 217261"/>
                    <a:gd name="connsiteY71" fmla="*/ 5486 h 167335"/>
                    <a:gd name="connsiteX72" fmla="*/ 65288 w 217261"/>
                    <a:gd name="connsiteY72" fmla="*/ 5486 h 167335"/>
                    <a:gd name="connsiteX73" fmla="*/ 60350 w 217261"/>
                    <a:gd name="connsiteY73" fmla="*/ 2743 h 167335"/>
                    <a:gd name="connsiteX74" fmla="*/ 43343 w 217261"/>
                    <a:gd name="connsiteY74" fmla="*/ 2743 h 167335"/>
                    <a:gd name="connsiteX75" fmla="*/ 18105 w 217261"/>
                    <a:gd name="connsiteY75" fmla="*/ 13716 h 167335"/>
                    <a:gd name="connsiteX76" fmla="*/ 11521 w 217261"/>
                    <a:gd name="connsiteY76" fmla="*/ 23043 h 167335"/>
                    <a:gd name="connsiteX77" fmla="*/ 7132 w 217261"/>
                    <a:gd name="connsiteY77" fmla="*/ 26335 h 167335"/>
                    <a:gd name="connsiteX78" fmla="*/ 0 w 217261"/>
                    <a:gd name="connsiteY78" fmla="*/ 25237 h 1673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</a:cxnLst>
                  <a:rect l="l" t="t" r="r" b="b"/>
                  <a:pathLst>
                    <a:path w="217261" h="167335">
                      <a:moveTo>
                        <a:pt x="0" y="25237"/>
                      </a:moveTo>
                      <a:lnTo>
                        <a:pt x="3292" y="53767"/>
                      </a:lnTo>
                      <a:lnTo>
                        <a:pt x="2195" y="37856"/>
                      </a:lnTo>
                      <a:lnTo>
                        <a:pt x="8230" y="70775"/>
                      </a:lnTo>
                      <a:lnTo>
                        <a:pt x="7132" y="75712"/>
                      </a:lnTo>
                      <a:lnTo>
                        <a:pt x="9327" y="75712"/>
                      </a:lnTo>
                      <a:lnTo>
                        <a:pt x="10424" y="81199"/>
                      </a:lnTo>
                      <a:lnTo>
                        <a:pt x="17008" y="79004"/>
                      </a:lnTo>
                      <a:lnTo>
                        <a:pt x="20848" y="83393"/>
                      </a:lnTo>
                      <a:lnTo>
                        <a:pt x="26335" y="84491"/>
                      </a:lnTo>
                      <a:lnTo>
                        <a:pt x="30724" y="88331"/>
                      </a:lnTo>
                      <a:lnTo>
                        <a:pt x="47183" y="92171"/>
                      </a:lnTo>
                      <a:lnTo>
                        <a:pt x="58156" y="91074"/>
                      </a:lnTo>
                      <a:lnTo>
                        <a:pt x="62545" y="93817"/>
                      </a:lnTo>
                      <a:lnTo>
                        <a:pt x="70226" y="109179"/>
                      </a:lnTo>
                      <a:lnTo>
                        <a:pt x="65837" y="120152"/>
                      </a:lnTo>
                      <a:lnTo>
                        <a:pt x="67483" y="138257"/>
                      </a:lnTo>
                      <a:lnTo>
                        <a:pt x="89977" y="152522"/>
                      </a:lnTo>
                      <a:lnTo>
                        <a:pt x="93817" y="165141"/>
                      </a:lnTo>
                      <a:lnTo>
                        <a:pt x="104242" y="167335"/>
                      </a:lnTo>
                      <a:lnTo>
                        <a:pt x="114666" y="165141"/>
                      </a:lnTo>
                      <a:lnTo>
                        <a:pt x="125639" y="166787"/>
                      </a:lnTo>
                      <a:lnTo>
                        <a:pt x="130576" y="164592"/>
                      </a:lnTo>
                      <a:lnTo>
                        <a:pt x="134417" y="161300"/>
                      </a:lnTo>
                      <a:lnTo>
                        <a:pt x="139355" y="163495"/>
                      </a:lnTo>
                      <a:lnTo>
                        <a:pt x="144841" y="162946"/>
                      </a:lnTo>
                      <a:lnTo>
                        <a:pt x="142646" y="153071"/>
                      </a:lnTo>
                      <a:lnTo>
                        <a:pt x="147584" y="150327"/>
                      </a:lnTo>
                      <a:lnTo>
                        <a:pt x="153071" y="150876"/>
                      </a:lnTo>
                      <a:lnTo>
                        <a:pt x="156911" y="146487"/>
                      </a:lnTo>
                      <a:lnTo>
                        <a:pt x="161849" y="143744"/>
                      </a:lnTo>
                      <a:lnTo>
                        <a:pt x="167335" y="145390"/>
                      </a:lnTo>
                      <a:lnTo>
                        <a:pt x="170078" y="149779"/>
                      </a:lnTo>
                      <a:lnTo>
                        <a:pt x="175016" y="153071"/>
                      </a:lnTo>
                      <a:lnTo>
                        <a:pt x="179954" y="150876"/>
                      </a:lnTo>
                      <a:lnTo>
                        <a:pt x="179405" y="145390"/>
                      </a:lnTo>
                      <a:lnTo>
                        <a:pt x="175565" y="141000"/>
                      </a:lnTo>
                      <a:lnTo>
                        <a:pt x="173370" y="135514"/>
                      </a:lnTo>
                      <a:lnTo>
                        <a:pt x="174467" y="130576"/>
                      </a:lnTo>
                      <a:lnTo>
                        <a:pt x="180503" y="121249"/>
                      </a:lnTo>
                      <a:lnTo>
                        <a:pt x="180503" y="115214"/>
                      </a:lnTo>
                      <a:lnTo>
                        <a:pt x="182149" y="109728"/>
                      </a:lnTo>
                      <a:lnTo>
                        <a:pt x="181600" y="104242"/>
                      </a:lnTo>
                      <a:lnTo>
                        <a:pt x="183246" y="98755"/>
                      </a:lnTo>
                      <a:lnTo>
                        <a:pt x="187635" y="96012"/>
                      </a:lnTo>
                      <a:lnTo>
                        <a:pt x="193121" y="94915"/>
                      </a:lnTo>
                      <a:lnTo>
                        <a:pt x="197510" y="91074"/>
                      </a:lnTo>
                      <a:lnTo>
                        <a:pt x="202448" y="88331"/>
                      </a:lnTo>
                      <a:lnTo>
                        <a:pt x="211226" y="88331"/>
                      </a:lnTo>
                      <a:lnTo>
                        <a:pt x="217261" y="76261"/>
                      </a:lnTo>
                      <a:lnTo>
                        <a:pt x="212324" y="73518"/>
                      </a:lnTo>
                      <a:lnTo>
                        <a:pt x="206289" y="73518"/>
                      </a:lnTo>
                      <a:lnTo>
                        <a:pt x="206289" y="62545"/>
                      </a:lnTo>
                      <a:lnTo>
                        <a:pt x="211226" y="60350"/>
                      </a:lnTo>
                      <a:lnTo>
                        <a:pt x="215067" y="56510"/>
                      </a:lnTo>
                      <a:lnTo>
                        <a:pt x="215067" y="53767"/>
                      </a:lnTo>
                      <a:lnTo>
                        <a:pt x="210129" y="51023"/>
                      </a:lnTo>
                      <a:lnTo>
                        <a:pt x="205191" y="48829"/>
                      </a:lnTo>
                      <a:lnTo>
                        <a:pt x="192573" y="33467"/>
                      </a:lnTo>
                      <a:lnTo>
                        <a:pt x="174467" y="20848"/>
                      </a:lnTo>
                      <a:lnTo>
                        <a:pt x="163495" y="21397"/>
                      </a:lnTo>
                      <a:lnTo>
                        <a:pt x="158008" y="19751"/>
                      </a:lnTo>
                      <a:lnTo>
                        <a:pt x="151425" y="3840"/>
                      </a:lnTo>
                      <a:lnTo>
                        <a:pt x="147584" y="0"/>
                      </a:lnTo>
                      <a:lnTo>
                        <a:pt x="142646" y="1646"/>
                      </a:lnTo>
                      <a:lnTo>
                        <a:pt x="134417" y="9875"/>
                      </a:lnTo>
                      <a:lnTo>
                        <a:pt x="123993" y="12619"/>
                      </a:lnTo>
                      <a:lnTo>
                        <a:pt x="102596" y="4389"/>
                      </a:lnTo>
                      <a:lnTo>
                        <a:pt x="86137" y="3292"/>
                      </a:lnTo>
                      <a:lnTo>
                        <a:pt x="81199" y="4389"/>
                      </a:lnTo>
                      <a:lnTo>
                        <a:pt x="76261" y="3292"/>
                      </a:lnTo>
                      <a:lnTo>
                        <a:pt x="71323" y="5486"/>
                      </a:lnTo>
                      <a:lnTo>
                        <a:pt x="65288" y="5486"/>
                      </a:lnTo>
                      <a:lnTo>
                        <a:pt x="60350" y="2743"/>
                      </a:lnTo>
                      <a:lnTo>
                        <a:pt x="43343" y="2743"/>
                      </a:lnTo>
                      <a:lnTo>
                        <a:pt x="18105" y="13716"/>
                      </a:lnTo>
                      <a:lnTo>
                        <a:pt x="11521" y="23043"/>
                      </a:lnTo>
                      <a:lnTo>
                        <a:pt x="7132" y="26335"/>
                      </a:lnTo>
                      <a:lnTo>
                        <a:pt x="0" y="25237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47" name="Graphic 7">
                  <a:extLst>
                    <a:ext uri="{FF2B5EF4-FFF2-40B4-BE49-F238E27FC236}">
                      <a16:creationId xmlns:a16="http://schemas.microsoft.com/office/drawing/2014/main" id="{3652F4D2-DD68-89CF-210B-69A01CA1A540}"/>
                    </a:ext>
                  </a:extLst>
                </p:cNvPr>
                <p:cNvSpPr/>
                <p:nvPr/>
              </p:nvSpPr>
              <p:spPr>
                <a:xfrm>
                  <a:off x="5917617" y="2476886"/>
                  <a:ext cx="284190" cy="242611"/>
                </a:xfrm>
                <a:custGeom>
                  <a:avLst/>
                  <a:gdLst>
                    <a:gd name="connsiteX0" fmla="*/ 11521 w 363748"/>
                    <a:gd name="connsiteY0" fmla="*/ 292974 h 310530"/>
                    <a:gd name="connsiteX1" fmla="*/ 14265 w 363748"/>
                    <a:gd name="connsiteY1" fmla="*/ 264993 h 310530"/>
                    <a:gd name="connsiteX2" fmla="*/ 3841 w 363748"/>
                    <a:gd name="connsiteY2" fmla="*/ 256215 h 310530"/>
                    <a:gd name="connsiteX3" fmla="*/ 0 w 363748"/>
                    <a:gd name="connsiteY3" fmla="*/ 248534 h 310530"/>
                    <a:gd name="connsiteX4" fmla="*/ 7132 w 363748"/>
                    <a:gd name="connsiteY4" fmla="*/ 239756 h 310530"/>
                    <a:gd name="connsiteX5" fmla="*/ 17557 w 363748"/>
                    <a:gd name="connsiteY5" fmla="*/ 234269 h 310530"/>
                    <a:gd name="connsiteX6" fmla="*/ 25237 w 363748"/>
                    <a:gd name="connsiteY6" fmla="*/ 222748 h 310530"/>
                    <a:gd name="connsiteX7" fmla="*/ 12619 w 363748"/>
                    <a:gd name="connsiteY7" fmla="*/ 144292 h 310530"/>
                    <a:gd name="connsiteX8" fmla="*/ 23043 w 363748"/>
                    <a:gd name="connsiteY8" fmla="*/ 147035 h 310530"/>
                    <a:gd name="connsiteX9" fmla="*/ 33467 w 363748"/>
                    <a:gd name="connsiteY9" fmla="*/ 144292 h 310530"/>
                    <a:gd name="connsiteX10" fmla="*/ 44440 w 363748"/>
                    <a:gd name="connsiteY10" fmla="*/ 145938 h 310530"/>
                    <a:gd name="connsiteX11" fmla="*/ 49378 w 363748"/>
                    <a:gd name="connsiteY11" fmla="*/ 143744 h 310530"/>
                    <a:gd name="connsiteX12" fmla="*/ 53218 w 363748"/>
                    <a:gd name="connsiteY12" fmla="*/ 140452 h 310530"/>
                    <a:gd name="connsiteX13" fmla="*/ 58156 w 363748"/>
                    <a:gd name="connsiteY13" fmla="*/ 142646 h 310530"/>
                    <a:gd name="connsiteX14" fmla="*/ 63642 w 363748"/>
                    <a:gd name="connsiteY14" fmla="*/ 142098 h 310530"/>
                    <a:gd name="connsiteX15" fmla="*/ 61448 w 363748"/>
                    <a:gd name="connsiteY15" fmla="*/ 132222 h 310530"/>
                    <a:gd name="connsiteX16" fmla="*/ 66385 w 363748"/>
                    <a:gd name="connsiteY16" fmla="*/ 130028 h 310530"/>
                    <a:gd name="connsiteX17" fmla="*/ 71872 w 363748"/>
                    <a:gd name="connsiteY17" fmla="*/ 130028 h 310530"/>
                    <a:gd name="connsiteX18" fmla="*/ 75712 w 363748"/>
                    <a:gd name="connsiteY18" fmla="*/ 125639 h 310530"/>
                    <a:gd name="connsiteX19" fmla="*/ 80650 w 363748"/>
                    <a:gd name="connsiteY19" fmla="*/ 122895 h 310530"/>
                    <a:gd name="connsiteX20" fmla="*/ 86137 w 363748"/>
                    <a:gd name="connsiteY20" fmla="*/ 124541 h 310530"/>
                    <a:gd name="connsiteX21" fmla="*/ 88880 w 363748"/>
                    <a:gd name="connsiteY21" fmla="*/ 129479 h 310530"/>
                    <a:gd name="connsiteX22" fmla="*/ 93817 w 363748"/>
                    <a:gd name="connsiteY22" fmla="*/ 132222 h 310530"/>
                    <a:gd name="connsiteX23" fmla="*/ 98755 w 363748"/>
                    <a:gd name="connsiteY23" fmla="*/ 130028 h 310530"/>
                    <a:gd name="connsiteX24" fmla="*/ 97658 w 363748"/>
                    <a:gd name="connsiteY24" fmla="*/ 124541 h 310530"/>
                    <a:gd name="connsiteX25" fmla="*/ 92172 w 363748"/>
                    <a:gd name="connsiteY25" fmla="*/ 115214 h 310530"/>
                    <a:gd name="connsiteX26" fmla="*/ 93269 w 363748"/>
                    <a:gd name="connsiteY26" fmla="*/ 109728 h 310530"/>
                    <a:gd name="connsiteX27" fmla="*/ 99304 w 363748"/>
                    <a:gd name="connsiteY27" fmla="*/ 100401 h 310530"/>
                    <a:gd name="connsiteX28" fmla="*/ 102047 w 363748"/>
                    <a:gd name="connsiteY28" fmla="*/ 77907 h 310530"/>
                    <a:gd name="connsiteX29" fmla="*/ 106436 w 363748"/>
                    <a:gd name="connsiteY29" fmla="*/ 75164 h 310530"/>
                    <a:gd name="connsiteX30" fmla="*/ 111923 w 363748"/>
                    <a:gd name="connsiteY30" fmla="*/ 74066 h 310530"/>
                    <a:gd name="connsiteX31" fmla="*/ 121249 w 363748"/>
                    <a:gd name="connsiteY31" fmla="*/ 67483 h 310530"/>
                    <a:gd name="connsiteX32" fmla="*/ 130028 w 363748"/>
                    <a:gd name="connsiteY32" fmla="*/ 68031 h 310530"/>
                    <a:gd name="connsiteX33" fmla="*/ 136063 w 363748"/>
                    <a:gd name="connsiteY33" fmla="*/ 55413 h 310530"/>
                    <a:gd name="connsiteX34" fmla="*/ 131125 w 363748"/>
                    <a:gd name="connsiteY34" fmla="*/ 52669 h 310530"/>
                    <a:gd name="connsiteX35" fmla="*/ 125090 w 363748"/>
                    <a:gd name="connsiteY35" fmla="*/ 52669 h 310530"/>
                    <a:gd name="connsiteX36" fmla="*/ 125090 w 363748"/>
                    <a:gd name="connsiteY36" fmla="*/ 41697 h 310530"/>
                    <a:gd name="connsiteX37" fmla="*/ 130028 w 363748"/>
                    <a:gd name="connsiteY37" fmla="*/ 39502 h 310530"/>
                    <a:gd name="connsiteX38" fmla="*/ 133868 w 363748"/>
                    <a:gd name="connsiteY38" fmla="*/ 35662 h 310530"/>
                    <a:gd name="connsiteX39" fmla="*/ 133868 w 363748"/>
                    <a:gd name="connsiteY39" fmla="*/ 33467 h 310530"/>
                    <a:gd name="connsiteX40" fmla="*/ 139355 w 363748"/>
                    <a:gd name="connsiteY40" fmla="*/ 34564 h 310530"/>
                    <a:gd name="connsiteX41" fmla="*/ 143744 w 363748"/>
                    <a:gd name="connsiteY41" fmla="*/ 31273 h 310530"/>
                    <a:gd name="connsiteX42" fmla="*/ 145390 w 363748"/>
                    <a:gd name="connsiteY42" fmla="*/ 25786 h 310530"/>
                    <a:gd name="connsiteX43" fmla="*/ 149779 w 363748"/>
                    <a:gd name="connsiteY43" fmla="*/ 22494 h 310530"/>
                    <a:gd name="connsiteX44" fmla="*/ 160203 w 363748"/>
                    <a:gd name="connsiteY44" fmla="*/ 26883 h 310530"/>
                    <a:gd name="connsiteX45" fmla="*/ 165689 w 363748"/>
                    <a:gd name="connsiteY45" fmla="*/ 25786 h 310530"/>
                    <a:gd name="connsiteX46" fmla="*/ 172822 w 363748"/>
                    <a:gd name="connsiteY46" fmla="*/ 17008 h 310530"/>
                    <a:gd name="connsiteX47" fmla="*/ 174468 w 363748"/>
                    <a:gd name="connsiteY47" fmla="*/ 11521 h 310530"/>
                    <a:gd name="connsiteX48" fmla="*/ 186538 w 363748"/>
                    <a:gd name="connsiteY48" fmla="*/ 549 h 310530"/>
                    <a:gd name="connsiteX49" fmla="*/ 193670 w 363748"/>
                    <a:gd name="connsiteY49" fmla="*/ 0 h 310530"/>
                    <a:gd name="connsiteX50" fmla="*/ 195316 w 363748"/>
                    <a:gd name="connsiteY50" fmla="*/ 4938 h 310530"/>
                    <a:gd name="connsiteX51" fmla="*/ 206289 w 363748"/>
                    <a:gd name="connsiteY51" fmla="*/ 3841 h 310530"/>
                    <a:gd name="connsiteX52" fmla="*/ 211226 w 363748"/>
                    <a:gd name="connsiteY52" fmla="*/ 5486 h 310530"/>
                    <a:gd name="connsiteX53" fmla="*/ 214518 w 363748"/>
                    <a:gd name="connsiteY53" fmla="*/ 10424 h 310530"/>
                    <a:gd name="connsiteX54" fmla="*/ 225491 w 363748"/>
                    <a:gd name="connsiteY54" fmla="*/ 8778 h 310530"/>
                    <a:gd name="connsiteX55" fmla="*/ 230977 w 363748"/>
                    <a:gd name="connsiteY55" fmla="*/ 9875 h 310530"/>
                    <a:gd name="connsiteX56" fmla="*/ 239207 w 363748"/>
                    <a:gd name="connsiteY56" fmla="*/ 15911 h 310530"/>
                    <a:gd name="connsiteX57" fmla="*/ 238110 w 363748"/>
                    <a:gd name="connsiteY57" fmla="*/ 29627 h 310530"/>
                    <a:gd name="connsiteX58" fmla="*/ 247985 w 363748"/>
                    <a:gd name="connsiteY58" fmla="*/ 24140 h 310530"/>
                    <a:gd name="connsiteX59" fmla="*/ 252923 w 363748"/>
                    <a:gd name="connsiteY59" fmla="*/ 23591 h 310530"/>
                    <a:gd name="connsiteX60" fmla="*/ 257312 w 363748"/>
                    <a:gd name="connsiteY60" fmla="*/ 19751 h 310530"/>
                    <a:gd name="connsiteX61" fmla="*/ 273223 w 363748"/>
                    <a:gd name="connsiteY61" fmla="*/ 19751 h 310530"/>
                    <a:gd name="connsiteX62" fmla="*/ 278161 w 363748"/>
                    <a:gd name="connsiteY62" fmla="*/ 23043 h 310530"/>
                    <a:gd name="connsiteX63" fmla="*/ 288585 w 363748"/>
                    <a:gd name="connsiteY63" fmla="*/ 36210 h 310530"/>
                    <a:gd name="connsiteX64" fmla="*/ 294071 w 363748"/>
                    <a:gd name="connsiteY64" fmla="*/ 36759 h 310530"/>
                    <a:gd name="connsiteX65" fmla="*/ 294620 w 363748"/>
                    <a:gd name="connsiteY65" fmla="*/ 44440 h 310530"/>
                    <a:gd name="connsiteX66" fmla="*/ 292974 w 363748"/>
                    <a:gd name="connsiteY66" fmla="*/ 49926 h 310530"/>
                    <a:gd name="connsiteX67" fmla="*/ 292974 w 363748"/>
                    <a:gd name="connsiteY67" fmla="*/ 55413 h 310530"/>
                    <a:gd name="connsiteX68" fmla="*/ 296266 w 363748"/>
                    <a:gd name="connsiteY68" fmla="*/ 59802 h 310530"/>
                    <a:gd name="connsiteX69" fmla="*/ 298460 w 363748"/>
                    <a:gd name="connsiteY69" fmla="*/ 65288 h 310530"/>
                    <a:gd name="connsiteX70" fmla="*/ 296266 w 363748"/>
                    <a:gd name="connsiteY70" fmla="*/ 75712 h 310530"/>
                    <a:gd name="connsiteX71" fmla="*/ 291328 w 363748"/>
                    <a:gd name="connsiteY71" fmla="*/ 79004 h 310530"/>
                    <a:gd name="connsiteX72" fmla="*/ 290231 w 363748"/>
                    <a:gd name="connsiteY72" fmla="*/ 84491 h 310530"/>
                    <a:gd name="connsiteX73" fmla="*/ 291877 w 363748"/>
                    <a:gd name="connsiteY73" fmla="*/ 89977 h 310530"/>
                    <a:gd name="connsiteX74" fmla="*/ 299557 w 363748"/>
                    <a:gd name="connsiteY74" fmla="*/ 97658 h 310530"/>
                    <a:gd name="connsiteX75" fmla="*/ 313273 w 363748"/>
                    <a:gd name="connsiteY75" fmla="*/ 127833 h 310530"/>
                    <a:gd name="connsiteX76" fmla="*/ 323149 w 363748"/>
                    <a:gd name="connsiteY76" fmla="*/ 133319 h 310530"/>
                    <a:gd name="connsiteX77" fmla="*/ 326441 w 363748"/>
                    <a:gd name="connsiteY77" fmla="*/ 138257 h 310530"/>
                    <a:gd name="connsiteX78" fmla="*/ 327538 w 363748"/>
                    <a:gd name="connsiteY78" fmla="*/ 143195 h 310530"/>
                    <a:gd name="connsiteX79" fmla="*/ 326989 w 363748"/>
                    <a:gd name="connsiteY79" fmla="*/ 148681 h 310530"/>
                    <a:gd name="connsiteX80" fmla="*/ 329184 w 363748"/>
                    <a:gd name="connsiteY80" fmla="*/ 153619 h 310530"/>
                    <a:gd name="connsiteX81" fmla="*/ 345643 w 363748"/>
                    <a:gd name="connsiteY81" fmla="*/ 151425 h 310530"/>
                    <a:gd name="connsiteX82" fmla="*/ 349484 w 363748"/>
                    <a:gd name="connsiteY82" fmla="*/ 155265 h 310530"/>
                    <a:gd name="connsiteX83" fmla="*/ 354970 w 363748"/>
                    <a:gd name="connsiteY83" fmla="*/ 156911 h 310530"/>
                    <a:gd name="connsiteX84" fmla="*/ 353324 w 363748"/>
                    <a:gd name="connsiteY84" fmla="*/ 161849 h 310530"/>
                    <a:gd name="connsiteX85" fmla="*/ 356616 w 363748"/>
                    <a:gd name="connsiteY85" fmla="*/ 166238 h 310530"/>
                    <a:gd name="connsiteX86" fmla="*/ 363200 w 363748"/>
                    <a:gd name="connsiteY86" fmla="*/ 167335 h 310530"/>
                    <a:gd name="connsiteX87" fmla="*/ 363748 w 363748"/>
                    <a:gd name="connsiteY87" fmla="*/ 176662 h 310530"/>
                    <a:gd name="connsiteX88" fmla="*/ 342900 w 363748"/>
                    <a:gd name="connsiteY88" fmla="*/ 194767 h 310530"/>
                    <a:gd name="connsiteX89" fmla="*/ 331379 w 363748"/>
                    <a:gd name="connsiteY89" fmla="*/ 193121 h 310530"/>
                    <a:gd name="connsiteX90" fmla="*/ 323149 w 363748"/>
                    <a:gd name="connsiteY90" fmla="*/ 185989 h 310530"/>
                    <a:gd name="connsiteX91" fmla="*/ 317663 w 363748"/>
                    <a:gd name="connsiteY91" fmla="*/ 185440 h 310530"/>
                    <a:gd name="connsiteX92" fmla="*/ 312725 w 363748"/>
                    <a:gd name="connsiteY92" fmla="*/ 187635 h 310530"/>
                    <a:gd name="connsiteX93" fmla="*/ 312176 w 363748"/>
                    <a:gd name="connsiteY93" fmla="*/ 193670 h 310530"/>
                    <a:gd name="connsiteX94" fmla="*/ 307238 w 363748"/>
                    <a:gd name="connsiteY94" fmla="*/ 195316 h 310530"/>
                    <a:gd name="connsiteX95" fmla="*/ 307238 w 363748"/>
                    <a:gd name="connsiteY95" fmla="*/ 201351 h 310530"/>
                    <a:gd name="connsiteX96" fmla="*/ 314920 w 363748"/>
                    <a:gd name="connsiteY96" fmla="*/ 208483 h 310530"/>
                    <a:gd name="connsiteX97" fmla="*/ 317114 w 363748"/>
                    <a:gd name="connsiteY97" fmla="*/ 213421 h 310530"/>
                    <a:gd name="connsiteX98" fmla="*/ 314920 w 363748"/>
                    <a:gd name="connsiteY98" fmla="*/ 218907 h 310530"/>
                    <a:gd name="connsiteX99" fmla="*/ 318760 w 363748"/>
                    <a:gd name="connsiteY99" fmla="*/ 222748 h 310530"/>
                    <a:gd name="connsiteX100" fmla="*/ 317663 w 363748"/>
                    <a:gd name="connsiteY100" fmla="*/ 228234 h 310530"/>
                    <a:gd name="connsiteX101" fmla="*/ 322600 w 363748"/>
                    <a:gd name="connsiteY101" fmla="*/ 230977 h 310530"/>
                    <a:gd name="connsiteX102" fmla="*/ 324246 w 363748"/>
                    <a:gd name="connsiteY102" fmla="*/ 236464 h 310530"/>
                    <a:gd name="connsiteX103" fmla="*/ 323698 w 363748"/>
                    <a:gd name="connsiteY103" fmla="*/ 241950 h 310530"/>
                    <a:gd name="connsiteX104" fmla="*/ 327538 w 363748"/>
                    <a:gd name="connsiteY104" fmla="*/ 256763 h 310530"/>
                    <a:gd name="connsiteX105" fmla="*/ 313273 w 363748"/>
                    <a:gd name="connsiteY105" fmla="*/ 256763 h 310530"/>
                    <a:gd name="connsiteX106" fmla="*/ 308336 w 363748"/>
                    <a:gd name="connsiteY106" fmla="*/ 260055 h 310530"/>
                    <a:gd name="connsiteX107" fmla="*/ 302301 w 363748"/>
                    <a:gd name="connsiteY107" fmla="*/ 260055 h 310530"/>
                    <a:gd name="connsiteX108" fmla="*/ 297363 w 363748"/>
                    <a:gd name="connsiteY108" fmla="*/ 262799 h 310530"/>
                    <a:gd name="connsiteX109" fmla="*/ 285293 w 363748"/>
                    <a:gd name="connsiteY109" fmla="*/ 274869 h 310530"/>
                    <a:gd name="connsiteX110" fmla="*/ 283098 w 363748"/>
                    <a:gd name="connsiteY110" fmla="*/ 280355 h 310530"/>
                    <a:gd name="connsiteX111" fmla="*/ 283098 w 363748"/>
                    <a:gd name="connsiteY111" fmla="*/ 286390 h 310530"/>
                    <a:gd name="connsiteX112" fmla="*/ 281452 w 363748"/>
                    <a:gd name="connsiteY112" fmla="*/ 291877 h 310530"/>
                    <a:gd name="connsiteX113" fmla="*/ 283098 w 363748"/>
                    <a:gd name="connsiteY113" fmla="*/ 303398 h 310530"/>
                    <a:gd name="connsiteX114" fmla="*/ 280355 w 363748"/>
                    <a:gd name="connsiteY114" fmla="*/ 308884 h 310530"/>
                    <a:gd name="connsiteX115" fmla="*/ 274869 w 363748"/>
                    <a:gd name="connsiteY115" fmla="*/ 310530 h 310530"/>
                    <a:gd name="connsiteX116" fmla="*/ 271028 w 363748"/>
                    <a:gd name="connsiteY116" fmla="*/ 305593 h 310530"/>
                    <a:gd name="connsiteX117" fmla="*/ 266090 w 363748"/>
                    <a:gd name="connsiteY117" fmla="*/ 303398 h 310530"/>
                    <a:gd name="connsiteX118" fmla="*/ 243048 w 363748"/>
                    <a:gd name="connsiteY118" fmla="*/ 304495 h 310530"/>
                    <a:gd name="connsiteX119" fmla="*/ 238658 w 363748"/>
                    <a:gd name="connsiteY119" fmla="*/ 307787 h 310530"/>
                    <a:gd name="connsiteX120" fmla="*/ 234269 w 363748"/>
                    <a:gd name="connsiteY120" fmla="*/ 304495 h 310530"/>
                    <a:gd name="connsiteX121" fmla="*/ 232075 w 363748"/>
                    <a:gd name="connsiteY121" fmla="*/ 299009 h 310530"/>
                    <a:gd name="connsiteX122" fmla="*/ 222748 w 363748"/>
                    <a:gd name="connsiteY122" fmla="*/ 291877 h 310530"/>
                    <a:gd name="connsiteX123" fmla="*/ 211775 w 363748"/>
                    <a:gd name="connsiteY123" fmla="*/ 304495 h 310530"/>
                    <a:gd name="connsiteX124" fmla="*/ 206837 w 363748"/>
                    <a:gd name="connsiteY124" fmla="*/ 301203 h 310530"/>
                    <a:gd name="connsiteX125" fmla="*/ 203545 w 363748"/>
                    <a:gd name="connsiteY125" fmla="*/ 296814 h 310530"/>
                    <a:gd name="connsiteX126" fmla="*/ 198059 w 363748"/>
                    <a:gd name="connsiteY126" fmla="*/ 298460 h 310530"/>
                    <a:gd name="connsiteX127" fmla="*/ 192573 w 363748"/>
                    <a:gd name="connsiteY127" fmla="*/ 296266 h 310530"/>
                    <a:gd name="connsiteX128" fmla="*/ 188184 w 363748"/>
                    <a:gd name="connsiteY128" fmla="*/ 292974 h 310530"/>
                    <a:gd name="connsiteX129" fmla="*/ 183794 w 363748"/>
                    <a:gd name="connsiteY129" fmla="*/ 297363 h 310530"/>
                    <a:gd name="connsiteX130" fmla="*/ 178308 w 363748"/>
                    <a:gd name="connsiteY130" fmla="*/ 297363 h 310530"/>
                    <a:gd name="connsiteX131" fmla="*/ 172822 w 363748"/>
                    <a:gd name="connsiteY131" fmla="*/ 299009 h 310530"/>
                    <a:gd name="connsiteX132" fmla="*/ 168433 w 363748"/>
                    <a:gd name="connsiteY132" fmla="*/ 302849 h 310530"/>
                    <a:gd name="connsiteX133" fmla="*/ 164044 w 363748"/>
                    <a:gd name="connsiteY133" fmla="*/ 299009 h 310530"/>
                    <a:gd name="connsiteX134" fmla="*/ 163495 w 363748"/>
                    <a:gd name="connsiteY134" fmla="*/ 293522 h 310530"/>
                    <a:gd name="connsiteX135" fmla="*/ 152522 w 363748"/>
                    <a:gd name="connsiteY135" fmla="*/ 294620 h 310530"/>
                    <a:gd name="connsiteX136" fmla="*/ 148133 w 363748"/>
                    <a:gd name="connsiteY136" fmla="*/ 290779 h 310530"/>
                    <a:gd name="connsiteX137" fmla="*/ 146487 w 363748"/>
                    <a:gd name="connsiteY137" fmla="*/ 285293 h 310530"/>
                    <a:gd name="connsiteX138" fmla="*/ 131674 w 363748"/>
                    <a:gd name="connsiteY138" fmla="*/ 278161 h 310530"/>
                    <a:gd name="connsiteX139" fmla="*/ 125639 w 363748"/>
                    <a:gd name="connsiteY139" fmla="*/ 279258 h 310530"/>
                    <a:gd name="connsiteX140" fmla="*/ 109180 w 363748"/>
                    <a:gd name="connsiteY140" fmla="*/ 274869 h 310530"/>
                    <a:gd name="connsiteX141" fmla="*/ 99304 w 363748"/>
                    <a:gd name="connsiteY141" fmla="*/ 269382 h 310530"/>
                    <a:gd name="connsiteX142" fmla="*/ 82296 w 363748"/>
                    <a:gd name="connsiteY142" fmla="*/ 269931 h 310530"/>
                    <a:gd name="connsiteX143" fmla="*/ 76810 w 363748"/>
                    <a:gd name="connsiteY143" fmla="*/ 267736 h 310530"/>
                    <a:gd name="connsiteX144" fmla="*/ 43891 w 363748"/>
                    <a:gd name="connsiteY144" fmla="*/ 274869 h 310530"/>
                    <a:gd name="connsiteX145" fmla="*/ 42245 w 363748"/>
                    <a:gd name="connsiteY145" fmla="*/ 279806 h 310530"/>
                    <a:gd name="connsiteX146" fmla="*/ 37856 w 363748"/>
                    <a:gd name="connsiteY146" fmla="*/ 283647 h 310530"/>
                    <a:gd name="connsiteX147" fmla="*/ 26883 w 363748"/>
                    <a:gd name="connsiteY147" fmla="*/ 288585 h 310530"/>
                    <a:gd name="connsiteX148" fmla="*/ 21397 w 363748"/>
                    <a:gd name="connsiteY148" fmla="*/ 288036 h 310530"/>
                    <a:gd name="connsiteX149" fmla="*/ 15911 w 363748"/>
                    <a:gd name="connsiteY149" fmla="*/ 288585 h 310530"/>
                    <a:gd name="connsiteX150" fmla="*/ 11521 w 363748"/>
                    <a:gd name="connsiteY150" fmla="*/ 292974 h 3105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</a:cxnLst>
                  <a:rect l="l" t="t" r="r" b="b"/>
                  <a:pathLst>
                    <a:path w="363748" h="310530">
                      <a:moveTo>
                        <a:pt x="11521" y="292974"/>
                      </a:moveTo>
                      <a:lnTo>
                        <a:pt x="14265" y="264993"/>
                      </a:lnTo>
                      <a:lnTo>
                        <a:pt x="3841" y="256215"/>
                      </a:lnTo>
                      <a:lnTo>
                        <a:pt x="0" y="248534"/>
                      </a:lnTo>
                      <a:lnTo>
                        <a:pt x="7132" y="239756"/>
                      </a:lnTo>
                      <a:lnTo>
                        <a:pt x="17557" y="234269"/>
                      </a:lnTo>
                      <a:lnTo>
                        <a:pt x="25237" y="222748"/>
                      </a:lnTo>
                      <a:lnTo>
                        <a:pt x="12619" y="144292"/>
                      </a:lnTo>
                      <a:lnTo>
                        <a:pt x="23043" y="147035"/>
                      </a:lnTo>
                      <a:lnTo>
                        <a:pt x="33467" y="144292"/>
                      </a:lnTo>
                      <a:lnTo>
                        <a:pt x="44440" y="145938"/>
                      </a:lnTo>
                      <a:lnTo>
                        <a:pt x="49378" y="143744"/>
                      </a:lnTo>
                      <a:lnTo>
                        <a:pt x="53218" y="140452"/>
                      </a:lnTo>
                      <a:lnTo>
                        <a:pt x="58156" y="142646"/>
                      </a:lnTo>
                      <a:lnTo>
                        <a:pt x="63642" y="142098"/>
                      </a:lnTo>
                      <a:lnTo>
                        <a:pt x="61448" y="132222"/>
                      </a:lnTo>
                      <a:lnTo>
                        <a:pt x="66385" y="130028"/>
                      </a:lnTo>
                      <a:lnTo>
                        <a:pt x="71872" y="130028"/>
                      </a:lnTo>
                      <a:lnTo>
                        <a:pt x="75712" y="125639"/>
                      </a:lnTo>
                      <a:lnTo>
                        <a:pt x="80650" y="122895"/>
                      </a:lnTo>
                      <a:lnTo>
                        <a:pt x="86137" y="124541"/>
                      </a:lnTo>
                      <a:lnTo>
                        <a:pt x="88880" y="129479"/>
                      </a:lnTo>
                      <a:lnTo>
                        <a:pt x="93817" y="132222"/>
                      </a:lnTo>
                      <a:lnTo>
                        <a:pt x="98755" y="130028"/>
                      </a:lnTo>
                      <a:lnTo>
                        <a:pt x="97658" y="124541"/>
                      </a:lnTo>
                      <a:lnTo>
                        <a:pt x="92172" y="115214"/>
                      </a:lnTo>
                      <a:lnTo>
                        <a:pt x="93269" y="109728"/>
                      </a:lnTo>
                      <a:lnTo>
                        <a:pt x="99304" y="100401"/>
                      </a:lnTo>
                      <a:lnTo>
                        <a:pt x="102047" y="77907"/>
                      </a:lnTo>
                      <a:lnTo>
                        <a:pt x="106436" y="75164"/>
                      </a:lnTo>
                      <a:lnTo>
                        <a:pt x="111923" y="74066"/>
                      </a:lnTo>
                      <a:lnTo>
                        <a:pt x="121249" y="67483"/>
                      </a:lnTo>
                      <a:lnTo>
                        <a:pt x="130028" y="68031"/>
                      </a:lnTo>
                      <a:lnTo>
                        <a:pt x="136063" y="55413"/>
                      </a:lnTo>
                      <a:lnTo>
                        <a:pt x="131125" y="52669"/>
                      </a:lnTo>
                      <a:lnTo>
                        <a:pt x="125090" y="52669"/>
                      </a:lnTo>
                      <a:lnTo>
                        <a:pt x="125090" y="41697"/>
                      </a:lnTo>
                      <a:lnTo>
                        <a:pt x="130028" y="39502"/>
                      </a:lnTo>
                      <a:lnTo>
                        <a:pt x="133868" y="35662"/>
                      </a:lnTo>
                      <a:lnTo>
                        <a:pt x="133868" y="33467"/>
                      </a:lnTo>
                      <a:lnTo>
                        <a:pt x="139355" y="34564"/>
                      </a:lnTo>
                      <a:lnTo>
                        <a:pt x="143744" y="31273"/>
                      </a:lnTo>
                      <a:lnTo>
                        <a:pt x="145390" y="25786"/>
                      </a:lnTo>
                      <a:lnTo>
                        <a:pt x="149779" y="22494"/>
                      </a:lnTo>
                      <a:lnTo>
                        <a:pt x="160203" y="26883"/>
                      </a:lnTo>
                      <a:lnTo>
                        <a:pt x="165689" y="25786"/>
                      </a:lnTo>
                      <a:lnTo>
                        <a:pt x="172822" y="17008"/>
                      </a:lnTo>
                      <a:lnTo>
                        <a:pt x="174468" y="11521"/>
                      </a:lnTo>
                      <a:lnTo>
                        <a:pt x="186538" y="549"/>
                      </a:lnTo>
                      <a:lnTo>
                        <a:pt x="193670" y="0"/>
                      </a:lnTo>
                      <a:lnTo>
                        <a:pt x="195316" y="4938"/>
                      </a:lnTo>
                      <a:lnTo>
                        <a:pt x="206289" y="3841"/>
                      </a:lnTo>
                      <a:lnTo>
                        <a:pt x="211226" y="5486"/>
                      </a:lnTo>
                      <a:lnTo>
                        <a:pt x="214518" y="10424"/>
                      </a:lnTo>
                      <a:lnTo>
                        <a:pt x="225491" y="8778"/>
                      </a:lnTo>
                      <a:lnTo>
                        <a:pt x="230977" y="9875"/>
                      </a:lnTo>
                      <a:lnTo>
                        <a:pt x="239207" y="15911"/>
                      </a:lnTo>
                      <a:lnTo>
                        <a:pt x="238110" y="29627"/>
                      </a:lnTo>
                      <a:lnTo>
                        <a:pt x="247985" y="24140"/>
                      </a:lnTo>
                      <a:lnTo>
                        <a:pt x="252923" y="23591"/>
                      </a:lnTo>
                      <a:lnTo>
                        <a:pt x="257312" y="19751"/>
                      </a:lnTo>
                      <a:lnTo>
                        <a:pt x="273223" y="19751"/>
                      </a:lnTo>
                      <a:lnTo>
                        <a:pt x="278161" y="23043"/>
                      </a:lnTo>
                      <a:lnTo>
                        <a:pt x="288585" y="36210"/>
                      </a:lnTo>
                      <a:lnTo>
                        <a:pt x="294071" y="36759"/>
                      </a:lnTo>
                      <a:lnTo>
                        <a:pt x="294620" y="44440"/>
                      </a:lnTo>
                      <a:lnTo>
                        <a:pt x="292974" y="49926"/>
                      </a:lnTo>
                      <a:lnTo>
                        <a:pt x="292974" y="55413"/>
                      </a:lnTo>
                      <a:lnTo>
                        <a:pt x="296266" y="59802"/>
                      </a:lnTo>
                      <a:lnTo>
                        <a:pt x="298460" y="65288"/>
                      </a:lnTo>
                      <a:lnTo>
                        <a:pt x="296266" y="75712"/>
                      </a:lnTo>
                      <a:lnTo>
                        <a:pt x="291328" y="79004"/>
                      </a:lnTo>
                      <a:lnTo>
                        <a:pt x="290231" y="84491"/>
                      </a:lnTo>
                      <a:lnTo>
                        <a:pt x="291877" y="89977"/>
                      </a:lnTo>
                      <a:lnTo>
                        <a:pt x="299557" y="97658"/>
                      </a:lnTo>
                      <a:lnTo>
                        <a:pt x="313273" y="127833"/>
                      </a:lnTo>
                      <a:lnTo>
                        <a:pt x="323149" y="133319"/>
                      </a:lnTo>
                      <a:lnTo>
                        <a:pt x="326441" y="138257"/>
                      </a:lnTo>
                      <a:lnTo>
                        <a:pt x="327538" y="143195"/>
                      </a:lnTo>
                      <a:lnTo>
                        <a:pt x="326989" y="148681"/>
                      </a:lnTo>
                      <a:lnTo>
                        <a:pt x="329184" y="153619"/>
                      </a:lnTo>
                      <a:lnTo>
                        <a:pt x="345643" y="151425"/>
                      </a:lnTo>
                      <a:lnTo>
                        <a:pt x="349484" y="155265"/>
                      </a:lnTo>
                      <a:lnTo>
                        <a:pt x="354970" y="156911"/>
                      </a:lnTo>
                      <a:lnTo>
                        <a:pt x="353324" y="161849"/>
                      </a:lnTo>
                      <a:lnTo>
                        <a:pt x="356616" y="166238"/>
                      </a:lnTo>
                      <a:lnTo>
                        <a:pt x="363200" y="167335"/>
                      </a:lnTo>
                      <a:lnTo>
                        <a:pt x="363748" y="176662"/>
                      </a:lnTo>
                      <a:lnTo>
                        <a:pt x="342900" y="194767"/>
                      </a:lnTo>
                      <a:lnTo>
                        <a:pt x="331379" y="193121"/>
                      </a:lnTo>
                      <a:lnTo>
                        <a:pt x="323149" y="185989"/>
                      </a:lnTo>
                      <a:lnTo>
                        <a:pt x="317663" y="185440"/>
                      </a:lnTo>
                      <a:lnTo>
                        <a:pt x="312725" y="187635"/>
                      </a:lnTo>
                      <a:lnTo>
                        <a:pt x="312176" y="193670"/>
                      </a:lnTo>
                      <a:lnTo>
                        <a:pt x="307238" y="195316"/>
                      </a:lnTo>
                      <a:lnTo>
                        <a:pt x="307238" y="201351"/>
                      </a:lnTo>
                      <a:lnTo>
                        <a:pt x="314920" y="208483"/>
                      </a:lnTo>
                      <a:lnTo>
                        <a:pt x="317114" y="213421"/>
                      </a:lnTo>
                      <a:lnTo>
                        <a:pt x="314920" y="218907"/>
                      </a:lnTo>
                      <a:lnTo>
                        <a:pt x="318760" y="222748"/>
                      </a:lnTo>
                      <a:lnTo>
                        <a:pt x="317663" y="228234"/>
                      </a:lnTo>
                      <a:lnTo>
                        <a:pt x="322600" y="230977"/>
                      </a:lnTo>
                      <a:lnTo>
                        <a:pt x="324246" y="236464"/>
                      </a:lnTo>
                      <a:lnTo>
                        <a:pt x="323698" y="241950"/>
                      </a:lnTo>
                      <a:lnTo>
                        <a:pt x="327538" y="256763"/>
                      </a:lnTo>
                      <a:lnTo>
                        <a:pt x="313273" y="256763"/>
                      </a:lnTo>
                      <a:lnTo>
                        <a:pt x="308336" y="260055"/>
                      </a:lnTo>
                      <a:lnTo>
                        <a:pt x="302301" y="260055"/>
                      </a:lnTo>
                      <a:lnTo>
                        <a:pt x="297363" y="262799"/>
                      </a:lnTo>
                      <a:lnTo>
                        <a:pt x="285293" y="274869"/>
                      </a:lnTo>
                      <a:lnTo>
                        <a:pt x="283098" y="280355"/>
                      </a:lnTo>
                      <a:lnTo>
                        <a:pt x="283098" y="286390"/>
                      </a:lnTo>
                      <a:lnTo>
                        <a:pt x="281452" y="291877"/>
                      </a:lnTo>
                      <a:lnTo>
                        <a:pt x="283098" y="303398"/>
                      </a:lnTo>
                      <a:lnTo>
                        <a:pt x="280355" y="308884"/>
                      </a:lnTo>
                      <a:lnTo>
                        <a:pt x="274869" y="310530"/>
                      </a:lnTo>
                      <a:lnTo>
                        <a:pt x="271028" y="305593"/>
                      </a:lnTo>
                      <a:lnTo>
                        <a:pt x="266090" y="303398"/>
                      </a:lnTo>
                      <a:lnTo>
                        <a:pt x="243048" y="304495"/>
                      </a:lnTo>
                      <a:lnTo>
                        <a:pt x="238658" y="307787"/>
                      </a:lnTo>
                      <a:lnTo>
                        <a:pt x="234269" y="304495"/>
                      </a:lnTo>
                      <a:lnTo>
                        <a:pt x="232075" y="299009"/>
                      </a:lnTo>
                      <a:lnTo>
                        <a:pt x="222748" y="291877"/>
                      </a:lnTo>
                      <a:lnTo>
                        <a:pt x="211775" y="304495"/>
                      </a:lnTo>
                      <a:lnTo>
                        <a:pt x="206837" y="301203"/>
                      </a:lnTo>
                      <a:lnTo>
                        <a:pt x="203545" y="296814"/>
                      </a:lnTo>
                      <a:lnTo>
                        <a:pt x="198059" y="298460"/>
                      </a:lnTo>
                      <a:lnTo>
                        <a:pt x="192573" y="296266"/>
                      </a:lnTo>
                      <a:lnTo>
                        <a:pt x="188184" y="292974"/>
                      </a:lnTo>
                      <a:lnTo>
                        <a:pt x="183794" y="297363"/>
                      </a:lnTo>
                      <a:lnTo>
                        <a:pt x="178308" y="297363"/>
                      </a:lnTo>
                      <a:lnTo>
                        <a:pt x="172822" y="299009"/>
                      </a:lnTo>
                      <a:lnTo>
                        <a:pt x="168433" y="302849"/>
                      </a:lnTo>
                      <a:lnTo>
                        <a:pt x="164044" y="299009"/>
                      </a:lnTo>
                      <a:lnTo>
                        <a:pt x="163495" y="293522"/>
                      </a:lnTo>
                      <a:lnTo>
                        <a:pt x="152522" y="294620"/>
                      </a:lnTo>
                      <a:lnTo>
                        <a:pt x="148133" y="290779"/>
                      </a:lnTo>
                      <a:lnTo>
                        <a:pt x="146487" y="285293"/>
                      </a:lnTo>
                      <a:lnTo>
                        <a:pt x="131674" y="278161"/>
                      </a:lnTo>
                      <a:lnTo>
                        <a:pt x="125639" y="279258"/>
                      </a:lnTo>
                      <a:lnTo>
                        <a:pt x="109180" y="274869"/>
                      </a:lnTo>
                      <a:lnTo>
                        <a:pt x="99304" y="269382"/>
                      </a:lnTo>
                      <a:lnTo>
                        <a:pt x="82296" y="269931"/>
                      </a:lnTo>
                      <a:lnTo>
                        <a:pt x="76810" y="267736"/>
                      </a:lnTo>
                      <a:lnTo>
                        <a:pt x="43891" y="274869"/>
                      </a:lnTo>
                      <a:lnTo>
                        <a:pt x="42245" y="279806"/>
                      </a:lnTo>
                      <a:lnTo>
                        <a:pt x="37856" y="283647"/>
                      </a:lnTo>
                      <a:lnTo>
                        <a:pt x="26883" y="288585"/>
                      </a:lnTo>
                      <a:lnTo>
                        <a:pt x="21397" y="288036"/>
                      </a:lnTo>
                      <a:lnTo>
                        <a:pt x="15911" y="288585"/>
                      </a:lnTo>
                      <a:lnTo>
                        <a:pt x="11521" y="292974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48" name="Graphic 7">
                  <a:extLst>
                    <a:ext uri="{FF2B5EF4-FFF2-40B4-BE49-F238E27FC236}">
                      <a16:creationId xmlns:a16="http://schemas.microsoft.com/office/drawing/2014/main" id="{5A2B9B14-0DF3-F86D-9206-105296C72477}"/>
                    </a:ext>
                  </a:extLst>
                </p:cNvPr>
                <p:cNvSpPr/>
                <p:nvPr/>
              </p:nvSpPr>
              <p:spPr>
                <a:xfrm>
                  <a:off x="5733301" y="2799225"/>
                  <a:ext cx="162455" cy="79727"/>
                </a:xfrm>
                <a:custGeom>
                  <a:avLst/>
                  <a:gdLst>
                    <a:gd name="connsiteX0" fmla="*/ 195316 w 207934"/>
                    <a:gd name="connsiteY0" fmla="*/ 65837 h 102046"/>
                    <a:gd name="connsiteX1" fmla="*/ 186538 w 207934"/>
                    <a:gd name="connsiteY1" fmla="*/ 68031 h 102046"/>
                    <a:gd name="connsiteX2" fmla="*/ 175565 w 207934"/>
                    <a:gd name="connsiteY2" fmla="*/ 60350 h 102046"/>
                    <a:gd name="connsiteX3" fmla="*/ 164592 w 207934"/>
                    <a:gd name="connsiteY3" fmla="*/ 57607 h 102046"/>
                    <a:gd name="connsiteX4" fmla="*/ 156362 w 207934"/>
                    <a:gd name="connsiteY4" fmla="*/ 59802 h 102046"/>
                    <a:gd name="connsiteX5" fmla="*/ 144841 w 207934"/>
                    <a:gd name="connsiteY5" fmla="*/ 58156 h 102046"/>
                    <a:gd name="connsiteX6" fmla="*/ 133868 w 207934"/>
                    <a:gd name="connsiteY6" fmla="*/ 64739 h 102046"/>
                    <a:gd name="connsiteX7" fmla="*/ 130576 w 207934"/>
                    <a:gd name="connsiteY7" fmla="*/ 72420 h 102046"/>
                    <a:gd name="connsiteX8" fmla="*/ 114117 w 207934"/>
                    <a:gd name="connsiteY8" fmla="*/ 79004 h 102046"/>
                    <a:gd name="connsiteX9" fmla="*/ 102596 w 207934"/>
                    <a:gd name="connsiteY9" fmla="*/ 75164 h 102046"/>
                    <a:gd name="connsiteX10" fmla="*/ 70775 w 207934"/>
                    <a:gd name="connsiteY10" fmla="*/ 87782 h 102046"/>
                    <a:gd name="connsiteX11" fmla="*/ 61448 w 207934"/>
                    <a:gd name="connsiteY11" fmla="*/ 100950 h 102046"/>
                    <a:gd name="connsiteX12" fmla="*/ 34564 w 207934"/>
                    <a:gd name="connsiteY12" fmla="*/ 102047 h 102046"/>
                    <a:gd name="connsiteX13" fmla="*/ 8778 w 207934"/>
                    <a:gd name="connsiteY13" fmla="*/ 84491 h 102046"/>
                    <a:gd name="connsiteX14" fmla="*/ 0 w 207934"/>
                    <a:gd name="connsiteY14" fmla="*/ 60350 h 102046"/>
                    <a:gd name="connsiteX15" fmla="*/ 8230 w 207934"/>
                    <a:gd name="connsiteY15" fmla="*/ 45537 h 102046"/>
                    <a:gd name="connsiteX16" fmla="*/ 13167 w 207934"/>
                    <a:gd name="connsiteY16" fmla="*/ 45537 h 102046"/>
                    <a:gd name="connsiteX17" fmla="*/ 17008 w 207934"/>
                    <a:gd name="connsiteY17" fmla="*/ 48829 h 102046"/>
                    <a:gd name="connsiteX18" fmla="*/ 27432 w 207934"/>
                    <a:gd name="connsiteY18" fmla="*/ 47732 h 102046"/>
                    <a:gd name="connsiteX19" fmla="*/ 36210 w 207934"/>
                    <a:gd name="connsiteY19" fmla="*/ 40599 h 102046"/>
                    <a:gd name="connsiteX20" fmla="*/ 36210 w 207934"/>
                    <a:gd name="connsiteY20" fmla="*/ 35662 h 102046"/>
                    <a:gd name="connsiteX21" fmla="*/ 42245 w 207934"/>
                    <a:gd name="connsiteY21" fmla="*/ 34564 h 102046"/>
                    <a:gd name="connsiteX22" fmla="*/ 46086 w 207934"/>
                    <a:gd name="connsiteY22" fmla="*/ 29078 h 102046"/>
                    <a:gd name="connsiteX23" fmla="*/ 46086 w 207934"/>
                    <a:gd name="connsiteY23" fmla="*/ 20300 h 102046"/>
                    <a:gd name="connsiteX24" fmla="*/ 47732 w 207934"/>
                    <a:gd name="connsiteY24" fmla="*/ 17008 h 102046"/>
                    <a:gd name="connsiteX25" fmla="*/ 53767 w 207934"/>
                    <a:gd name="connsiteY25" fmla="*/ 15362 h 102046"/>
                    <a:gd name="connsiteX26" fmla="*/ 60899 w 207934"/>
                    <a:gd name="connsiteY26" fmla="*/ 4938 h 102046"/>
                    <a:gd name="connsiteX27" fmla="*/ 68580 w 207934"/>
                    <a:gd name="connsiteY27" fmla="*/ 5486 h 102046"/>
                    <a:gd name="connsiteX28" fmla="*/ 73518 w 207934"/>
                    <a:gd name="connsiteY28" fmla="*/ 1097 h 102046"/>
                    <a:gd name="connsiteX29" fmla="*/ 81199 w 207934"/>
                    <a:gd name="connsiteY29" fmla="*/ 4938 h 102046"/>
                    <a:gd name="connsiteX30" fmla="*/ 95464 w 207934"/>
                    <a:gd name="connsiteY30" fmla="*/ 0 h 102046"/>
                    <a:gd name="connsiteX31" fmla="*/ 112471 w 207934"/>
                    <a:gd name="connsiteY31" fmla="*/ 17556 h 102046"/>
                    <a:gd name="connsiteX32" fmla="*/ 117958 w 207934"/>
                    <a:gd name="connsiteY32" fmla="*/ 19202 h 102046"/>
                    <a:gd name="connsiteX33" fmla="*/ 124541 w 207934"/>
                    <a:gd name="connsiteY33" fmla="*/ 15911 h 102046"/>
                    <a:gd name="connsiteX34" fmla="*/ 130576 w 207934"/>
                    <a:gd name="connsiteY34" fmla="*/ 9327 h 102046"/>
                    <a:gd name="connsiteX35" fmla="*/ 144292 w 207934"/>
                    <a:gd name="connsiteY35" fmla="*/ 9327 h 102046"/>
                    <a:gd name="connsiteX36" fmla="*/ 150876 w 207934"/>
                    <a:gd name="connsiteY36" fmla="*/ 14265 h 102046"/>
                    <a:gd name="connsiteX37" fmla="*/ 162946 w 207934"/>
                    <a:gd name="connsiteY37" fmla="*/ 7132 h 102046"/>
                    <a:gd name="connsiteX38" fmla="*/ 181051 w 207934"/>
                    <a:gd name="connsiteY38" fmla="*/ 7132 h 102046"/>
                    <a:gd name="connsiteX39" fmla="*/ 200802 w 207934"/>
                    <a:gd name="connsiteY39" fmla="*/ 23043 h 102046"/>
                    <a:gd name="connsiteX40" fmla="*/ 207935 w 207934"/>
                    <a:gd name="connsiteY40" fmla="*/ 25237 h 102046"/>
                    <a:gd name="connsiteX41" fmla="*/ 195316 w 207934"/>
                    <a:gd name="connsiteY41" fmla="*/ 65837 h 1020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</a:cxnLst>
                  <a:rect l="l" t="t" r="r" b="b"/>
                  <a:pathLst>
                    <a:path w="207934" h="102046">
                      <a:moveTo>
                        <a:pt x="195316" y="65837"/>
                      </a:moveTo>
                      <a:lnTo>
                        <a:pt x="186538" y="68031"/>
                      </a:lnTo>
                      <a:lnTo>
                        <a:pt x="175565" y="60350"/>
                      </a:lnTo>
                      <a:lnTo>
                        <a:pt x="164592" y="57607"/>
                      </a:lnTo>
                      <a:lnTo>
                        <a:pt x="156362" y="59802"/>
                      </a:lnTo>
                      <a:lnTo>
                        <a:pt x="144841" y="58156"/>
                      </a:lnTo>
                      <a:lnTo>
                        <a:pt x="133868" y="64739"/>
                      </a:lnTo>
                      <a:lnTo>
                        <a:pt x="130576" y="72420"/>
                      </a:lnTo>
                      <a:lnTo>
                        <a:pt x="114117" y="79004"/>
                      </a:lnTo>
                      <a:lnTo>
                        <a:pt x="102596" y="75164"/>
                      </a:lnTo>
                      <a:lnTo>
                        <a:pt x="70775" y="87782"/>
                      </a:lnTo>
                      <a:lnTo>
                        <a:pt x="61448" y="100950"/>
                      </a:lnTo>
                      <a:lnTo>
                        <a:pt x="34564" y="102047"/>
                      </a:lnTo>
                      <a:lnTo>
                        <a:pt x="8778" y="84491"/>
                      </a:lnTo>
                      <a:lnTo>
                        <a:pt x="0" y="60350"/>
                      </a:lnTo>
                      <a:lnTo>
                        <a:pt x="8230" y="45537"/>
                      </a:lnTo>
                      <a:lnTo>
                        <a:pt x="13167" y="45537"/>
                      </a:lnTo>
                      <a:lnTo>
                        <a:pt x="17008" y="48829"/>
                      </a:lnTo>
                      <a:lnTo>
                        <a:pt x="27432" y="47732"/>
                      </a:lnTo>
                      <a:lnTo>
                        <a:pt x="36210" y="40599"/>
                      </a:lnTo>
                      <a:lnTo>
                        <a:pt x="36210" y="35662"/>
                      </a:lnTo>
                      <a:lnTo>
                        <a:pt x="42245" y="34564"/>
                      </a:lnTo>
                      <a:lnTo>
                        <a:pt x="46086" y="29078"/>
                      </a:lnTo>
                      <a:lnTo>
                        <a:pt x="46086" y="20300"/>
                      </a:lnTo>
                      <a:lnTo>
                        <a:pt x="47732" y="17008"/>
                      </a:lnTo>
                      <a:lnTo>
                        <a:pt x="53767" y="15362"/>
                      </a:lnTo>
                      <a:lnTo>
                        <a:pt x="60899" y="4938"/>
                      </a:lnTo>
                      <a:lnTo>
                        <a:pt x="68580" y="5486"/>
                      </a:lnTo>
                      <a:lnTo>
                        <a:pt x="73518" y="1097"/>
                      </a:lnTo>
                      <a:lnTo>
                        <a:pt x="81199" y="4938"/>
                      </a:lnTo>
                      <a:lnTo>
                        <a:pt x="95464" y="0"/>
                      </a:lnTo>
                      <a:lnTo>
                        <a:pt x="112471" y="17556"/>
                      </a:lnTo>
                      <a:lnTo>
                        <a:pt x="117958" y="19202"/>
                      </a:lnTo>
                      <a:lnTo>
                        <a:pt x="124541" y="15911"/>
                      </a:lnTo>
                      <a:lnTo>
                        <a:pt x="130576" y="9327"/>
                      </a:lnTo>
                      <a:lnTo>
                        <a:pt x="144292" y="9327"/>
                      </a:lnTo>
                      <a:lnTo>
                        <a:pt x="150876" y="14265"/>
                      </a:lnTo>
                      <a:lnTo>
                        <a:pt x="162946" y="7132"/>
                      </a:lnTo>
                      <a:lnTo>
                        <a:pt x="181051" y="7132"/>
                      </a:lnTo>
                      <a:lnTo>
                        <a:pt x="200802" y="23043"/>
                      </a:lnTo>
                      <a:lnTo>
                        <a:pt x="207935" y="25237"/>
                      </a:lnTo>
                      <a:lnTo>
                        <a:pt x="195316" y="65837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49" name="Graphic 7">
                  <a:extLst>
                    <a:ext uri="{FF2B5EF4-FFF2-40B4-BE49-F238E27FC236}">
                      <a16:creationId xmlns:a16="http://schemas.microsoft.com/office/drawing/2014/main" id="{5A2F1CEC-B976-9A18-5704-0F12E9087CF2}"/>
                    </a:ext>
                  </a:extLst>
                </p:cNvPr>
                <p:cNvSpPr/>
                <p:nvPr/>
              </p:nvSpPr>
              <p:spPr>
                <a:xfrm>
                  <a:off x="5517693" y="2895241"/>
                  <a:ext cx="7286" cy="16288"/>
                </a:xfrm>
                <a:custGeom>
                  <a:avLst/>
                  <a:gdLst>
                    <a:gd name="connsiteX0" fmla="*/ 4938 w 9326"/>
                    <a:gd name="connsiteY0" fmla="*/ 20848 h 20848"/>
                    <a:gd name="connsiteX1" fmla="*/ 9327 w 9326"/>
                    <a:gd name="connsiteY1" fmla="*/ 15911 h 20848"/>
                    <a:gd name="connsiteX2" fmla="*/ 8230 w 9326"/>
                    <a:gd name="connsiteY2" fmla="*/ 3292 h 20848"/>
                    <a:gd name="connsiteX3" fmla="*/ 2743 w 9326"/>
                    <a:gd name="connsiteY3" fmla="*/ 0 h 20848"/>
                    <a:gd name="connsiteX4" fmla="*/ 0 w 9326"/>
                    <a:gd name="connsiteY4" fmla="*/ 12619 h 20848"/>
                    <a:gd name="connsiteX5" fmla="*/ 4938 w 9326"/>
                    <a:gd name="connsiteY5" fmla="*/ 20848 h 208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9326" h="20848">
                      <a:moveTo>
                        <a:pt x="4938" y="20848"/>
                      </a:moveTo>
                      <a:lnTo>
                        <a:pt x="9327" y="15911"/>
                      </a:lnTo>
                      <a:lnTo>
                        <a:pt x="8230" y="3292"/>
                      </a:lnTo>
                      <a:lnTo>
                        <a:pt x="2743" y="0"/>
                      </a:lnTo>
                      <a:lnTo>
                        <a:pt x="0" y="12619"/>
                      </a:lnTo>
                      <a:lnTo>
                        <a:pt x="4938" y="20848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50" name="Graphic 7">
                  <a:extLst>
                    <a:ext uri="{FF2B5EF4-FFF2-40B4-BE49-F238E27FC236}">
                      <a16:creationId xmlns:a16="http://schemas.microsoft.com/office/drawing/2014/main" id="{41555470-6F04-3E65-E98E-E52B9DB4540A}"/>
                    </a:ext>
                  </a:extLst>
                </p:cNvPr>
                <p:cNvSpPr/>
                <p:nvPr/>
              </p:nvSpPr>
              <p:spPr>
                <a:xfrm>
                  <a:off x="5632141" y="2916674"/>
                  <a:ext cx="93015" cy="66010"/>
                </a:xfrm>
                <a:custGeom>
                  <a:avLst/>
                  <a:gdLst>
                    <a:gd name="connsiteX0" fmla="*/ 99304 w 119054"/>
                    <a:gd name="connsiteY0" fmla="*/ 0 h 84490"/>
                    <a:gd name="connsiteX1" fmla="*/ 93269 w 119054"/>
                    <a:gd name="connsiteY1" fmla="*/ 3292 h 84490"/>
                    <a:gd name="connsiteX2" fmla="*/ 92171 w 119054"/>
                    <a:gd name="connsiteY2" fmla="*/ 8230 h 84490"/>
                    <a:gd name="connsiteX3" fmla="*/ 80101 w 119054"/>
                    <a:gd name="connsiteY3" fmla="*/ 7132 h 84490"/>
                    <a:gd name="connsiteX4" fmla="*/ 77358 w 119054"/>
                    <a:gd name="connsiteY4" fmla="*/ 7132 h 84490"/>
                    <a:gd name="connsiteX5" fmla="*/ 74066 w 119054"/>
                    <a:gd name="connsiteY5" fmla="*/ 13167 h 84490"/>
                    <a:gd name="connsiteX6" fmla="*/ 60899 w 119054"/>
                    <a:gd name="connsiteY6" fmla="*/ 9875 h 84490"/>
                    <a:gd name="connsiteX7" fmla="*/ 51572 w 119054"/>
                    <a:gd name="connsiteY7" fmla="*/ 12619 h 84490"/>
                    <a:gd name="connsiteX8" fmla="*/ 46086 w 119054"/>
                    <a:gd name="connsiteY8" fmla="*/ 19751 h 84490"/>
                    <a:gd name="connsiteX9" fmla="*/ 40051 w 119054"/>
                    <a:gd name="connsiteY9" fmla="*/ 23592 h 84490"/>
                    <a:gd name="connsiteX10" fmla="*/ 8778 w 119054"/>
                    <a:gd name="connsiteY10" fmla="*/ 21397 h 84490"/>
                    <a:gd name="connsiteX11" fmla="*/ 1646 w 119054"/>
                    <a:gd name="connsiteY11" fmla="*/ 27981 h 84490"/>
                    <a:gd name="connsiteX12" fmla="*/ 0 w 119054"/>
                    <a:gd name="connsiteY12" fmla="*/ 32918 h 84490"/>
                    <a:gd name="connsiteX13" fmla="*/ 0 w 119054"/>
                    <a:gd name="connsiteY13" fmla="*/ 36210 h 84490"/>
                    <a:gd name="connsiteX14" fmla="*/ 1646 w 119054"/>
                    <a:gd name="connsiteY14" fmla="*/ 37308 h 84490"/>
                    <a:gd name="connsiteX15" fmla="*/ 4938 w 119054"/>
                    <a:gd name="connsiteY15" fmla="*/ 36759 h 84490"/>
                    <a:gd name="connsiteX16" fmla="*/ 2743 w 119054"/>
                    <a:gd name="connsiteY16" fmla="*/ 47183 h 84490"/>
                    <a:gd name="connsiteX17" fmla="*/ 6035 w 119054"/>
                    <a:gd name="connsiteY17" fmla="*/ 51024 h 84490"/>
                    <a:gd name="connsiteX18" fmla="*/ 6035 w 119054"/>
                    <a:gd name="connsiteY18" fmla="*/ 56510 h 84490"/>
                    <a:gd name="connsiteX19" fmla="*/ 7681 w 119054"/>
                    <a:gd name="connsiteY19" fmla="*/ 58156 h 84490"/>
                    <a:gd name="connsiteX20" fmla="*/ 13167 w 119054"/>
                    <a:gd name="connsiteY20" fmla="*/ 60350 h 84490"/>
                    <a:gd name="connsiteX21" fmla="*/ 14813 w 119054"/>
                    <a:gd name="connsiteY21" fmla="*/ 64191 h 84490"/>
                    <a:gd name="connsiteX22" fmla="*/ 17008 w 119054"/>
                    <a:gd name="connsiteY22" fmla="*/ 65288 h 84490"/>
                    <a:gd name="connsiteX23" fmla="*/ 18654 w 119054"/>
                    <a:gd name="connsiteY23" fmla="*/ 68031 h 84490"/>
                    <a:gd name="connsiteX24" fmla="*/ 18105 w 119054"/>
                    <a:gd name="connsiteY24" fmla="*/ 70775 h 84490"/>
                    <a:gd name="connsiteX25" fmla="*/ 15362 w 119054"/>
                    <a:gd name="connsiteY25" fmla="*/ 72969 h 84490"/>
                    <a:gd name="connsiteX26" fmla="*/ 11521 w 119054"/>
                    <a:gd name="connsiteY26" fmla="*/ 74066 h 84490"/>
                    <a:gd name="connsiteX27" fmla="*/ 8230 w 119054"/>
                    <a:gd name="connsiteY27" fmla="*/ 72969 h 84490"/>
                    <a:gd name="connsiteX28" fmla="*/ 3840 w 119054"/>
                    <a:gd name="connsiteY28" fmla="*/ 75712 h 84490"/>
                    <a:gd name="connsiteX29" fmla="*/ 8778 w 119054"/>
                    <a:gd name="connsiteY29" fmla="*/ 80101 h 84490"/>
                    <a:gd name="connsiteX30" fmla="*/ 19202 w 119054"/>
                    <a:gd name="connsiteY30" fmla="*/ 80101 h 84490"/>
                    <a:gd name="connsiteX31" fmla="*/ 20300 w 119054"/>
                    <a:gd name="connsiteY31" fmla="*/ 75712 h 84490"/>
                    <a:gd name="connsiteX32" fmla="*/ 24140 w 119054"/>
                    <a:gd name="connsiteY32" fmla="*/ 79553 h 84490"/>
                    <a:gd name="connsiteX33" fmla="*/ 35662 w 119054"/>
                    <a:gd name="connsiteY33" fmla="*/ 79004 h 84490"/>
                    <a:gd name="connsiteX34" fmla="*/ 41148 w 119054"/>
                    <a:gd name="connsiteY34" fmla="*/ 68580 h 84490"/>
                    <a:gd name="connsiteX35" fmla="*/ 42794 w 119054"/>
                    <a:gd name="connsiteY35" fmla="*/ 68580 h 84490"/>
                    <a:gd name="connsiteX36" fmla="*/ 51023 w 119054"/>
                    <a:gd name="connsiteY36" fmla="*/ 81747 h 84490"/>
                    <a:gd name="connsiteX37" fmla="*/ 53767 w 119054"/>
                    <a:gd name="connsiteY37" fmla="*/ 81199 h 84490"/>
                    <a:gd name="connsiteX38" fmla="*/ 54315 w 119054"/>
                    <a:gd name="connsiteY38" fmla="*/ 78456 h 84490"/>
                    <a:gd name="connsiteX39" fmla="*/ 55961 w 119054"/>
                    <a:gd name="connsiteY39" fmla="*/ 78456 h 84490"/>
                    <a:gd name="connsiteX40" fmla="*/ 57059 w 119054"/>
                    <a:gd name="connsiteY40" fmla="*/ 80101 h 84490"/>
                    <a:gd name="connsiteX41" fmla="*/ 59802 w 119054"/>
                    <a:gd name="connsiteY41" fmla="*/ 80650 h 84490"/>
                    <a:gd name="connsiteX42" fmla="*/ 63094 w 119054"/>
                    <a:gd name="connsiteY42" fmla="*/ 84491 h 84490"/>
                    <a:gd name="connsiteX43" fmla="*/ 65288 w 119054"/>
                    <a:gd name="connsiteY43" fmla="*/ 84491 h 84490"/>
                    <a:gd name="connsiteX44" fmla="*/ 69129 w 119054"/>
                    <a:gd name="connsiteY44" fmla="*/ 81747 h 84490"/>
                    <a:gd name="connsiteX45" fmla="*/ 68031 w 119054"/>
                    <a:gd name="connsiteY45" fmla="*/ 74066 h 84490"/>
                    <a:gd name="connsiteX46" fmla="*/ 70775 w 119054"/>
                    <a:gd name="connsiteY46" fmla="*/ 70226 h 84490"/>
                    <a:gd name="connsiteX47" fmla="*/ 68580 w 119054"/>
                    <a:gd name="connsiteY47" fmla="*/ 66934 h 84490"/>
                    <a:gd name="connsiteX48" fmla="*/ 75712 w 119054"/>
                    <a:gd name="connsiteY48" fmla="*/ 60350 h 84490"/>
                    <a:gd name="connsiteX49" fmla="*/ 81747 w 119054"/>
                    <a:gd name="connsiteY49" fmla="*/ 60350 h 84490"/>
                    <a:gd name="connsiteX50" fmla="*/ 84491 w 119054"/>
                    <a:gd name="connsiteY50" fmla="*/ 54864 h 84490"/>
                    <a:gd name="connsiteX51" fmla="*/ 85039 w 119054"/>
                    <a:gd name="connsiteY51" fmla="*/ 47183 h 84490"/>
                    <a:gd name="connsiteX52" fmla="*/ 80650 w 119054"/>
                    <a:gd name="connsiteY52" fmla="*/ 42794 h 84490"/>
                    <a:gd name="connsiteX53" fmla="*/ 80101 w 119054"/>
                    <a:gd name="connsiteY53" fmla="*/ 40051 h 84490"/>
                    <a:gd name="connsiteX54" fmla="*/ 82296 w 119054"/>
                    <a:gd name="connsiteY54" fmla="*/ 36210 h 84490"/>
                    <a:gd name="connsiteX55" fmla="*/ 96012 w 119054"/>
                    <a:gd name="connsiteY55" fmla="*/ 31821 h 84490"/>
                    <a:gd name="connsiteX56" fmla="*/ 98207 w 119054"/>
                    <a:gd name="connsiteY56" fmla="*/ 29627 h 84490"/>
                    <a:gd name="connsiteX57" fmla="*/ 98207 w 119054"/>
                    <a:gd name="connsiteY57" fmla="*/ 26335 h 84490"/>
                    <a:gd name="connsiteX58" fmla="*/ 103693 w 119054"/>
                    <a:gd name="connsiteY58" fmla="*/ 26335 h 84490"/>
                    <a:gd name="connsiteX59" fmla="*/ 105887 w 119054"/>
                    <a:gd name="connsiteY59" fmla="*/ 27981 h 84490"/>
                    <a:gd name="connsiteX60" fmla="*/ 105887 w 119054"/>
                    <a:gd name="connsiteY60" fmla="*/ 26883 h 84490"/>
                    <a:gd name="connsiteX61" fmla="*/ 104790 w 119054"/>
                    <a:gd name="connsiteY61" fmla="*/ 22494 h 84490"/>
                    <a:gd name="connsiteX62" fmla="*/ 104790 w 119054"/>
                    <a:gd name="connsiteY62" fmla="*/ 19202 h 84490"/>
                    <a:gd name="connsiteX63" fmla="*/ 107533 w 119054"/>
                    <a:gd name="connsiteY63" fmla="*/ 16459 h 84490"/>
                    <a:gd name="connsiteX64" fmla="*/ 110277 w 119054"/>
                    <a:gd name="connsiteY64" fmla="*/ 17008 h 84490"/>
                    <a:gd name="connsiteX65" fmla="*/ 116312 w 119054"/>
                    <a:gd name="connsiteY65" fmla="*/ 21397 h 84490"/>
                    <a:gd name="connsiteX66" fmla="*/ 118506 w 119054"/>
                    <a:gd name="connsiteY66" fmla="*/ 19751 h 84490"/>
                    <a:gd name="connsiteX67" fmla="*/ 119055 w 119054"/>
                    <a:gd name="connsiteY67" fmla="*/ 21397 h 84490"/>
                    <a:gd name="connsiteX68" fmla="*/ 109179 w 119054"/>
                    <a:gd name="connsiteY68" fmla="*/ 3292 h 84490"/>
                    <a:gd name="connsiteX69" fmla="*/ 104242 w 119054"/>
                    <a:gd name="connsiteY69" fmla="*/ 549 h 84490"/>
                    <a:gd name="connsiteX70" fmla="*/ 99304 w 119054"/>
                    <a:gd name="connsiteY70" fmla="*/ 0 h 844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</a:cxnLst>
                  <a:rect l="l" t="t" r="r" b="b"/>
                  <a:pathLst>
                    <a:path w="119054" h="84490">
                      <a:moveTo>
                        <a:pt x="99304" y="0"/>
                      </a:moveTo>
                      <a:lnTo>
                        <a:pt x="93269" y="3292"/>
                      </a:lnTo>
                      <a:lnTo>
                        <a:pt x="92171" y="8230"/>
                      </a:lnTo>
                      <a:lnTo>
                        <a:pt x="80101" y="7132"/>
                      </a:lnTo>
                      <a:lnTo>
                        <a:pt x="77358" y="7132"/>
                      </a:lnTo>
                      <a:lnTo>
                        <a:pt x="74066" y="13167"/>
                      </a:lnTo>
                      <a:lnTo>
                        <a:pt x="60899" y="9875"/>
                      </a:lnTo>
                      <a:lnTo>
                        <a:pt x="51572" y="12619"/>
                      </a:lnTo>
                      <a:lnTo>
                        <a:pt x="46086" y="19751"/>
                      </a:lnTo>
                      <a:lnTo>
                        <a:pt x="40051" y="23592"/>
                      </a:lnTo>
                      <a:lnTo>
                        <a:pt x="8778" y="21397"/>
                      </a:lnTo>
                      <a:lnTo>
                        <a:pt x="1646" y="27981"/>
                      </a:lnTo>
                      <a:lnTo>
                        <a:pt x="0" y="32918"/>
                      </a:lnTo>
                      <a:lnTo>
                        <a:pt x="0" y="36210"/>
                      </a:lnTo>
                      <a:lnTo>
                        <a:pt x="1646" y="37308"/>
                      </a:lnTo>
                      <a:lnTo>
                        <a:pt x="4938" y="36759"/>
                      </a:lnTo>
                      <a:lnTo>
                        <a:pt x="2743" y="47183"/>
                      </a:lnTo>
                      <a:lnTo>
                        <a:pt x="6035" y="51024"/>
                      </a:lnTo>
                      <a:lnTo>
                        <a:pt x="6035" y="56510"/>
                      </a:lnTo>
                      <a:lnTo>
                        <a:pt x="7681" y="58156"/>
                      </a:lnTo>
                      <a:lnTo>
                        <a:pt x="13167" y="60350"/>
                      </a:lnTo>
                      <a:lnTo>
                        <a:pt x="14813" y="64191"/>
                      </a:lnTo>
                      <a:lnTo>
                        <a:pt x="17008" y="65288"/>
                      </a:lnTo>
                      <a:lnTo>
                        <a:pt x="18654" y="68031"/>
                      </a:lnTo>
                      <a:lnTo>
                        <a:pt x="18105" y="70775"/>
                      </a:lnTo>
                      <a:lnTo>
                        <a:pt x="15362" y="72969"/>
                      </a:lnTo>
                      <a:lnTo>
                        <a:pt x="11521" y="74066"/>
                      </a:lnTo>
                      <a:lnTo>
                        <a:pt x="8230" y="72969"/>
                      </a:lnTo>
                      <a:lnTo>
                        <a:pt x="3840" y="75712"/>
                      </a:lnTo>
                      <a:lnTo>
                        <a:pt x="8778" y="80101"/>
                      </a:lnTo>
                      <a:lnTo>
                        <a:pt x="19202" y="80101"/>
                      </a:lnTo>
                      <a:lnTo>
                        <a:pt x="20300" y="75712"/>
                      </a:lnTo>
                      <a:lnTo>
                        <a:pt x="24140" y="79553"/>
                      </a:lnTo>
                      <a:lnTo>
                        <a:pt x="35662" y="79004"/>
                      </a:lnTo>
                      <a:lnTo>
                        <a:pt x="41148" y="68580"/>
                      </a:lnTo>
                      <a:lnTo>
                        <a:pt x="42794" y="68580"/>
                      </a:lnTo>
                      <a:lnTo>
                        <a:pt x="51023" y="81747"/>
                      </a:lnTo>
                      <a:lnTo>
                        <a:pt x="53767" y="81199"/>
                      </a:lnTo>
                      <a:lnTo>
                        <a:pt x="54315" y="78456"/>
                      </a:lnTo>
                      <a:lnTo>
                        <a:pt x="55961" y="78456"/>
                      </a:lnTo>
                      <a:lnTo>
                        <a:pt x="57059" y="80101"/>
                      </a:lnTo>
                      <a:lnTo>
                        <a:pt x="59802" y="80650"/>
                      </a:lnTo>
                      <a:lnTo>
                        <a:pt x="63094" y="84491"/>
                      </a:lnTo>
                      <a:lnTo>
                        <a:pt x="65288" y="84491"/>
                      </a:lnTo>
                      <a:lnTo>
                        <a:pt x="69129" y="81747"/>
                      </a:lnTo>
                      <a:lnTo>
                        <a:pt x="68031" y="74066"/>
                      </a:lnTo>
                      <a:lnTo>
                        <a:pt x="70775" y="70226"/>
                      </a:lnTo>
                      <a:lnTo>
                        <a:pt x="68580" y="66934"/>
                      </a:lnTo>
                      <a:lnTo>
                        <a:pt x="75712" y="60350"/>
                      </a:lnTo>
                      <a:lnTo>
                        <a:pt x="81747" y="60350"/>
                      </a:lnTo>
                      <a:lnTo>
                        <a:pt x="84491" y="54864"/>
                      </a:lnTo>
                      <a:lnTo>
                        <a:pt x="85039" y="47183"/>
                      </a:lnTo>
                      <a:lnTo>
                        <a:pt x="80650" y="42794"/>
                      </a:lnTo>
                      <a:lnTo>
                        <a:pt x="80101" y="40051"/>
                      </a:lnTo>
                      <a:lnTo>
                        <a:pt x="82296" y="36210"/>
                      </a:lnTo>
                      <a:lnTo>
                        <a:pt x="96012" y="31821"/>
                      </a:lnTo>
                      <a:lnTo>
                        <a:pt x="98207" y="29627"/>
                      </a:lnTo>
                      <a:lnTo>
                        <a:pt x="98207" y="26335"/>
                      </a:lnTo>
                      <a:lnTo>
                        <a:pt x="103693" y="26335"/>
                      </a:lnTo>
                      <a:lnTo>
                        <a:pt x="105887" y="27981"/>
                      </a:lnTo>
                      <a:lnTo>
                        <a:pt x="105887" y="26883"/>
                      </a:lnTo>
                      <a:lnTo>
                        <a:pt x="104790" y="22494"/>
                      </a:lnTo>
                      <a:lnTo>
                        <a:pt x="104790" y="19202"/>
                      </a:lnTo>
                      <a:lnTo>
                        <a:pt x="107533" y="16459"/>
                      </a:lnTo>
                      <a:lnTo>
                        <a:pt x="110277" y="17008"/>
                      </a:lnTo>
                      <a:lnTo>
                        <a:pt x="116312" y="21397"/>
                      </a:lnTo>
                      <a:lnTo>
                        <a:pt x="118506" y="19751"/>
                      </a:lnTo>
                      <a:lnTo>
                        <a:pt x="119055" y="21397"/>
                      </a:lnTo>
                      <a:lnTo>
                        <a:pt x="109179" y="3292"/>
                      </a:lnTo>
                      <a:lnTo>
                        <a:pt x="104242" y="549"/>
                      </a:lnTo>
                      <a:lnTo>
                        <a:pt x="99304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51" name="Graphic 7">
                  <a:extLst>
                    <a:ext uri="{FF2B5EF4-FFF2-40B4-BE49-F238E27FC236}">
                      <a16:creationId xmlns:a16="http://schemas.microsoft.com/office/drawing/2014/main" id="{00B1698B-7BBD-624D-67AA-2A58C5474F73}"/>
                    </a:ext>
                  </a:extLst>
                </p:cNvPr>
                <p:cNvSpPr/>
                <p:nvPr/>
              </p:nvSpPr>
              <p:spPr>
                <a:xfrm>
                  <a:off x="5841319" y="3103990"/>
                  <a:ext cx="70725" cy="57437"/>
                </a:xfrm>
                <a:custGeom>
                  <a:avLst/>
                  <a:gdLst>
                    <a:gd name="connsiteX0" fmla="*/ 17557 w 90525"/>
                    <a:gd name="connsiteY0" fmla="*/ 73518 h 73517"/>
                    <a:gd name="connsiteX1" fmla="*/ 6035 w 90525"/>
                    <a:gd name="connsiteY1" fmla="*/ 61996 h 73517"/>
                    <a:gd name="connsiteX2" fmla="*/ 0 w 90525"/>
                    <a:gd name="connsiteY2" fmla="*/ 48280 h 73517"/>
                    <a:gd name="connsiteX3" fmla="*/ 2743 w 90525"/>
                    <a:gd name="connsiteY3" fmla="*/ 12070 h 73517"/>
                    <a:gd name="connsiteX4" fmla="*/ 4389 w 90525"/>
                    <a:gd name="connsiteY4" fmla="*/ 13167 h 73517"/>
                    <a:gd name="connsiteX5" fmla="*/ 7132 w 90525"/>
                    <a:gd name="connsiteY5" fmla="*/ 13167 h 73517"/>
                    <a:gd name="connsiteX6" fmla="*/ 9327 w 90525"/>
                    <a:gd name="connsiteY6" fmla="*/ 11522 h 73517"/>
                    <a:gd name="connsiteX7" fmla="*/ 10424 w 90525"/>
                    <a:gd name="connsiteY7" fmla="*/ 4938 h 73517"/>
                    <a:gd name="connsiteX8" fmla="*/ 21397 w 90525"/>
                    <a:gd name="connsiteY8" fmla="*/ 1646 h 73517"/>
                    <a:gd name="connsiteX9" fmla="*/ 23591 w 90525"/>
                    <a:gd name="connsiteY9" fmla="*/ 2195 h 73517"/>
                    <a:gd name="connsiteX10" fmla="*/ 27981 w 90525"/>
                    <a:gd name="connsiteY10" fmla="*/ 7132 h 73517"/>
                    <a:gd name="connsiteX11" fmla="*/ 29627 w 90525"/>
                    <a:gd name="connsiteY11" fmla="*/ 6584 h 73517"/>
                    <a:gd name="connsiteX12" fmla="*/ 30175 w 90525"/>
                    <a:gd name="connsiteY12" fmla="*/ 3841 h 73517"/>
                    <a:gd name="connsiteX13" fmla="*/ 35113 w 90525"/>
                    <a:gd name="connsiteY13" fmla="*/ 549 h 73517"/>
                    <a:gd name="connsiteX14" fmla="*/ 46086 w 90525"/>
                    <a:gd name="connsiteY14" fmla="*/ 2743 h 73517"/>
                    <a:gd name="connsiteX15" fmla="*/ 48829 w 90525"/>
                    <a:gd name="connsiteY15" fmla="*/ 0 h 73517"/>
                    <a:gd name="connsiteX16" fmla="*/ 58705 w 90525"/>
                    <a:gd name="connsiteY16" fmla="*/ 1646 h 73517"/>
                    <a:gd name="connsiteX17" fmla="*/ 65837 w 90525"/>
                    <a:gd name="connsiteY17" fmla="*/ 549 h 73517"/>
                    <a:gd name="connsiteX18" fmla="*/ 70226 w 90525"/>
                    <a:gd name="connsiteY18" fmla="*/ 2743 h 73517"/>
                    <a:gd name="connsiteX19" fmla="*/ 86137 w 90525"/>
                    <a:gd name="connsiteY19" fmla="*/ 15911 h 73517"/>
                    <a:gd name="connsiteX20" fmla="*/ 90526 w 90525"/>
                    <a:gd name="connsiteY20" fmla="*/ 47732 h 73517"/>
                    <a:gd name="connsiteX21" fmla="*/ 86137 w 90525"/>
                    <a:gd name="connsiteY21" fmla="*/ 48829 h 73517"/>
                    <a:gd name="connsiteX22" fmla="*/ 76261 w 90525"/>
                    <a:gd name="connsiteY22" fmla="*/ 58156 h 73517"/>
                    <a:gd name="connsiteX23" fmla="*/ 61996 w 90525"/>
                    <a:gd name="connsiteY23" fmla="*/ 58156 h 73517"/>
                    <a:gd name="connsiteX24" fmla="*/ 49926 w 90525"/>
                    <a:gd name="connsiteY24" fmla="*/ 63094 h 73517"/>
                    <a:gd name="connsiteX25" fmla="*/ 42245 w 90525"/>
                    <a:gd name="connsiteY25" fmla="*/ 70226 h 73517"/>
                    <a:gd name="connsiteX26" fmla="*/ 17557 w 90525"/>
                    <a:gd name="connsiteY26" fmla="*/ 73518 h 735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</a:cxnLst>
                  <a:rect l="l" t="t" r="r" b="b"/>
                  <a:pathLst>
                    <a:path w="90525" h="73517">
                      <a:moveTo>
                        <a:pt x="17557" y="73518"/>
                      </a:moveTo>
                      <a:lnTo>
                        <a:pt x="6035" y="61996"/>
                      </a:lnTo>
                      <a:lnTo>
                        <a:pt x="0" y="48280"/>
                      </a:lnTo>
                      <a:lnTo>
                        <a:pt x="2743" y="12070"/>
                      </a:lnTo>
                      <a:lnTo>
                        <a:pt x="4389" y="13167"/>
                      </a:lnTo>
                      <a:lnTo>
                        <a:pt x="7132" y="13167"/>
                      </a:lnTo>
                      <a:lnTo>
                        <a:pt x="9327" y="11522"/>
                      </a:lnTo>
                      <a:lnTo>
                        <a:pt x="10424" y="4938"/>
                      </a:lnTo>
                      <a:lnTo>
                        <a:pt x="21397" y="1646"/>
                      </a:lnTo>
                      <a:lnTo>
                        <a:pt x="23591" y="2195"/>
                      </a:lnTo>
                      <a:lnTo>
                        <a:pt x="27981" y="7132"/>
                      </a:lnTo>
                      <a:lnTo>
                        <a:pt x="29627" y="6584"/>
                      </a:lnTo>
                      <a:lnTo>
                        <a:pt x="30175" y="3841"/>
                      </a:lnTo>
                      <a:lnTo>
                        <a:pt x="35113" y="549"/>
                      </a:lnTo>
                      <a:lnTo>
                        <a:pt x="46086" y="2743"/>
                      </a:lnTo>
                      <a:lnTo>
                        <a:pt x="48829" y="0"/>
                      </a:lnTo>
                      <a:lnTo>
                        <a:pt x="58705" y="1646"/>
                      </a:lnTo>
                      <a:lnTo>
                        <a:pt x="65837" y="549"/>
                      </a:lnTo>
                      <a:lnTo>
                        <a:pt x="70226" y="2743"/>
                      </a:lnTo>
                      <a:lnTo>
                        <a:pt x="86137" y="15911"/>
                      </a:lnTo>
                      <a:lnTo>
                        <a:pt x="90526" y="47732"/>
                      </a:lnTo>
                      <a:lnTo>
                        <a:pt x="86137" y="48829"/>
                      </a:lnTo>
                      <a:lnTo>
                        <a:pt x="76261" y="58156"/>
                      </a:lnTo>
                      <a:lnTo>
                        <a:pt x="61996" y="58156"/>
                      </a:lnTo>
                      <a:lnTo>
                        <a:pt x="49926" y="63094"/>
                      </a:lnTo>
                      <a:lnTo>
                        <a:pt x="42245" y="70226"/>
                      </a:lnTo>
                      <a:lnTo>
                        <a:pt x="17557" y="73518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52" name="Graphic 7">
                  <a:extLst>
                    <a:ext uri="{FF2B5EF4-FFF2-40B4-BE49-F238E27FC236}">
                      <a16:creationId xmlns:a16="http://schemas.microsoft.com/office/drawing/2014/main" id="{076CCB0F-A6E6-34B9-AAE3-723436EF878C}"/>
                    </a:ext>
                  </a:extLst>
                </p:cNvPr>
                <p:cNvSpPr/>
                <p:nvPr/>
              </p:nvSpPr>
              <p:spPr>
                <a:xfrm>
                  <a:off x="5830173" y="2856663"/>
                  <a:ext cx="279903" cy="194175"/>
                </a:xfrm>
                <a:custGeom>
                  <a:avLst/>
                  <a:gdLst>
                    <a:gd name="connsiteX0" fmla="*/ 319309 w 358262"/>
                    <a:gd name="connsiteY0" fmla="*/ 242499 h 248534"/>
                    <a:gd name="connsiteX1" fmla="*/ 307238 w 358262"/>
                    <a:gd name="connsiteY1" fmla="*/ 244145 h 248534"/>
                    <a:gd name="connsiteX2" fmla="*/ 293522 w 358262"/>
                    <a:gd name="connsiteY2" fmla="*/ 234269 h 248534"/>
                    <a:gd name="connsiteX3" fmla="*/ 273223 w 358262"/>
                    <a:gd name="connsiteY3" fmla="*/ 228783 h 248534"/>
                    <a:gd name="connsiteX4" fmla="*/ 268834 w 358262"/>
                    <a:gd name="connsiteY4" fmla="*/ 224942 h 248534"/>
                    <a:gd name="connsiteX5" fmla="*/ 255666 w 358262"/>
                    <a:gd name="connsiteY5" fmla="*/ 224394 h 248534"/>
                    <a:gd name="connsiteX6" fmla="*/ 199156 w 358262"/>
                    <a:gd name="connsiteY6" fmla="*/ 248534 h 248534"/>
                    <a:gd name="connsiteX7" fmla="*/ 108082 w 358262"/>
                    <a:gd name="connsiteY7" fmla="*/ 240853 h 248534"/>
                    <a:gd name="connsiteX8" fmla="*/ 100950 w 358262"/>
                    <a:gd name="connsiteY8" fmla="*/ 234269 h 248534"/>
                    <a:gd name="connsiteX9" fmla="*/ 105339 w 358262"/>
                    <a:gd name="connsiteY9" fmla="*/ 224394 h 248534"/>
                    <a:gd name="connsiteX10" fmla="*/ 89977 w 358262"/>
                    <a:gd name="connsiteY10" fmla="*/ 220005 h 248534"/>
                    <a:gd name="connsiteX11" fmla="*/ 84491 w 358262"/>
                    <a:gd name="connsiteY11" fmla="*/ 209032 h 248534"/>
                    <a:gd name="connsiteX12" fmla="*/ 91623 w 358262"/>
                    <a:gd name="connsiteY12" fmla="*/ 201351 h 248534"/>
                    <a:gd name="connsiteX13" fmla="*/ 86685 w 358262"/>
                    <a:gd name="connsiteY13" fmla="*/ 194219 h 248534"/>
                    <a:gd name="connsiteX14" fmla="*/ 79004 w 358262"/>
                    <a:gd name="connsiteY14" fmla="*/ 200253 h 248534"/>
                    <a:gd name="connsiteX15" fmla="*/ 59253 w 358262"/>
                    <a:gd name="connsiteY15" fmla="*/ 193121 h 248534"/>
                    <a:gd name="connsiteX16" fmla="*/ 48829 w 358262"/>
                    <a:gd name="connsiteY16" fmla="*/ 184892 h 248534"/>
                    <a:gd name="connsiteX17" fmla="*/ 46634 w 358262"/>
                    <a:gd name="connsiteY17" fmla="*/ 167884 h 248534"/>
                    <a:gd name="connsiteX18" fmla="*/ 41148 w 358262"/>
                    <a:gd name="connsiteY18" fmla="*/ 164043 h 248534"/>
                    <a:gd name="connsiteX19" fmla="*/ 33467 w 358262"/>
                    <a:gd name="connsiteY19" fmla="*/ 162397 h 248534"/>
                    <a:gd name="connsiteX20" fmla="*/ 27432 w 358262"/>
                    <a:gd name="connsiteY20" fmla="*/ 153619 h 248534"/>
                    <a:gd name="connsiteX21" fmla="*/ 20300 w 358262"/>
                    <a:gd name="connsiteY21" fmla="*/ 132771 h 248534"/>
                    <a:gd name="connsiteX22" fmla="*/ 13167 w 358262"/>
                    <a:gd name="connsiteY22" fmla="*/ 124541 h 248534"/>
                    <a:gd name="connsiteX23" fmla="*/ 0 w 358262"/>
                    <a:gd name="connsiteY23" fmla="*/ 117409 h 248534"/>
                    <a:gd name="connsiteX24" fmla="*/ 2195 w 358262"/>
                    <a:gd name="connsiteY24" fmla="*/ 117409 h 248534"/>
                    <a:gd name="connsiteX25" fmla="*/ 35113 w 358262"/>
                    <a:gd name="connsiteY25" fmla="*/ 105888 h 248534"/>
                    <a:gd name="connsiteX26" fmla="*/ 53767 w 358262"/>
                    <a:gd name="connsiteY26" fmla="*/ 66934 h 248534"/>
                    <a:gd name="connsiteX27" fmla="*/ 61996 w 358262"/>
                    <a:gd name="connsiteY27" fmla="*/ 57607 h 248534"/>
                    <a:gd name="connsiteX28" fmla="*/ 64191 w 358262"/>
                    <a:gd name="connsiteY28" fmla="*/ 49926 h 248534"/>
                    <a:gd name="connsiteX29" fmla="*/ 68031 w 358262"/>
                    <a:gd name="connsiteY29" fmla="*/ 43343 h 248534"/>
                    <a:gd name="connsiteX30" fmla="*/ 68580 w 358262"/>
                    <a:gd name="connsiteY30" fmla="*/ 37856 h 248534"/>
                    <a:gd name="connsiteX31" fmla="*/ 75164 w 358262"/>
                    <a:gd name="connsiteY31" fmla="*/ 30724 h 248534"/>
                    <a:gd name="connsiteX32" fmla="*/ 85588 w 358262"/>
                    <a:gd name="connsiteY32" fmla="*/ 26335 h 248534"/>
                    <a:gd name="connsiteX33" fmla="*/ 90526 w 358262"/>
                    <a:gd name="connsiteY33" fmla="*/ 26335 h 248534"/>
                    <a:gd name="connsiteX34" fmla="*/ 98207 w 358262"/>
                    <a:gd name="connsiteY34" fmla="*/ 17008 h 248534"/>
                    <a:gd name="connsiteX35" fmla="*/ 103144 w 358262"/>
                    <a:gd name="connsiteY35" fmla="*/ 14813 h 248534"/>
                    <a:gd name="connsiteX36" fmla="*/ 164592 w 358262"/>
                    <a:gd name="connsiteY36" fmla="*/ 14813 h 248534"/>
                    <a:gd name="connsiteX37" fmla="*/ 178857 w 358262"/>
                    <a:gd name="connsiteY37" fmla="*/ 25237 h 248534"/>
                    <a:gd name="connsiteX38" fmla="*/ 190378 w 358262"/>
                    <a:gd name="connsiteY38" fmla="*/ 17556 h 248534"/>
                    <a:gd name="connsiteX39" fmla="*/ 201351 w 358262"/>
                    <a:gd name="connsiteY39" fmla="*/ 14265 h 248534"/>
                    <a:gd name="connsiteX40" fmla="*/ 212872 w 358262"/>
                    <a:gd name="connsiteY40" fmla="*/ 14265 h 248534"/>
                    <a:gd name="connsiteX41" fmla="*/ 236464 w 358262"/>
                    <a:gd name="connsiteY41" fmla="*/ 0 h 248534"/>
                    <a:gd name="connsiteX42" fmla="*/ 246339 w 358262"/>
                    <a:gd name="connsiteY42" fmla="*/ 549 h 248534"/>
                    <a:gd name="connsiteX43" fmla="*/ 269931 w 358262"/>
                    <a:gd name="connsiteY43" fmla="*/ 25786 h 248534"/>
                    <a:gd name="connsiteX44" fmla="*/ 271577 w 358262"/>
                    <a:gd name="connsiteY44" fmla="*/ 37307 h 248534"/>
                    <a:gd name="connsiteX45" fmla="*/ 296814 w 358262"/>
                    <a:gd name="connsiteY45" fmla="*/ 80101 h 248534"/>
                    <a:gd name="connsiteX46" fmla="*/ 300655 w 358262"/>
                    <a:gd name="connsiteY46" fmla="*/ 113020 h 248534"/>
                    <a:gd name="connsiteX47" fmla="*/ 298460 w 358262"/>
                    <a:gd name="connsiteY47" fmla="*/ 124541 h 248534"/>
                    <a:gd name="connsiteX48" fmla="*/ 301203 w 358262"/>
                    <a:gd name="connsiteY48" fmla="*/ 153619 h 248534"/>
                    <a:gd name="connsiteX49" fmla="*/ 307238 w 358262"/>
                    <a:gd name="connsiteY49" fmla="*/ 152522 h 248534"/>
                    <a:gd name="connsiteX50" fmla="*/ 315468 w 358262"/>
                    <a:gd name="connsiteY50" fmla="*/ 164043 h 248534"/>
                    <a:gd name="connsiteX51" fmla="*/ 323149 w 358262"/>
                    <a:gd name="connsiteY51" fmla="*/ 164043 h 248534"/>
                    <a:gd name="connsiteX52" fmla="*/ 330281 w 358262"/>
                    <a:gd name="connsiteY52" fmla="*/ 158557 h 248534"/>
                    <a:gd name="connsiteX53" fmla="*/ 346741 w 358262"/>
                    <a:gd name="connsiteY53" fmla="*/ 154168 h 248534"/>
                    <a:gd name="connsiteX54" fmla="*/ 352776 w 358262"/>
                    <a:gd name="connsiteY54" fmla="*/ 154716 h 248534"/>
                    <a:gd name="connsiteX55" fmla="*/ 356067 w 358262"/>
                    <a:gd name="connsiteY55" fmla="*/ 156911 h 248534"/>
                    <a:gd name="connsiteX56" fmla="*/ 358262 w 358262"/>
                    <a:gd name="connsiteY56" fmla="*/ 161849 h 248534"/>
                    <a:gd name="connsiteX57" fmla="*/ 356616 w 358262"/>
                    <a:gd name="connsiteY57" fmla="*/ 181600 h 248534"/>
                    <a:gd name="connsiteX58" fmla="*/ 351130 w 358262"/>
                    <a:gd name="connsiteY58" fmla="*/ 188732 h 248534"/>
                    <a:gd name="connsiteX59" fmla="*/ 343997 w 358262"/>
                    <a:gd name="connsiteY59" fmla="*/ 190378 h 248534"/>
                    <a:gd name="connsiteX60" fmla="*/ 326441 w 358262"/>
                    <a:gd name="connsiteY60" fmla="*/ 206837 h 248534"/>
                    <a:gd name="connsiteX61" fmla="*/ 325344 w 358262"/>
                    <a:gd name="connsiteY61" fmla="*/ 202997 h 248534"/>
                    <a:gd name="connsiteX62" fmla="*/ 329733 w 358262"/>
                    <a:gd name="connsiteY62" fmla="*/ 197510 h 248534"/>
                    <a:gd name="connsiteX63" fmla="*/ 333573 w 358262"/>
                    <a:gd name="connsiteY63" fmla="*/ 189281 h 248534"/>
                    <a:gd name="connsiteX64" fmla="*/ 333573 w 358262"/>
                    <a:gd name="connsiteY64" fmla="*/ 179954 h 248534"/>
                    <a:gd name="connsiteX65" fmla="*/ 328635 w 358262"/>
                    <a:gd name="connsiteY65" fmla="*/ 179954 h 248534"/>
                    <a:gd name="connsiteX66" fmla="*/ 319309 w 358262"/>
                    <a:gd name="connsiteY66" fmla="*/ 242499 h 2485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</a:cxnLst>
                  <a:rect l="l" t="t" r="r" b="b"/>
                  <a:pathLst>
                    <a:path w="358262" h="248534">
                      <a:moveTo>
                        <a:pt x="319309" y="242499"/>
                      </a:moveTo>
                      <a:lnTo>
                        <a:pt x="307238" y="244145"/>
                      </a:lnTo>
                      <a:lnTo>
                        <a:pt x="293522" y="234269"/>
                      </a:lnTo>
                      <a:lnTo>
                        <a:pt x="273223" y="228783"/>
                      </a:lnTo>
                      <a:lnTo>
                        <a:pt x="268834" y="224942"/>
                      </a:lnTo>
                      <a:lnTo>
                        <a:pt x="255666" y="224394"/>
                      </a:lnTo>
                      <a:lnTo>
                        <a:pt x="199156" y="248534"/>
                      </a:lnTo>
                      <a:lnTo>
                        <a:pt x="108082" y="240853"/>
                      </a:lnTo>
                      <a:lnTo>
                        <a:pt x="100950" y="234269"/>
                      </a:lnTo>
                      <a:lnTo>
                        <a:pt x="105339" y="224394"/>
                      </a:lnTo>
                      <a:lnTo>
                        <a:pt x="89977" y="220005"/>
                      </a:lnTo>
                      <a:lnTo>
                        <a:pt x="84491" y="209032"/>
                      </a:lnTo>
                      <a:lnTo>
                        <a:pt x="91623" y="201351"/>
                      </a:lnTo>
                      <a:lnTo>
                        <a:pt x="86685" y="194219"/>
                      </a:lnTo>
                      <a:lnTo>
                        <a:pt x="79004" y="200253"/>
                      </a:lnTo>
                      <a:lnTo>
                        <a:pt x="59253" y="193121"/>
                      </a:lnTo>
                      <a:lnTo>
                        <a:pt x="48829" y="184892"/>
                      </a:lnTo>
                      <a:lnTo>
                        <a:pt x="46634" y="167884"/>
                      </a:lnTo>
                      <a:lnTo>
                        <a:pt x="41148" y="164043"/>
                      </a:lnTo>
                      <a:lnTo>
                        <a:pt x="33467" y="162397"/>
                      </a:lnTo>
                      <a:lnTo>
                        <a:pt x="27432" y="153619"/>
                      </a:lnTo>
                      <a:lnTo>
                        <a:pt x="20300" y="132771"/>
                      </a:lnTo>
                      <a:lnTo>
                        <a:pt x="13167" y="124541"/>
                      </a:lnTo>
                      <a:lnTo>
                        <a:pt x="0" y="117409"/>
                      </a:lnTo>
                      <a:lnTo>
                        <a:pt x="2195" y="117409"/>
                      </a:lnTo>
                      <a:lnTo>
                        <a:pt x="35113" y="105888"/>
                      </a:lnTo>
                      <a:lnTo>
                        <a:pt x="53767" y="66934"/>
                      </a:lnTo>
                      <a:lnTo>
                        <a:pt x="61996" y="57607"/>
                      </a:lnTo>
                      <a:lnTo>
                        <a:pt x="64191" y="49926"/>
                      </a:lnTo>
                      <a:lnTo>
                        <a:pt x="68031" y="43343"/>
                      </a:lnTo>
                      <a:lnTo>
                        <a:pt x="68580" y="37856"/>
                      </a:lnTo>
                      <a:lnTo>
                        <a:pt x="75164" y="30724"/>
                      </a:lnTo>
                      <a:lnTo>
                        <a:pt x="85588" y="26335"/>
                      </a:lnTo>
                      <a:lnTo>
                        <a:pt x="90526" y="26335"/>
                      </a:lnTo>
                      <a:lnTo>
                        <a:pt x="98207" y="17008"/>
                      </a:lnTo>
                      <a:lnTo>
                        <a:pt x="103144" y="14813"/>
                      </a:lnTo>
                      <a:lnTo>
                        <a:pt x="164592" y="14813"/>
                      </a:lnTo>
                      <a:lnTo>
                        <a:pt x="178857" y="25237"/>
                      </a:lnTo>
                      <a:lnTo>
                        <a:pt x="190378" y="17556"/>
                      </a:lnTo>
                      <a:lnTo>
                        <a:pt x="201351" y="14265"/>
                      </a:lnTo>
                      <a:lnTo>
                        <a:pt x="212872" y="14265"/>
                      </a:lnTo>
                      <a:lnTo>
                        <a:pt x="236464" y="0"/>
                      </a:lnTo>
                      <a:lnTo>
                        <a:pt x="246339" y="549"/>
                      </a:lnTo>
                      <a:lnTo>
                        <a:pt x="269931" y="25786"/>
                      </a:lnTo>
                      <a:lnTo>
                        <a:pt x="271577" y="37307"/>
                      </a:lnTo>
                      <a:lnTo>
                        <a:pt x="296814" y="80101"/>
                      </a:lnTo>
                      <a:lnTo>
                        <a:pt x="300655" y="113020"/>
                      </a:lnTo>
                      <a:lnTo>
                        <a:pt x="298460" y="124541"/>
                      </a:lnTo>
                      <a:lnTo>
                        <a:pt x="301203" y="153619"/>
                      </a:lnTo>
                      <a:lnTo>
                        <a:pt x="307238" y="152522"/>
                      </a:lnTo>
                      <a:lnTo>
                        <a:pt x="315468" y="164043"/>
                      </a:lnTo>
                      <a:lnTo>
                        <a:pt x="323149" y="164043"/>
                      </a:lnTo>
                      <a:lnTo>
                        <a:pt x="330281" y="158557"/>
                      </a:lnTo>
                      <a:lnTo>
                        <a:pt x="346741" y="154168"/>
                      </a:lnTo>
                      <a:lnTo>
                        <a:pt x="352776" y="154716"/>
                      </a:lnTo>
                      <a:lnTo>
                        <a:pt x="356067" y="156911"/>
                      </a:lnTo>
                      <a:lnTo>
                        <a:pt x="358262" y="161849"/>
                      </a:lnTo>
                      <a:lnTo>
                        <a:pt x="356616" y="181600"/>
                      </a:lnTo>
                      <a:lnTo>
                        <a:pt x="351130" y="188732"/>
                      </a:lnTo>
                      <a:lnTo>
                        <a:pt x="343997" y="190378"/>
                      </a:lnTo>
                      <a:lnTo>
                        <a:pt x="326441" y="206837"/>
                      </a:lnTo>
                      <a:lnTo>
                        <a:pt x="325344" y="202997"/>
                      </a:lnTo>
                      <a:lnTo>
                        <a:pt x="329733" y="197510"/>
                      </a:lnTo>
                      <a:lnTo>
                        <a:pt x="333573" y="189281"/>
                      </a:lnTo>
                      <a:lnTo>
                        <a:pt x="333573" y="179954"/>
                      </a:lnTo>
                      <a:lnTo>
                        <a:pt x="328635" y="179954"/>
                      </a:lnTo>
                      <a:lnTo>
                        <a:pt x="319309" y="242499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53" name="Graphic 7">
                  <a:extLst>
                    <a:ext uri="{FF2B5EF4-FFF2-40B4-BE49-F238E27FC236}">
                      <a16:creationId xmlns:a16="http://schemas.microsoft.com/office/drawing/2014/main" id="{B1ABDC47-5582-C24B-710A-E1056B0BF45F}"/>
                    </a:ext>
                  </a:extLst>
                </p:cNvPr>
                <p:cNvSpPr/>
                <p:nvPr/>
              </p:nvSpPr>
              <p:spPr>
                <a:xfrm>
                  <a:off x="5879039" y="2344436"/>
                  <a:ext cx="39863" cy="36434"/>
                </a:xfrm>
                <a:custGeom>
                  <a:avLst/>
                  <a:gdLst>
                    <a:gd name="connsiteX0" fmla="*/ 41697 w 51023"/>
                    <a:gd name="connsiteY0" fmla="*/ 0 h 46634"/>
                    <a:gd name="connsiteX1" fmla="*/ 18105 w 51023"/>
                    <a:gd name="connsiteY1" fmla="*/ 549 h 46634"/>
                    <a:gd name="connsiteX2" fmla="*/ 13716 w 51023"/>
                    <a:gd name="connsiteY2" fmla="*/ 7681 h 46634"/>
                    <a:gd name="connsiteX3" fmla="*/ 9876 w 51023"/>
                    <a:gd name="connsiteY3" fmla="*/ 7132 h 46634"/>
                    <a:gd name="connsiteX4" fmla="*/ 6035 w 51023"/>
                    <a:gd name="connsiteY4" fmla="*/ 9327 h 46634"/>
                    <a:gd name="connsiteX5" fmla="*/ 0 w 51023"/>
                    <a:gd name="connsiteY5" fmla="*/ 7132 h 46634"/>
                    <a:gd name="connsiteX6" fmla="*/ 0 w 51023"/>
                    <a:gd name="connsiteY6" fmla="*/ 23043 h 46634"/>
                    <a:gd name="connsiteX7" fmla="*/ 4389 w 51023"/>
                    <a:gd name="connsiteY7" fmla="*/ 28529 h 46634"/>
                    <a:gd name="connsiteX8" fmla="*/ 8230 w 51023"/>
                    <a:gd name="connsiteY8" fmla="*/ 30724 h 46634"/>
                    <a:gd name="connsiteX9" fmla="*/ 8778 w 51023"/>
                    <a:gd name="connsiteY9" fmla="*/ 35662 h 46634"/>
                    <a:gd name="connsiteX10" fmla="*/ 4938 w 51023"/>
                    <a:gd name="connsiteY10" fmla="*/ 41697 h 46634"/>
                    <a:gd name="connsiteX11" fmla="*/ 4389 w 51023"/>
                    <a:gd name="connsiteY11" fmla="*/ 46634 h 46634"/>
                    <a:gd name="connsiteX12" fmla="*/ 14813 w 51023"/>
                    <a:gd name="connsiteY12" fmla="*/ 30724 h 46634"/>
                    <a:gd name="connsiteX13" fmla="*/ 17557 w 51023"/>
                    <a:gd name="connsiteY13" fmla="*/ 22494 h 46634"/>
                    <a:gd name="connsiteX14" fmla="*/ 25237 w 51023"/>
                    <a:gd name="connsiteY14" fmla="*/ 25786 h 46634"/>
                    <a:gd name="connsiteX15" fmla="*/ 28529 w 51023"/>
                    <a:gd name="connsiteY15" fmla="*/ 25786 h 46634"/>
                    <a:gd name="connsiteX16" fmla="*/ 31821 w 51023"/>
                    <a:gd name="connsiteY16" fmla="*/ 24140 h 46634"/>
                    <a:gd name="connsiteX17" fmla="*/ 34564 w 51023"/>
                    <a:gd name="connsiteY17" fmla="*/ 19202 h 46634"/>
                    <a:gd name="connsiteX18" fmla="*/ 41697 w 51023"/>
                    <a:gd name="connsiteY18" fmla="*/ 15911 h 46634"/>
                    <a:gd name="connsiteX19" fmla="*/ 45537 w 51023"/>
                    <a:gd name="connsiteY19" fmla="*/ 12070 h 46634"/>
                    <a:gd name="connsiteX20" fmla="*/ 51024 w 51023"/>
                    <a:gd name="connsiteY20" fmla="*/ 10973 h 46634"/>
                    <a:gd name="connsiteX21" fmla="*/ 49926 w 51023"/>
                    <a:gd name="connsiteY21" fmla="*/ 8230 h 46634"/>
                    <a:gd name="connsiteX22" fmla="*/ 43891 w 51023"/>
                    <a:gd name="connsiteY22" fmla="*/ 2195 h 46634"/>
                    <a:gd name="connsiteX23" fmla="*/ 41697 w 51023"/>
                    <a:gd name="connsiteY23" fmla="*/ 1097 h 46634"/>
                    <a:gd name="connsiteX24" fmla="*/ 41697 w 51023"/>
                    <a:gd name="connsiteY24" fmla="*/ 0 h 466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</a:cxnLst>
                  <a:rect l="l" t="t" r="r" b="b"/>
                  <a:pathLst>
                    <a:path w="51023" h="46634">
                      <a:moveTo>
                        <a:pt x="41697" y="0"/>
                      </a:moveTo>
                      <a:lnTo>
                        <a:pt x="18105" y="549"/>
                      </a:lnTo>
                      <a:lnTo>
                        <a:pt x="13716" y="7681"/>
                      </a:lnTo>
                      <a:lnTo>
                        <a:pt x="9876" y="7132"/>
                      </a:lnTo>
                      <a:lnTo>
                        <a:pt x="6035" y="9327"/>
                      </a:lnTo>
                      <a:lnTo>
                        <a:pt x="0" y="7132"/>
                      </a:lnTo>
                      <a:lnTo>
                        <a:pt x="0" y="23043"/>
                      </a:lnTo>
                      <a:lnTo>
                        <a:pt x="4389" y="28529"/>
                      </a:lnTo>
                      <a:lnTo>
                        <a:pt x="8230" y="30724"/>
                      </a:lnTo>
                      <a:lnTo>
                        <a:pt x="8778" y="35662"/>
                      </a:lnTo>
                      <a:lnTo>
                        <a:pt x="4938" y="41697"/>
                      </a:lnTo>
                      <a:lnTo>
                        <a:pt x="4389" y="46634"/>
                      </a:lnTo>
                      <a:lnTo>
                        <a:pt x="14813" y="30724"/>
                      </a:lnTo>
                      <a:lnTo>
                        <a:pt x="17557" y="22494"/>
                      </a:lnTo>
                      <a:lnTo>
                        <a:pt x="25237" y="25786"/>
                      </a:lnTo>
                      <a:lnTo>
                        <a:pt x="28529" y="25786"/>
                      </a:lnTo>
                      <a:lnTo>
                        <a:pt x="31821" y="24140"/>
                      </a:lnTo>
                      <a:lnTo>
                        <a:pt x="34564" y="19202"/>
                      </a:lnTo>
                      <a:lnTo>
                        <a:pt x="41697" y="15911"/>
                      </a:lnTo>
                      <a:lnTo>
                        <a:pt x="45537" y="12070"/>
                      </a:lnTo>
                      <a:lnTo>
                        <a:pt x="51024" y="10973"/>
                      </a:lnTo>
                      <a:lnTo>
                        <a:pt x="49926" y="8230"/>
                      </a:lnTo>
                      <a:lnTo>
                        <a:pt x="43891" y="2195"/>
                      </a:lnTo>
                      <a:lnTo>
                        <a:pt x="41697" y="1097"/>
                      </a:lnTo>
                      <a:lnTo>
                        <a:pt x="41697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54" name="Graphic 7">
                  <a:extLst>
                    <a:ext uri="{FF2B5EF4-FFF2-40B4-BE49-F238E27FC236}">
                      <a16:creationId xmlns:a16="http://schemas.microsoft.com/office/drawing/2014/main" id="{BE0921C2-0228-62C1-51CE-8D25A9B04683}"/>
                    </a:ext>
                  </a:extLst>
                </p:cNvPr>
                <p:cNvSpPr/>
                <p:nvPr/>
              </p:nvSpPr>
              <p:spPr>
                <a:xfrm>
                  <a:off x="5883754" y="2317431"/>
                  <a:ext cx="27004" cy="21003"/>
                </a:xfrm>
                <a:custGeom>
                  <a:avLst/>
                  <a:gdLst>
                    <a:gd name="connsiteX0" fmla="*/ 12070 w 34564"/>
                    <a:gd name="connsiteY0" fmla="*/ 10424 h 26883"/>
                    <a:gd name="connsiteX1" fmla="*/ 2743 w 34564"/>
                    <a:gd name="connsiteY1" fmla="*/ 10973 h 26883"/>
                    <a:gd name="connsiteX2" fmla="*/ 0 w 34564"/>
                    <a:gd name="connsiteY2" fmla="*/ 13716 h 26883"/>
                    <a:gd name="connsiteX3" fmla="*/ 2743 w 34564"/>
                    <a:gd name="connsiteY3" fmla="*/ 15362 h 26883"/>
                    <a:gd name="connsiteX4" fmla="*/ 8778 w 34564"/>
                    <a:gd name="connsiteY4" fmla="*/ 15362 h 26883"/>
                    <a:gd name="connsiteX5" fmla="*/ 14265 w 34564"/>
                    <a:gd name="connsiteY5" fmla="*/ 26883 h 26883"/>
                    <a:gd name="connsiteX6" fmla="*/ 19202 w 34564"/>
                    <a:gd name="connsiteY6" fmla="*/ 26883 h 26883"/>
                    <a:gd name="connsiteX7" fmla="*/ 22494 w 34564"/>
                    <a:gd name="connsiteY7" fmla="*/ 20300 h 26883"/>
                    <a:gd name="connsiteX8" fmla="*/ 34564 w 34564"/>
                    <a:gd name="connsiteY8" fmla="*/ 16459 h 26883"/>
                    <a:gd name="connsiteX9" fmla="*/ 34564 w 34564"/>
                    <a:gd name="connsiteY9" fmla="*/ 9327 h 26883"/>
                    <a:gd name="connsiteX10" fmla="*/ 31273 w 34564"/>
                    <a:gd name="connsiteY10" fmla="*/ 6035 h 26883"/>
                    <a:gd name="connsiteX11" fmla="*/ 26883 w 34564"/>
                    <a:gd name="connsiteY11" fmla="*/ 4389 h 26883"/>
                    <a:gd name="connsiteX12" fmla="*/ 23043 w 34564"/>
                    <a:gd name="connsiteY12" fmla="*/ 1097 h 26883"/>
                    <a:gd name="connsiteX13" fmla="*/ 19202 w 34564"/>
                    <a:gd name="connsiteY13" fmla="*/ 0 h 26883"/>
                    <a:gd name="connsiteX14" fmla="*/ 15911 w 34564"/>
                    <a:gd name="connsiteY14" fmla="*/ 7681 h 26883"/>
                    <a:gd name="connsiteX15" fmla="*/ 12070 w 34564"/>
                    <a:gd name="connsiteY15" fmla="*/ 10424 h 268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34564" h="26883">
                      <a:moveTo>
                        <a:pt x="12070" y="10424"/>
                      </a:moveTo>
                      <a:lnTo>
                        <a:pt x="2743" y="10973"/>
                      </a:lnTo>
                      <a:lnTo>
                        <a:pt x="0" y="13716"/>
                      </a:lnTo>
                      <a:lnTo>
                        <a:pt x="2743" y="15362"/>
                      </a:lnTo>
                      <a:lnTo>
                        <a:pt x="8778" y="15362"/>
                      </a:lnTo>
                      <a:lnTo>
                        <a:pt x="14265" y="26883"/>
                      </a:lnTo>
                      <a:lnTo>
                        <a:pt x="19202" y="26883"/>
                      </a:lnTo>
                      <a:lnTo>
                        <a:pt x="22494" y="20300"/>
                      </a:lnTo>
                      <a:lnTo>
                        <a:pt x="34564" y="16459"/>
                      </a:lnTo>
                      <a:lnTo>
                        <a:pt x="34564" y="9327"/>
                      </a:lnTo>
                      <a:lnTo>
                        <a:pt x="31273" y="6035"/>
                      </a:lnTo>
                      <a:lnTo>
                        <a:pt x="26883" y="4389"/>
                      </a:lnTo>
                      <a:lnTo>
                        <a:pt x="23043" y="1097"/>
                      </a:lnTo>
                      <a:lnTo>
                        <a:pt x="19202" y="0"/>
                      </a:lnTo>
                      <a:lnTo>
                        <a:pt x="15911" y="7681"/>
                      </a:lnTo>
                      <a:lnTo>
                        <a:pt x="12070" y="10424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55" name="Graphic 7">
                  <a:extLst>
                    <a:ext uri="{FF2B5EF4-FFF2-40B4-BE49-F238E27FC236}">
                      <a16:creationId xmlns:a16="http://schemas.microsoft.com/office/drawing/2014/main" id="{60995651-8A30-A654-0045-8277FB326597}"/>
                    </a:ext>
                  </a:extLst>
                </p:cNvPr>
                <p:cNvSpPr/>
                <p:nvPr/>
              </p:nvSpPr>
              <p:spPr>
                <a:xfrm>
                  <a:off x="5924475" y="2283997"/>
                  <a:ext cx="143595" cy="117877"/>
                </a:xfrm>
                <a:custGeom>
                  <a:avLst/>
                  <a:gdLst>
                    <a:gd name="connsiteX0" fmla="*/ 82845 w 183794"/>
                    <a:gd name="connsiteY0" fmla="*/ 3841 h 150876"/>
                    <a:gd name="connsiteX1" fmla="*/ 84491 w 183794"/>
                    <a:gd name="connsiteY1" fmla="*/ 0 h 150876"/>
                    <a:gd name="connsiteX2" fmla="*/ 89977 w 183794"/>
                    <a:gd name="connsiteY2" fmla="*/ 6035 h 150876"/>
                    <a:gd name="connsiteX3" fmla="*/ 96012 w 183794"/>
                    <a:gd name="connsiteY3" fmla="*/ 3841 h 150876"/>
                    <a:gd name="connsiteX4" fmla="*/ 122895 w 183794"/>
                    <a:gd name="connsiteY4" fmla="*/ 10424 h 150876"/>
                    <a:gd name="connsiteX5" fmla="*/ 126187 w 183794"/>
                    <a:gd name="connsiteY5" fmla="*/ 14813 h 150876"/>
                    <a:gd name="connsiteX6" fmla="*/ 134417 w 183794"/>
                    <a:gd name="connsiteY6" fmla="*/ 17557 h 150876"/>
                    <a:gd name="connsiteX7" fmla="*/ 164043 w 183794"/>
                    <a:gd name="connsiteY7" fmla="*/ 17557 h 150876"/>
                    <a:gd name="connsiteX8" fmla="*/ 172273 w 183794"/>
                    <a:gd name="connsiteY8" fmla="*/ 14813 h 150876"/>
                    <a:gd name="connsiteX9" fmla="*/ 173919 w 183794"/>
                    <a:gd name="connsiteY9" fmla="*/ 9875 h 150876"/>
                    <a:gd name="connsiteX10" fmla="*/ 178308 w 183794"/>
                    <a:gd name="connsiteY10" fmla="*/ 10973 h 150876"/>
                    <a:gd name="connsiteX11" fmla="*/ 182149 w 183794"/>
                    <a:gd name="connsiteY11" fmla="*/ 15362 h 150876"/>
                    <a:gd name="connsiteX12" fmla="*/ 183794 w 183794"/>
                    <a:gd name="connsiteY12" fmla="*/ 20848 h 150876"/>
                    <a:gd name="connsiteX13" fmla="*/ 181600 w 183794"/>
                    <a:gd name="connsiteY13" fmla="*/ 25786 h 150876"/>
                    <a:gd name="connsiteX14" fmla="*/ 173919 w 183794"/>
                    <a:gd name="connsiteY14" fmla="*/ 33467 h 150876"/>
                    <a:gd name="connsiteX15" fmla="*/ 163495 w 183794"/>
                    <a:gd name="connsiteY15" fmla="*/ 53218 h 150876"/>
                    <a:gd name="connsiteX16" fmla="*/ 165689 w 183794"/>
                    <a:gd name="connsiteY16" fmla="*/ 62545 h 150876"/>
                    <a:gd name="connsiteX17" fmla="*/ 164043 w 183794"/>
                    <a:gd name="connsiteY17" fmla="*/ 74615 h 150876"/>
                    <a:gd name="connsiteX18" fmla="*/ 167335 w 183794"/>
                    <a:gd name="connsiteY18" fmla="*/ 82296 h 150876"/>
                    <a:gd name="connsiteX19" fmla="*/ 167335 w 183794"/>
                    <a:gd name="connsiteY19" fmla="*/ 86685 h 150876"/>
                    <a:gd name="connsiteX20" fmla="*/ 165141 w 183794"/>
                    <a:gd name="connsiteY20" fmla="*/ 92171 h 150876"/>
                    <a:gd name="connsiteX21" fmla="*/ 155814 w 183794"/>
                    <a:gd name="connsiteY21" fmla="*/ 100401 h 150876"/>
                    <a:gd name="connsiteX22" fmla="*/ 154168 w 183794"/>
                    <a:gd name="connsiteY22" fmla="*/ 105339 h 150876"/>
                    <a:gd name="connsiteX23" fmla="*/ 156362 w 183794"/>
                    <a:gd name="connsiteY23" fmla="*/ 110277 h 150876"/>
                    <a:gd name="connsiteX24" fmla="*/ 171724 w 183794"/>
                    <a:gd name="connsiteY24" fmla="*/ 110277 h 150876"/>
                    <a:gd name="connsiteX25" fmla="*/ 178857 w 183794"/>
                    <a:gd name="connsiteY25" fmla="*/ 122347 h 150876"/>
                    <a:gd name="connsiteX26" fmla="*/ 178308 w 183794"/>
                    <a:gd name="connsiteY26" fmla="*/ 132771 h 150876"/>
                    <a:gd name="connsiteX27" fmla="*/ 171724 w 183794"/>
                    <a:gd name="connsiteY27" fmla="*/ 132771 h 150876"/>
                    <a:gd name="connsiteX28" fmla="*/ 160203 w 183794"/>
                    <a:gd name="connsiteY28" fmla="*/ 120152 h 150876"/>
                    <a:gd name="connsiteX29" fmla="*/ 160203 w 183794"/>
                    <a:gd name="connsiteY29" fmla="*/ 130028 h 150876"/>
                    <a:gd name="connsiteX30" fmla="*/ 153071 w 183794"/>
                    <a:gd name="connsiteY30" fmla="*/ 145390 h 150876"/>
                    <a:gd name="connsiteX31" fmla="*/ 154168 w 183794"/>
                    <a:gd name="connsiteY31" fmla="*/ 150876 h 150876"/>
                    <a:gd name="connsiteX32" fmla="*/ 153619 w 183794"/>
                    <a:gd name="connsiteY32" fmla="*/ 150327 h 150876"/>
                    <a:gd name="connsiteX33" fmla="*/ 142098 w 183794"/>
                    <a:gd name="connsiteY33" fmla="*/ 147035 h 150876"/>
                    <a:gd name="connsiteX34" fmla="*/ 131125 w 183794"/>
                    <a:gd name="connsiteY34" fmla="*/ 148133 h 150876"/>
                    <a:gd name="connsiteX35" fmla="*/ 125639 w 183794"/>
                    <a:gd name="connsiteY35" fmla="*/ 150876 h 150876"/>
                    <a:gd name="connsiteX36" fmla="*/ 120152 w 183794"/>
                    <a:gd name="connsiteY36" fmla="*/ 150327 h 150876"/>
                    <a:gd name="connsiteX37" fmla="*/ 105339 w 183794"/>
                    <a:gd name="connsiteY37" fmla="*/ 137160 h 150876"/>
                    <a:gd name="connsiteX38" fmla="*/ 102047 w 183794"/>
                    <a:gd name="connsiteY38" fmla="*/ 130576 h 150876"/>
                    <a:gd name="connsiteX39" fmla="*/ 91623 w 183794"/>
                    <a:gd name="connsiteY39" fmla="*/ 126736 h 150876"/>
                    <a:gd name="connsiteX40" fmla="*/ 82845 w 183794"/>
                    <a:gd name="connsiteY40" fmla="*/ 119603 h 150876"/>
                    <a:gd name="connsiteX41" fmla="*/ 71323 w 183794"/>
                    <a:gd name="connsiteY41" fmla="*/ 117409 h 150876"/>
                    <a:gd name="connsiteX42" fmla="*/ 53767 w 183794"/>
                    <a:gd name="connsiteY42" fmla="*/ 119603 h 150876"/>
                    <a:gd name="connsiteX43" fmla="*/ 44440 w 183794"/>
                    <a:gd name="connsiteY43" fmla="*/ 126736 h 150876"/>
                    <a:gd name="connsiteX44" fmla="*/ 38953 w 183794"/>
                    <a:gd name="connsiteY44" fmla="*/ 127833 h 150876"/>
                    <a:gd name="connsiteX45" fmla="*/ 35113 w 183794"/>
                    <a:gd name="connsiteY45" fmla="*/ 131674 h 150876"/>
                    <a:gd name="connsiteX46" fmla="*/ 41697 w 183794"/>
                    <a:gd name="connsiteY46" fmla="*/ 98755 h 150876"/>
                    <a:gd name="connsiteX47" fmla="*/ 41148 w 183794"/>
                    <a:gd name="connsiteY47" fmla="*/ 94915 h 150876"/>
                    <a:gd name="connsiteX48" fmla="*/ 31273 w 183794"/>
                    <a:gd name="connsiteY48" fmla="*/ 93269 h 150876"/>
                    <a:gd name="connsiteX49" fmla="*/ 29078 w 183794"/>
                    <a:gd name="connsiteY49" fmla="*/ 98755 h 150876"/>
                    <a:gd name="connsiteX50" fmla="*/ 23592 w 183794"/>
                    <a:gd name="connsiteY50" fmla="*/ 102047 h 150876"/>
                    <a:gd name="connsiteX51" fmla="*/ 19751 w 183794"/>
                    <a:gd name="connsiteY51" fmla="*/ 96561 h 150876"/>
                    <a:gd name="connsiteX52" fmla="*/ 15362 w 183794"/>
                    <a:gd name="connsiteY52" fmla="*/ 96561 h 150876"/>
                    <a:gd name="connsiteX53" fmla="*/ 10973 w 183794"/>
                    <a:gd name="connsiteY53" fmla="*/ 95463 h 150876"/>
                    <a:gd name="connsiteX54" fmla="*/ 7681 w 183794"/>
                    <a:gd name="connsiteY54" fmla="*/ 87234 h 150876"/>
                    <a:gd name="connsiteX55" fmla="*/ 3841 w 183794"/>
                    <a:gd name="connsiteY55" fmla="*/ 81747 h 150876"/>
                    <a:gd name="connsiteX56" fmla="*/ 2743 w 183794"/>
                    <a:gd name="connsiteY56" fmla="*/ 74615 h 150876"/>
                    <a:gd name="connsiteX57" fmla="*/ 5486 w 183794"/>
                    <a:gd name="connsiteY57" fmla="*/ 68031 h 150876"/>
                    <a:gd name="connsiteX58" fmla="*/ 12619 w 183794"/>
                    <a:gd name="connsiteY58" fmla="*/ 66934 h 150876"/>
                    <a:gd name="connsiteX59" fmla="*/ 11521 w 183794"/>
                    <a:gd name="connsiteY59" fmla="*/ 64191 h 150876"/>
                    <a:gd name="connsiteX60" fmla="*/ 2195 w 183794"/>
                    <a:gd name="connsiteY60" fmla="*/ 63094 h 150876"/>
                    <a:gd name="connsiteX61" fmla="*/ 2743 w 183794"/>
                    <a:gd name="connsiteY61" fmla="*/ 53767 h 150876"/>
                    <a:gd name="connsiteX62" fmla="*/ 4389 w 183794"/>
                    <a:gd name="connsiteY62" fmla="*/ 51572 h 150876"/>
                    <a:gd name="connsiteX63" fmla="*/ 3292 w 183794"/>
                    <a:gd name="connsiteY63" fmla="*/ 48280 h 150876"/>
                    <a:gd name="connsiteX64" fmla="*/ 0 w 183794"/>
                    <a:gd name="connsiteY64" fmla="*/ 47732 h 150876"/>
                    <a:gd name="connsiteX65" fmla="*/ 2743 w 183794"/>
                    <a:gd name="connsiteY65" fmla="*/ 34016 h 150876"/>
                    <a:gd name="connsiteX66" fmla="*/ 5486 w 183794"/>
                    <a:gd name="connsiteY66" fmla="*/ 31273 h 150876"/>
                    <a:gd name="connsiteX67" fmla="*/ 24140 w 183794"/>
                    <a:gd name="connsiteY67" fmla="*/ 25786 h 150876"/>
                    <a:gd name="connsiteX68" fmla="*/ 24689 w 183794"/>
                    <a:gd name="connsiteY68" fmla="*/ 22494 h 150876"/>
                    <a:gd name="connsiteX69" fmla="*/ 27432 w 183794"/>
                    <a:gd name="connsiteY69" fmla="*/ 20300 h 150876"/>
                    <a:gd name="connsiteX70" fmla="*/ 32918 w 183794"/>
                    <a:gd name="connsiteY70" fmla="*/ 18654 h 150876"/>
                    <a:gd name="connsiteX71" fmla="*/ 37856 w 183794"/>
                    <a:gd name="connsiteY71" fmla="*/ 14813 h 150876"/>
                    <a:gd name="connsiteX72" fmla="*/ 51024 w 183794"/>
                    <a:gd name="connsiteY72" fmla="*/ 14813 h 150876"/>
                    <a:gd name="connsiteX73" fmla="*/ 52669 w 183794"/>
                    <a:gd name="connsiteY73" fmla="*/ 8230 h 150876"/>
                    <a:gd name="connsiteX74" fmla="*/ 59802 w 183794"/>
                    <a:gd name="connsiteY74" fmla="*/ 12619 h 150876"/>
                    <a:gd name="connsiteX75" fmla="*/ 74066 w 183794"/>
                    <a:gd name="connsiteY75" fmla="*/ 11521 h 150876"/>
                    <a:gd name="connsiteX76" fmla="*/ 77907 w 183794"/>
                    <a:gd name="connsiteY76" fmla="*/ 8230 h 150876"/>
                    <a:gd name="connsiteX77" fmla="*/ 76810 w 183794"/>
                    <a:gd name="connsiteY77" fmla="*/ 3841 h 150876"/>
                    <a:gd name="connsiteX78" fmla="*/ 82845 w 183794"/>
                    <a:gd name="connsiteY78" fmla="*/ 3841 h 1508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</a:cxnLst>
                  <a:rect l="l" t="t" r="r" b="b"/>
                  <a:pathLst>
                    <a:path w="183794" h="150876">
                      <a:moveTo>
                        <a:pt x="82845" y="3841"/>
                      </a:moveTo>
                      <a:lnTo>
                        <a:pt x="84491" y="0"/>
                      </a:lnTo>
                      <a:lnTo>
                        <a:pt x="89977" y="6035"/>
                      </a:lnTo>
                      <a:lnTo>
                        <a:pt x="96012" y="3841"/>
                      </a:lnTo>
                      <a:lnTo>
                        <a:pt x="122895" y="10424"/>
                      </a:lnTo>
                      <a:lnTo>
                        <a:pt x="126187" y="14813"/>
                      </a:lnTo>
                      <a:lnTo>
                        <a:pt x="134417" y="17557"/>
                      </a:lnTo>
                      <a:lnTo>
                        <a:pt x="164043" y="17557"/>
                      </a:lnTo>
                      <a:lnTo>
                        <a:pt x="172273" y="14813"/>
                      </a:lnTo>
                      <a:lnTo>
                        <a:pt x="173919" y="9875"/>
                      </a:lnTo>
                      <a:lnTo>
                        <a:pt x="178308" y="10973"/>
                      </a:lnTo>
                      <a:lnTo>
                        <a:pt x="182149" y="15362"/>
                      </a:lnTo>
                      <a:lnTo>
                        <a:pt x="183794" y="20848"/>
                      </a:lnTo>
                      <a:lnTo>
                        <a:pt x="181600" y="25786"/>
                      </a:lnTo>
                      <a:lnTo>
                        <a:pt x="173919" y="33467"/>
                      </a:lnTo>
                      <a:lnTo>
                        <a:pt x="163495" y="53218"/>
                      </a:lnTo>
                      <a:lnTo>
                        <a:pt x="165689" y="62545"/>
                      </a:lnTo>
                      <a:lnTo>
                        <a:pt x="164043" y="74615"/>
                      </a:lnTo>
                      <a:lnTo>
                        <a:pt x="167335" y="82296"/>
                      </a:lnTo>
                      <a:lnTo>
                        <a:pt x="167335" y="86685"/>
                      </a:lnTo>
                      <a:lnTo>
                        <a:pt x="165141" y="92171"/>
                      </a:lnTo>
                      <a:lnTo>
                        <a:pt x="155814" y="100401"/>
                      </a:lnTo>
                      <a:lnTo>
                        <a:pt x="154168" y="105339"/>
                      </a:lnTo>
                      <a:lnTo>
                        <a:pt x="156362" y="110277"/>
                      </a:lnTo>
                      <a:lnTo>
                        <a:pt x="171724" y="110277"/>
                      </a:lnTo>
                      <a:lnTo>
                        <a:pt x="178857" y="122347"/>
                      </a:lnTo>
                      <a:lnTo>
                        <a:pt x="178308" y="132771"/>
                      </a:lnTo>
                      <a:lnTo>
                        <a:pt x="171724" y="132771"/>
                      </a:lnTo>
                      <a:lnTo>
                        <a:pt x="160203" y="120152"/>
                      </a:lnTo>
                      <a:lnTo>
                        <a:pt x="160203" y="130028"/>
                      </a:lnTo>
                      <a:lnTo>
                        <a:pt x="153071" y="145390"/>
                      </a:lnTo>
                      <a:lnTo>
                        <a:pt x="154168" y="150876"/>
                      </a:lnTo>
                      <a:lnTo>
                        <a:pt x="153619" y="150327"/>
                      </a:lnTo>
                      <a:lnTo>
                        <a:pt x="142098" y="147035"/>
                      </a:lnTo>
                      <a:lnTo>
                        <a:pt x="131125" y="148133"/>
                      </a:lnTo>
                      <a:lnTo>
                        <a:pt x="125639" y="150876"/>
                      </a:lnTo>
                      <a:lnTo>
                        <a:pt x="120152" y="150327"/>
                      </a:lnTo>
                      <a:lnTo>
                        <a:pt x="105339" y="137160"/>
                      </a:lnTo>
                      <a:lnTo>
                        <a:pt x="102047" y="130576"/>
                      </a:lnTo>
                      <a:lnTo>
                        <a:pt x="91623" y="126736"/>
                      </a:lnTo>
                      <a:lnTo>
                        <a:pt x="82845" y="119603"/>
                      </a:lnTo>
                      <a:lnTo>
                        <a:pt x="71323" y="117409"/>
                      </a:lnTo>
                      <a:lnTo>
                        <a:pt x="53767" y="119603"/>
                      </a:lnTo>
                      <a:lnTo>
                        <a:pt x="44440" y="126736"/>
                      </a:lnTo>
                      <a:lnTo>
                        <a:pt x="38953" y="127833"/>
                      </a:lnTo>
                      <a:lnTo>
                        <a:pt x="35113" y="131674"/>
                      </a:lnTo>
                      <a:lnTo>
                        <a:pt x="41697" y="98755"/>
                      </a:lnTo>
                      <a:lnTo>
                        <a:pt x="41148" y="94915"/>
                      </a:lnTo>
                      <a:lnTo>
                        <a:pt x="31273" y="93269"/>
                      </a:lnTo>
                      <a:lnTo>
                        <a:pt x="29078" y="98755"/>
                      </a:lnTo>
                      <a:lnTo>
                        <a:pt x="23592" y="102047"/>
                      </a:lnTo>
                      <a:lnTo>
                        <a:pt x="19751" y="96561"/>
                      </a:lnTo>
                      <a:lnTo>
                        <a:pt x="15362" y="96561"/>
                      </a:lnTo>
                      <a:lnTo>
                        <a:pt x="10973" y="95463"/>
                      </a:lnTo>
                      <a:lnTo>
                        <a:pt x="7681" y="87234"/>
                      </a:lnTo>
                      <a:lnTo>
                        <a:pt x="3841" y="81747"/>
                      </a:lnTo>
                      <a:lnTo>
                        <a:pt x="2743" y="74615"/>
                      </a:lnTo>
                      <a:lnTo>
                        <a:pt x="5486" y="68031"/>
                      </a:lnTo>
                      <a:lnTo>
                        <a:pt x="12619" y="66934"/>
                      </a:lnTo>
                      <a:lnTo>
                        <a:pt x="11521" y="64191"/>
                      </a:lnTo>
                      <a:lnTo>
                        <a:pt x="2195" y="63094"/>
                      </a:lnTo>
                      <a:lnTo>
                        <a:pt x="2743" y="53767"/>
                      </a:lnTo>
                      <a:lnTo>
                        <a:pt x="4389" y="51572"/>
                      </a:lnTo>
                      <a:lnTo>
                        <a:pt x="3292" y="48280"/>
                      </a:lnTo>
                      <a:lnTo>
                        <a:pt x="0" y="47732"/>
                      </a:lnTo>
                      <a:lnTo>
                        <a:pt x="2743" y="34016"/>
                      </a:lnTo>
                      <a:lnTo>
                        <a:pt x="5486" y="31273"/>
                      </a:lnTo>
                      <a:lnTo>
                        <a:pt x="24140" y="25786"/>
                      </a:lnTo>
                      <a:lnTo>
                        <a:pt x="24689" y="22494"/>
                      </a:lnTo>
                      <a:lnTo>
                        <a:pt x="27432" y="20300"/>
                      </a:lnTo>
                      <a:lnTo>
                        <a:pt x="32918" y="18654"/>
                      </a:lnTo>
                      <a:lnTo>
                        <a:pt x="37856" y="14813"/>
                      </a:lnTo>
                      <a:lnTo>
                        <a:pt x="51024" y="14813"/>
                      </a:lnTo>
                      <a:lnTo>
                        <a:pt x="52669" y="8230"/>
                      </a:lnTo>
                      <a:lnTo>
                        <a:pt x="59802" y="12619"/>
                      </a:lnTo>
                      <a:lnTo>
                        <a:pt x="74066" y="11521"/>
                      </a:lnTo>
                      <a:lnTo>
                        <a:pt x="77907" y="8230"/>
                      </a:lnTo>
                      <a:lnTo>
                        <a:pt x="76810" y="3841"/>
                      </a:lnTo>
                      <a:lnTo>
                        <a:pt x="82845" y="3841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56" name="Graphic 7">
                  <a:extLst>
                    <a:ext uri="{FF2B5EF4-FFF2-40B4-BE49-F238E27FC236}">
                      <a16:creationId xmlns:a16="http://schemas.microsoft.com/office/drawing/2014/main" id="{C1E06994-FBB2-8B53-A591-7D71F29F6FCF}"/>
                    </a:ext>
                  </a:extLst>
                </p:cNvPr>
                <p:cNvSpPr/>
                <p:nvPr/>
              </p:nvSpPr>
              <p:spPr>
                <a:xfrm>
                  <a:off x="5412247" y="2543754"/>
                  <a:ext cx="262328" cy="352772"/>
                </a:xfrm>
                <a:custGeom>
                  <a:avLst/>
                  <a:gdLst>
                    <a:gd name="connsiteX0" fmla="*/ 179954 w 335767"/>
                    <a:gd name="connsiteY0" fmla="*/ 60350 h 451530"/>
                    <a:gd name="connsiteX1" fmla="*/ 178857 w 335767"/>
                    <a:gd name="connsiteY1" fmla="*/ 57059 h 451530"/>
                    <a:gd name="connsiteX2" fmla="*/ 181051 w 335767"/>
                    <a:gd name="connsiteY2" fmla="*/ 50475 h 451530"/>
                    <a:gd name="connsiteX3" fmla="*/ 189829 w 335767"/>
                    <a:gd name="connsiteY3" fmla="*/ 42245 h 451530"/>
                    <a:gd name="connsiteX4" fmla="*/ 189829 w 335767"/>
                    <a:gd name="connsiteY4" fmla="*/ 36210 h 451530"/>
                    <a:gd name="connsiteX5" fmla="*/ 186538 w 335767"/>
                    <a:gd name="connsiteY5" fmla="*/ 34016 h 451530"/>
                    <a:gd name="connsiteX6" fmla="*/ 175565 w 335767"/>
                    <a:gd name="connsiteY6" fmla="*/ 37856 h 451530"/>
                    <a:gd name="connsiteX7" fmla="*/ 171176 w 335767"/>
                    <a:gd name="connsiteY7" fmla="*/ 37856 h 451530"/>
                    <a:gd name="connsiteX8" fmla="*/ 168433 w 335767"/>
                    <a:gd name="connsiteY8" fmla="*/ 33467 h 451530"/>
                    <a:gd name="connsiteX9" fmla="*/ 160203 w 335767"/>
                    <a:gd name="connsiteY9" fmla="*/ 30175 h 451530"/>
                    <a:gd name="connsiteX10" fmla="*/ 157460 w 335767"/>
                    <a:gd name="connsiteY10" fmla="*/ 34564 h 451530"/>
                    <a:gd name="connsiteX11" fmla="*/ 153071 w 335767"/>
                    <a:gd name="connsiteY11" fmla="*/ 34564 h 451530"/>
                    <a:gd name="connsiteX12" fmla="*/ 153071 w 335767"/>
                    <a:gd name="connsiteY12" fmla="*/ 29078 h 451530"/>
                    <a:gd name="connsiteX13" fmla="*/ 147584 w 335767"/>
                    <a:gd name="connsiteY13" fmla="*/ 29078 h 451530"/>
                    <a:gd name="connsiteX14" fmla="*/ 144841 w 335767"/>
                    <a:gd name="connsiteY14" fmla="*/ 26883 h 451530"/>
                    <a:gd name="connsiteX15" fmla="*/ 149230 w 335767"/>
                    <a:gd name="connsiteY15" fmla="*/ 21397 h 451530"/>
                    <a:gd name="connsiteX16" fmla="*/ 149779 w 335767"/>
                    <a:gd name="connsiteY16" fmla="*/ 15362 h 451530"/>
                    <a:gd name="connsiteX17" fmla="*/ 145938 w 335767"/>
                    <a:gd name="connsiteY17" fmla="*/ 7681 h 451530"/>
                    <a:gd name="connsiteX18" fmla="*/ 134965 w 335767"/>
                    <a:gd name="connsiteY18" fmla="*/ 3840 h 451530"/>
                    <a:gd name="connsiteX19" fmla="*/ 130028 w 335767"/>
                    <a:gd name="connsiteY19" fmla="*/ 4389 h 451530"/>
                    <a:gd name="connsiteX20" fmla="*/ 130576 w 335767"/>
                    <a:gd name="connsiteY20" fmla="*/ 1097 h 451530"/>
                    <a:gd name="connsiteX21" fmla="*/ 125090 w 335767"/>
                    <a:gd name="connsiteY21" fmla="*/ 3840 h 451530"/>
                    <a:gd name="connsiteX22" fmla="*/ 109179 w 335767"/>
                    <a:gd name="connsiteY22" fmla="*/ 0 h 451530"/>
                    <a:gd name="connsiteX23" fmla="*/ 103693 w 335767"/>
                    <a:gd name="connsiteY23" fmla="*/ 549 h 451530"/>
                    <a:gd name="connsiteX24" fmla="*/ 103144 w 335767"/>
                    <a:gd name="connsiteY24" fmla="*/ 7681 h 451530"/>
                    <a:gd name="connsiteX25" fmla="*/ 114666 w 335767"/>
                    <a:gd name="connsiteY25" fmla="*/ 26335 h 451530"/>
                    <a:gd name="connsiteX26" fmla="*/ 105339 w 335767"/>
                    <a:gd name="connsiteY26" fmla="*/ 31821 h 451530"/>
                    <a:gd name="connsiteX27" fmla="*/ 104790 w 335767"/>
                    <a:gd name="connsiteY27" fmla="*/ 34564 h 451530"/>
                    <a:gd name="connsiteX28" fmla="*/ 102596 w 335767"/>
                    <a:gd name="connsiteY28" fmla="*/ 37307 h 451530"/>
                    <a:gd name="connsiteX29" fmla="*/ 106436 w 335767"/>
                    <a:gd name="connsiteY29" fmla="*/ 37856 h 451530"/>
                    <a:gd name="connsiteX30" fmla="*/ 109728 w 335767"/>
                    <a:gd name="connsiteY30" fmla="*/ 40051 h 451530"/>
                    <a:gd name="connsiteX31" fmla="*/ 108082 w 335767"/>
                    <a:gd name="connsiteY31" fmla="*/ 43891 h 451530"/>
                    <a:gd name="connsiteX32" fmla="*/ 110277 w 335767"/>
                    <a:gd name="connsiteY32" fmla="*/ 48280 h 451530"/>
                    <a:gd name="connsiteX33" fmla="*/ 113569 w 335767"/>
                    <a:gd name="connsiteY33" fmla="*/ 51023 h 451530"/>
                    <a:gd name="connsiteX34" fmla="*/ 113020 w 335767"/>
                    <a:gd name="connsiteY34" fmla="*/ 53767 h 451530"/>
                    <a:gd name="connsiteX35" fmla="*/ 109728 w 335767"/>
                    <a:gd name="connsiteY35" fmla="*/ 54315 h 451530"/>
                    <a:gd name="connsiteX36" fmla="*/ 109728 w 335767"/>
                    <a:gd name="connsiteY36" fmla="*/ 59802 h 451530"/>
                    <a:gd name="connsiteX37" fmla="*/ 118506 w 335767"/>
                    <a:gd name="connsiteY37" fmla="*/ 65837 h 451530"/>
                    <a:gd name="connsiteX38" fmla="*/ 117409 w 335767"/>
                    <a:gd name="connsiteY38" fmla="*/ 68031 h 451530"/>
                    <a:gd name="connsiteX39" fmla="*/ 102047 w 335767"/>
                    <a:gd name="connsiteY39" fmla="*/ 68031 h 451530"/>
                    <a:gd name="connsiteX40" fmla="*/ 98207 w 335767"/>
                    <a:gd name="connsiteY40" fmla="*/ 75712 h 451530"/>
                    <a:gd name="connsiteX41" fmla="*/ 98207 w 335767"/>
                    <a:gd name="connsiteY41" fmla="*/ 88331 h 451530"/>
                    <a:gd name="connsiteX42" fmla="*/ 102047 w 335767"/>
                    <a:gd name="connsiteY42" fmla="*/ 102047 h 451530"/>
                    <a:gd name="connsiteX43" fmla="*/ 94915 w 335767"/>
                    <a:gd name="connsiteY43" fmla="*/ 88331 h 451530"/>
                    <a:gd name="connsiteX44" fmla="*/ 89428 w 335767"/>
                    <a:gd name="connsiteY44" fmla="*/ 86685 h 451530"/>
                    <a:gd name="connsiteX45" fmla="*/ 88880 w 335767"/>
                    <a:gd name="connsiteY45" fmla="*/ 93817 h 451530"/>
                    <a:gd name="connsiteX46" fmla="*/ 83942 w 335767"/>
                    <a:gd name="connsiteY46" fmla="*/ 94366 h 451530"/>
                    <a:gd name="connsiteX47" fmla="*/ 82845 w 335767"/>
                    <a:gd name="connsiteY47" fmla="*/ 85588 h 451530"/>
                    <a:gd name="connsiteX48" fmla="*/ 79004 w 335767"/>
                    <a:gd name="connsiteY48" fmla="*/ 79004 h 451530"/>
                    <a:gd name="connsiteX49" fmla="*/ 68580 w 335767"/>
                    <a:gd name="connsiteY49" fmla="*/ 77358 h 451530"/>
                    <a:gd name="connsiteX50" fmla="*/ 49926 w 335767"/>
                    <a:gd name="connsiteY50" fmla="*/ 81199 h 451530"/>
                    <a:gd name="connsiteX51" fmla="*/ 47732 w 335767"/>
                    <a:gd name="connsiteY51" fmla="*/ 86685 h 451530"/>
                    <a:gd name="connsiteX52" fmla="*/ 44989 w 335767"/>
                    <a:gd name="connsiteY52" fmla="*/ 89428 h 451530"/>
                    <a:gd name="connsiteX53" fmla="*/ 42794 w 335767"/>
                    <a:gd name="connsiteY53" fmla="*/ 94366 h 451530"/>
                    <a:gd name="connsiteX54" fmla="*/ 43343 w 335767"/>
                    <a:gd name="connsiteY54" fmla="*/ 96012 h 451530"/>
                    <a:gd name="connsiteX55" fmla="*/ 50475 w 335767"/>
                    <a:gd name="connsiteY55" fmla="*/ 97658 h 451530"/>
                    <a:gd name="connsiteX56" fmla="*/ 57607 w 335767"/>
                    <a:gd name="connsiteY56" fmla="*/ 103693 h 451530"/>
                    <a:gd name="connsiteX57" fmla="*/ 59253 w 335767"/>
                    <a:gd name="connsiteY57" fmla="*/ 109728 h 451530"/>
                    <a:gd name="connsiteX58" fmla="*/ 57607 w 335767"/>
                    <a:gd name="connsiteY58" fmla="*/ 109728 h 451530"/>
                    <a:gd name="connsiteX59" fmla="*/ 54315 w 335767"/>
                    <a:gd name="connsiteY59" fmla="*/ 103144 h 451530"/>
                    <a:gd name="connsiteX60" fmla="*/ 44440 w 335767"/>
                    <a:gd name="connsiteY60" fmla="*/ 105887 h 451530"/>
                    <a:gd name="connsiteX61" fmla="*/ 37308 w 335767"/>
                    <a:gd name="connsiteY61" fmla="*/ 137160 h 451530"/>
                    <a:gd name="connsiteX62" fmla="*/ 26883 w 335767"/>
                    <a:gd name="connsiteY62" fmla="*/ 144292 h 451530"/>
                    <a:gd name="connsiteX63" fmla="*/ 28529 w 335767"/>
                    <a:gd name="connsiteY63" fmla="*/ 150876 h 451530"/>
                    <a:gd name="connsiteX64" fmla="*/ 40599 w 335767"/>
                    <a:gd name="connsiteY64" fmla="*/ 156362 h 451530"/>
                    <a:gd name="connsiteX65" fmla="*/ 40051 w 335767"/>
                    <a:gd name="connsiteY65" fmla="*/ 164043 h 451530"/>
                    <a:gd name="connsiteX66" fmla="*/ 35113 w 335767"/>
                    <a:gd name="connsiteY66" fmla="*/ 170627 h 451530"/>
                    <a:gd name="connsiteX67" fmla="*/ 28529 w 335767"/>
                    <a:gd name="connsiteY67" fmla="*/ 175565 h 451530"/>
                    <a:gd name="connsiteX68" fmla="*/ 26883 w 335767"/>
                    <a:gd name="connsiteY68" fmla="*/ 183246 h 451530"/>
                    <a:gd name="connsiteX69" fmla="*/ 24140 w 335767"/>
                    <a:gd name="connsiteY69" fmla="*/ 190378 h 451530"/>
                    <a:gd name="connsiteX70" fmla="*/ 18654 w 335767"/>
                    <a:gd name="connsiteY70" fmla="*/ 191475 h 451530"/>
                    <a:gd name="connsiteX71" fmla="*/ 9876 w 335767"/>
                    <a:gd name="connsiteY71" fmla="*/ 188183 h 451530"/>
                    <a:gd name="connsiteX72" fmla="*/ 2743 w 335767"/>
                    <a:gd name="connsiteY72" fmla="*/ 188183 h 451530"/>
                    <a:gd name="connsiteX73" fmla="*/ 4938 w 335767"/>
                    <a:gd name="connsiteY73" fmla="*/ 232075 h 451530"/>
                    <a:gd name="connsiteX74" fmla="*/ 549 w 335767"/>
                    <a:gd name="connsiteY74" fmla="*/ 237561 h 451530"/>
                    <a:gd name="connsiteX75" fmla="*/ 0 w 335767"/>
                    <a:gd name="connsiteY75" fmla="*/ 241950 h 451530"/>
                    <a:gd name="connsiteX76" fmla="*/ 3841 w 335767"/>
                    <a:gd name="connsiteY76" fmla="*/ 254020 h 451530"/>
                    <a:gd name="connsiteX77" fmla="*/ 3841 w 335767"/>
                    <a:gd name="connsiteY77" fmla="*/ 257861 h 451530"/>
                    <a:gd name="connsiteX78" fmla="*/ 6584 w 335767"/>
                    <a:gd name="connsiteY78" fmla="*/ 262250 h 451530"/>
                    <a:gd name="connsiteX79" fmla="*/ 8230 w 335767"/>
                    <a:gd name="connsiteY79" fmla="*/ 269382 h 451530"/>
                    <a:gd name="connsiteX80" fmla="*/ 12070 w 335767"/>
                    <a:gd name="connsiteY80" fmla="*/ 275417 h 451530"/>
                    <a:gd name="connsiteX81" fmla="*/ 12070 w 335767"/>
                    <a:gd name="connsiteY81" fmla="*/ 281452 h 451530"/>
                    <a:gd name="connsiteX82" fmla="*/ 4938 w 335767"/>
                    <a:gd name="connsiteY82" fmla="*/ 292425 h 451530"/>
                    <a:gd name="connsiteX83" fmla="*/ 10424 w 335767"/>
                    <a:gd name="connsiteY83" fmla="*/ 295168 h 451530"/>
                    <a:gd name="connsiteX84" fmla="*/ 8230 w 335767"/>
                    <a:gd name="connsiteY84" fmla="*/ 300655 h 451530"/>
                    <a:gd name="connsiteX85" fmla="*/ 8778 w 335767"/>
                    <a:gd name="connsiteY85" fmla="*/ 305592 h 451530"/>
                    <a:gd name="connsiteX86" fmla="*/ 14265 w 335767"/>
                    <a:gd name="connsiteY86" fmla="*/ 315468 h 451530"/>
                    <a:gd name="connsiteX87" fmla="*/ 15362 w 335767"/>
                    <a:gd name="connsiteY87" fmla="*/ 323698 h 451530"/>
                    <a:gd name="connsiteX88" fmla="*/ 12070 w 335767"/>
                    <a:gd name="connsiteY88" fmla="*/ 328087 h 451530"/>
                    <a:gd name="connsiteX89" fmla="*/ 25237 w 335767"/>
                    <a:gd name="connsiteY89" fmla="*/ 340157 h 451530"/>
                    <a:gd name="connsiteX90" fmla="*/ 29627 w 335767"/>
                    <a:gd name="connsiteY90" fmla="*/ 347289 h 451530"/>
                    <a:gd name="connsiteX91" fmla="*/ 79553 w 335767"/>
                    <a:gd name="connsiteY91" fmla="*/ 361005 h 451530"/>
                    <a:gd name="connsiteX92" fmla="*/ 77907 w 335767"/>
                    <a:gd name="connsiteY92" fmla="*/ 368686 h 451530"/>
                    <a:gd name="connsiteX93" fmla="*/ 65837 w 335767"/>
                    <a:gd name="connsiteY93" fmla="*/ 384597 h 451530"/>
                    <a:gd name="connsiteX94" fmla="*/ 59253 w 335767"/>
                    <a:gd name="connsiteY94" fmla="*/ 409834 h 451530"/>
                    <a:gd name="connsiteX95" fmla="*/ 59253 w 335767"/>
                    <a:gd name="connsiteY95" fmla="*/ 435071 h 451530"/>
                    <a:gd name="connsiteX96" fmla="*/ 60350 w 335767"/>
                    <a:gd name="connsiteY96" fmla="*/ 437266 h 451530"/>
                    <a:gd name="connsiteX97" fmla="*/ 65837 w 335767"/>
                    <a:gd name="connsiteY97" fmla="*/ 441655 h 451530"/>
                    <a:gd name="connsiteX98" fmla="*/ 106985 w 335767"/>
                    <a:gd name="connsiteY98" fmla="*/ 434523 h 451530"/>
                    <a:gd name="connsiteX99" fmla="*/ 132771 w 335767"/>
                    <a:gd name="connsiteY99" fmla="*/ 444398 h 451530"/>
                    <a:gd name="connsiteX100" fmla="*/ 139903 w 335767"/>
                    <a:gd name="connsiteY100" fmla="*/ 441655 h 451530"/>
                    <a:gd name="connsiteX101" fmla="*/ 146487 w 335767"/>
                    <a:gd name="connsiteY101" fmla="*/ 441107 h 451530"/>
                    <a:gd name="connsiteX102" fmla="*/ 151973 w 335767"/>
                    <a:gd name="connsiteY102" fmla="*/ 442752 h 451530"/>
                    <a:gd name="connsiteX103" fmla="*/ 155814 w 335767"/>
                    <a:gd name="connsiteY103" fmla="*/ 448787 h 451530"/>
                    <a:gd name="connsiteX104" fmla="*/ 162397 w 335767"/>
                    <a:gd name="connsiteY104" fmla="*/ 451531 h 451530"/>
                    <a:gd name="connsiteX105" fmla="*/ 166238 w 335767"/>
                    <a:gd name="connsiteY105" fmla="*/ 449885 h 451530"/>
                    <a:gd name="connsiteX106" fmla="*/ 168433 w 335767"/>
                    <a:gd name="connsiteY106" fmla="*/ 444947 h 451530"/>
                    <a:gd name="connsiteX107" fmla="*/ 172822 w 335767"/>
                    <a:gd name="connsiteY107" fmla="*/ 440558 h 451530"/>
                    <a:gd name="connsiteX108" fmla="*/ 181051 w 335767"/>
                    <a:gd name="connsiteY108" fmla="*/ 441655 h 451530"/>
                    <a:gd name="connsiteX109" fmla="*/ 189829 w 335767"/>
                    <a:gd name="connsiteY109" fmla="*/ 447142 h 451530"/>
                    <a:gd name="connsiteX110" fmla="*/ 199156 w 335767"/>
                    <a:gd name="connsiteY110" fmla="*/ 447142 h 451530"/>
                    <a:gd name="connsiteX111" fmla="*/ 212324 w 335767"/>
                    <a:gd name="connsiteY111" fmla="*/ 438363 h 451530"/>
                    <a:gd name="connsiteX112" fmla="*/ 234818 w 335767"/>
                    <a:gd name="connsiteY112" fmla="*/ 435071 h 451530"/>
                    <a:gd name="connsiteX113" fmla="*/ 237561 w 335767"/>
                    <a:gd name="connsiteY113" fmla="*/ 431780 h 451530"/>
                    <a:gd name="connsiteX114" fmla="*/ 245791 w 335767"/>
                    <a:gd name="connsiteY114" fmla="*/ 434523 h 451530"/>
                    <a:gd name="connsiteX115" fmla="*/ 255666 w 335767"/>
                    <a:gd name="connsiteY115" fmla="*/ 434523 h 451530"/>
                    <a:gd name="connsiteX116" fmla="*/ 258409 w 335767"/>
                    <a:gd name="connsiteY116" fmla="*/ 439461 h 451530"/>
                    <a:gd name="connsiteX117" fmla="*/ 263896 w 335767"/>
                    <a:gd name="connsiteY117" fmla="*/ 437266 h 451530"/>
                    <a:gd name="connsiteX118" fmla="*/ 263347 w 335767"/>
                    <a:gd name="connsiteY118" fmla="*/ 431780 h 451530"/>
                    <a:gd name="connsiteX119" fmla="*/ 258958 w 335767"/>
                    <a:gd name="connsiteY119" fmla="*/ 421355 h 451530"/>
                    <a:gd name="connsiteX120" fmla="*/ 258409 w 335767"/>
                    <a:gd name="connsiteY120" fmla="*/ 409834 h 451530"/>
                    <a:gd name="connsiteX121" fmla="*/ 261153 w 335767"/>
                    <a:gd name="connsiteY121" fmla="*/ 402153 h 451530"/>
                    <a:gd name="connsiteX122" fmla="*/ 276515 w 335767"/>
                    <a:gd name="connsiteY122" fmla="*/ 395569 h 451530"/>
                    <a:gd name="connsiteX123" fmla="*/ 281452 w 335767"/>
                    <a:gd name="connsiteY123" fmla="*/ 383499 h 451530"/>
                    <a:gd name="connsiteX124" fmla="*/ 293522 w 335767"/>
                    <a:gd name="connsiteY124" fmla="*/ 378562 h 451530"/>
                    <a:gd name="connsiteX125" fmla="*/ 294620 w 335767"/>
                    <a:gd name="connsiteY125" fmla="*/ 373075 h 451530"/>
                    <a:gd name="connsiteX126" fmla="*/ 240853 w 335767"/>
                    <a:gd name="connsiteY126" fmla="*/ 322600 h 451530"/>
                    <a:gd name="connsiteX127" fmla="*/ 239207 w 335767"/>
                    <a:gd name="connsiteY127" fmla="*/ 301752 h 451530"/>
                    <a:gd name="connsiteX128" fmla="*/ 230977 w 335767"/>
                    <a:gd name="connsiteY128" fmla="*/ 297911 h 451530"/>
                    <a:gd name="connsiteX129" fmla="*/ 225491 w 335767"/>
                    <a:gd name="connsiteY129" fmla="*/ 290779 h 451530"/>
                    <a:gd name="connsiteX130" fmla="*/ 225491 w 335767"/>
                    <a:gd name="connsiteY130" fmla="*/ 284744 h 451530"/>
                    <a:gd name="connsiteX131" fmla="*/ 226040 w 335767"/>
                    <a:gd name="connsiteY131" fmla="*/ 282001 h 451530"/>
                    <a:gd name="connsiteX132" fmla="*/ 237013 w 335767"/>
                    <a:gd name="connsiteY132" fmla="*/ 291876 h 451530"/>
                    <a:gd name="connsiteX133" fmla="*/ 238658 w 335767"/>
                    <a:gd name="connsiteY133" fmla="*/ 291328 h 451530"/>
                    <a:gd name="connsiteX134" fmla="*/ 241950 w 335767"/>
                    <a:gd name="connsiteY134" fmla="*/ 282001 h 451530"/>
                    <a:gd name="connsiteX135" fmla="*/ 276515 w 335767"/>
                    <a:gd name="connsiteY135" fmla="*/ 267736 h 451530"/>
                    <a:gd name="connsiteX136" fmla="*/ 280904 w 335767"/>
                    <a:gd name="connsiteY136" fmla="*/ 260055 h 451530"/>
                    <a:gd name="connsiteX137" fmla="*/ 307238 w 335767"/>
                    <a:gd name="connsiteY137" fmla="*/ 250728 h 451530"/>
                    <a:gd name="connsiteX138" fmla="*/ 309433 w 335767"/>
                    <a:gd name="connsiteY138" fmla="*/ 235367 h 451530"/>
                    <a:gd name="connsiteX139" fmla="*/ 316017 w 335767"/>
                    <a:gd name="connsiteY139" fmla="*/ 237012 h 451530"/>
                    <a:gd name="connsiteX140" fmla="*/ 325892 w 335767"/>
                    <a:gd name="connsiteY140" fmla="*/ 251277 h 451530"/>
                    <a:gd name="connsiteX141" fmla="*/ 330281 w 335767"/>
                    <a:gd name="connsiteY141" fmla="*/ 251277 h 451530"/>
                    <a:gd name="connsiteX142" fmla="*/ 335768 w 335767"/>
                    <a:gd name="connsiteY142" fmla="*/ 219456 h 451530"/>
                    <a:gd name="connsiteX143" fmla="*/ 335219 w 335767"/>
                    <a:gd name="connsiteY143" fmla="*/ 216713 h 451530"/>
                    <a:gd name="connsiteX144" fmla="*/ 324246 w 335767"/>
                    <a:gd name="connsiteY144" fmla="*/ 203545 h 451530"/>
                    <a:gd name="connsiteX145" fmla="*/ 317114 w 335767"/>
                    <a:gd name="connsiteY145" fmla="*/ 140452 h 451530"/>
                    <a:gd name="connsiteX146" fmla="*/ 307238 w 335767"/>
                    <a:gd name="connsiteY146" fmla="*/ 132771 h 451530"/>
                    <a:gd name="connsiteX147" fmla="*/ 307238 w 335767"/>
                    <a:gd name="connsiteY147" fmla="*/ 127833 h 451530"/>
                    <a:gd name="connsiteX148" fmla="*/ 313822 w 335767"/>
                    <a:gd name="connsiteY148" fmla="*/ 110825 h 451530"/>
                    <a:gd name="connsiteX149" fmla="*/ 314919 w 335767"/>
                    <a:gd name="connsiteY149" fmla="*/ 91074 h 451530"/>
                    <a:gd name="connsiteX150" fmla="*/ 307787 w 335767"/>
                    <a:gd name="connsiteY150" fmla="*/ 72969 h 451530"/>
                    <a:gd name="connsiteX151" fmla="*/ 292425 w 335767"/>
                    <a:gd name="connsiteY151" fmla="*/ 68031 h 451530"/>
                    <a:gd name="connsiteX152" fmla="*/ 290779 w 335767"/>
                    <a:gd name="connsiteY152" fmla="*/ 59253 h 451530"/>
                    <a:gd name="connsiteX153" fmla="*/ 284744 w 335767"/>
                    <a:gd name="connsiteY153" fmla="*/ 49378 h 451530"/>
                    <a:gd name="connsiteX154" fmla="*/ 278161 w 335767"/>
                    <a:gd name="connsiteY154" fmla="*/ 50475 h 451530"/>
                    <a:gd name="connsiteX155" fmla="*/ 274320 w 335767"/>
                    <a:gd name="connsiteY155" fmla="*/ 46634 h 451530"/>
                    <a:gd name="connsiteX156" fmla="*/ 272125 w 335767"/>
                    <a:gd name="connsiteY156" fmla="*/ 46634 h 451530"/>
                    <a:gd name="connsiteX157" fmla="*/ 270480 w 335767"/>
                    <a:gd name="connsiteY157" fmla="*/ 41148 h 451530"/>
                    <a:gd name="connsiteX158" fmla="*/ 264993 w 335767"/>
                    <a:gd name="connsiteY158" fmla="*/ 37856 h 451530"/>
                    <a:gd name="connsiteX159" fmla="*/ 261153 w 335767"/>
                    <a:gd name="connsiteY159" fmla="*/ 33467 h 451530"/>
                    <a:gd name="connsiteX160" fmla="*/ 245242 w 335767"/>
                    <a:gd name="connsiteY160" fmla="*/ 37307 h 451530"/>
                    <a:gd name="connsiteX161" fmla="*/ 240853 w 335767"/>
                    <a:gd name="connsiteY161" fmla="*/ 40599 h 451530"/>
                    <a:gd name="connsiteX162" fmla="*/ 242499 w 335767"/>
                    <a:gd name="connsiteY162" fmla="*/ 37307 h 451530"/>
                    <a:gd name="connsiteX163" fmla="*/ 252923 w 335767"/>
                    <a:gd name="connsiteY163" fmla="*/ 29078 h 451530"/>
                    <a:gd name="connsiteX164" fmla="*/ 247985 w 335767"/>
                    <a:gd name="connsiteY164" fmla="*/ 28529 h 451530"/>
                    <a:gd name="connsiteX165" fmla="*/ 242499 w 335767"/>
                    <a:gd name="connsiteY165" fmla="*/ 29627 h 451530"/>
                    <a:gd name="connsiteX166" fmla="*/ 233172 w 335767"/>
                    <a:gd name="connsiteY166" fmla="*/ 40599 h 451530"/>
                    <a:gd name="connsiteX167" fmla="*/ 229880 w 335767"/>
                    <a:gd name="connsiteY167" fmla="*/ 47732 h 451530"/>
                    <a:gd name="connsiteX168" fmla="*/ 227137 w 335767"/>
                    <a:gd name="connsiteY168" fmla="*/ 49378 h 451530"/>
                    <a:gd name="connsiteX169" fmla="*/ 227137 w 335767"/>
                    <a:gd name="connsiteY169" fmla="*/ 44988 h 451530"/>
                    <a:gd name="connsiteX170" fmla="*/ 213970 w 335767"/>
                    <a:gd name="connsiteY170" fmla="*/ 48280 h 451530"/>
                    <a:gd name="connsiteX171" fmla="*/ 203545 w 335767"/>
                    <a:gd name="connsiteY171" fmla="*/ 57059 h 451530"/>
                    <a:gd name="connsiteX172" fmla="*/ 205740 w 335767"/>
                    <a:gd name="connsiteY172" fmla="*/ 60899 h 451530"/>
                    <a:gd name="connsiteX173" fmla="*/ 199156 w 335767"/>
                    <a:gd name="connsiteY173" fmla="*/ 60899 h 451530"/>
                    <a:gd name="connsiteX174" fmla="*/ 190927 w 335767"/>
                    <a:gd name="connsiteY174" fmla="*/ 58156 h 451530"/>
                    <a:gd name="connsiteX175" fmla="*/ 181600 w 335767"/>
                    <a:gd name="connsiteY175" fmla="*/ 64191 h 451530"/>
                    <a:gd name="connsiteX176" fmla="*/ 179954 w 335767"/>
                    <a:gd name="connsiteY176" fmla="*/ 60350 h 4515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</a:cxnLst>
                  <a:rect l="l" t="t" r="r" b="b"/>
                  <a:pathLst>
                    <a:path w="335767" h="451530">
                      <a:moveTo>
                        <a:pt x="179954" y="60350"/>
                      </a:moveTo>
                      <a:lnTo>
                        <a:pt x="178857" y="57059"/>
                      </a:lnTo>
                      <a:lnTo>
                        <a:pt x="181051" y="50475"/>
                      </a:lnTo>
                      <a:lnTo>
                        <a:pt x="189829" y="42245"/>
                      </a:lnTo>
                      <a:lnTo>
                        <a:pt x="189829" y="36210"/>
                      </a:lnTo>
                      <a:lnTo>
                        <a:pt x="186538" y="34016"/>
                      </a:lnTo>
                      <a:lnTo>
                        <a:pt x="175565" y="37856"/>
                      </a:lnTo>
                      <a:lnTo>
                        <a:pt x="171176" y="37856"/>
                      </a:lnTo>
                      <a:lnTo>
                        <a:pt x="168433" y="33467"/>
                      </a:lnTo>
                      <a:lnTo>
                        <a:pt x="160203" y="30175"/>
                      </a:lnTo>
                      <a:lnTo>
                        <a:pt x="157460" y="34564"/>
                      </a:lnTo>
                      <a:lnTo>
                        <a:pt x="153071" y="34564"/>
                      </a:lnTo>
                      <a:lnTo>
                        <a:pt x="153071" y="29078"/>
                      </a:lnTo>
                      <a:lnTo>
                        <a:pt x="147584" y="29078"/>
                      </a:lnTo>
                      <a:lnTo>
                        <a:pt x="144841" y="26883"/>
                      </a:lnTo>
                      <a:lnTo>
                        <a:pt x="149230" y="21397"/>
                      </a:lnTo>
                      <a:lnTo>
                        <a:pt x="149779" y="15362"/>
                      </a:lnTo>
                      <a:lnTo>
                        <a:pt x="145938" y="7681"/>
                      </a:lnTo>
                      <a:lnTo>
                        <a:pt x="134965" y="3840"/>
                      </a:lnTo>
                      <a:lnTo>
                        <a:pt x="130028" y="4389"/>
                      </a:lnTo>
                      <a:lnTo>
                        <a:pt x="130576" y="1097"/>
                      </a:lnTo>
                      <a:lnTo>
                        <a:pt x="125090" y="3840"/>
                      </a:lnTo>
                      <a:lnTo>
                        <a:pt x="109179" y="0"/>
                      </a:lnTo>
                      <a:lnTo>
                        <a:pt x="103693" y="549"/>
                      </a:lnTo>
                      <a:lnTo>
                        <a:pt x="103144" y="7681"/>
                      </a:lnTo>
                      <a:lnTo>
                        <a:pt x="114666" y="26335"/>
                      </a:lnTo>
                      <a:lnTo>
                        <a:pt x="105339" y="31821"/>
                      </a:lnTo>
                      <a:lnTo>
                        <a:pt x="104790" y="34564"/>
                      </a:lnTo>
                      <a:lnTo>
                        <a:pt x="102596" y="37307"/>
                      </a:lnTo>
                      <a:lnTo>
                        <a:pt x="106436" y="37856"/>
                      </a:lnTo>
                      <a:lnTo>
                        <a:pt x="109728" y="40051"/>
                      </a:lnTo>
                      <a:lnTo>
                        <a:pt x="108082" y="43891"/>
                      </a:lnTo>
                      <a:lnTo>
                        <a:pt x="110277" y="48280"/>
                      </a:lnTo>
                      <a:lnTo>
                        <a:pt x="113569" y="51023"/>
                      </a:lnTo>
                      <a:lnTo>
                        <a:pt x="113020" y="53767"/>
                      </a:lnTo>
                      <a:lnTo>
                        <a:pt x="109728" y="54315"/>
                      </a:lnTo>
                      <a:lnTo>
                        <a:pt x="109728" y="59802"/>
                      </a:lnTo>
                      <a:lnTo>
                        <a:pt x="118506" y="65837"/>
                      </a:lnTo>
                      <a:lnTo>
                        <a:pt x="117409" y="68031"/>
                      </a:lnTo>
                      <a:lnTo>
                        <a:pt x="102047" y="68031"/>
                      </a:lnTo>
                      <a:lnTo>
                        <a:pt x="98207" y="75712"/>
                      </a:lnTo>
                      <a:lnTo>
                        <a:pt x="98207" y="88331"/>
                      </a:lnTo>
                      <a:lnTo>
                        <a:pt x="102047" y="102047"/>
                      </a:lnTo>
                      <a:lnTo>
                        <a:pt x="94915" y="88331"/>
                      </a:lnTo>
                      <a:lnTo>
                        <a:pt x="89428" y="86685"/>
                      </a:lnTo>
                      <a:lnTo>
                        <a:pt x="88880" y="93817"/>
                      </a:lnTo>
                      <a:lnTo>
                        <a:pt x="83942" y="94366"/>
                      </a:lnTo>
                      <a:lnTo>
                        <a:pt x="82845" y="85588"/>
                      </a:lnTo>
                      <a:lnTo>
                        <a:pt x="79004" y="79004"/>
                      </a:lnTo>
                      <a:lnTo>
                        <a:pt x="68580" y="77358"/>
                      </a:lnTo>
                      <a:lnTo>
                        <a:pt x="49926" y="81199"/>
                      </a:lnTo>
                      <a:lnTo>
                        <a:pt x="47732" y="86685"/>
                      </a:lnTo>
                      <a:lnTo>
                        <a:pt x="44989" y="89428"/>
                      </a:lnTo>
                      <a:lnTo>
                        <a:pt x="42794" y="94366"/>
                      </a:lnTo>
                      <a:lnTo>
                        <a:pt x="43343" y="96012"/>
                      </a:lnTo>
                      <a:lnTo>
                        <a:pt x="50475" y="97658"/>
                      </a:lnTo>
                      <a:lnTo>
                        <a:pt x="57607" y="103693"/>
                      </a:lnTo>
                      <a:lnTo>
                        <a:pt x="59253" y="109728"/>
                      </a:lnTo>
                      <a:lnTo>
                        <a:pt x="57607" y="109728"/>
                      </a:lnTo>
                      <a:lnTo>
                        <a:pt x="54315" y="103144"/>
                      </a:lnTo>
                      <a:lnTo>
                        <a:pt x="44440" y="105887"/>
                      </a:lnTo>
                      <a:lnTo>
                        <a:pt x="37308" y="137160"/>
                      </a:lnTo>
                      <a:lnTo>
                        <a:pt x="26883" y="144292"/>
                      </a:lnTo>
                      <a:lnTo>
                        <a:pt x="28529" y="150876"/>
                      </a:lnTo>
                      <a:lnTo>
                        <a:pt x="40599" y="156362"/>
                      </a:lnTo>
                      <a:lnTo>
                        <a:pt x="40051" y="164043"/>
                      </a:lnTo>
                      <a:lnTo>
                        <a:pt x="35113" y="170627"/>
                      </a:lnTo>
                      <a:lnTo>
                        <a:pt x="28529" y="175565"/>
                      </a:lnTo>
                      <a:lnTo>
                        <a:pt x="26883" y="183246"/>
                      </a:lnTo>
                      <a:lnTo>
                        <a:pt x="24140" y="190378"/>
                      </a:lnTo>
                      <a:lnTo>
                        <a:pt x="18654" y="191475"/>
                      </a:lnTo>
                      <a:lnTo>
                        <a:pt x="9876" y="188183"/>
                      </a:lnTo>
                      <a:lnTo>
                        <a:pt x="2743" y="188183"/>
                      </a:lnTo>
                      <a:lnTo>
                        <a:pt x="4938" y="232075"/>
                      </a:lnTo>
                      <a:lnTo>
                        <a:pt x="549" y="237561"/>
                      </a:lnTo>
                      <a:lnTo>
                        <a:pt x="0" y="241950"/>
                      </a:lnTo>
                      <a:lnTo>
                        <a:pt x="3841" y="254020"/>
                      </a:lnTo>
                      <a:lnTo>
                        <a:pt x="3841" y="257861"/>
                      </a:lnTo>
                      <a:lnTo>
                        <a:pt x="6584" y="262250"/>
                      </a:lnTo>
                      <a:lnTo>
                        <a:pt x="8230" y="269382"/>
                      </a:lnTo>
                      <a:lnTo>
                        <a:pt x="12070" y="275417"/>
                      </a:lnTo>
                      <a:lnTo>
                        <a:pt x="12070" y="281452"/>
                      </a:lnTo>
                      <a:lnTo>
                        <a:pt x="4938" y="292425"/>
                      </a:lnTo>
                      <a:lnTo>
                        <a:pt x="10424" y="295168"/>
                      </a:lnTo>
                      <a:lnTo>
                        <a:pt x="8230" y="300655"/>
                      </a:lnTo>
                      <a:lnTo>
                        <a:pt x="8778" y="305592"/>
                      </a:lnTo>
                      <a:lnTo>
                        <a:pt x="14265" y="315468"/>
                      </a:lnTo>
                      <a:lnTo>
                        <a:pt x="15362" y="323698"/>
                      </a:lnTo>
                      <a:lnTo>
                        <a:pt x="12070" y="328087"/>
                      </a:lnTo>
                      <a:lnTo>
                        <a:pt x="25237" y="340157"/>
                      </a:lnTo>
                      <a:lnTo>
                        <a:pt x="29627" y="347289"/>
                      </a:lnTo>
                      <a:lnTo>
                        <a:pt x="79553" y="361005"/>
                      </a:lnTo>
                      <a:lnTo>
                        <a:pt x="77907" y="368686"/>
                      </a:lnTo>
                      <a:lnTo>
                        <a:pt x="65837" y="384597"/>
                      </a:lnTo>
                      <a:lnTo>
                        <a:pt x="59253" y="409834"/>
                      </a:lnTo>
                      <a:lnTo>
                        <a:pt x="59253" y="435071"/>
                      </a:lnTo>
                      <a:lnTo>
                        <a:pt x="60350" y="437266"/>
                      </a:lnTo>
                      <a:lnTo>
                        <a:pt x="65837" y="441655"/>
                      </a:lnTo>
                      <a:lnTo>
                        <a:pt x="106985" y="434523"/>
                      </a:lnTo>
                      <a:lnTo>
                        <a:pt x="132771" y="444398"/>
                      </a:lnTo>
                      <a:lnTo>
                        <a:pt x="139903" y="441655"/>
                      </a:lnTo>
                      <a:lnTo>
                        <a:pt x="146487" y="441107"/>
                      </a:lnTo>
                      <a:lnTo>
                        <a:pt x="151973" y="442752"/>
                      </a:lnTo>
                      <a:lnTo>
                        <a:pt x="155814" y="448787"/>
                      </a:lnTo>
                      <a:lnTo>
                        <a:pt x="162397" y="451531"/>
                      </a:lnTo>
                      <a:lnTo>
                        <a:pt x="166238" y="449885"/>
                      </a:lnTo>
                      <a:lnTo>
                        <a:pt x="168433" y="444947"/>
                      </a:lnTo>
                      <a:lnTo>
                        <a:pt x="172822" y="440558"/>
                      </a:lnTo>
                      <a:lnTo>
                        <a:pt x="181051" y="441655"/>
                      </a:lnTo>
                      <a:lnTo>
                        <a:pt x="189829" y="447142"/>
                      </a:lnTo>
                      <a:lnTo>
                        <a:pt x="199156" y="447142"/>
                      </a:lnTo>
                      <a:lnTo>
                        <a:pt x="212324" y="438363"/>
                      </a:lnTo>
                      <a:lnTo>
                        <a:pt x="234818" y="435071"/>
                      </a:lnTo>
                      <a:lnTo>
                        <a:pt x="237561" y="431780"/>
                      </a:lnTo>
                      <a:lnTo>
                        <a:pt x="245791" y="434523"/>
                      </a:lnTo>
                      <a:lnTo>
                        <a:pt x="255666" y="434523"/>
                      </a:lnTo>
                      <a:lnTo>
                        <a:pt x="258409" y="439461"/>
                      </a:lnTo>
                      <a:lnTo>
                        <a:pt x="263896" y="437266"/>
                      </a:lnTo>
                      <a:lnTo>
                        <a:pt x="263347" y="431780"/>
                      </a:lnTo>
                      <a:lnTo>
                        <a:pt x="258958" y="421355"/>
                      </a:lnTo>
                      <a:lnTo>
                        <a:pt x="258409" y="409834"/>
                      </a:lnTo>
                      <a:lnTo>
                        <a:pt x="261153" y="402153"/>
                      </a:lnTo>
                      <a:lnTo>
                        <a:pt x="276515" y="395569"/>
                      </a:lnTo>
                      <a:lnTo>
                        <a:pt x="281452" y="383499"/>
                      </a:lnTo>
                      <a:lnTo>
                        <a:pt x="293522" y="378562"/>
                      </a:lnTo>
                      <a:lnTo>
                        <a:pt x="294620" y="373075"/>
                      </a:lnTo>
                      <a:lnTo>
                        <a:pt x="240853" y="322600"/>
                      </a:lnTo>
                      <a:lnTo>
                        <a:pt x="239207" y="301752"/>
                      </a:lnTo>
                      <a:lnTo>
                        <a:pt x="230977" y="297911"/>
                      </a:lnTo>
                      <a:lnTo>
                        <a:pt x="225491" y="290779"/>
                      </a:lnTo>
                      <a:lnTo>
                        <a:pt x="225491" y="284744"/>
                      </a:lnTo>
                      <a:lnTo>
                        <a:pt x="226040" y="282001"/>
                      </a:lnTo>
                      <a:lnTo>
                        <a:pt x="237013" y="291876"/>
                      </a:lnTo>
                      <a:lnTo>
                        <a:pt x="238658" y="291328"/>
                      </a:lnTo>
                      <a:lnTo>
                        <a:pt x="241950" y="282001"/>
                      </a:lnTo>
                      <a:lnTo>
                        <a:pt x="276515" y="267736"/>
                      </a:lnTo>
                      <a:lnTo>
                        <a:pt x="280904" y="260055"/>
                      </a:lnTo>
                      <a:lnTo>
                        <a:pt x="307238" y="250728"/>
                      </a:lnTo>
                      <a:lnTo>
                        <a:pt x="309433" y="235367"/>
                      </a:lnTo>
                      <a:lnTo>
                        <a:pt x="316017" y="237012"/>
                      </a:lnTo>
                      <a:lnTo>
                        <a:pt x="325892" y="251277"/>
                      </a:lnTo>
                      <a:lnTo>
                        <a:pt x="330281" y="251277"/>
                      </a:lnTo>
                      <a:lnTo>
                        <a:pt x="335768" y="219456"/>
                      </a:lnTo>
                      <a:lnTo>
                        <a:pt x="335219" y="216713"/>
                      </a:lnTo>
                      <a:lnTo>
                        <a:pt x="324246" y="203545"/>
                      </a:lnTo>
                      <a:lnTo>
                        <a:pt x="317114" y="140452"/>
                      </a:lnTo>
                      <a:lnTo>
                        <a:pt x="307238" y="132771"/>
                      </a:lnTo>
                      <a:lnTo>
                        <a:pt x="307238" y="127833"/>
                      </a:lnTo>
                      <a:lnTo>
                        <a:pt x="313822" y="110825"/>
                      </a:lnTo>
                      <a:lnTo>
                        <a:pt x="314919" y="91074"/>
                      </a:lnTo>
                      <a:lnTo>
                        <a:pt x="307787" y="72969"/>
                      </a:lnTo>
                      <a:lnTo>
                        <a:pt x="292425" y="68031"/>
                      </a:lnTo>
                      <a:lnTo>
                        <a:pt x="290779" y="59253"/>
                      </a:lnTo>
                      <a:lnTo>
                        <a:pt x="284744" y="49378"/>
                      </a:lnTo>
                      <a:lnTo>
                        <a:pt x="278161" y="50475"/>
                      </a:lnTo>
                      <a:lnTo>
                        <a:pt x="274320" y="46634"/>
                      </a:lnTo>
                      <a:lnTo>
                        <a:pt x="272125" y="46634"/>
                      </a:lnTo>
                      <a:lnTo>
                        <a:pt x="270480" y="41148"/>
                      </a:lnTo>
                      <a:lnTo>
                        <a:pt x="264993" y="37856"/>
                      </a:lnTo>
                      <a:lnTo>
                        <a:pt x="261153" y="33467"/>
                      </a:lnTo>
                      <a:lnTo>
                        <a:pt x="245242" y="37307"/>
                      </a:lnTo>
                      <a:lnTo>
                        <a:pt x="240853" y="40599"/>
                      </a:lnTo>
                      <a:lnTo>
                        <a:pt x="242499" y="37307"/>
                      </a:lnTo>
                      <a:lnTo>
                        <a:pt x="252923" y="29078"/>
                      </a:lnTo>
                      <a:lnTo>
                        <a:pt x="247985" y="28529"/>
                      </a:lnTo>
                      <a:lnTo>
                        <a:pt x="242499" y="29627"/>
                      </a:lnTo>
                      <a:lnTo>
                        <a:pt x="233172" y="40599"/>
                      </a:lnTo>
                      <a:lnTo>
                        <a:pt x="229880" y="47732"/>
                      </a:lnTo>
                      <a:lnTo>
                        <a:pt x="227137" y="49378"/>
                      </a:lnTo>
                      <a:lnTo>
                        <a:pt x="227137" y="44988"/>
                      </a:lnTo>
                      <a:lnTo>
                        <a:pt x="213970" y="48280"/>
                      </a:lnTo>
                      <a:lnTo>
                        <a:pt x="203545" y="57059"/>
                      </a:lnTo>
                      <a:lnTo>
                        <a:pt x="205740" y="60899"/>
                      </a:lnTo>
                      <a:lnTo>
                        <a:pt x="199156" y="60899"/>
                      </a:lnTo>
                      <a:lnTo>
                        <a:pt x="190927" y="58156"/>
                      </a:lnTo>
                      <a:lnTo>
                        <a:pt x="181600" y="64191"/>
                      </a:lnTo>
                      <a:lnTo>
                        <a:pt x="179954" y="6035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57" name="Graphic 7">
                  <a:extLst>
                    <a:ext uri="{FF2B5EF4-FFF2-40B4-BE49-F238E27FC236}">
                      <a16:creationId xmlns:a16="http://schemas.microsoft.com/office/drawing/2014/main" id="{366935B5-698E-474B-9BC2-E0F0129CCE00}"/>
                    </a:ext>
                  </a:extLst>
                </p:cNvPr>
                <p:cNvSpPr/>
                <p:nvPr/>
              </p:nvSpPr>
              <p:spPr>
                <a:xfrm>
                  <a:off x="5621854" y="2555756"/>
                  <a:ext cx="15431" cy="19717"/>
                </a:xfrm>
                <a:custGeom>
                  <a:avLst/>
                  <a:gdLst>
                    <a:gd name="connsiteX0" fmla="*/ 17008 w 19751"/>
                    <a:gd name="connsiteY0" fmla="*/ 13167 h 25237"/>
                    <a:gd name="connsiteX1" fmla="*/ 17557 w 19751"/>
                    <a:gd name="connsiteY1" fmla="*/ 17557 h 25237"/>
                    <a:gd name="connsiteX2" fmla="*/ 19751 w 19751"/>
                    <a:gd name="connsiteY2" fmla="*/ 21397 h 25237"/>
                    <a:gd name="connsiteX3" fmla="*/ 19202 w 19751"/>
                    <a:gd name="connsiteY3" fmla="*/ 24140 h 25237"/>
                    <a:gd name="connsiteX4" fmla="*/ 15911 w 19751"/>
                    <a:gd name="connsiteY4" fmla="*/ 21946 h 25237"/>
                    <a:gd name="connsiteX5" fmla="*/ 11521 w 19751"/>
                    <a:gd name="connsiteY5" fmla="*/ 23043 h 25237"/>
                    <a:gd name="connsiteX6" fmla="*/ 9327 w 19751"/>
                    <a:gd name="connsiteY6" fmla="*/ 25237 h 25237"/>
                    <a:gd name="connsiteX7" fmla="*/ 3841 w 19751"/>
                    <a:gd name="connsiteY7" fmla="*/ 24140 h 25237"/>
                    <a:gd name="connsiteX8" fmla="*/ 0 w 19751"/>
                    <a:gd name="connsiteY8" fmla="*/ 20300 h 25237"/>
                    <a:gd name="connsiteX9" fmla="*/ 1097 w 19751"/>
                    <a:gd name="connsiteY9" fmla="*/ 17008 h 25237"/>
                    <a:gd name="connsiteX10" fmla="*/ 1646 w 19751"/>
                    <a:gd name="connsiteY10" fmla="*/ 13716 h 25237"/>
                    <a:gd name="connsiteX11" fmla="*/ 0 w 19751"/>
                    <a:gd name="connsiteY11" fmla="*/ 8778 h 25237"/>
                    <a:gd name="connsiteX12" fmla="*/ 3292 w 19751"/>
                    <a:gd name="connsiteY12" fmla="*/ 7681 h 25237"/>
                    <a:gd name="connsiteX13" fmla="*/ 11521 w 19751"/>
                    <a:gd name="connsiteY13" fmla="*/ 12070 h 25237"/>
                    <a:gd name="connsiteX14" fmla="*/ 10424 w 19751"/>
                    <a:gd name="connsiteY14" fmla="*/ 8778 h 25237"/>
                    <a:gd name="connsiteX15" fmla="*/ 6035 w 19751"/>
                    <a:gd name="connsiteY15" fmla="*/ 5486 h 25237"/>
                    <a:gd name="connsiteX16" fmla="*/ 3841 w 19751"/>
                    <a:gd name="connsiteY16" fmla="*/ 2195 h 25237"/>
                    <a:gd name="connsiteX17" fmla="*/ 5486 w 19751"/>
                    <a:gd name="connsiteY17" fmla="*/ 0 h 25237"/>
                    <a:gd name="connsiteX18" fmla="*/ 9327 w 19751"/>
                    <a:gd name="connsiteY18" fmla="*/ 1097 h 25237"/>
                    <a:gd name="connsiteX19" fmla="*/ 9876 w 19751"/>
                    <a:gd name="connsiteY19" fmla="*/ 3841 h 25237"/>
                    <a:gd name="connsiteX20" fmla="*/ 15362 w 19751"/>
                    <a:gd name="connsiteY20" fmla="*/ 4389 h 25237"/>
                    <a:gd name="connsiteX21" fmla="*/ 18654 w 19751"/>
                    <a:gd name="connsiteY21" fmla="*/ 6035 h 25237"/>
                    <a:gd name="connsiteX22" fmla="*/ 17008 w 19751"/>
                    <a:gd name="connsiteY22" fmla="*/ 13167 h 252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19751" h="25237">
                      <a:moveTo>
                        <a:pt x="17008" y="13167"/>
                      </a:moveTo>
                      <a:lnTo>
                        <a:pt x="17557" y="17557"/>
                      </a:lnTo>
                      <a:lnTo>
                        <a:pt x="19751" y="21397"/>
                      </a:lnTo>
                      <a:lnTo>
                        <a:pt x="19202" y="24140"/>
                      </a:lnTo>
                      <a:lnTo>
                        <a:pt x="15911" y="21946"/>
                      </a:lnTo>
                      <a:lnTo>
                        <a:pt x="11521" y="23043"/>
                      </a:lnTo>
                      <a:lnTo>
                        <a:pt x="9327" y="25237"/>
                      </a:lnTo>
                      <a:lnTo>
                        <a:pt x="3841" y="24140"/>
                      </a:lnTo>
                      <a:lnTo>
                        <a:pt x="0" y="20300"/>
                      </a:lnTo>
                      <a:lnTo>
                        <a:pt x="1097" y="17008"/>
                      </a:lnTo>
                      <a:lnTo>
                        <a:pt x="1646" y="13716"/>
                      </a:lnTo>
                      <a:lnTo>
                        <a:pt x="0" y="8778"/>
                      </a:lnTo>
                      <a:lnTo>
                        <a:pt x="3292" y="7681"/>
                      </a:lnTo>
                      <a:lnTo>
                        <a:pt x="11521" y="12070"/>
                      </a:lnTo>
                      <a:lnTo>
                        <a:pt x="10424" y="8778"/>
                      </a:lnTo>
                      <a:lnTo>
                        <a:pt x="6035" y="5486"/>
                      </a:lnTo>
                      <a:lnTo>
                        <a:pt x="3841" y="2195"/>
                      </a:lnTo>
                      <a:lnTo>
                        <a:pt x="5486" y="0"/>
                      </a:lnTo>
                      <a:lnTo>
                        <a:pt x="9327" y="1097"/>
                      </a:lnTo>
                      <a:lnTo>
                        <a:pt x="9876" y="3841"/>
                      </a:lnTo>
                      <a:lnTo>
                        <a:pt x="15362" y="4389"/>
                      </a:lnTo>
                      <a:lnTo>
                        <a:pt x="18654" y="6035"/>
                      </a:lnTo>
                      <a:lnTo>
                        <a:pt x="17008" y="13167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58" name="Graphic 7">
                  <a:extLst>
                    <a:ext uri="{FF2B5EF4-FFF2-40B4-BE49-F238E27FC236}">
                      <a16:creationId xmlns:a16="http://schemas.microsoft.com/office/drawing/2014/main" id="{26D10D19-0538-3D8F-4826-D7565DE9A441}"/>
                    </a:ext>
                  </a:extLst>
                </p:cNvPr>
                <p:cNvSpPr/>
                <p:nvPr/>
              </p:nvSpPr>
              <p:spPr>
                <a:xfrm>
                  <a:off x="5780022" y="3052552"/>
                  <a:ext cx="57437" cy="69440"/>
                </a:xfrm>
                <a:custGeom>
                  <a:avLst/>
                  <a:gdLst>
                    <a:gd name="connsiteX0" fmla="*/ 62545 w 73517"/>
                    <a:gd name="connsiteY0" fmla="*/ 54315 h 88879"/>
                    <a:gd name="connsiteX1" fmla="*/ 62545 w 73517"/>
                    <a:gd name="connsiteY1" fmla="*/ 53218 h 88879"/>
                    <a:gd name="connsiteX2" fmla="*/ 64191 w 73517"/>
                    <a:gd name="connsiteY2" fmla="*/ 51023 h 88879"/>
                    <a:gd name="connsiteX3" fmla="*/ 64191 w 73517"/>
                    <a:gd name="connsiteY3" fmla="*/ 50475 h 88879"/>
                    <a:gd name="connsiteX4" fmla="*/ 60899 w 73517"/>
                    <a:gd name="connsiteY4" fmla="*/ 47183 h 88879"/>
                    <a:gd name="connsiteX5" fmla="*/ 60899 w 73517"/>
                    <a:gd name="connsiteY5" fmla="*/ 46086 h 88879"/>
                    <a:gd name="connsiteX6" fmla="*/ 62545 w 73517"/>
                    <a:gd name="connsiteY6" fmla="*/ 43891 h 88879"/>
                    <a:gd name="connsiteX7" fmla="*/ 63642 w 73517"/>
                    <a:gd name="connsiteY7" fmla="*/ 43891 h 88879"/>
                    <a:gd name="connsiteX8" fmla="*/ 65837 w 73517"/>
                    <a:gd name="connsiteY8" fmla="*/ 45537 h 88879"/>
                    <a:gd name="connsiteX9" fmla="*/ 68031 w 73517"/>
                    <a:gd name="connsiteY9" fmla="*/ 45537 h 88879"/>
                    <a:gd name="connsiteX10" fmla="*/ 68031 w 73517"/>
                    <a:gd name="connsiteY10" fmla="*/ 42245 h 88879"/>
                    <a:gd name="connsiteX11" fmla="*/ 72420 w 73517"/>
                    <a:gd name="connsiteY11" fmla="*/ 40599 h 88879"/>
                    <a:gd name="connsiteX12" fmla="*/ 73518 w 73517"/>
                    <a:gd name="connsiteY12" fmla="*/ 40051 h 88879"/>
                    <a:gd name="connsiteX13" fmla="*/ 73518 w 73517"/>
                    <a:gd name="connsiteY13" fmla="*/ 36210 h 88879"/>
                    <a:gd name="connsiteX14" fmla="*/ 72420 w 73517"/>
                    <a:gd name="connsiteY14" fmla="*/ 35662 h 88879"/>
                    <a:gd name="connsiteX15" fmla="*/ 70775 w 73517"/>
                    <a:gd name="connsiteY15" fmla="*/ 35662 h 88879"/>
                    <a:gd name="connsiteX16" fmla="*/ 69677 w 73517"/>
                    <a:gd name="connsiteY16" fmla="*/ 33467 h 88879"/>
                    <a:gd name="connsiteX17" fmla="*/ 68580 w 73517"/>
                    <a:gd name="connsiteY17" fmla="*/ 33467 h 88879"/>
                    <a:gd name="connsiteX18" fmla="*/ 67483 w 73517"/>
                    <a:gd name="connsiteY18" fmla="*/ 32370 h 88879"/>
                    <a:gd name="connsiteX19" fmla="*/ 64739 w 73517"/>
                    <a:gd name="connsiteY19" fmla="*/ 32370 h 88879"/>
                    <a:gd name="connsiteX20" fmla="*/ 63094 w 73517"/>
                    <a:gd name="connsiteY20" fmla="*/ 30724 h 88879"/>
                    <a:gd name="connsiteX21" fmla="*/ 62545 w 73517"/>
                    <a:gd name="connsiteY21" fmla="*/ 29078 h 88879"/>
                    <a:gd name="connsiteX22" fmla="*/ 59253 w 73517"/>
                    <a:gd name="connsiteY22" fmla="*/ 26335 h 88879"/>
                    <a:gd name="connsiteX23" fmla="*/ 58156 w 73517"/>
                    <a:gd name="connsiteY23" fmla="*/ 26335 h 88879"/>
                    <a:gd name="connsiteX24" fmla="*/ 58156 w 73517"/>
                    <a:gd name="connsiteY24" fmla="*/ 24689 h 88879"/>
                    <a:gd name="connsiteX25" fmla="*/ 57607 w 73517"/>
                    <a:gd name="connsiteY25" fmla="*/ 24140 h 88879"/>
                    <a:gd name="connsiteX26" fmla="*/ 57059 w 73517"/>
                    <a:gd name="connsiteY26" fmla="*/ 24140 h 88879"/>
                    <a:gd name="connsiteX27" fmla="*/ 55961 w 73517"/>
                    <a:gd name="connsiteY27" fmla="*/ 25238 h 88879"/>
                    <a:gd name="connsiteX28" fmla="*/ 54315 w 73517"/>
                    <a:gd name="connsiteY28" fmla="*/ 25238 h 88879"/>
                    <a:gd name="connsiteX29" fmla="*/ 54315 w 73517"/>
                    <a:gd name="connsiteY29" fmla="*/ 24689 h 88879"/>
                    <a:gd name="connsiteX30" fmla="*/ 52669 w 73517"/>
                    <a:gd name="connsiteY30" fmla="*/ 25786 h 88879"/>
                    <a:gd name="connsiteX31" fmla="*/ 52121 w 73517"/>
                    <a:gd name="connsiteY31" fmla="*/ 24689 h 88879"/>
                    <a:gd name="connsiteX32" fmla="*/ 51023 w 73517"/>
                    <a:gd name="connsiteY32" fmla="*/ 24140 h 88879"/>
                    <a:gd name="connsiteX33" fmla="*/ 50475 w 73517"/>
                    <a:gd name="connsiteY33" fmla="*/ 21946 h 88879"/>
                    <a:gd name="connsiteX34" fmla="*/ 49926 w 73517"/>
                    <a:gd name="connsiteY34" fmla="*/ 20848 h 88879"/>
                    <a:gd name="connsiteX35" fmla="*/ 49378 w 73517"/>
                    <a:gd name="connsiteY35" fmla="*/ 20848 h 88879"/>
                    <a:gd name="connsiteX36" fmla="*/ 48829 w 73517"/>
                    <a:gd name="connsiteY36" fmla="*/ 21946 h 88879"/>
                    <a:gd name="connsiteX37" fmla="*/ 47732 w 73517"/>
                    <a:gd name="connsiteY37" fmla="*/ 21946 h 88879"/>
                    <a:gd name="connsiteX38" fmla="*/ 45537 w 73517"/>
                    <a:gd name="connsiteY38" fmla="*/ 20848 h 88879"/>
                    <a:gd name="connsiteX39" fmla="*/ 44988 w 73517"/>
                    <a:gd name="connsiteY39" fmla="*/ 19751 h 88879"/>
                    <a:gd name="connsiteX40" fmla="*/ 44988 w 73517"/>
                    <a:gd name="connsiteY40" fmla="*/ 19202 h 88879"/>
                    <a:gd name="connsiteX41" fmla="*/ 43343 w 73517"/>
                    <a:gd name="connsiteY41" fmla="*/ 17557 h 88879"/>
                    <a:gd name="connsiteX42" fmla="*/ 42245 w 73517"/>
                    <a:gd name="connsiteY42" fmla="*/ 17557 h 88879"/>
                    <a:gd name="connsiteX43" fmla="*/ 41697 w 73517"/>
                    <a:gd name="connsiteY43" fmla="*/ 16459 h 88879"/>
                    <a:gd name="connsiteX44" fmla="*/ 41148 w 73517"/>
                    <a:gd name="connsiteY44" fmla="*/ 13716 h 88879"/>
                    <a:gd name="connsiteX45" fmla="*/ 38405 w 73517"/>
                    <a:gd name="connsiteY45" fmla="*/ 10973 h 88879"/>
                    <a:gd name="connsiteX46" fmla="*/ 38405 w 73517"/>
                    <a:gd name="connsiteY46" fmla="*/ 9327 h 88879"/>
                    <a:gd name="connsiteX47" fmla="*/ 37307 w 73517"/>
                    <a:gd name="connsiteY47" fmla="*/ 8230 h 88879"/>
                    <a:gd name="connsiteX48" fmla="*/ 35662 w 73517"/>
                    <a:gd name="connsiteY48" fmla="*/ 8230 h 88879"/>
                    <a:gd name="connsiteX49" fmla="*/ 33467 w 73517"/>
                    <a:gd name="connsiteY49" fmla="*/ 6035 h 88879"/>
                    <a:gd name="connsiteX50" fmla="*/ 31821 w 73517"/>
                    <a:gd name="connsiteY50" fmla="*/ 6035 h 88879"/>
                    <a:gd name="connsiteX51" fmla="*/ 30175 w 73517"/>
                    <a:gd name="connsiteY51" fmla="*/ 4389 h 88879"/>
                    <a:gd name="connsiteX52" fmla="*/ 29627 w 73517"/>
                    <a:gd name="connsiteY52" fmla="*/ 1097 h 88879"/>
                    <a:gd name="connsiteX53" fmla="*/ 26883 w 73517"/>
                    <a:gd name="connsiteY53" fmla="*/ 1097 h 88879"/>
                    <a:gd name="connsiteX54" fmla="*/ 25786 w 73517"/>
                    <a:gd name="connsiteY54" fmla="*/ 2195 h 88879"/>
                    <a:gd name="connsiteX55" fmla="*/ 24140 w 73517"/>
                    <a:gd name="connsiteY55" fmla="*/ 2195 h 88879"/>
                    <a:gd name="connsiteX56" fmla="*/ 23043 w 73517"/>
                    <a:gd name="connsiteY56" fmla="*/ 0 h 88879"/>
                    <a:gd name="connsiteX57" fmla="*/ 20848 w 73517"/>
                    <a:gd name="connsiteY57" fmla="*/ 549 h 88879"/>
                    <a:gd name="connsiteX58" fmla="*/ 18654 w 73517"/>
                    <a:gd name="connsiteY58" fmla="*/ 2743 h 88879"/>
                    <a:gd name="connsiteX59" fmla="*/ 19751 w 73517"/>
                    <a:gd name="connsiteY59" fmla="*/ 4389 h 88879"/>
                    <a:gd name="connsiteX60" fmla="*/ 21946 w 73517"/>
                    <a:gd name="connsiteY60" fmla="*/ 6035 h 88879"/>
                    <a:gd name="connsiteX61" fmla="*/ 22494 w 73517"/>
                    <a:gd name="connsiteY61" fmla="*/ 9327 h 88879"/>
                    <a:gd name="connsiteX62" fmla="*/ 24140 w 73517"/>
                    <a:gd name="connsiteY62" fmla="*/ 10973 h 88879"/>
                    <a:gd name="connsiteX63" fmla="*/ 24140 w 73517"/>
                    <a:gd name="connsiteY63" fmla="*/ 14813 h 88879"/>
                    <a:gd name="connsiteX64" fmla="*/ 23043 w 73517"/>
                    <a:gd name="connsiteY64" fmla="*/ 16459 h 88879"/>
                    <a:gd name="connsiteX65" fmla="*/ 21397 w 73517"/>
                    <a:gd name="connsiteY65" fmla="*/ 16459 h 88879"/>
                    <a:gd name="connsiteX66" fmla="*/ 20300 w 73517"/>
                    <a:gd name="connsiteY66" fmla="*/ 14813 h 88879"/>
                    <a:gd name="connsiteX67" fmla="*/ 19202 w 73517"/>
                    <a:gd name="connsiteY67" fmla="*/ 11522 h 88879"/>
                    <a:gd name="connsiteX68" fmla="*/ 18105 w 73517"/>
                    <a:gd name="connsiteY68" fmla="*/ 10424 h 88879"/>
                    <a:gd name="connsiteX69" fmla="*/ 15362 w 73517"/>
                    <a:gd name="connsiteY69" fmla="*/ 10424 h 88879"/>
                    <a:gd name="connsiteX70" fmla="*/ 9327 w 73517"/>
                    <a:gd name="connsiteY70" fmla="*/ 15362 h 88879"/>
                    <a:gd name="connsiteX71" fmla="*/ 8230 w 73517"/>
                    <a:gd name="connsiteY71" fmla="*/ 19202 h 88879"/>
                    <a:gd name="connsiteX72" fmla="*/ 7132 w 73517"/>
                    <a:gd name="connsiteY72" fmla="*/ 20300 h 88879"/>
                    <a:gd name="connsiteX73" fmla="*/ 7132 w 73517"/>
                    <a:gd name="connsiteY73" fmla="*/ 25786 h 88879"/>
                    <a:gd name="connsiteX74" fmla="*/ 6035 w 73517"/>
                    <a:gd name="connsiteY74" fmla="*/ 26883 h 88879"/>
                    <a:gd name="connsiteX75" fmla="*/ 2743 w 73517"/>
                    <a:gd name="connsiteY75" fmla="*/ 26883 h 88879"/>
                    <a:gd name="connsiteX76" fmla="*/ 1097 w 73517"/>
                    <a:gd name="connsiteY76" fmla="*/ 29078 h 88879"/>
                    <a:gd name="connsiteX77" fmla="*/ 549 w 73517"/>
                    <a:gd name="connsiteY77" fmla="*/ 35662 h 88879"/>
                    <a:gd name="connsiteX78" fmla="*/ 0 w 73517"/>
                    <a:gd name="connsiteY78" fmla="*/ 36210 h 88879"/>
                    <a:gd name="connsiteX79" fmla="*/ 0 w 73517"/>
                    <a:gd name="connsiteY79" fmla="*/ 38405 h 88879"/>
                    <a:gd name="connsiteX80" fmla="*/ 3840 w 73517"/>
                    <a:gd name="connsiteY80" fmla="*/ 43343 h 88879"/>
                    <a:gd name="connsiteX81" fmla="*/ 3840 w 73517"/>
                    <a:gd name="connsiteY81" fmla="*/ 46634 h 88879"/>
                    <a:gd name="connsiteX82" fmla="*/ 0 w 73517"/>
                    <a:gd name="connsiteY82" fmla="*/ 52121 h 88879"/>
                    <a:gd name="connsiteX83" fmla="*/ 0 w 73517"/>
                    <a:gd name="connsiteY83" fmla="*/ 57059 h 88879"/>
                    <a:gd name="connsiteX84" fmla="*/ 24689 w 73517"/>
                    <a:gd name="connsiteY84" fmla="*/ 76810 h 88879"/>
                    <a:gd name="connsiteX85" fmla="*/ 29078 w 73517"/>
                    <a:gd name="connsiteY85" fmla="*/ 86137 h 88879"/>
                    <a:gd name="connsiteX86" fmla="*/ 32370 w 73517"/>
                    <a:gd name="connsiteY86" fmla="*/ 88880 h 88879"/>
                    <a:gd name="connsiteX87" fmla="*/ 36210 w 73517"/>
                    <a:gd name="connsiteY87" fmla="*/ 77907 h 88879"/>
                    <a:gd name="connsiteX88" fmla="*/ 35113 w 73517"/>
                    <a:gd name="connsiteY88" fmla="*/ 70775 h 88879"/>
                    <a:gd name="connsiteX89" fmla="*/ 37856 w 73517"/>
                    <a:gd name="connsiteY89" fmla="*/ 60899 h 88879"/>
                    <a:gd name="connsiteX90" fmla="*/ 42794 w 73517"/>
                    <a:gd name="connsiteY90" fmla="*/ 56510 h 88879"/>
                    <a:gd name="connsiteX91" fmla="*/ 47183 w 73517"/>
                    <a:gd name="connsiteY91" fmla="*/ 49926 h 88879"/>
                    <a:gd name="connsiteX92" fmla="*/ 52669 w 73517"/>
                    <a:gd name="connsiteY92" fmla="*/ 54864 h 88879"/>
                    <a:gd name="connsiteX93" fmla="*/ 62545 w 73517"/>
                    <a:gd name="connsiteY93" fmla="*/ 55961 h 88879"/>
                    <a:gd name="connsiteX94" fmla="*/ 63094 w 73517"/>
                    <a:gd name="connsiteY94" fmla="*/ 54315 h 888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</a:cxnLst>
                  <a:rect l="l" t="t" r="r" b="b"/>
                  <a:pathLst>
                    <a:path w="73517" h="88879">
                      <a:moveTo>
                        <a:pt x="62545" y="54315"/>
                      </a:moveTo>
                      <a:lnTo>
                        <a:pt x="62545" y="53218"/>
                      </a:lnTo>
                      <a:lnTo>
                        <a:pt x="64191" y="51023"/>
                      </a:lnTo>
                      <a:lnTo>
                        <a:pt x="64191" y="50475"/>
                      </a:lnTo>
                      <a:lnTo>
                        <a:pt x="60899" y="47183"/>
                      </a:lnTo>
                      <a:lnTo>
                        <a:pt x="60899" y="46086"/>
                      </a:lnTo>
                      <a:lnTo>
                        <a:pt x="62545" y="43891"/>
                      </a:lnTo>
                      <a:lnTo>
                        <a:pt x="63642" y="43891"/>
                      </a:lnTo>
                      <a:lnTo>
                        <a:pt x="65837" y="45537"/>
                      </a:lnTo>
                      <a:lnTo>
                        <a:pt x="68031" y="45537"/>
                      </a:lnTo>
                      <a:lnTo>
                        <a:pt x="68031" y="42245"/>
                      </a:lnTo>
                      <a:lnTo>
                        <a:pt x="72420" y="40599"/>
                      </a:lnTo>
                      <a:lnTo>
                        <a:pt x="73518" y="40051"/>
                      </a:lnTo>
                      <a:lnTo>
                        <a:pt x="73518" y="36210"/>
                      </a:lnTo>
                      <a:lnTo>
                        <a:pt x="72420" y="35662"/>
                      </a:lnTo>
                      <a:lnTo>
                        <a:pt x="70775" y="35662"/>
                      </a:lnTo>
                      <a:lnTo>
                        <a:pt x="69677" y="33467"/>
                      </a:lnTo>
                      <a:lnTo>
                        <a:pt x="68580" y="33467"/>
                      </a:lnTo>
                      <a:lnTo>
                        <a:pt x="67483" y="32370"/>
                      </a:lnTo>
                      <a:lnTo>
                        <a:pt x="64739" y="32370"/>
                      </a:lnTo>
                      <a:lnTo>
                        <a:pt x="63094" y="30724"/>
                      </a:lnTo>
                      <a:lnTo>
                        <a:pt x="62545" y="29078"/>
                      </a:lnTo>
                      <a:lnTo>
                        <a:pt x="59253" y="26335"/>
                      </a:lnTo>
                      <a:lnTo>
                        <a:pt x="58156" y="26335"/>
                      </a:lnTo>
                      <a:lnTo>
                        <a:pt x="58156" y="24689"/>
                      </a:lnTo>
                      <a:lnTo>
                        <a:pt x="57607" y="24140"/>
                      </a:lnTo>
                      <a:lnTo>
                        <a:pt x="57059" y="24140"/>
                      </a:lnTo>
                      <a:lnTo>
                        <a:pt x="55961" y="25238"/>
                      </a:lnTo>
                      <a:lnTo>
                        <a:pt x="54315" y="25238"/>
                      </a:lnTo>
                      <a:lnTo>
                        <a:pt x="54315" y="24689"/>
                      </a:lnTo>
                      <a:lnTo>
                        <a:pt x="52669" y="25786"/>
                      </a:lnTo>
                      <a:lnTo>
                        <a:pt x="52121" y="24689"/>
                      </a:lnTo>
                      <a:lnTo>
                        <a:pt x="51023" y="24140"/>
                      </a:lnTo>
                      <a:lnTo>
                        <a:pt x="50475" y="21946"/>
                      </a:lnTo>
                      <a:lnTo>
                        <a:pt x="49926" y="20848"/>
                      </a:lnTo>
                      <a:lnTo>
                        <a:pt x="49378" y="20848"/>
                      </a:lnTo>
                      <a:lnTo>
                        <a:pt x="48829" y="21946"/>
                      </a:lnTo>
                      <a:lnTo>
                        <a:pt x="47732" y="21946"/>
                      </a:lnTo>
                      <a:lnTo>
                        <a:pt x="45537" y="20848"/>
                      </a:lnTo>
                      <a:lnTo>
                        <a:pt x="44988" y="19751"/>
                      </a:lnTo>
                      <a:lnTo>
                        <a:pt x="44988" y="19202"/>
                      </a:lnTo>
                      <a:lnTo>
                        <a:pt x="43343" y="17557"/>
                      </a:lnTo>
                      <a:lnTo>
                        <a:pt x="42245" y="17557"/>
                      </a:lnTo>
                      <a:lnTo>
                        <a:pt x="41697" y="16459"/>
                      </a:lnTo>
                      <a:lnTo>
                        <a:pt x="41148" y="13716"/>
                      </a:lnTo>
                      <a:lnTo>
                        <a:pt x="38405" y="10973"/>
                      </a:lnTo>
                      <a:lnTo>
                        <a:pt x="38405" y="9327"/>
                      </a:lnTo>
                      <a:lnTo>
                        <a:pt x="37307" y="8230"/>
                      </a:lnTo>
                      <a:lnTo>
                        <a:pt x="35662" y="8230"/>
                      </a:lnTo>
                      <a:lnTo>
                        <a:pt x="33467" y="6035"/>
                      </a:lnTo>
                      <a:lnTo>
                        <a:pt x="31821" y="6035"/>
                      </a:lnTo>
                      <a:lnTo>
                        <a:pt x="30175" y="4389"/>
                      </a:lnTo>
                      <a:lnTo>
                        <a:pt x="29627" y="1097"/>
                      </a:lnTo>
                      <a:lnTo>
                        <a:pt x="26883" y="1097"/>
                      </a:lnTo>
                      <a:lnTo>
                        <a:pt x="25786" y="2195"/>
                      </a:lnTo>
                      <a:lnTo>
                        <a:pt x="24140" y="2195"/>
                      </a:lnTo>
                      <a:lnTo>
                        <a:pt x="23043" y="0"/>
                      </a:lnTo>
                      <a:lnTo>
                        <a:pt x="20848" y="549"/>
                      </a:lnTo>
                      <a:lnTo>
                        <a:pt x="18654" y="2743"/>
                      </a:lnTo>
                      <a:lnTo>
                        <a:pt x="19751" y="4389"/>
                      </a:lnTo>
                      <a:lnTo>
                        <a:pt x="21946" y="6035"/>
                      </a:lnTo>
                      <a:lnTo>
                        <a:pt x="22494" y="9327"/>
                      </a:lnTo>
                      <a:lnTo>
                        <a:pt x="24140" y="10973"/>
                      </a:lnTo>
                      <a:lnTo>
                        <a:pt x="24140" y="14813"/>
                      </a:lnTo>
                      <a:lnTo>
                        <a:pt x="23043" y="16459"/>
                      </a:lnTo>
                      <a:lnTo>
                        <a:pt x="21397" y="16459"/>
                      </a:lnTo>
                      <a:lnTo>
                        <a:pt x="20300" y="14813"/>
                      </a:lnTo>
                      <a:lnTo>
                        <a:pt x="19202" y="11522"/>
                      </a:lnTo>
                      <a:lnTo>
                        <a:pt x="18105" y="10424"/>
                      </a:lnTo>
                      <a:lnTo>
                        <a:pt x="15362" y="10424"/>
                      </a:lnTo>
                      <a:lnTo>
                        <a:pt x="9327" y="15362"/>
                      </a:lnTo>
                      <a:lnTo>
                        <a:pt x="8230" y="19202"/>
                      </a:lnTo>
                      <a:lnTo>
                        <a:pt x="7132" y="20300"/>
                      </a:lnTo>
                      <a:lnTo>
                        <a:pt x="7132" y="25786"/>
                      </a:lnTo>
                      <a:lnTo>
                        <a:pt x="6035" y="26883"/>
                      </a:lnTo>
                      <a:lnTo>
                        <a:pt x="2743" y="26883"/>
                      </a:lnTo>
                      <a:lnTo>
                        <a:pt x="1097" y="29078"/>
                      </a:lnTo>
                      <a:lnTo>
                        <a:pt x="549" y="35662"/>
                      </a:lnTo>
                      <a:lnTo>
                        <a:pt x="0" y="36210"/>
                      </a:lnTo>
                      <a:lnTo>
                        <a:pt x="0" y="38405"/>
                      </a:lnTo>
                      <a:lnTo>
                        <a:pt x="3840" y="43343"/>
                      </a:lnTo>
                      <a:lnTo>
                        <a:pt x="3840" y="46634"/>
                      </a:lnTo>
                      <a:lnTo>
                        <a:pt x="0" y="52121"/>
                      </a:lnTo>
                      <a:lnTo>
                        <a:pt x="0" y="57059"/>
                      </a:lnTo>
                      <a:lnTo>
                        <a:pt x="24689" y="76810"/>
                      </a:lnTo>
                      <a:lnTo>
                        <a:pt x="29078" y="86137"/>
                      </a:lnTo>
                      <a:lnTo>
                        <a:pt x="32370" y="88880"/>
                      </a:lnTo>
                      <a:lnTo>
                        <a:pt x="36210" y="77907"/>
                      </a:lnTo>
                      <a:lnTo>
                        <a:pt x="35113" y="70775"/>
                      </a:lnTo>
                      <a:lnTo>
                        <a:pt x="37856" y="60899"/>
                      </a:lnTo>
                      <a:lnTo>
                        <a:pt x="42794" y="56510"/>
                      </a:lnTo>
                      <a:lnTo>
                        <a:pt x="47183" y="49926"/>
                      </a:lnTo>
                      <a:lnTo>
                        <a:pt x="52669" y="54864"/>
                      </a:lnTo>
                      <a:lnTo>
                        <a:pt x="62545" y="55961"/>
                      </a:lnTo>
                      <a:lnTo>
                        <a:pt x="63094" y="54315"/>
                      </a:lnTo>
                      <a:close/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59" name="Graphic 7">
                  <a:extLst>
                    <a:ext uri="{FF2B5EF4-FFF2-40B4-BE49-F238E27FC236}">
                      <a16:creationId xmlns:a16="http://schemas.microsoft.com/office/drawing/2014/main" id="{AF6B6EA5-F42F-5535-7694-B053339C070A}"/>
                    </a:ext>
                  </a:extLst>
                </p:cNvPr>
                <p:cNvSpPr/>
                <p:nvPr/>
              </p:nvSpPr>
              <p:spPr>
                <a:xfrm>
                  <a:off x="5787737" y="2944535"/>
                  <a:ext cx="121306" cy="169742"/>
                </a:xfrm>
                <a:custGeom>
                  <a:avLst/>
                  <a:gdLst>
                    <a:gd name="connsiteX0" fmla="*/ 138806 w 155265"/>
                    <a:gd name="connsiteY0" fmla="*/ 143744 h 217261"/>
                    <a:gd name="connsiteX1" fmla="*/ 139355 w 155265"/>
                    <a:gd name="connsiteY1" fmla="*/ 114666 h 217261"/>
                    <a:gd name="connsiteX2" fmla="*/ 150876 w 155265"/>
                    <a:gd name="connsiteY2" fmla="*/ 109179 h 217261"/>
                    <a:gd name="connsiteX3" fmla="*/ 144292 w 155265"/>
                    <a:gd name="connsiteY3" fmla="*/ 107534 h 217261"/>
                    <a:gd name="connsiteX4" fmla="*/ 138806 w 155265"/>
                    <a:gd name="connsiteY4" fmla="*/ 96561 h 217261"/>
                    <a:gd name="connsiteX5" fmla="*/ 145938 w 155265"/>
                    <a:gd name="connsiteY5" fmla="*/ 88880 h 217261"/>
                    <a:gd name="connsiteX6" fmla="*/ 141001 w 155265"/>
                    <a:gd name="connsiteY6" fmla="*/ 81747 h 217261"/>
                    <a:gd name="connsiteX7" fmla="*/ 133319 w 155265"/>
                    <a:gd name="connsiteY7" fmla="*/ 87782 h 217261"/>
                    <a:gd name="connsiteX8" fmla="*/ 113569 w 155265"/>
                    <a:gd name="connsiteY8" fmla="*/ 80650 h 217261"/>
                    <a:gd name="connsiteX9" fmla="*/ 103693 w 155265"/>
                    <a:gd name="connsiteY9" fmla="*/ 72421 h 217261"/>
                    <a:gd name="connsiteX10" fmla="*/ 100950 w 155265"/>
                    <a:gd name="connsiteY10" fmla="*/ 55413 h 217261"/>
                    <a:gd name="connsiteX11" fmla="*/ 95463 w 155265"/>
                    <a:gd name="connsiteY11" fmla="*/ 51572 h 217261"/>
                    <a:gd name="connsiteX12" fmla="*/ 88331 w 155265"/>
                    <a:gd name="connsiteY12" fmla="*/ 49926 h 217261"/>
                    <a:gd name="connsiteX13" fmla="*/ 81747 w 155265"/>
                    <a:gd name="connsiteY13" fmla="*/ 41148 h 217261"/>
                    <a:gd name="connsiteX14" fmla="*/ 75164 w 155265"/>
                    <a:gd name="connsiteY14" fmla="*/ 20300 h 217261"/>
                    <a:gd name="connsiteX15" fmla="*/ 68031 w 155265"/>
                    <a:gd name="connsiteY15" fmla="*/ 12070 h 217261"/>
                    <a:gd name="connsiteX16" fmla="*/ 54315 w 155265"/>
                    <a:gd name="connsiteY16" fmla="*/ 4938 h 217261"/>
                    <a:gd name="connsiteX17" fmla="*/ 51572 w 155265"/>
                    <a:gd name="connsiteY17" fmla="*/ 0 h 217261"/>
                    <a:gd name="connsiteX18" fmla="*/ 42794 w 155265"/>
                    <a:gd name="connsiteY18" fmla="*/ 3292 h 217261"/>
                    <a:gd name="connsiteX19" fmla="*/ 34564 w 155265"/>
                    <a:gd name="connsiteY19" fmla="*/ 3292 h 217261"/>
                    <a:gd name="connsiteX20" fmla="*/ 24140 w 155265"/>
                    <a:gd name="connsiteY20" fmla="*/ 10424 h 217261"/>
                    <a:gd name="connsiteX21" fmla="*/ 14265 w 155265"/>
                    <a:gd name="connsiteY21" fmla="*/ 10973 h 217261"/>
                    <a:gd name="connsiteX22" fmla="*/ 9327 w 155265"/>
                    <a:gd name="connsiteY22" fmla="*/ 14813 h 217261"/>
                    <a:gd name="connsiteX23" fmla="*/ 0 w 155265"/>
                    <a:gd name="connsiteY23" fmla="*/ 15362 h 217261"/>
                    <a:gd name="connsiteX24" fmla="*/ 5486 w 155265"/>
                    <a:gd name="connsiteY24" fmla="*/ 20300 h 217261"/>
                    <a:gd name="connsiteX25" fmla="*/ 5486 w 155265"/>
                    <a:gd name="connsiteY25" fmla="*/ 23043 h 217261"/>
                    <a:gd name="connsiteX26" fmla="*/ 4389 w 155265"/>
                    <a:gd name="connsiteY26" fmla="*/ 24689 h 217261"/>
                    <a:gd name="connsiteX27" fmla="*/ 6035 w 155265"/>
                    <a:gd name="connsiteY27" fmla="*/ 25786 h 217261"/>
                    <a:gd name="connsiteX28" fmla="*/ 6584 w 155265"/>
                    <a:gd name="connsiteY28" fmla="*/ 28529 h 217261"/>
                    <a:gd name="connsiteX29" fmla="*/ 4389 w 155265"/>
                    <a:gd name="connsiteY29" fmla="*/ 31273 h 217261"/>
                    <a:gd name="connsiteX30" fmla="*/ 4938 w 155265"/>
                    <a:gd name="connsiteY30" fmla="*/ 32918 h 217261"/>
                    <a:gd name="connsiteX31" fmla="*/ 7132 w 155265"/>
                    <a:gd name="connsiteY31" fmla="*/ 34016 h 217261"/>
                    <a:gd name="connsiteX32" fmla="*/ 8778 w 155265"/>
                    <a:gd name="connsiteY32" fmla="*/ 32370 h 217261"/>
                    <a:gd name="connsiteX33" fmla="*/ 9875 w 155265"/>
                    <a:gd name="connsiteY33" fmla="*/ 32370 h 217261"/>
                    <a:gd name="connsiteX34" fmla="*/ 12070 w 155265"/>
                    <a:gd name="connsiteY34" fmla="*/ 34016 h 217261"/>
                    <a:gd name="connsiteX35" fmla="*/ 12070 w 155265"/>
                    <a:gd name="connsiteY35" fmla="*/ 35113 h 217261"/>
                    <a:gd name="connsiteX36" fmla="*/ 10424 w 155265"/>
                    <a:gd name="connsiteY36" fmla="*/ 36210 h 217261"/>
                    <a:gd name="connsiteX37" fmla="*/ 9327 w 155265"/>
                    <a:gd name="connsiteY37" fmla="*/ 36210 h 217261"/>
                    <a:gd name="connsiteX38" fmla="*/ 8778 w 155265"/>
                    <a:gd name="connsiteY38" fmla="*/ 37856 h 217261"/>
                    <a:gd name="connsiteX39" fmla="*/ 9875 w 155265"/>
                    <a:gd name="connsiteY39" fmla="*/ 38954 h 217261"/>
                    <a:gd name="connsiteX40" fmla="*/ 8778 w 155265"/>
                    <a:gd name="connsiteY40" fmla="*/ 42245 h 217261"/>
                    <a:gd name="connsiteX41" fmla="*/ 9875 w 155265"/>
                    <a:gd name="connsiteY41" fmla="*/ 43343 h 217261"/>
                    <a:gd name="connsiteX42" fmla="*/ 12070 w 155265"/>
                    <a:gd name="connsiteY42" fmla="*/ 43343 h 217261"/>
                    <a:gd name="connsiteX43" fmla="*/ 15362 w 155265"/>
                    <a:gd name="connsiteY43" fmla="*/ 46634 h 217261"/>
                    <a:gd name="connsiteX44" fmla="*/ 18654 w 155265"/>
                    <a:gd name="connsiteY44" fmla="*/ 46634 h 217261"/>
                    <a:gd name="connsiteX45" fmla="*/ 21397 w 155265"/>
                    <a:gd name="connsiteY45" fmla="*/ 47732 h 217261"/>
                    <a:gd name="connsiteX46" fmla="*/ 24140 w 155265"/>
                    <a:gd name="connsiteY46" fmla="*/ 47183 h 217261"/>
                    <a:gd name="connsiteX47" fmla="*/ 25786 w 155265"/>
                    <a:gd name="connsiteY47" fmla="*/ 48281 h 217261"/>
                    <a:gd name="connsiteX48" fmla="*/ 25786 w 155265"/>
                    <a:gd name="connsiteY48" fmla="*/ 49378 h 217261"/>
                    <a:gd name="connsiteX49" fmla="*/ 23043 w 155265"/>
                    <a:gd name="connsiteY49" fmla="*/ 51024 h 217261"/>
                    <a:gd name="connsiteX50" fmla="*/ 18105 w 155265"/>
                    <a:gd name="connsiteY50" fmla="*/ 49926 h 217261"/>
                    <a:gd name="connsiteX51" fmla="*/ 16459 w 155265"/>
                    <a:gd name="connsiteY51" fmla="*/ 50475 h 217261"/>
                    <a:gd name="connsiteX52" fmla="*/ 15911 w 155265"/>
                    <a:gd name="connsiteY52" fmla="*/ 53767 h 217261"/>
                    <a:gd name="connsiteX53" fmla="*/ 14265 w 155265"/>
                    <a:gd name="connsiteY53" fmla="*/ 55413 h 217261"/>
                    <a:gd name="connsiteX54" fmla="*/ 15362 w 155265"/>
                    <a:gd name="connsiteY54" fmla="*/ 61997 h 217261"/>
                    <a:gd name="connsiteX55" fmla="*/ 16459 w 155265"/>
                    <a:gd name="connsiteY55" fmla="*/ 63094 h 217261"/>
                    <a:gd name="connsiteX56" fmla="*/ 15911 w 155265"/>
                    <a:gd name="connsiteY56" fmla="*/ 66386 h 217261"/>
                    <a:gd name="connsiteX57" fmla="*/ 24140 w 155265"/>
                    <a:gd name="connsiteY57" fmla="*/ 66934 h 217261"/>
                    <a:gd name="connsiteX58" fmla="*/ 25786 w 155265"/>
                    <a:gd name="connsiteY58" fmla="*/ 69129 h 217261"/>
                    <a:gd name="connsiteX59" fmla="*/ 24689 w 155265"/>
                    <a:gd name="connsiteY59" fmla="*/ 71323 h 217261"/>
                    <a:gd name="connsiteX60" fmla="*/ 24689 w 155265"/>
                    <a:gd name="connsiteY60" fmla="*/ 74066 h 217261"/>
                    <a:gd name="connsiteX61" fmla="*/ 18105 w 155265"/>
                    <a:gd name="connsiteY61" fmla="*/ 86685 h 217261"/>
                    <a:gd name="connsiteX62" fmla="*/ 16459 w 155265"/>
                    <a:gd name="connsiteY62" fmla="*/ 87234 h 217261"/>
                    <a:gd name="connsiteX63" fmla="*/ 16459 w 155265"/>
                    <a:gd name="connsiteY63" fmla="*/ 89429 h 217261"/>
                    <a:gd name="connsiteX64" fmla="*/ 17557 w 155265"/>
                    <a:gd name="connsiteY64" fmla="*/ 90526 h 217261"/>
                    <a:gd name="connsiteX65" fmla="*/ 14813 w 155265"/>
                    <a:gd name="connsiteY65" fmla="*/ 94366 h 217261"/>
                    <a:gd name="connsiteX66" fmla="*/ 16459 w 155265"/>
                    <a:gd name="connsiteY66" fmla="*/ 98755 h 217261"/>
                    <a:gd name="connsiteX67" fmla="*/ 18654 w 155265"/>
                    <a:gd name="connsiteY67" fmla="*/ 99304 h 217261"/>
                    <a:gd name="connsiteX68" fmla="*/ 20300 w 155265"/>
                    <a:gd name="connsiteY68" fmla="*/ 100950 h 217261"/>
                    <a:gd name="connsiteX69" fmla="*/ 23043 w 155265"/>
                    <a:gd name="connsiteY69" fmla="*/ 99853 h 217261"/>
                    <a:gd name="connsiteX70" fmla="*/ 24689 w 155265"/>
                    <a:gd name="connsiteY70" fmla="*/ 104242 h 217261"/>
                    <a:gd name="connsiteX71" fmla="*/ 27432 w 155265"/>
                    <a:gd name="connsiteY71" fmla="*/ 106985 h 217261"/>
                    <a:gd name="connsiteX72" fmla="*/ 29627 w 155265"/>
                    <a:gd name="connsiteY72" fmla="*/ 106985 h 217261"/>
                    <a:gd name="connsiteX73" fmla="*/ 30175 w 155265"/>
                    <a:gd name="connsiteY73" fmla="*/ 107534 h 217261"/>
                    <a:gd name="connsiteX74" fmla="*/ 30175 w 155265"/>
                    <a:gd name="connsiteY74" fmla="*/ 109179 h 217261"/>
                    <a:gd name="connsiteX75" fmla="*/ 32918 w 155265"/>
                    <a:gd name="connsiteY75" fmla="*/ 111374 h 217261"/>
                    <a:gd name="connsiteX76" fmla="*/ 34564 w 155265"/>
                    <a:gd name="connsiteY76" fmla="*/ 111374 h 217261"/>
                    <a:gd name="connsiteX77" fmla="*/ 34564 w 155265"/>
                    <a:gd name="connsiteY77" fmla="*/ 113569 h 217261"/>
                    <a:gd name="connsiteX78" fmla="*/ 31821 w 155265"/>
                    <a:gd name="connsiteY78" fmla="*/ 116312 h 217261"/>
                    <a:gd name="connsiteX79" fmla="*/ 26883 w 155265"/>
                    <a:gd name="connsiteY79" fmla="*/ 116861 h 217261"/>
                    <a:gd name="connsiteX80" fmla="*/ 23043 w 155265"/>
                    <a:gd name="connsiteY80" fmla="*/ 114666 h 217261"/>
                    <a:gd name="connsiteX81" fmla="*/ 21397 w 155265"/>
                    <a:gd name="connsiteY81" fmla="*/ 114666 h 217261"/>
                    <a:gd name="connsiteX82" fmla="*/ 20848 w 155265"/>
                    <a:gd name="connsiteY82" fmla="*/ 115763 h 217261"/>
                    <a:gd name="connsiteX83" fmla="*/ 21397 w 155265"/>
                    <a:gd name="connsiteY83" fmla="*/ 117409 h 217261"/>
                    <a:gd name="connsiteX84" fmla="*/ 30175 w 155265"/>
                    <a:gd name="connsiteY84" fmla="*/ 127833 h 217261"/>
                    <a:gd name="connsiteX85" fmla="*/ 31273 w 155265"/>
                    <a:gd name="connsiteY85" fmla="*/ 128382 h 217261"/>
                    <a:gd name="connsiteX86" fmla="*/ 30724 w 155265"/>
                    <a:gd name="connsiteY86" fmla="*/ 133868 h 217261"/>
                    <a:gd name="connsiteX87" fmla="*/ 30175 w 155265"/>
                    <a:gd name="connsiteY87" fmla="*/ 135514 h 217261"/>
                    <a:gd name="connsiteX88" fmla="*/ 27981 w 155265"/>
                    <a:gd name="connsiteY88" fmla="*/ 136612 h 217261"/>
                    <a:gd name="connsiteX89" fmla="*/ 26335 w 155265"/>
                    <a:gd name="connsiteY89" fmla="*/ 134966 h 217261"/>
                    <a:gd name="connsiteX90" fmla="*/ 24689 w 155265"/>
                    <a:gd name="connsiteY90" fmla="*/ 134966 h 217261"/>
                    <a:gd name="connsiteX91" fmla="*/ 23043 w 155265"/>
                    <a:gd name="connsiteY91" fmla="*/ 137709 h 217261"/>
                    <a:gd name="connsiteX92" fmla="*/ 19751 w 155265"/>
                    <a:gd name="connsiteY92" fmla="*/ 139355 h 217261"/>
                    <a:gd name="connsiteX93" fmla="*/ 20300 w 155265"/>
                    <a:gd name="connsiteY93" fmla="*/ 142646 h 217261"/>
                    <a:gd name="connsiteX94" fmla="*/ 21946 w 155265"/>
                    <a:gd name="connsiteY94" fmla="*/ 144293 h 217261"/>
                    <a:gd name="connsiteX95" fmla="*/ 23591 w 155265"/>
                    <a:gd name="connsiteY95" fmla="*/ 144293 h 217261"/>
                    <a:gd name="connsiteX96" fmla="*/ 25786 w 155265"/>
                    <a:gd name="connsiteY96" fmla="*/ 146487 h 217261"/>
                    <a:gd name="connsiteX97" fmla="*/ 27432 w 155265"/>
                    <a:gd name="connsiteY97" fmla="*/ 146487 h 217261"/>
                    <a:gd name="connsiteX98" fmla="*/ 28529 w 155265"/>
                    <a:gd name="connsiteY98" fmla="*/ 147584 h 217261"/>
                    <a:gd name="connsiteX99" fmla="*/ 28529 w 155265"/>
                    <a:gd name="connsiteY99" fmla="*/ 149230 h 217261"/>
                    <a:gd name="connsiteX100" fmla="*/ 31273 w 155265"/>
                    <a:gd name="connsiteY100" fmla="*/ 151973 h 217261"/>
                    <a:gd name="connsiteX101" fmla="*/ 31821 w 155265"/>
                    <a:gd name="connsiteY101" fmla="*/ 154717 h 217261"/>
                    <a:gd name="connsiteX102" fmla="*/ 32370 w 155265"/>
                    <a:gd name="connsiteY102" fmla="*/ 155814 h 217261"/>
                    <a:gd name="connsiteX103" fmla="*/ 33467 w 155265"/>
                    <a:gd name="connsiteY103" fmla="*/ 155814 h 217261"/>
                    <a:gd name="connsiteX104" fmla="*/ 35113 w 155265"/>
                    <a:gd name="connsiteY104" fmla="*/ 157460 h 217261"/>
                    <a:gd name="connsiteX105" fmla="*/ 35113 w 155265"/>
                    <a:gd name="connsiteY105" fmla="*/ 158009 h 217261"/>
                    <a:gd name="connsiteX106" fmla="*/ 35662 w 155265"/>
                    <a:gd name="connsiteY106" fmla="*/ 159106 h 217261"/>
                    <a:gd name="connsiteX107" fmla="*/ 37856 w 155265"/>
                    <a:gd name="connsiteY107" fmla="*/ 160203 h 217261"/>
                    <a:gd name="connsiteX108" fmla="*/ 38953 w 155265"/>
                    <a:gd name="connsiteY108" fmla="*/ 160203 h 217261"/>
                    <a:gd name="connsiteX109" fmla="*/ 39502 w 155265"/>
                    <a:gd name="connsiteY109" fmla="*/ 159106 h 217261"/>
                    <a:gd name="connsiteX110" fmla="*/ 40051 w 155265"/>
                    <a:gd name="connsiteY110" fmla="*/ 159106 h 217261"/>
                    <a:gd name="connsiteX111" fmla="*/ 40599 w 155265"/>
                    <a:gd name="connsiteY111" fmla="*/ 160203 h 217261"/>
                    <a:gd name="connsiteX112" fmla="*/ 41148 w 155265"/>
                    <a:gd name="connsiteY112" fmla="*/ 162398 h 217261"/>
                    <a:gd name="connsiteX113" fmla="*/ 42245 w 155265"/>
                    <a:gd name="connsiteY113" fmla="*/ 162946 h 217261"/>
                    <a:gd name="connsiteX114" fmla="*/ 42794 w 155265"/>
                    <a:gd name="connsiteY114" fmla="*/ 164044 h 217261"/>
                    <a:gd name="connsiteX115" fmla="*/ 44440 w 155265"/>
                    <a:gd name="connsiteY115" fmla="*/ 162946 h 217261"/>
                    <a:gd name="connsiteX116" fmla="*/ 44440 w 155265"/>
                    <a:gd name="connsiteY116" fmla="*/ 163495 h 217261"/>
                    <a:gd name="connsiteX117" fmla="*/ 46086 w 155265"/>
                    <a:gd name="connsiteY117" fmla="*/ 163495 h 217261"/>
                    <a:gd name="connsiteX118" fmla="*/ 47183 w 155265"/>
                    <a:gd name="connsiteY118" fmla="*/ 162398 h 217261"/>
                    <a:gd name="connsiteX119" fmla="*/ 47732 w 155265"/>
                    <a:gd name="connsiteY119" fmla="*/ 162398 h 217261"/>
                    <a:gd name="connsiteX120" fmla="*/ 48280 w 155265"/>
                    <a:gd name="connsiteY120" fmla="*/ 162946 h 217261"/>
                    <a:gd name="connsiteX121" fmla="*/ 48280 w 155265"/>
                    <a:gd name="connsiteY121" fmla="*/ 164592 h 217261"/>
                    <a:gd name="connsiteX122" fmla="*/ 49378 w 155265"/>
                    <a:gd name="connsiteY122" fmla="*/ 164592 h 217261"/>
                    <a:gd name="connsiteX123" fmla="*/ 52669 w 155265"/>
                    <a:gd name="connsiteY123" fmla="*/ 167335 h 217261"/>
                    <a:gd name="connsiteX124" fmla="*/ 53218 w 155265"/>
                    <a:gd name="connsiteY124" fmla="*/ 168981 h 217261"/>
                    <a:gd name="connsiteX125" fmla="*/ 54864 w 155265"/>
                    <a:gd name="connsiteY125" fmla="*/ 170627 h 217261"/>
                    <a:gd name="connsiteX126" fmla="*/ 57607 w 155265"/>
                    <a:gd name="connsiteY126" fmla="*/ 170627 h 217261"/>
                    <a:gd name="connsiteX127" fmla="*/ 58705 w 155265"/>
                    <a:gd name="connsiteY127" fmla="*/ 171725 h 217261"/>
                    <a:gd name="connsiteX128" fmla="*/ 59802 w 155265"/>
                    <a:gd name="connsiteY128" fmla="*/ 171725 h 217261"/>
                    <a:gd name="connsiteX129" fmla="*/ 60899 w 155265"/>
                    <a:gd name="connsiteY129" fmla="*/ 173919 h 217261"/>
                    <a:gd name="connsiteX130" fmla="*/ 62545 w 155265"/>
                    <a:gd name="connsiteY130" fmla="*/ 173919 h 217261"/>
                    <a:gd name="connsiteX131" fmla="*/ 63642 w 155265"/>
                    <a:gd name="connsiteY131" fmla="*/ 174468 h 217261"/>
                    <a:gd name="connsiteX132" fmla="*/ 63642 w 155265"/>
                    <a:gd name="connsiteY132" fmla="*/ 178308 h 217261"/>
                    <a:gd name="connsiteX133" fmla="*/ 62545 w 155265"/>
                    <a:gd name="connsiteY133" fmla="*/ 178857 h 217261"/>
                    <a:gd name="connsiteX134" fmla="*/ 58156 w 155265"/>
                    <a:gd name="connsiteY134" fmla="*/ 180503 h 217261"/>
                    <a:gd name="connsiteX135" fmla="*/ 58156 w 155265"/>
                    <a:gd name="connsiteY135" fmla="*/ 183794 h 217261"/>
                    <a:gd name="connsiteX136" fmla="*/ 55961 w 155265"/>
                    <a:gd name="connsiteY136" fmla="*/ 183794 h 217261"/>
                    <a:gd name="connsiteX137" fmla="*/ 53767 w 155265"/>
                    <a:gd name="connsiteY137" fmla="*/ 182149 h 217261"/>
                    <a:gd name="connsiteX138" fmla="*/ 52669 w 155265"/>
                    <a:gd name="connsiteY138" fmla="*/ 182149 h 217261"/>
                    <a:gd name="connsiteX139" fmla="*/ 51023 w 155265"/>
                    <a:gd name="connsiteY139" fmla="*/ 184343 h 217261"/>
                    <a:gd name="connsiteX140" fmla="*/ 51023 w 155265"/>
                    <a:gd name="connsiteY140" fmla="*/ 185441 h 217261"/>
                    <a:gd name="connsiteX141" fmla="*/ 54315 w 155265"/>
                    <a:gd name="connsiteY141" fmla="*/ 188732 h 217261"/>
                    <a:gd name="connsiteX142" fmla="*/ 54315 w 155265"/>
                    <a:gd name="connsiteY142" fmla="*/ 189281 h 217261"/>
                    <a:gd name="connsiteX143" fmla="*/ 52669 w 155265"/>
                    <a:gd name="connsiteY143" fmla="*/ 191476 h 217261"/>
                    <a:gd name="connsiteX144" fmla="*/ 52669 w 155265"/>
                    <a:gd name="connsiteY144" fmla="*/ 192573 h 217261"/>
                    <a:gd name="connsiteX145" fmla="*/ 53218 w 155265"/>
                    <a:gd name="connsiteY145" fmla="*/ 192573 h 217261"/>
                    <a:gd name="connsiteX146" fmla="*/ 52669 w 155265"/>
                    <a:gd name="connsiteY146" fmla="*/ 194219 h 217261"/>
                    <a:gd name="connsiteX147" fmla="*/ 56510 w 155265"/>
                    <a:gd name="connsiteY147" fmla="*/ 202448 h 217261"/>
                    <a:gd name="connsiteX148" fmla="*/ 63642 w 155265"/>
                    <a:gd name="connsiteY148" fmla="*/ 205192 h 217261"/>
                    <a:gd name="connsiteX149" fmla="*/ 72969 w 155265"/>
                    <a:gd name="connsiteY149" fmla="*/ 217262 h 217261"/>
                    <a:gd name="connsiteX150" fmla="*/ 75712 w 155265"/>
                    <a:gd name="connsiteY150" fmla="*/ 217262 h 217261"/>
                    <a:gd name="connsiteX151" fmla="*/ 78455 w 155265"/>
                    <a:gd name="connsiteY151" fmla="*/ 215616 h 217261"/>
                    <a:gd name="connsiteX152" fmla="*/ 79004 w 155265"/>
                    <a:gd name="connsiteY152" fmla="*/ 209032 h 217261"/>
                    <a:gd name="connsiteX153" fmla="*/ 90526 w 155265"/>
                    <a:gd name="connsiteY153" fmla="*/ 205740 h 217261"/>
                    <a:gd name="connsiteX154" fmla="*/ 92720 w 155265"/>
                    <a:gd name="connsiteY154" fmla="*/ 206289 h 217261"/>
                    <a:gd name="connsiteX155" fmla="*/ 96561 w 155265"/>
                    <a:gd name="connsiteY155" fmla="*/ 211226 h 217261"/>
                    <a:gd name="connsiteX156" fmla="*/ 98755 w 155265"/>
                    <a:gd name="connsiteY156" fmla="*/ 210678 h 217261"/>
                    <a:gd name="connsiteX157" fmla="*/ 98755 w 155265"/>
                    <a:gd name="connsiteY157" fmla="*/ 207935 h 217261"/>
                    <a:gd name="connsiteX158" fmla="*/ 103693 w 155265"/>
                    <a:gd name="connsiteY158" fmla="*/ 204643 h 217261"/>
                    <a:gd name="connsiteX159" fmla="*/ 114666 w 155265"/>
                    <a:gd name="connsiteY159" fmla="*/ 206837 h 217261"/>
                    <a:gd name="connsiteX160" fmla="*/ 117409 w 155265"/>
                    <a:gd name="connsiteY160" fmla="*/ 204094 h 217261"/>
                    <a:gd name="connsiteX161" fmla="*/ 127285 w 155265"/>
                    <a:gd name="connsiteY161" fmla="*/ 205740 h 217261"/>
                    <a:gd name="connsiteX162" fmla="*/ 134417 w 155265"/>
                    <a:gd name="connsiteY162" fmla="*/ 204643 h 217261"/>
                    <a:gd name="connsiteX163" fmla="*/ 138806 w 155265"/>
                    <a:gd name="connsiteY163" fmla="*/ 206837 h 217261"/>
                    <a:gd name="connsiteX164" fmla="*/ 138806 w 155265"/>
                    <a:gd name="connsiteY164" fmla="*/ 190378 h 217261"/>
                    <a:gd name="connsiteX165" fmla="*/ 147035 w 155265"/>
                    <a:gd name="connsiteY165" fmla="*/ 172822 h 217261"/>
                    <a:gd name="connsiteX166" fmla="*/ 155265 w 155265"/>
                    <a:gd name="connsiteY166" fmla="*/ 165141 h 2172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</a:cxnLst>
                  <a:rect l="l" t="t" r="r" b="b"/>
                  <a:pathLst>
                    <a:path w="155265" h="217261">
                      <a:moveTo>
                        <a:pt x="138806" y="143744"/>
                      </a:moveTo>
                      <a:lnTo>
                        <a:pt x="139355" y="114666"/>
                      </a:lnTo>
                      <a:lnTo>
                        <a:pt x="150876" y="109179"/>
                      </a:lnTo>
                      <a:lnTo>
                        <a:pt x="144292" y="107534"/>
                      </a:lnTo>
                      <a:lnTo>
                        <a:pt x="138806" y="96561"/>
                      </a:lnTo>
                      <a:lnTo>
                        <a:pt x="145938" y="88880"/>
                      </a:lnTo>
                      <a:lnTo>
                        <a:pt x="141001" y="81747"/>
                      </a:lnTo>
                      <a:lnTo>
                        <a:pt x="133319" y="87782"/>
                      </a:lnTo>
                      <a:lnTo>
                        <a:pt x="113569" y="80650"/>
                      </a:lnTo>
                      <a:lnTo>
                        <a:pt x="103693" y="72421"/>
                      </a:lnTo>
                      <a:lnTo>
                        <a:pt x="100950" y="55413"/>
                      </a:lnTo>
                      <a:lnTo>
                        <a:pt x="95463" y="51572"/>
                      </a:lnTo>
                      <a:lnTo>
                        <a:pt x="88331" y="49926"/>
                      </a:lnTo>
                      <a:lnTo>
                        <a:pt x="81747" y="41148"/>
                      </a:lnTo>
                      <a:lnTo>
                        <a:pt x="75164" y="20300"/>
                      </a:lnTo>
                      <a:lnTo>
                        <a:pt x="68031" y="12070"/>
                      </a:lnTo>
                      <a:lnTo>
                        <a:pt x="54315" y="4938"/>
                      </a:lnTo>
                      <a:lnTo>
                        <a:pt x="51572" y="0"/>
                      </a:lnTo>
                      <a:lnTo>
                        <a:pt x="42794" y="3292"/>
                      </a:lnTo>
                      <a:lnTo>
                        <a:pt x="34564" y="3292"/>
                      </a:lnTo>
                      <a:lnTo>
                        <a:pt x="24140" y="10424"/>
                      </a:lnTo>
                      <a:lnTo>
                        <a:pt x="14265" y="10973"/>
                      </a:lnTo>
                      <a:lnTo>
                        <a:pt x="9327" y="14813"/>
                      </a:lnTo>
                      <a:lnTo>
                        <a:pt x="0" y="15362"/>
                      </a:lnTo>
                      <a:lnTo>
                        <a:pt x="5486" y="20300"/>
                      </a:lnTo>
                      <a:lnTo>
                        <a:pt x="5486" y="23043"/>
                      </a:lnTo>
                      <a:lnTo>
                        <a:pt x="4389" y="24689"/>
                      </a:lnTo>
                      <a:lnTo>
                        <a:pt x="6035" y="25786"/>
                      </a:lnTo>
                      <a:lnTo>
                        <a:pt x="6584" y="28529"/>
                      </a:lnTo>
                      <a:lnTo>
                        <a:pt x="4389" y="31273"/>
                      </a:lnTo>
                      <a:lnTo>
                        <a:pt x="4938" y="32918"/>
                      </a:lnTo>
                      <a:lnTo>
                        <a:pt x="7132" y="34016"/>
                      </a:lnTo>
                      <a:lnTo>
                        <a:pt x="8778" y="32370"/>
                      </a:lnTo>
                      <a:lnTo>
                        <a:pt x="9875" y="32370"/>
                      </a:lnTo>
                      <a:lnTo>
                        <a:pt x="12070" y="34016"/>
                      </a:lnTo>
                      <a:lnTo>
                        <a:pt x="12070" y="35113"/>
                      </a:lnTo>
                      <a:lnTo>
                        <a:pt x="10424" y="36210"/>
                      </a:lnTo>
                      <a:lnTo>
                        <a:pt x="9327" y="36210"/>
                      </a:lnTo>
                      <a:lnTo>
                        <a:pt x="8778" y="37856"/>
                      </a:lnTo>
                      <a:lnTo>
                        <a:pt x="9875" y="38954"/>
                      </a:lnTo>
                      <a:lnTo>
                        <a:pt x="8778" y="42245"/>
                      </a:lnTo>
                      <a:lnTo>
                        <a:pt x="9875" y="43343"/>
                      </a:lnTo>
                      <a:lnTo>
                        <a:pt x="12070" y="43343"/>
                      </a:lnTo>
                      <a:lnTo>
                        <a:pt x="15362" y="46634"/>
                      </a:lnTo>
                      <a:lnTo>
                        <a:pt x="18654" y="46634"/>
                      </a:lnTo>
                      <a:lnTo>
                        <a:pt x="21397" y="47732"/>
                      </a:lnTo>
                      <a:lnTo>
                        <a:pt x="24140" y="47183"/>
                      </a:lnTo>
                      <a:lnTo>
                        <a:pt x="25786" y="48281"/>
                      </a:lnTo>
                      <a:lnTo>
                        <a:pt x="25786" y="49378"/>
                      </a:lnTo>
                      <a:lnTo>
                        <a:pt x="23043" y="51024"/>
                      </a:lnTo>
                      <a:lnTo>
                        <a:pt x="18105" y="49926"/>
                      </a:lnTo>
                      <a:lnTo>
                        <a:pt x="16459" y="50475"/>
                      </a:lnTo>
                      <a:lnTo>
                        <a:pt x="15911" y="53767"/>
                      </a:lnTo>
                      <a:lnTo>
                        <a:pt x="14265" y="55413"/>
                      </a:lnTo>
                      <a:lnTo>
                        <a:pt x="15362" y="61997"/>
                      </a:lnTo>
                      <a:lnTo>
                        <a:pt x="16459" y="63094"/>
                      </a:lnTo>
                      <a:lnTo>
                        <a:pt x="15911" y="66386"/>
                      </a:lnTo>
                      <a:lnTo>
                        <a:pt x="24140" y="66934"/>
                      </a:lnTo>
                      <a:lnTo>
                        <a:pt x="25786" y="69129"/>
                      </a:lnTo>
                      <a:lnTo>
                        <a:pt x="24689" y="71323"/>
                      </a:lnTo>
                      <a:lnTo>
                        <a:pt x="24689" y="74066"/>
                      </a:lnTo>
                      <a:lnTo>
                        <a:pt x="18105" y="86685"/>
                      </a:lnTo>
                      <a:lnTo>
                        <a:pt x="16459" y="87234"/>
                      </a:lnTo>
                      <a:lnTo>
                        <a:pt x="16459" y="89429"/>
                      </a:lnTo>
                      <a:lnTo>
                        <a:pt x="17557" y="90526"/>
                      </a:lnTo>
                      <a:lnTo>
                        <a:pt x="14813" y="94366"/>
                      </a:lnTo>
                      <a:lnTo>
                        <a:pt x="16459" y="98755"/>
                      </a:lnTo>
                      <a:lnTo>
                        <a:pt x="18654" y="99304"/>
                      </a:lnTo>
                      <a:lnTo>
                        <a:pt x="20300" y="100950"/>
                      </a:lnTo>
                      <a:lnTo>
                        <a:pt x="23043" y="99853"/>
                      </a:lnTo>
                      <a:lnTo>
                        <a:pt x="24689" y="104242"/>
                      </a:lnTo>
                      <a:lnTo>
                        <a:pt x="27432" y="106985"/>
                      </a:lnTo>
                      <a:lnTo>
                        <a:pt x="29627" y="106985"/>
                      </a:lnTo>
                      <a:lnTo>
                        <a:pt x="30175" y="107534"/>
                      </a:lnTo>
                      <a:lnTo>
                        <a:pt x="30175" y="109179"/>
                      </a:lnTo>
                      <a:lnTo>
                        <a:pt x="32918" y="111374"/>
                      </a:lnTo>
                      <a:lnTo>
                        <a:pt x="34564" y="111374"/>
                      </a:lnTo>
                      <a:lnTo>
                        <a:pt x="34564" y="113569"/>
                      </a:lnTo>
                      <a:lnTo>
                        <a:pt x="31821" y="116312"/>
                      </a:lnTo>
                      <a:lnTo>
                        <a:pt x="26883" y="116861"/>
                      </a:lnTo>
                      <a:lnTo>
                        <a:pt x="23043" y="114666"/>
                      </a:lnTo>
                      <a:lnTo>
                        <a:pt x="21397" y="114666"/>
                      </a:lnTo>
                      <a:lnTo>
                        <a:pt x="20848" y="115763"/>
                      </a:lnTo>
                      <a:lnTo>
                        <a:pt x="21397" y="117409"/>
                      </a:lnTo>
                      <a:lnTo>
                        <a:pt x="30175" y="127833"/>
                      </a:lnTo>
                      <a:lnTo>
                        <a:pt x="31273" y="128382"/>
                      </a:lnTo>
                      <a:lnTo>
                        <a:pt x="30724" y="133868"/>
                      </a:lnTo>
                      <a:lnTo>
                        <a:pt x="30175" y="135514"/>
                      </a:lnTo>
                      <a:lnTo>
                        <a:pt x="27981" y="136612"/>
                      </a:lnTo>
                      <a:lnTo>
                        <a:pt x="26335" y="134966"/>
                      </a:lnTo>
                      <a:lnTo>
                        <a:pt x="24689" y="134966"/>
                      </a:lnTo>
                      <a:lnTo>
                        <a:pt x="23043" y="137709"/>
                      </a:lnTo>
                      <a:lnTo>
                        <a:pt x="19751" y="139355"/>
                      </a:lnTo>
                      <a:lnTo>
                        <a:pt x="20300" y="142646"/>
                      </a:lnTo>
                      <a:lnTo>
                        <a:pt x="21946" y="144293"/>
                      </a:lnTo>
                      <a:lnTo>
                        <a:pt x="23591" y="144293"/>
                      </a:lnTo>
                      <a:lnTo>
                        <a:pt x="25786" y="146487"/>
                      </a:lnTo>
                      <a:lnTo>
                        <a:pt x="27432" y="146487"/>
                      </a:lnTo>
                      <a:lnTo>
                        <a:pt x="28529" y="147584"/>
                      </a:lnTo>
                      <a:lnTo>
                        <a:pt x="28529" y="149230"/>
                      </a:lnTo>
                      <a:lnTo>
                        <a:pt x="31273" y="151973"/>
                      </a:lnTo>
                      <a:lnTo>
                        <a:pt x="31821" y="154717"/>
                      </a:lnTo>
                      <a:lnTo>
                        <a:pt x="32370" y="155814"/>
                      </a:lnTo>
                      <a:lnTo>
                        <a:pt x="33467" y="155814"/>
                      </a:lnTo>
                      <a:lnTo>
                        <a:pt x="35113" y="157460"/>
                      </a:lnTo>
                      <a:lnTo>
                        <a:pt x="35113" y="158009"/>
                      </a:lnTo>
                      <a:lnTo>
                        <a:pt x="35662" y="159106"/>
                      </a:lnTo>
                      <a:lnTo>
                        <a:pt x="37856" y="160203"/>
                      </a:lnTo>
                      <a:lnTo>
                        <a:pt x="38953" y="160203"/>
                      </a:lnTo>
                      <a:lnTo>
                        <a:pt x="39502" y="159106"/>
                      </a:lnTo>
                      <a:lnTo>
                        <a:pt x="40051" y="159106"/>
                      </a:lnTo>
                      <a:lnTo>
                        <a:pt x="40599" y="160203"/>
                      </a:lnTo>
                      <a:lnTo>
                        <a:pt x="41148" y="162398"/>
                      </a:lnTo>
                      <a:lnTo>
                        <a:pt x="42245" y="162946"/>
                      </a:lnTo>
                      <a:lnTo>
                        <a:pt x="42794" y="164044"/>
                      </a:lnTo>
                      <a:lnTo>
                        <a:pt x="44440" y="162946"/>
                      </a:lnTo>
                      <a:lnTo>
                        <a:pt x="44440" y="163495"/>
                      </a:lnTo>
                      <a:lnTo>
                        <a:pt x="46086" y="163495"/>
                      </a:lnTo>
                      <a:lnTo>
                        <a:pt x="47183" y="162398"/>
                      </a:lnTo>
                      <a:lnTo>
                        <a:pt x="47732" y="162398"/>
                      </a:lnTo>
                      <a:lnTo>
                        <a:pt x="48280" y="162946"/>
                      </a:lnTo>
                      <a:lnTo>
                        <a:pt x="48280" y="164592"/>
                      </a:lnTo>
                      <a:lnTo>
                        <a:pt x="49378" y="164592"/>
                      </a:lnTo>
                      <a:lnTo>
                        <a:pt x="52669" y="167335"/>
                      </a:lnTo>
                      <a:lnTo>
                        <a:pt x="53218" y="168981"/>
                      </a:lnTo>
                      <a:lnTo>
                        <a:pt x="54864" y="170627"/>
                      </a:lnTo>
                      <a:lnTo>
                        <a:pt x="57607" y="170627"/>
                      </a:lnTo>
                      <a:lnTo>
                        <a:pt x="58705" y="171725"/>
                      </a:lnTo>
                      <a:lnTo>
                        <a:pt x="59802" y="171725"/>
                      </a:lnTo>
                      <a:lnTo>
                        <a:pt x="60899" y="173919"/>
                      </a:lnTo>
                      <a:lnTo>
                        <a:pt x="62545" y="173919"/>
                      </a:lnTo>
                      <a:lnTo>
                        <a:pt x="63642" y="174468"/>
                      </a:lnTo>
                      <a:lnTo>
                        <a:pt x="63642" y="178308"/>
                      </a:lnTo>
                      <a:lnTo>
                        <a:pt x="62545" y="178857"/>
                      </a:lnTo>
                      <a:lnTo>
                        <a:pt x="58156" y="180503"/>
                      </a:lnTo>
                      <a:lnTo>
                        <a:pt x="58156" y="183794"/>
                      </a:lnTo>
                      <a:lnTo>
                        <a:pt x="55961" y="183794"/>
                      </a:lnTo>
                      <a:lnTo>
                        <a:pt x="53767" y="182149"/>
                      </a:lnTo>
                      <a:lnTo>
                        <a:pt x="52669" y="182149"/>
                      </a:lnTo>
                      <a:lnTo>
                        <a:pt x="51023" y="184343"/>
                      </a:lnTo>
                      <a:lnTo>
                        <a:pt x="51023" y="185441"/>
                      </a:lnTo>
                      <a:lnTo>
                        <a:pt x="54315" y="188732"/>
                      </a:lnTo>
                      <a:lnTo>
                        <a:pt x="54315" y="189281"/>
                      </a:lnTo>
                      <a:lnTo>
                        <a:pt x="52669" y="191476"/>
                      </a:lnTo>
                      <a:lnTo>
                        <a:pt x="52669" y="192573"/>
                      </a:lnTo>
                      <a:lnTo>
                        <a:pt x="53218" y="192573"/>
                      </a:lnTo>
                      <a:lnTo>
                        <a:pt x="52669" y="194219"/>
                      </a:lnTo>
                      <a:lnTo>
                        <a:pt x="56510" y="202448"/>
                      </a:lnTo>
                      <a:lnTo>
                        <a:pt x="63642" y="205192"/>
                      </a:lnTo>
                      <a:lnTo>
                        <a:pt x="72969" y="217262"/>
                      </a:lnTo>
                      <a:lnTo>
                        <a:pt x="75712" y="217262"/>
                      </a:lnTo>
                      <a:lnTo>
                        <a:pt x="78455" y="215616"/>
                      </a:lnTo>
                      <a:lnTo>
                        <a:pt x="79004" y="209032"/>
                      </a:lnTo>
                      <a:lnTo>
                        <a:pt x="90526" y="205740"/>
                      </a:lnTo>
                      <a:lnTo>
                        <a:pt x="92720" y="206289"/>
                      </a:lnTo>
                      <a:lnTo>
                        <a:pt x="96561" y="211226"/>
                      </a:lnTo>
                      <a:lnTo>
                        <a:pt x="98755" y="210678"/>
                      </a:lnTo>
                      <a:lnTo>
                        <a:pt x="98755" y="207935"/>
                      </a:lnTo>
                      <a:lnTo>
                        <a:pt x="103693" y="204643"/>
                      </a:lnTo>
                      <a:lnTo>
                        <a:pt x="114666" y="206837"/>
                      </a:lnTo>
                      <a:lnTo>
                        <a:pt x="117409" y="204094"/>
                      </a:lnTo>
                      <a:lnTo>
                        <a:pt x="127285" y="205740"/>
                      </a:lnTo>
                      <a:lnTo>
                        <a:pt x="134417" y="204643"/>
                      </a:lnTo>
                      <a:lnTo>
                        <a:pt x="138806" y="206837"/>
                      </a:lnTo>
                      <a:lnTo>
                        <a:pt x="138806" y="190378"/>
                      </a:lnTo>
                      <a:lnTo>
                        <a:pt x="147035" y="172822"/>
                      </a:lnTo>
                      <a:lnTo>
                        <a:pt x="155265" y="165141"/>
                      </a:lnTo>
                      <a:close/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0" name="Graphic 7">
                  <a:extLst>
                    <a:ext uri="{FF2B5EF4-FFF2-40B4-BE49-F238E27FC236}">
                      <a16:creationId xmlns:a16="http://schemas.microsoft.com/office/drawing/2014/main" id="{79A8DEC6-CDAC-31A4-5866-D8645D80CBE1}"/>
                    </a:ext>
                  </a:extLst>
                </p:cNvPr>
                <p:cNvSpPr/>
                <p:nvPr/>
              </p:nvSpPr>
              <p:spPr>
                <a:xfrm>
                  <a:off x="6557929" y="3142003"/>
                  <a:ext cx="4286" cy="4286"/>
                </a:xfrm>
                <a:custGeom>
                  <a:avLst/>
                  <a:gdLst>
                    <a:gd name="connsiteX0" fmla="*/ 0 w 5486"/>
                    <a:gd name="connsiteY0" fmla="*/ 0 h 5486"/>
                    <a:gd name="connsiteX1" fmla="*/ 0 w 5486"/>
                    <a:gd name="connsiteY1" fmla="*/ 0 h 5486"/>
                    <a:gd name="connsiteX2" fmla="*/ 0 w 5486"/>
                    <a:gd name="connsiteY2" fmla="*/ 0 h 5486"/>
                    <a:gd name="connsiteX3" fmla="*/ 0 w 5486"/>
                    <a:gd name="connsiteY3" fmla="*/ 0 h 54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486" h="5486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56" name="Graphic 7">
                <a:extLst>
                  <a:ext uri="{FF2B5EF4-FFF2-40B4-BE49-F238E27FC236}">
                    <a16:creationId xmlns:a16="http://schemas.microsoft.com/office/drawing/2014/main" id="{636A4E54-0EA5-8D55-E7BF-A571A05AA903}"/>
                  </a:ext>
                </a:extLst>
              </p:cNvPr>
              <p:cNvSpPr/>
              <p:nvPr/>
            </p:nvSpPr>
            <p:spPr>
              <a:xfrm>
                <a:off x="5929619" y="3357746"/>
                <a:ext cx="81442" cy="25718"/>
              </a:xfrm>
              <a:custGeom>
                <a:avLst/>
                <a:gdLst>
                  <a:gd name="connsiteX0" fmla="*/ 57059 w 104241"/>
                  <a:gd name="connsiteY0" fmla="*/ 10973 h 32918"/>
                  <a:gd name="connsiteX1" fmla="*/ 51572 w 104241"/>
                  <a:gd name="connsiteY1" fmla="*/ 8778 h 32918"/>
                  <a:gd name="connsiteX2" fmla="*/ 31272 w 104241"/>
                  <a:gd name="connsiteY2" fmla="*/ 12070 h 32918"/>
                  <a:gd name="connsiteX3" fmla="*/ 26335 w 104241"/>
                  <a:gd name="connsiteY3" fmla="*/ 8230 h 32918"/>
                  <a:gd name="connsiteX4" fmla="*/ 22494 w 104241"/>
                  <a:gd name="connsiteY4" fmla="*/ 7681 h 32918"/>
                  <a:gd name="connsiteX5" fmla="*/ 24140 w 104241"/>
                  <a:gd name="connsiteY5" fmla="*/ 3841 h 32918"/>
                  <a:gd name="connsiteX6" fmla="*/ 21397 w 104241"/>
                  <a:gd name="connsiteY6" fmla="*/ 549 h 32918"/>
                  <a:gd name="connsiteX7" fmla="*/ 17008 w 104241"/>
                  <a:gd name="connsiteY7" fmla="*/ 4389 h 32918"/>
                  <a:gd name="connsiteX8" fmla="*/ 9875 w 104241"/>
                  <a:gd name="connsiteY8" fmla="*/ 0 h 32918"/>
                  <a:gd name="connsiteX9" fmla="*/ 7681 w 104241"/>
                  <a:gd name="connsiteY9" fmla="*/ 0 h 32918"/>
                  <a:gd name="connsiteX10" fmla="*/ 6035 w 104241"/>
                  <a:gd name="connsiteY10" fmla="*/ 4938 h 32918"/>
                  <a:gd name="connsiteX11" fmla="*/ 2195 w 104241"/>
                  <a:gd name="connsiteY11" fmla="*/ 3841 h 32918"/>
                  <a:gd name="connsiteX12" fmla="*/ 0 w 104241"/>
                  <a:gd name="connsiteY12" fmla="*/ 19202 h 32918"/>
                  <a:gd name="connsiteX13" fmla="*/ 24140 w 104241"/>
                  <a:gd name="connsiteY13" fmla="*/ 18105 h 32918"/>
                  <a:gd name="connsiteX14" fmla="*/ 34564 w 104241"/>
                  <a:gd name="connsiteY14" fmla="*/ 20848 h 32918"/>
                  <a:gd name="connsiteX15" fmla="*/ 38405 w 104241"/>
                  <a:gd name="connsiteY15" fmla="*/ 23591 h 32918"/>
                  <a:gd name="connsiteX16" fmla="*/ 44440 w 104241"/>
                  <a:gd name="connsiteY16" fmla="*/ 25786 h 32918"/>
                  <a:gd name="connsiteX17" fmla="*/ 47183 w 104241"/>
                  <a:gd name="connsiteY17" fmla="*/ 32918 h 32918"/>
                  <a:gd name="connsiteX18" fmla="*/ 91074 w 104241"/>
                  <a:gd name="connsiteY18" fmla="*/ 26335 h 32918"/>
                  <a:gd name="connsiteX19" fmla="*/ 98207 w 104241"/>
                  <a:gd name="connsiteY19" fmla="*/ 29627 h 32918"/>
                  <a:gd name="connsiteX20" fmla="*/ 104242 w 104241"/>
                  <a:gd name="connsiteY20" fmla="*/ 19751 h 32918"/>
                  <a:gd name="connsiteX21" fmla="*/ 103144 w 104241"/>
                  <a:gd name="connsiteY21" fmla="*/ 16459 h 32918"/>
                  <a:gd name="connsiteX22" fmla="*/ 89977 w 104241"/>
                  <a:gd name="connsiteY22" fmla="*/ 20848 h 32918"/>
                  <a:gd name="connsiteX23" fmla="*/ 83942 w 104241"/>
                  <a:gd name="connsiteY23" fmla="*/ 19202 h 32918"/>
                  <a:gd name="connsiteX24" fmla="*/ 80650 w 104241"/>
                  <a:gd name="connsiteY24" fmla="*/ 13716 h 32918"/>
                  <a:gd name="connsiteX25" fmla="*/ 61448 w 104241"/>
                  <a:gd name="connsiteY25" fmla="*/ 14265 h 32918"/>
                  <a:gd name="connsiteX26" fmla="*/ 57059 w 104241"/>
                  <a:gd name="connsiteY26" fmla="*/ 12619 h 32918"/>
                  <a:gd name="connsiteX27" fmla="*/ 57059 w 104241"/>
                  <a:gd name="connsiteY27" fmla="*/ 10973 h 329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04241" h="32918">
                    <a:moveTo>
                      <a:pt x="57059" y="10973"/>
                    </a:moveTo>
                    <a:lnTo>
                      <a:pt x="51572" y="8778"/>
                    </a:lnTo>
                    <a:lnTo>
                      <a:pt x="31272" y="12070"/>
                    </a:lnTo>
                    <a:lnTo>
                      <a:pt x="26335" y="8230"/>
                    </a:lnTo>
                    <a:lnTo>
                      <a:pt x="22494" y="7681"/>
                    </a:lnTo>
                    <a:lnTo>
                      <a:pt x="24140" y="3841"/>
                    </a:lnTo>
                    <a:lnTo>
                      <a:pt x="21397" y="549"/>
                    </a:lnTo>
                    <a:lnTo>
                      <a:pt x="17008" y="4389"/>
                    </a:lnTo>
                    <a:lnTo>
                      <a:pt x="9875" y="0"/>
                    </a:lnTo>
                    <a:lnTo>
                      <a:pt x="7681" y="0"/>
                    </a:lnTo>
                    <a:lnTo>
                      <a:pt x="6035" y="4938"/>
                    </a:lnTo>
                    <a:lnTo>
                      <a:pt x="2195" y="3841"/>
                    </a:lnTo>
                    <a:lnTo>
                      <a:pt x="0" y="19202"/>
                    </a:lnTo>
                    <a:lnTo>
                      <a:pt x="24140" y="18105"/>
                    </a:lnTo>
                    <a:lnTo>
                      <a:pt x="34564" y="20848"/>
                    </a:lnTo>
                    <a:lnTo>
                      <a:pt x="38405" y="23591"/>
                    </a:lnTo>
                    <a:lnTo>
                      <a:pt x="44440" y="25786"/>
                    </a:lnTo>
                    <a:lnTo>
                      <a:pt x="47183" y="32918"/>
                    </a:lnTo>
                    <a:lnTo>
                      <a:pt x="91074" y="26335"/>
                    </a:lnTo>
                    <a:lnTo>
                      <a:pt x="98207" y="29627"/>
                    </a:lnTo>
                    <a:lnTo>
                      <a:pt x="104242" y="19751"/>
                    </a:lnTo>
                    <a:lnTo>
                      <a:pt x="103144" y="16459"/>
                    </a:lnTo>
                    <a:lnTo>
                      <a:pt x="89977" y="20848"/>
                    </a:lnTo>
                    <a:lnTo>
                      <a:pt x="83942" y="19202"/>
                    </a:lnTo>
                    <a:lnTo>
                      <a:pt x="80650" y="13716"/>
                    </a:lnTo>
                    <a:lnTo>
                      <a:pt x="61448" y="14265"/>
                    </a:lnTo>
                    <a:lnTo>
                      <a:pt x="57059" y="12619"/>
                    </a:lnTo>
                    <a:lnTo>
                      <a:pt x="57059" y="10973"/>
                    </a:lnTo>
                  </a:path>
                </a:pathLst>
              </a:custGeom>
              <a:grpFill/>
              <a:ln w="127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17" name="Group 397">
              <a:extLst>
                <a:ext uri="{FF2B5EF4-FFF2-40B4-BE49-F238E27FC236}">
                  <a16:creationId xmlns:a16="http://schemas.microsoft.com/office/drawing/2014/main" id="{EE8BE10C-1DCE-F94F-AED0-3D1BDDB01D64}"/>
                </a:ext>
              </a:extLst>
            </p:cNvPr>
            <p:cNvGrpSpPr/>
            <p:nvPr/>
          </p:nvGrpSpPr>
          <p:grpSpPr>
            <a:xfrm>
              <a:off x="6044066" y="736599"/>
              <a:ext cx="4805508" cy="2976920"/>
              <a:chOff x="6044066" y="736599"/>
              <a:chExt cx="4805508" cy="2976920"/>
            </a:xfrm>
            <a:grpFill/>
          </p:grpSpPr>
          <p:sp>
            <p:nvSpPr>
              <p:cNvPr id="18" name="Graphic 7">
                <a:extLst>
                  <a:ext uri="{FF2B5EF4-FFF2-40B4-BE49-F238E27FC236}">
                    <a16:creationId xmlns:a16="http://schemas.microsoft.com/office/drawing/2014/main" id="{4AB576FD-E589-8629-C837-CC92A36C17E4}"/>
                  </a:ext>
                </a:extLst>
              </p:cNvPr>
              <p:cNvSpPr/>
              <p:nvPr/>
            </p:nvSpPr>
            <p:spPr>
              <a:xfrm>
                <a:off x="10162461" y="1560877"/>
                <a:ext cx="45435" cy="42006"/>
              </a:xfrm>
              <a:custGeom>
                <a:avLst/>
                <a:gdLst>
                  <a:gd name="connsiteX0" fmla="*/ 9876 w 58155"/>
                  <a:gd name="connsiteY0" fmla="*/ 4389 h 53766"/>
                  <a:gd name="connsiteX1" fmla="*/ 15911 w 58155"/>
                  <a:gd name="connsiteY1" fmla="*/ 0 h 53766"/>
                  <a:gd name="connsiteX2" fmla="*/ 24140 w 58155"/>
                  <a:gd name="connsiteY2" fmla="*/ 1097 h 53766"/>
                  <a:gd name="connsiteX3" fmla="*/ 55413 w 58155"/>
                  <a:gd name="connsiteY3" fmla="*/ 20848 h 53766"/>
                  <a:gd name="connsiteX4" fmla="*/ 58156 w 58155"/>
                  <a:gd name="connsiteY4" fmla="*/ 27432 h 53766"/>
                  <a:gd name="connsiteX5" fmla="*/ 57607 w 58155"/>
                  <a:gd name="connsiteY5" fmla="*/ 32918 h 53766"/>
                  <a:gd name="connsiteX6" fmla="*/ 53218 w 58155"/>
                  <a:gd name="connsiteY6" fmla="*/ 35113 h 53766"/>
                  <a:gd name="connsiteX7" fmla="*/ 51572 w 58155"/>
                  <a:gd name="connsiteY7" fmla="*/ 52121 h 53766"/>
                  <a:gd name="connsiteX8" fmla="*/ 45537 w 58155"/>
                  <a:gd name="connsiteY8" fmla="*/ 53767 h 53766"/>
                  <a:gd name="connsiteX9" fmla="*/ 26335 w 58155"/>
                  <a:gd name="connsiteY9" fmla="*/ 47183 h 53766"/>
                  <a:gd name="connsiteX10" fmla="*/ 20849 w 58155"/>
                  <a:gd name="connsiteY10" fmla="*/ 39502 h 53766"/>
                  <a:gd name="connsiteX11" fmla="*/ 14814 w 58155"/>
                  <a:gd name="connsiteY11" fmla="*/ 35113 h 53766"/>
                  <a:gd name="connsiteX12" fmla="*/ 10973 w 58155"/>
                  <a:gd name="connsiteY12" fmla="*/ 27981 h 53766"/>
                  <a:gd name="connsiteX13" fmla="*/ 3292 w 58155"/>
                  <a:gd name="connsiteY13" fmla="*/ 23043 h 53766"/>
                  <a:gd name="connsiteX14" fmla="*/ 0 w 58155"/>
                  <a:gd name="connsiteY14" fmla="*/ 15911 h 53766"/>
                  <a:gd name="connsiteX15" fmla="*/ 1646 w 58155"/>
                  <a:gd name="connsiteY15" fmla="*/ 8230 h 53766"/>
                  <a:gd name="connsiteX16" fmla="*/ 9876 w 58155"/>
                  <a:gd name="connsiteY16" fmla="*/ 4389 h 537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58155" h="53766">
                    <a:moveTo>
                      <a:pt x="9876" y="4389"/>
                    </a:moveTo>
                    <a:lnTo>
                      <a:pt x="15911" y="0"/>
                    </a:lnTo>
                    <a:lnTo>
                      <a:pt x="24140" y="1097"/>
                    </a:lnTo>
                    <a:lnTo>
                      <a:pt x="55413" y="20848"/>
                    </a:lnTo>
                    <a:lnTo>
                      <a:pt x="58156" y="27432"/>
                    </a:lnTo>
                    <a:lnTo>
                      <a:pt x="57607" y="32918"/>
                    </a:lnTo>
                    <a:lnTo>
                      <a:pt x="53218" y="35113"/>
                    </a:lnTo>
                    <a:lnTo>
                      <a:pt x="51572" y="52121"/>
                    </a:lnTo>
                    <a:lnTo>
                      <a:pt x="45537" y="53767"/>
                    </a:lnTo>
                    <a:lnTo>
                      <a:pt x="26335" y="47183"/>
                    </a:lnTo>
                    <a:lnTo>
                      <a:pt x="20849" y="39502"/>
                    </a:lnTo>
                    <a:lnTo>
                      <a:pt x="14814" y="35113"/>
                    </a:lnTo>
                    <a:lnTo>
                      <a:pt x="10973" y="27981"/>
                    </a:lnTo>
                    <a:lnTo>
                      <a:pt x="3292" y="23043"/>
                    </a:lnTo>
                    <a:lnTo>
                      <a:pt x="0" y="15911"/>
                    </a:lnTo>
                    <a:lnTo>
                      <a:pt x="1646" y="8230"/>
                    </a:lnTo>
                    <a:lnTo>
                      <a:pt x="9876" y="4389"/>
                    </a:lnTo>
                  </a:path>
                </a:pathLst>
              </a:custGeom>
              <a:grpFill/>
              <a:ln w="127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9" name="Graphic 7">
                <a:extLst>
                  <a:ext uri="{FF2B5EF4-FFF2-40B4-BE49-F238E27FC236}">
                    <a16:creationId xmlns:a16="http://schemas.microsoft.com/office/drawing/2014/main" id="{39F8ECAD-15A1-1228-E59F-678AE3A3B5E6}"/>
                  </a:ext>
                </a:extLst>
              </p:cNvPr>
              <p:cNvSpPr/>
              <p:nvPr/>
            </p:nvSpPr>
            <p:spPr>
              <a:xfrm>
                <a:off x="10756987" y="2030670"/>
                <a:ext cx="92587" cy="49293"/>
              </a:xfrm>
              <a:custGeom>
                <a:avLst/>
                <a:gdLst>
                  <a:gd name="connsiteX0" fmla="*/ 79004 w 118506"/>
                  <a:gd name="connsiteY0" fmla="*/ 63094 h 63093"/>
                  <a:gd name="connsiteX1" fmla="*/ 79004 w 118506"/>
                  <a:gd name="connsiteY1" fmla="*/ 59253 h 63093"/>
                  <a:gd name="connsiteX2" fmla="*/ 76810 w 118506"/>
                  <a:gd name="connsiteY2" fmla="*/ 56510 h 63093"/>
                  <a:gd name="connsiteX3" fmla="*/ 59801 w 118506"/>
                  <a:gd name="connsiteY3" fmla="*/ 49378 h 63093"/>
                  <a:gd name="connsiteX4" fmla="*/ 42245 w 118506"/>
                  <a:gd name="connsiteY4" fmla="*/ 36210 h 63093"/>
                  <a:gd name="connsiteX5" fmla="*/ 36759 w 118506"/>
                  <a:gd name="connsiteY5" fmla="*/ 34016 h 63093"/>
                  <a:gd name="connsiteX6" fmla="*/ 25786 w 118506"/>
                  <a:gd name="connsiteY6" fmla="*/ 34016 h 63093"/>
                  <a:gd name="connsiteX7" fmla="*/ 20848 w 118506"/>
                  <a:gd name="connsiteY7" fmla="*/ 38405 h 63093"/>
                  <a:gd name="connsiteX8" fmla="*/ 15910 w 118506"/>
                  <a:gd name="connsiteY8" fmla="*/ 40051 h 63093"/>
                  <a:gd name="connsiteX9" fmla="*/ 10424 w 118506"/>
                  <a:gd name="connsiteY9" fmla="*/ 37856 h 63093"/>
                  <a:gd name="connsiteX10" fmla="*/ 5486 w 118506"/>
                  <a:gd name="connsiteY10" fmla="*/ 34016 h 63093"/>
                  <a:gd name="connsiteX11" fmla="*/ 1097 w 118506"/>
                  <a:gd name="connsiteY11" fmla="*/ 27432 h 63093"/>
                  <a:gd name="connsiteX12" fmla="*/ 0 w 118506"/>
                  <a:gd name="connsiteY12" fmla="*/ 23592 h 63093"/>
                  <a:gd name="connsiteX13" fmla="*/ 4389 w 118506"/>
                  <a:gd name="connsiteY13" fmla="*/ 5486 h 63093"/>
                  <a:gd name="connsiteX14" fmla="*/ 3840 w 118506"/>
                  <a:gd name="connsiteY14" fmla="*/ 0 h 63093"/>
                  <a:gd name="connsiteX15" fmla="*/ 10424 w 118506"/>
                  <a:gd name="connsiteY15" fmla="*/ 7681 h 63093"/>
                  <a:gd name="connsiteX16" fmla="*/ 27981 w 118506"/>
                  <a:gd name="connsiteY16" fmla="*/ 12070 h 63093"/>
                  <a:gd name="connsiteX17" fmla="*/ 34564 w 118506"/>
                  <a:gd name="connsiteY17" fmla="*/ 16459 h 63093"/>
                  <a:gd name="connsiteX18" fmla="*/ 39502 w 118506"/>
                  <a:gd name="connsiteY18" fmla="*/ 15362 h 63093"/>
                  <a:gd name="connsiteX19" fmla="*/ 42245 w 118506"/>
                  <a:gd name="connsiteY19" fmla="*/ 12070 h 63093"/>
                  <a:gd name="connsiteX20" fmla="*/ 46634 w 118506"/>
                  <a:gd name="connsiteY20" fmla="*/ 11521 h 63093"/>
                  <a:gd name="connsiteX21" fmla="*/ 49926 w 118506"/>
                  <a:gd name="connsiteY21" fmla="*/ 7681 h 63093"/>
                  <a:gd name="connsiteX22" fmla="*/ 53766 w 118506"/>
                  <a:gd name="connsiteY22" fmla="*/ 7132 h 63093"/>
                  <a:gd name="connsiteX23" fmla="*/ 60350 w 118506"/>
                  <a:gd name="connsiteY23" fmla="*/ 9876 h 63093"/>
                  <a:gd name="connsiteX24" fmla="*/ 63094 w 118506"/>
                  <a:gd name="connsiteY24" fmla="*/ 12619 h 63093"/>
                  <a:gd name="connsiteX25" fmla="*/ 67482 w 118506"/>
                  <a:gd name="connsiteY25" fmla="*/ 13716 h 63093"/>
                  <a:gd name="connsiteX26" fmla="*/ 69677 w 118506"/>
                  <a:gd name="connsiteY26" fmla="*/ 18654 h 63093"/>
                  <a:gd name="connsiteX27" fmla="*/ 69677 w 118506"/>
                  <a:gd name="connsiteY27" fmla="*/ 25237 h 63093"/>
                  <a:gd name="connsiteX28" fmla="*/ 86136 w 118506"/>
                  <a:gd name="connsiteY28" fmla="*/ 32918 h 63093"/>
                  <a:gd name="connsiteX29" fmla="*/ 88879 w 118506"/>
                  <a:gd name="connsiteY29" fmla="*/ 37308 h 63093"/>
                  <a:gd name="connsiteX30" fmla="*/ 99304 w 118506"/>
                  <a:gd name="connsiteY30" fmla="*/ 40599 h 63093"/>
                  <a:gd name="connsiteX31" fmla="*/ 103692 w 118506"/>
                  <a:gd name="connsiteY31" fmla="*/ 37856 h 63093"/>
                  <a:gd name="connsiteX32" fmla="*/ 109728 w 118506"/>
                  <a:gd name="connsiteY32" fmla="*/ 37308 h 63093"/>
                  <a:gd name="connsiteX33" fmla="*/ 113568 w 118506"/>
                  <a:gd name="connsiteY33" fmla="*/ 40051 h 63093"/>
                  <a:gd name="connsiteX34" fmla="*/ 117958 w 118506"/>
                  <a:gd name="connsiteY34" fmla="*/ 40051 h 63093"/>
                  <a:gd name="connsiteX35" fmla="*/ 118506 w 118506"/>
                  <a:gd name="connsiteY35" fmla="*/ 43343 h 63093"/>
                  <a:gd name="connsiteX36" fmla="*/ 117958 w 118506"/>
                  <a:gd name="connsiteY36" fmla="*/ 48280 h 63093"/>
                  <a:gd name="connsiteX37" fmla="*/ 116311 w 118506"/>
                  <a:gd name="connsiteY37" fmla="*/ 51024 h 63093"/>
                  <a:gd name="connsiteX38" fmla="*/ 110825 w 118506"/>
                  <a:gd name="connsiteY38" fmla="*/ 53218 h 63093"/>
                  <a:gd name="connsiteX39" fmla="*/ 100949 w 118506"/>
                  <a:gd name="connsiteY39" fmla="*/ 50475 h 63093"/>
                  <a:gd name="connsiteX40" fmla="*/ 96561 w 118506"/>
                  <a:gd name="connsiteY40" fmla="*/ 50475 h 63093"/>
                  <a:gd name="connsiteX41" fmla="*/ 88879 w 118506"/>
                  <a:gd name="connsiteY41" fmla="*/ 61996 h 63093"/>
                  <a:gd name="connsiteX42" fmla="*/ 79004 w 118506"/>
                  <a:gd name="connsiteY42" fmla="*/ 63094 h 630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</a:cxnLst>
                <a:rect l="l" t="t" r="r" b="b"/>
                <a:pathLst>
                  <a:path w="118506" h="63093">
                    <a:moveTo>
                      <a:pt x="79004" y="63094"/>
                    </a:moveTo>
                    <a:lnTo>
                      <a:pt x="79004" y="59253"/>
                    </a:lnTo>
                    <a:lnTo>
                      <a:pt x="76810" y="56510"/>
                    </a:lnTo>
                    <a:lnTo>
                      <a:pt x="59801" y="49378"/>
                    </a:lnTo>
                    <a:lnTo>
                      <a:pt x="42245" y="36210"/>
                    </a:lnTo>
                    <a:lnTo>
                      <a:pt x="36759" y="34016"/>
                    </a:lnTo>
                    <a:lnTo>
                      <a:pt x="25786" y="34016"/>
                    </a:lnTo>
                    <a:lnTo>
                      <a:pt x="20848" y="38405"/>
                    </a:lnTo>
                    <a:lnTo>
                      <a:pt x="15910" y="40051"/>
                    </a:lnTo>
                    <a:lnTo>
                      <a:pt x="10424" y="37856"/>
                    </a:lnTo>
                    <a:lnTo>
                      <a:pt x="5486" y="34016"/>
                    </a:lnTo>
                    <a:lnTo>
                      <a:pt x="1097" y="27432"/>
                    </a:lnTo>
                    <a:lnTo>
                      <a:pt x="0" y="23592"/>
                    </a:lnTo>
                    <a:lnTo>
                      <a:pt x="4389" y="5486"/>
                    </a:lnTo>
                    <a:lnTo>
                      <a:pt x="3840" y="0"/>
                    </a:lnTo>
                    <a:lnTo>
                      <a:pt x="10424" y="7681"/>
                    </a:lnTo>
                    <a:lnTo>
                      <a:pt x="27981" y="12070"/>
                    </a:lnTo>
                    <a:lnTo>
                      <a:pt x="34564" y="16459"/>
                    </a:lnTo>
                    <a:lnTo>
                      <a:pt x="39502" y="15362"/>
                    </a:lnTo>
                    <a:lnTo>
                      <a:pt x="42245" y="12070"/>
                    </a:lnTo>
                    <a:lnTo>
                      <a:pt x="46634" y="11521"/>
                    </a:lnTo>
                    <a:lnTo>
                      <a:pt x="49926" y="7681"/>
                    </a:lnTo>
                    <a:lnTo>
                      <a:pt x="53766" y="7132"/>
                    </a:lnTo>
                    <a:lnTo>
                      <a:pt x="60350" y="9876"/>
                    </a:lnTo>
                    <a:lnTo>
                      <a:pt x="63094" y="12619"/>
                    </a:lnTo>
                    <a:lnTo>
                      <a:pt x="67482" y="13716"/>
                    </a:lnTo>
                    <a:lnTo>
                      <a:pt x="69677" y="18654"/>
                    </a:lnTo>
                    <a:lnTo>
                      <a:pt x="69677" y="25237"/>
                    </a:lnTo>
                    <a:lnTo>
                      <a:pt x="86136" y="32918"/>
                    </a:lnTo>
                    <a:lnTo>
                      <a:pt x="88879" y="37308"/>
                    </a:lnTo>
                    <a:lnTo>
                      <a:pt x="99304" y="40599"/>
                    </a:lnTo>
                    <a:lnTo>
                      <a:pt x="103692" y="37856"/>
                    </a:lnTo>
                    <a:lnTo>
                      <a:pt x="109728" y="37308"/>
                    </a:lnTo>
                    <a:lnTo>
                      <a:pt x="113568" y="40051"/>
                    </a:lnTo>
                    <a:lnTo>
                      <a:pt x="117958" y="40051"/>
                    </a:lnTo>
                    <a:lnTo>
                      <a:pt x="118506" y="43343"/>
                    </a:lnTo>
                    <a:lnTo>
                      <a:pt x="117958" y="48280"/>
                    </a:lnTo>
                    <a:lnTo>
                      <a:pt x="116311" y="51024"/>
                    </a:lnTo>
                    <a:lnTo>
                      <a:pt x="110825" y="53218"/>
                    </a:lnTo>
                    <a:lnTo>
                      <a:pt x="100949" y="50475"/>
                    </a:lnTo>
                    <a:lnTo>
                      <a:pt x="96561" y="50475"/>
                    </a:lnTo>
                    <a:lnTo>
                      <a:pt x="88879" y="61996"/>
                    </a:lnTo>
                    <a:lnTo>
                      <a:pt x="79004" y="63094"/>
                    </a:lnTo>
                  </a:path>
                </a:pathLst>
              </a:custGeom>
              <a:grpFill/>
              <a:ln w="127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grpSp>
            <p:nvGrpSpPr>
              <p:cNvPr id="20" name="Group 400">
                <a:extLst>
                  <a:ext uri="{FF2B5EF4-FFF2-40B4-BE49-F238E27FC236}">
                    <a16:creationId xmlns:a16="http://schemas.microsoft.com/office/drawing/2014/main" id="{4025CD96-53FE-BC99-135E-ECBD4E7A3D06}"/>
                  </a:ext>
                </a:extLst>
              </p:cNvPr>
              <p:cNvGrpSpPr/>
              <p:nvPr/>
            </p:nvGrpSpPr>
            <p:grpSpPr>
              <a:xfrm>
                <a:off x="6044066" y="736599"/>
                <a:ext cx="4778932" cy="2976920"/>
                <a:chOff x="6044066" y="736599"/>
                <a:chExt cx="4778932" cy="2976920"/>
              </a:xfrm>
              <a:grpFill/>
            </p:grpSpPr>
            <p:sp>
              <p:nvSpPr>
                <p:cNvPr id="21" name="Graphic 7">
                  <a:extLst>
                    <a:ext uri="{FF2B5EF4-FFF2-40B4-BE49-F238E27FC236}">
                      <a16:creationId xmlns:a16="http://schemas.microsoft.com/office/drawing/2014/main" id="{C66981D4-8874-6DA1-AA5B-A68F64F46509}"/>
                    </a:ext>
                  </a:extLst>
                </p:cNvPr>
                <p:cNvSpPr/>
                <p:nvPr/>
              </p:nvSpPr>
              <p:spPr>
                <a:xfrm>
                  <a:off x="9395620" y="2571616"/>
                  <a:ext cx="90872" cy="385349"/>
                </a:xfrm>
                <a:custGeom>
                  <a:avLst/>
                  <a:gdLst>
                    <a:gd name="connsiteX0" fmla="*/ 35662 w 116312"/>
                    <a:gd name="connsiteY0" fmla="*/ 1646 h 493227"/>
                    <a:gd name="connsiteX1" fmla="*/ 37856 w 116312"/>
                    <a:gd name="connsiteY1" fmla="*/ 0 h 493227"/>
                    <a:gd name="connsiteX2" fmla="*/ 42794 w 116312"/>
                    <a:gd name="connsiteY2" fmla="*/ 2195 h 493227"/>
                    <a:gd name="connsiteX3" fmla="*/ 63643 w 116312"/>
                    <a:gd name="connsiteY3" fmla="*/ 97658 h 493227"/>
                    <a:gd name="connsiteX4" fmla="*/ 61448 w 116312"/>
                    <a:gd name="connsiteY4" fmla="*/ 127284 h 493227"/>
                    <a:gd name="connsiteX5" fmla="*/ 56510 w 116312"/>
                    <a:gd name="connsiteY5" fmla="*/ 130576 h 493227"/>
                    <a:gd name="connsiteX6" fmla="*/ 60350 w 116312"/>
                    <a:gd name="connsiteY6" fmla="*/ 176113 h 493227"/>
                    <a:gd name="connsiteX7" fmla="*/ 63643 w 116312"/>
                    <a:gd name="connsiteY7" fmla="*/ 175016 h 493227"/>
                    <a:gd name="connsiteX8" fmla="*/ 102596 w 116312"/>
                    <a:gd name="connsiteY8" fmla="*/ 314371 h 493227"/>
                    <a:gd name="connsiteX9" fmla="*/ 115214 w 116312"/>
                    <a:gd name="connsiteY9" fmla="*/ 332476 h 493227"/>
                    <a:gd name="connsiteX10" fmla="*/ 116312 w 116312"/>
                    <a:gd name="connsiteY10" fmla="*/ 339608 h 493227"/>
                    <a:gd name="connsiteX11" fmla="*/ 101498 w 116312"/>
                    <a:gd name="connsiteY11" fmla="*/ 318211 h 493227"/>
                    <a:gd name="connsiteX12" fmla="*/ 81747 w 116312"/>
                    <a:gd name="connsiteY12" fmla="*/ 306141 h 493227"/>
                    <a:gd name="connsiteX13" fmla="*/ 71323 w 116312"/>
                    <a:gd name="connsiteY13" fmla="*/ 304495 h 493227"/>
                    <a:gd name="connsiteX14" fmla="*/ 63094 w 116312"/>
                    <a:gd name="connsiteY14" fmla="*/ 305592 h 493227"/>
                    <a:gd name="connsiteX15" fmla="*/ 54315 w 116312"/>
                    <a:gd name="connsiteY15" fmla="*/ 312725 h 493227"/>
                    <a:gd name="connsiteX16" fmla="*/ 36211 w 116312"/>
                    <a:gd name="connsiteY16" fmla="*/ 400507 h 493227"/>
                    <a:gd name="connsiteX17" fmla="*/ 53218 w 116312"/>
                    <a:gd name="connsiteY17" fmla="*/ 425745 h 493227"/>
                    <a:gd name="connsiteX18" fmla="*/ 56510 w 116312"/>
                    <a:gd name="connsiteY18" fmla="*/ 441107 h 493227"/>
                    <a:gd name="connsiteX19" fmla="*/ 66386 w 116312"/>
                    <a:gd name="connsiteY19" fmla="*/ 448787 h 493227"/>
                    <a:gd name="connsiteX20" fmla="*/ 68031 w 116312"/>
                    <a:gd name="connsiteY20" fmla="*/ 447142 h 493227"/>
                    <a:gd name="connsiteX21" fmla="*/ 70226 w 116312"/>
                    <a:gd name="connsiteY21" fmla="*/ 449885 h 493227"/>
                    <a:gd name="connsiteX22" fmla="*/ 74066 w 116312"/>
                    <a:gd name="connsiteY22" fmla="*/ 468539 h 493227"/>
                    <a:gd name="connsiteX23" fmla="*/ 73518 w 116312"/>
                    <a:gd name="connsiteY23" fmla="*/ 478963 h 493227"/>
                    <a:gd name="connsiteX24" fmla="*/ 69678 w 116312"/>
                    <a:gd name="connsiteY24" fmla="*/ 487192 h 493227"/>
                    <a:gd name="connsiteX25" fmla="*/ 64740 w 116312"/>
                    <a:gd name="connsiteY25" fmla="*/ 461955 h 493227"/>
                    <a:gd name="connsiteX26" fmla="*/ 46634 w 116312"/>
                    <a:gd name="connsiteY26" fmla="*/ 453725 h 493227"/>
                    <a:gd name="connsiteX27" fmla="*/ 37308 w 116312"/>
                    <a:gd name="connsiteY27" fmla="*/ 452628 h 493227"/>
                    <a:gd name="connsiteX28" fmla="*/ 30724 w 116312"/>
                    <a:gd name="connsiteY28" fmla="*/ 460309 h 493227"/>
                    <a:gd name="connsiteX29" fmla="*/ 20849 w 116312"/>
                    <a:gd name="connsiteY29" fmla="*/ 493227 h 493227"/>
                    <a:gd name="connsiteX30" fmla="*/ 12070 w 116312"/>
                    <a:gd name="connsiteY30" fmla="*/ 488289 h 493227"/>
                    <a:gd name="connsiteX31" fmla="*/ 17008 w 116312"/>
                    <a:gd name="connsiteY31" fmla="*/ 386791 h 493227"/>
                    <a:gd name="connsiteX32" fmla="*/ 21946 w 116312"/>
                    <a:gd name="connsiteY32" fmla="*/ 379110 h 493227"/>
                    <a:gd name="connsiteX33" fmla="*/ 11522 w 116312"/>
                    <a:gd name="connsiteY33" fmla="*/ 340705 h 493227"/>
                    <a:gd name="connsiteX34" fmla="*/ 19202 w 116312"/>
                    <a:gd name="connsiteY34" fmla="*/ 269382 h 493227"/>
                    <a:gd name="connsiteX35" fmla="*/ 21397 w 116312"/>
                    <a:gd name="connsiteY35" fmla="*/ 268285 h 493227"/>
                    <a:gd name="connsiteX36" fmla="*/ 19752 w 116312"/>
                    <a:gd name="connsiteY36" fmla="*/ 263896 h 493227"/>
                    <a:gd name="connsiteX37" fmla="*/ 19202 w 116312"/>
                    <a:gd name="connsiteY37" fmla="*/ 245791 h 493227"/>
                    <a:gd name="connsiteX38" fmla="*/ 17008 w 116312"/>
                    <a:gd name="connsiteY38" fmla="*/ 238110 h 493227"/>
                    <a:gd name="connsiteX39" fmla="*/ 20849 w 116312"/>
                    <a:gd name="connsiteY39" fmla="*/ 194219 h 493227"/>
                    <a:gd name="connsiteX40" fmla="*/ 14265 w 116312"/>
                    <a:gd name="connsiteY40" fmla="*/ 177759 h 493227"/>
                    <a:gd name="connsiteX41" fmla="*/ 2743 w 116312"/>
                    <a:gd name="connsiteY41" fmla="*/ 166238 h 493227"/>
                    <a:gd name="connsiteX42" fmla="*/ 3841 w 116312"/>
                    <a:gd name="connsiteY42" fmla="*/ 161849 h 493227"/>
                    <a:gd name="connsiteX43" fmla="*/ 0 w 116312"/>
                    <a:gd name="connsiteY43" fmla="*/ 128382 h 493227"/>
                    <a:gd name="connsiteX44" fmla="*/ 8230 w 116312"/>
                    <a:gd name="connsiteY44" fmla="*/ 85039 h 493227"/>
                    <a:gd name="connsiteX45" fmla="*/ 6036 w 116312"/>
                    <a:gd name="connsiteY45" fmla="*/ 65837 h 493227"/>
                    <a:gd name="connsiteX46" fmla="*/ 9327 w 116312"/>
                    <a:gd name="connsiteY46" fmla="*/ 57059 h 493227"/>
                    <a:gd name="connsiteX47" fmla="*/ 16459 w 116312"/>
                    <a:gd name="connsiteY47" fmla="*/ 53767 h 493227"/>
                    <a:gd name="connsiteX48" fmla="*/ 20849 w 116312"/>
                    <a:gd name="connsiteY48" fmla="*/ 54864 h 493227"/>
                    <a:gd name="connsiteX49" fmla="*/ 25238 w 116312"/>
                    <a:gd name="connsiteY49" fmla="*/ 59253 h 493227"/>
                    <a:gd name="connsiteX50" fmla="*/ 32918 w 116312"/>
                    <a:gd name="connsiteY50" fmla="*/ 58704 h 493227"/>
                    <a:gd name="connsiteX51" fmla="*/ 34565 w 116312"/>
                    <a:gd name="connsiteY51" fmla="*/ 54864 h 493227"/>
                    <a:gd name="connsiteX52" fmla="*/ 32918 w 116312"/>
                    <a:gd name="connsiteY52" fmla="*/ 50475 h 493227"/>
                    <a:gd name="connsiteX53" fmla="*/ 34565 w 116312"/>
                    <a:gd name="connsiteY53" fmla="*/ 44988 h 493227"/>
                    <a:gd name="connsiteX54" fmla="*/ 38405 w 116312"/>
                    <a:gd name="connsiteY54" fmla="*/ 45537 h 493227"/>
                    <a:gd name="connsiteX55" fmla="*/ 40599 w 116312"/>
                    <a:gd name="connsiteY55" fmla="*/ 43343 h 493227"/>
                    <a:gd name="connsiteX56" fmla="*/ 25786 w 116312"/>
                    <a:gd name="connsiteY56" fmla="*/ 5486 h 493227"/>
                    <a:gd name="connsiteX57" fmla="*/ 27432 w 116312"/>
                    <a:gd name="connsiteY57" fmla="*/ 3840 h 493227"/>
                    <a:gd name="connsiteX58" fmla="*/ 32370 w 116312"/>
                    <a:gd name="connsiteY58" fmla="*/ 3840 h 493227"/>
                    <a:gd name="connsiteX59" fmla="*/ 35662 w 116312"/>
                    <a:gd name="connsiteY59" fmla="*/ 1646 h 4932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</a:cxnLst>
                  <a:rect l="l" t="t" r="r" b="b"/>
                  <a:pathLst>
                    <a:path w="116312" h="493227">
                      <a:moveTo>
                        <a:pt x="35662" y="1646"/>
                      </a:moveTo>
                      <a:lnTo>
                        <a:pt x="37856" y="0"/>
                      </a:lnTo>
                      <a:lnTo>
                        <a:pt x="42794" y="2195"/>
                      </a:lnTo>
                      <a:lnTo>
                        <a:pt x="63643" y="97658"/>
                      </a:lnTo>
                      <a:lnTo>
                        <a:pt x="61448" y="127284"/>
                      </a:lnTo>
                      <a:lnTo>
                        <a:pt x="56510" y="130576"/>
                      </a:lnTo>
                      <a:lnTo>
                        <a:pt x="60350" y="176113"/>
                      </a:lnTo>
                      <a:lnTo>
                        <a:pt x="63643" y="175016"/>
                      </a:lnTo>
                      <a:lnTo>
                        <a:pt x="102596" y="314371"/>
                      </a:lnTo>
                      <a:lnTo>
                        <a:pt x="115214" y="332476"/>
                      </a:lnTo>
                      <a:lnTo>
                        <a:pt x="116312" y="339608"/>
                      </a:lnTo>
                      <a:lnTo>
                        <a:pt x="101498" y="318211"/>
                      </a:lnTo>
                      <a:lnTo>
                        <a:pt x="81747" y="306141"/>
                      </a:lnTo>
                      <a:lnTo>
                        <a:pt x="71323" y="304495"/>
                      </a:lnTo>
                      <a:lnTo>
                        <a:pt x="63094" y="305592"/>
                      </a:lnTo>
                      <a:lnTo>
                        <a:pt x="54315" y="312725"/>
                      </a:lnTo>
                      <a:lnTo>
                        <a:pt x="36211" y="400507"/>
                      </a:lnTo>
                      <a:lnTo>
                        <a:pt x="53218" y="425745"/>
                      </a:lnTo>
                      <a:lnTo>
                        <a:pt x="56510" y="441107"/>
                      </a:lnTo>
                      <a:lnTo>
                        <a:pt x="66386" y="448787"/>
                      </a:lnTo>
                      <a:lnTo>
                        <a:pt x="68031" y="447142"/>
                      </a:lnTo>
                      <a:lnTo>
                        <a:pt x="70226" y="449885"/>
                      </a:lnTo>
                      <a:lnTo>
                        <a:pt x="74066" y="468539"/>
                      </a:lnTo>
                      <a:lnTo>
                        <a:pt x="73518" y="478963"/>
                      </a:lnTo>
                      <a:lnTo>
                        <a:pt x="69678" y="487192"/>
                      </a:lnTo>
                      <a:lnTo>
                        <a:pt x="64740" y="461955"/>
                      </a:lnTo>
                      <a:lnTo>
                        <a:pt x="46634" y="453725"/>
                      </a:lnTo>
                      <a:lnTo>
                        <a:pt x="37308" y="452628"/>
                      </a:lnTo>
                      <a:lnTo>
                        <a:pt x="30724" y="460309"/>
                      </a:lnTo>
                      <a:lnTo>
                        <a:pt x="20849" y="493227"/>
                      </a:lnTo>
                      <a:lnTo>
                        <a:pt x="12070" y="488289"/>
                      </a:lnTo>
                      <a:lnTo>
                        <a:pt x="17008" y="386791"/>
                      </a:lnTo>
                      <a:lnTo>
                        <a:pt x="21946" y="379110"/>
                      </a:lnTo>
                      <a:lnTo>
                        <a:pt x="11522" y="340705"/>
                      </a:lnTo>
                      <a:lnTo>
                        <a:pt x="19202" y="269382"/>
                      </a:lnTo>
                      <a:lnTo>
                        <a:pt x="21397" y="268285"/>
                      </a:lnTo>
                      <a:lnTo>
                        <a:pt x="19752" y="263896"/>
                      </a:lnTo>
                      <a:lnTo>
                        <a:pt x="19202" y="245791"/>
                      </a:lnTo>
                      <a:lnTo>
                        <a:pt x="17008" y="238110"/>
                      </a:lnTo>
                      <a:lnTo>
                        <a:pt x="20849" y="194219"/>
                      </a:lnTo>
                      <a:lnTo>
                        <a:pt x="14265" y="177759"/>
                      </a:lnTo>
                      <a:lnTo>
                        <a:pt x="2743" y="166238"/>
                      </a:lnTo>
                      <a:lnTo>
                        <a:pt x="3841" y="161849"/>
                      </a:lnTo>
                      <a:lnTo>
                        <a:pt x="0" y="128382"/>
                      </a:lnTo>
                      <a:lnTo>
                        <a:pt x="8230" y="85039"/>
                      </a:lnTo>
                      <a:lnTo>
                        <a:pt x="6036" y="65837"/>
                      </a:lnTo>
                      <a:lnTo>
                        <a:pt x="9327" y="57059"/>
                      </a:lnTo>
                      <a:lnTo>
                        <a:pt x="16459" y="53767"/>
                      </a:lnTo>
                      <a:lnTo>
                        <a:pt x="20849" y="54864"/>
                      </a:lnTo>
                      <a:lnTo>
                        <a:pt x="25238" y="59253"/>
                      </a:lnTo>
                      <a:lnTo>
                        <a:pt x="32918" y="58704"/>
                      </a:lnTo>
                      <a:lnTo>
                        <a:pt x="34565" y="54864"/>
                      </a:lnTo>
                      <a:lnTo>
                        <a:pt x="32918" y="50475"/>
                      </a:lnTo>
                      <a:lnTo>
                        <a:pt x="34565" y="44988"/>
                      </a:lnTo>
                      <a:lnTo>
                        <a:pt x="38405" y="45537"/>
                      </a:lnTo>
                      <a:lnTo>
                        <a:pt x="40599" y="43343"/>
                      </a:lnTo>
                      <a:lnTo>
                        <a:pt x="25786" y="5486"/>
                      </a:lnTo>
                      <a:lnTo>
                        <a:pt x="27432" y="3840"/>
                      </a:lnTo>
                      <a:lnTo>
                        <a:pt x="32370" y="3840"/>
                      </a:lnTo>
                      <a:lnTo>
                        <a:pt x="35662" y="1646"/>
                      </a:lnTo>
                    </a:path>
                  </a:pathLst>
                </a:custGeom>
                <a:grpFill/>
                <a:ln w="1270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grpSp>
              <p:nvGrpSpPr>
                <p:cNvPr id="22" name="Group 402">
                  <a:extLst>
                    <a:ext uri="{FF2B5EF4-FFF2-40B4-BE49-F238E27FC236}">
                      <a16:creationId xmlns:a16="http://schemas.microsoft.com/office/drawing/2014/main" id="{55DB8D78-D574-0045-44D4-19809BC6CB01}"/>
                    </a:ext>
                  </a:extLst>
                </p:cNvPr>
                <p:cNvGrpSpPr/>
                <p:nvPr/>
              </p:nvGrpSpPr>
              <p:grpSpPr>
                <a:xfrm>
                  <a:off x="6044066" y="736599"/>
                  <a:ext cx="4778932" cy="2976920"/>
                  <a:chOff x="6044066" y="736599"/>
                  <a:chExt cx="4778932" cy="2976920"/>
                </a:xfrm>
                <a:grpFill/>
              </p:grpSpPr>
              <p:sp>
                <p:nvSpPr>
                  <p:cNvPr id="23" name="Graphic 7">
                    <a:extLst>
                      <a:ext uri="{FF2B5EF4-FFF2-40B4-BE49-F238E27FC236}">
                        <a16:creationId xmlns:a16="http://schemas.microsoft.com/office/drawing/2014/main" id="{458A6FD8-D324-19C3-39EF-71164D235181}"/>
                      </a:ext>
                    </a:extLst>
                  </p:cNvPr>
                  <p:cNvSpPr/>
                  <p:nvPr/>
                </p:nvSpPr>
                <p:spPr>
                  <a:xfrm>
                    <a:off x="6534433" y="3199577"/>
                    <a:ext cx="561521" cy="513942"/>
                  </a:xfrm>
                  <a:custGeom>
                    <a:avLst/>
                    <a:gdLst>
                      <a:gd name="connsiteX0" fmla="*/ 655076 w 718718"/>
                      <a:gd name="connsiteY0" fmla="*/ 656174 h 657819"/>
                      <a:gd name="connsiteX1" fmla="*/ 653430 w 718718"/>
                      <a:gd name="connsiteY1" fmla="*/ 655625 h 657819"/>
                      <a:gd name="connsiteX2" fmla="*/ 648493 w 718718"/>
                      <a:gd name="connsiteY2" fmla="*/ 657820 h 657819"/>
                      <a:gd name="connsiteX3" fmla="*/ 618317 w 718718"/>
                      <a:gd name="connsiteY3" fmla="*/ 651236 h 657819"/>
                      <a:gd name="connsiteX4" fmla="*/ 613379 w 718718"/>
                      <a:gd name="connsiteY4" fmla="*/ 645749 h 657819"/>
                      <a:gd name="connsiteX5" fmla="*/ 608990 w 718718"/>
                      <a:gd name="connsiteY5" fmla="*/ 649590 h 657819"/>
                      <a:gd name="connsiteX6" fmla="*/ 565099 w 718718"/>
                      <a:gd name="connsiteY6" fmla="*/ 643006 h 657819"/>
                      <a:gd name="connsiteX7" fmla="*/ 561807 w 718718"/>
                      <a:gd name="connsiteY7" fmla="*/ 644104 h 657819"/>
                      <a:gd name="connsiteX8" fmla="*/ 560161 w 718718"/>
                      <a:gd name="connsiteY8" fmla="*/ 647395 h 657819"/>
                      <a:gd name="connsiteX9" fmla="*/ 551932 w 718718"/>
                      <a:gd name="connsiteY9" fmla="*/ 641909 h 657819"/>
                      <a:gd name="connsiteX10" fmla="*/ 497617 w 718718"/>
                      <a:gd name="connsiteY10" fmla="*/ 633131 h 657819"/>
                      <a:gd name="connsiteX11" fmla="*/ 477865 w 718718"/>
                      <a:gd name="connsiteY11" fmla="*/ 583205 h 657819"/>
                      <a:gd name="connsiteX12" fmla="*/ 460858 w 718718"/>
                      <a:gd name="connsiteY12" fmla="*/ 574426 h 657819"/>
                      <a:gd name="connsiteX13" fmla="*/ 455920 w 718718"/>
                      <a:gd name="connsiteY13" fmla="*/ 573878 h 657819"/>
                      <a:gd name="connsiteX14" fmla="*/ 428488 w 718718"/>
                      <a:gd name="connsiteY14" fmla="*/ 583753 h 657819"/>
                      <a:gd name="connsiteX15" fmla="*/ 424099 w 718718"/>
                      <a:gd name="connsiteY15" fmla="*/ 589240 h 657819"/>
                      <a:gd name="connsiteX16" fmla="*/ 418612 w 718718"/>
                      <a:gd name="connsiteY16" fmla="*/ 591983 h 657819"/>
                      <a:gd name="connsiteX17" fmla="*/ 412029 w 718718"/>
                      <a:gd name="connsiteY17" fmla="*/ 592531 h 657819"/>
                      <a:gd name="connsiteX18" fmla="*/ 400507 w 718718"/>
                      <a:gd name="connsiteY18" fmla="*/ 599115 h 657819"/>
                      <a:gd name="connsiteX19" fmla="*/ 392826 w 718718"/>
                      <a:gd name="connsiteY19" fmla="*/ 600761 h 657819"/>
                      <a:gd name="connsiteX20" fmla="*/ 382951 w 718718"/>
                      <a:gd name="connsiteY20" fmla="*/ 598566 h 657819"/>
                      <a:gd name="connsiteX21" fmla="*/ 378013 w 718718"/>
                      <a:gd name="connsiteY21" fmla="*/ 594177 h 657819"/>
                      <a:gd name="connsiteX22" fmla="*/ 368137 w 718718"/>
                      <a:gd name="connsiteY22" fmla="*/ 591983 h 657819"/>
                      <a:gd name="connsiteX23" fmla="*/ 353873 w 718718"/>
                      <a:gd name="connsiteY23" fmla="*/ 593629 h 657819"/>
                      <a:gd name="connsiteX24" fmla="*/ 347289 w 718718"/>
                      <a:gd name="connsiteY24" fmla="*/ 586496 h 657819"/>
                      <a:gd name="connsiteX25" fmla="*/ 350032 w 718718"/>
                      <a:gd name="connsiteY25" fmla="*/ 587594 h 657819"/>
                      <a:gd name="connsiteX26" fmla="*/ 349484 w 718718"/>
                      <a:gd name="connsiteY26" fmla="*/ 584302 h 657819"/>
                      <a:gd name="connsiteX27" fmla="*/ 322052 w 718718"/>
                      <a:gd name="connsiteY27" fmla="*/ 573878 h 657819"/>
                      <a:gd name="connsiteX28" fmla="*/ 316565 w 718718"/>
                      <a:gd name="connsiteY28" fmla="*/ 565648 h 657819"/>
                      <a:gd name="connsiteX29" fmla="*/ 316565 w 718718"/>
                      <a:gd name="connsiteY29" fmla="*/ 562905 h 657819"/>
                      <a:gd name="connsiteX30" fmla="*/ 310530 w 718718"/>
                      <a:gd name="connsiteY30" fmla="*/ 556321 h 657819"/>
                      <a:gd name="connsiteX31" fmla="*/ 291328 w 718718"/>
                      <a:gd name="connsiteY31" fmla="*/ 547543 h 657819"/>
                      <a:gd name="connsiteX32" fmla="*/ 280355 w 718718"/>
                      <a:gd name="connsiteY32" fmla="*/ 546994 h 657819"/>
                      <a:gd name="connsiteX33" fmla="*/ 273771 w 718718"/>
                      <a:gd name="connsiteY33" fmla="*/ 543702 h 657819"/>
                      <a:gd name="connsiteX34" fmla="*/ 268285 w 718718"/>
                      <a:gd name="connsiteY34" fmla="*/ 537119 h 657819"/>
                      <a:gd name="connsiteX35" fmla="*/ 254569 w 718718"/>
                      <a:gd name="connsiteY35" fmla="*/ 499811 h 657819"/>
                      <a:gd name="connsiteX36" fmla="*/ 240853 w 718718"/>
                      <a:gd name="connsiteY36" fmla="*/ 488290 h 657819"/>
                      <a:gd name="connsiteX37" fmla="*/ 234818 w 718718"/>
                      <a:gd name="connsiteY37" fmla="*/ 471830 h 657819"/>
                      <a:gd name="connsiteX38" fmla="*/ 229331 w 718718"/>
                      <a:gd name="connsiteY38" fmla="*/ 468539 h 657819"/>
                      <a:gd name="connsiteX39" fmla="*/ 221651 w 718718"/>
                      <a:gd name="connsiteY39" fmla="*/ 458114 h 657819"/>
                      <a:gd name="connsiteX40" fmla="*/ 221102 w 718718"/>
                      <a:gd name="connsiteY40" fmla="*/ 452628 h 657819"/>
                      <a:gd name="connsiteX41" fmla="*/ 218359 w 718718"/>
                      <a:gd name="connsiteY41" fmla="*/ 448239 h 657819"/>
                      <a:gd name="connsiteX42" fmla="*/ 215067 w 718718"/>
                      <a:gd name="connsiteY42" fmla="*/ 445496 h 657819"/>
                      <a:gd name="connsiteX43" fmla="*/ 206289 w 718718"/>
                      <a:gd name="connsiteY43" fmla="*/ 448788 h 657819"/>
                      <a:gd name="connsiteX44" fmla="*/ 201351 w 718718"/>
                      <a:gd name="connsiteY44" fmla="*/ 454274 h 657819"/>
                      <a:gd name="connsiteX45" fmla="*/ 200254 w 718718"/>
                      <a:gd name="connsiteY45" fmla="*/ 452628 h 657819"/>
                      <a:gd name="connsiteX46" fmla="*/ 196413 w 718718"/>
                      <a:gd name="connsiteY46" fmla="*/ 450982 h 657819"/>
                      <a:gd name="connsiteX47" fmla="*/ 194219 w 718718"/>
                      <a:gd name="connsiteY47" fmla="*/ 447690 h 657819"/>
                      <a:gd name="connsiteX48" fmla="*/ 189281 w 718718"/>
                      <a:gd name="connsiteY48" fmla="*/ 444398 h 657819"/>
                      <a:gd name="connsiteX49" fmla="*/ 185989 w 718718"/>
                      <a:gd name="connsiteY49" fmla="*/ 438912 h 657819"/>
                      <a:gd name="connsiteX50" fmla="*/ 184892 w 718718"/>
                      <a:gd name="connsiteY50" fmla="*/ 431780 h 657819"/>
                      <a:gd name="connsiteX51" fmla="*/ 182148 w 718718"/>
                      <a:gd name="connsiteY51" fmla="*/ 429037 h 657819"/>
                      <a:gd name="connsiteX52" fmla="*/ 176113 w 718718"/>
                      <a:gd name="connsiteY52" fmla="*/ 427391 h 657819"/>
                      <a:gd name="connsiteX53" fmla="*/ 172273 w 718718"/>
                      <a:gd name="connsiteY53" fmla="*/ 429585 h 657819"/>
                      <a:gd name="connsiteX54" fmla="*/ 174467 w 718718"/>
                      <a:gd name="connsiteY54" fmla="*/ 434523 h 657819"/>
                      <a:gd name="connsiteX55" fmla="*/ 172273 w 718718"/>
                      <a:gd name="connsiteY55" fmla="*/ 437815 h 657819"/>
                      <a:gd name="connsiteX56" fmla="*/ 173370 w 718718"/>
                      <a:gd name="connsiteY56" fmla="*/ 442753 h 657819"/>
                      <a:gd name="connsiteX57" fmla="*/ 167884 w 718718"/>
                      <a:gd name="connsiteY57" fmla="*/ 442753 h 657819"/>
                      <a:gd name="connsiteX58" fmla="*/ 166787 w 718718"/>
                      <a:gd name="connsiteY58" fmla="*/ 449336 h 657819"/>
                      <a:gd name="connsiteX59" fmla="*/ 144292 w 718718"/>
                      <a:gd name="connsiteY59" fmla="*/ 431231 h 657819"/>
                      <a:gd name="connsiteX60" fmla="*/ 140452 w 718718"/>
                      <a:gd name="connsiteY60" fmla="*/ 425745 h 657819"/>
                      <a:gd name="connsiteX61" fmla="*/ 138257 w 718718"/>
                      <a:gd name="connsiteY61" fmla="*/ 412029 h 657819"/>
                      <a:gd name="connsiteX62" fmla="*/ 128930 w 718718"/>
                      <a:gd name="connsiteY62" fmla="*/ 407091 h 657819"/>
                      <a:gd name="connsiteX63" fmla="*/ 132222 w 718718"/>
                      <a:gd name="connsiteY63" fmla="*/ 374721 h 657819"/>
                      <a:gd name="connsiteX64" fmla="*/ 112471 w 718718"/>
                      <a:gd name="connsiteY64" fmla="*/ 339608 h 657819"/>
                      <a:gd name="connsiteX65" fmla="*/ 96012 w 718718"/>
                      <a:gd name="connsiteY65" fmla="*/ 333573 h 657819"/>
                      <a:gd name="connsiteX66" fmla="*/ 68580 w 718718"/>
                      <a:gd name="connsiteY66" fmla="*/ 314371 h 657819"/>
                      <a:gd name="connsiteX67" fmla="*/ 68031 w 718718"/>
                      <a:gd name="connsiteY67" fmla="*/ 306690 h 657819"/>
                      <a:gd name="connsiteX68" fmla="*/ 63642 w 718718"/>
                      <a:gd name="connsiteY68" fmla="*/ 297912 h 657819"/>
                      <a:gd name="connsiteX69" fmla="*/ 59253 w 718718"/>
                      <a:gd name="connsiteY69" fmla="*/ 294071 h 657819"/>
                      <a:gd name="connsiteX70" fmla="*/ 56510 w 718718"/>
                      <a:gd name="connsiteY70" fmla="*/ 288036 h 657819"/>
                      <a:gd name="connsiteX71" fmla="*/ 50475 w 718718"/>
                      <a:gd name="connsiteY71" fmla="*/ 288585 h 657819"/>
                      <a:gd name="connsiteX72" fmla="*/ 46086 w 718718"/>
                      <a:gd name="connsiteY72" fmla="*/ 284744 h 657819"/>
                      <a:gd name="connsiteX73" fmla="*/ 44988 w 718718"/>
                      <a:gd name="connsiteY73" fmla="*/ 274320 h 657819"/>
                      <a:gd name="connsiteX74" fmla="*/ 47183 w 718718"/>
                      <a:gd name="connsiteY74" fmla="*/ 273223 h 657819"/>
                      <a:gd name="connsiteX75" fmla="*/ 49378 w 718718"/>
                      <a:gd name="connsiteY75" fmla="*/ 269382 h 657819"/>
                      <a:gd name="connsiteX76" fmla="*/ 52121 w 718718"/>
                      <a:gd name="connsiteY76" fmla="*/ 251277 h 657819"/>
                      <a:gd name="connsiteX77" fmla="*/ 54315 w 718718"/>
                      <a:gd name="connsiteY77" fmla="*/ 246888 h 657819"/>
                      <a:gd name="connsiteX78" fmla="*/ 60350 w 718718"/>
                      <a:gd name="connsiteY78" fmla="*/ 244694 h 657819"/>
                      <a:gd name="connsiteX79" fmla="*/ 59802 w 718718"/>
                      <a:gd name="connsiteY79" fmla="*/ 239207 h 657819"/>
                      <a:gd name="connsiteX80" fmla="*/ 75164 w 718718"/>
                      <a:gd name="connsiteY80" fmla="*/ 217262 h 657819"/>
                      <a:gd name="connsiteX81" fmla="*/ 71872 w 718718"/>
                      <a:gd name="connsiteY81" fmla="*/ 204643 h 657819"/>
                      <a:gd name="connsiteX82" fmla="*/ 75712 w 718718"/>
                      <a:gd name="connsiteY82" fmla="*/ 195316 h 657819"/>
                      <a:gd name="connsiteX83" fmla="*/ 80101 w 718718"/>
                      <a:gd name="connsiteY83" fmla="*/ 189830 h 657819"/>
                      <a:gd name="connsiteX84" fmla="*/ 54315 w 718718"/>
                      <a:gd name="connsiteY84" fmla="*/ 186538 h 657819"/>
                      <a:gd name="connsiteX85" fmla="*/ 47732 w 718718"/>
                      <a:gd name="connsiteY85" fmla="*/ 178857 h 657819"/>
                      <a:gd name="connsiteX86" fmla="*/ 42794 w 718718"/>
                      <a:gd name="connsiteY86" fmla="*/ 163495 h 657819"/>
                      <a:gd name="connsiteX87" fmla="*/ 34564 w 718718"/>
                      <a:gd name="connsiteY87" fmla="*/ 157460 h 657819"/>
                      <a:gd name="connsiteX88" fmla="*/ 27981 w 718718"/>
                      <a:gd name="connsiteY88" fmla="*/ 145390 h 657819"/>
                      <a:gd name="connsiteX89" fmla="*/ 23591 w 718718"/>
                      <a:gd name="connsiteY89" fmla="*/ 111923 h 657819"/>
                      <a:gd name="connsiteX90" fmla="*/ 15362 w 718718"/>
                      <a:gd name="connsiteY90" fmla="*/ 100401 h 657819"/>
                      <a:gd name="connsiteX91" fmla="*/ 6035 w 718718"/>
                      <a:gd name="connsiteY91" fmla="*/ 94366 h 657819"/>
                      <a:gd name="connsiteX92" fmla="*/ 6035 w 718718"/>
                      <a:gd name="connsiteY92" fmla="*/ 39502 h 657819"/>
                      <a:gd name="connsiteX93" fmla="*/ 0 w 718718"/>
                      <a:gd name="connsiteY93" fmla="*/ 22494 h 657819"/>
                      <a:gd name="connsiteX94" fmla="*/ 9875 w 718718"/>
                      <a:gd name="connsiteY94" fmla="*/ 16459 h 657819"/>
                      <a:gd name="connsiteX95" fmla="*/ 17556 w 718718"/>
                      <a:gd name="connsiteY95" fmla="*/ 0 h 657819"/>
                      <a:gd name="connsiteX96" fmla="*/ 48280 w 718718"/>
                      <a:gd name="connsiteY96" fmla="*/ 42245 h 657819"/>
                      <a:gd name="connsiteX97" fmla="*/ 94915 w 718718"/>
                      <a:gd name="connsiteY97" fmla="*/ 44989 h 657819"/>
                      <a:gd name="connsiteX98" fmla="*/ 107533 w 718718"/>
                      <a:gd name="connsiteY98" fmla="*/ 25786 h 657819"/>
                      <a:gd name="connsiteX99" fmla="*/ 122347 w 718718"/>
                      <a:gd name="connsiteY99" fmla="*/ 12619 h 657819"/>
                      <a:gd name="connsiteX100" fmla="*/ 139355 w 718718"/>
                      <a:gd name="connsiteY100" fmla="*/ 8778 h 657819"/>
                      <a:gd name="connsiteX101" fmla="*/ 151425 w 718718"/>
                      <a:gd name="connsiteY101" fmla="*/ 15362 h 657819"/>
                      <a:gd name="connsiteX102" fmla="*/ 150876 w 718718"/>
                      <a:gd name="connsiteY102" fmla="*/ 24689 h 657819"/>
                      <a:gd name="connsiteX103" fmla="*/ 155814 w 718718"/>
                      <a:gd name="connsiteY103" fmla="*/ 38405 h 657819"/>
                      <a:gd name="connsiteX104" fmla="*/ 145390 w 718718"/>
                      <a:gd name="connsiteY104" fmla="*/ 44989 h 657819"/>
                      <a:gd name="connsiteX105" fmla="*/ 142646 w 718718"/>
                      <a:gd name="connsiteY105" fmla="*/ 47732 h 657819"/>
                      <a:gd name="connsiteX106" fmla="*/ 150876 w 718718"/>
                      <a:gd name="connsiteY106" fmla="*/ 51572 h 657819"/>
                      <a:gd name="connsiteX107" fmla="*/ 154168 w 718718"/>
                      <a:gd name="connsiteY107" fmla="*/ 55961 h 657819"/>
                      <a:gd name="connsiteX108" fmla="*/ 159654 w 718718"/>
                      <a:gd name="connsiteY108" fmla="*/ 58156 h 657819"/>
                      <a:gd name="connsiteX109" fmla="*/ 164592 w 718718"/>
                      <a:gd name="connsiteY109" fmla="*/ 63094 h 657819"/>
                      <a:gd name="connsiteX110" fmla="*/ 174467 w 718718"/>
                      <a:gd name="connsiteY110" fmla="*/ 64740 h 657819"/>
                      <a:gd name="connsiteX111" fmla="*/ 177211 w 718718"/>
                      <a:gd name="connsiteY111" fmla="*/ 63642 h 657819"/>
                      <a:gd name="connsiteX112" fmla="*/ 185440 w 718718"/>
                      <a:gd name="connsiteY112" fmla="*/ 106436 h 657819"/>
                      <a:gd name="connsiteX113" fmla="*/ 193670 w 718718"/>
                      <a:gd name="connsiteY113" fmla="*/ 112471 h 657819"/>
                      <a:gd name="connsiteX114" fmla="*/ 207935 w 718718"/>
                      <a:gd name="connsiteY114" fmla="*/ 116861 h 657819"/>
                      <a:gd name="connsiteX115" fmla="*/ 225491 w 718718"/>
                      <a:gd name="connsiteY115" fmla="*/ 116861 h 657819"/>
                      <a:gd name="connsiteX116" fmla="*/ 230429 w 718718"/>
                      <a:gd name="connsiteY116" fmla="*/ 120152 h 657819"/>
                      <a:gd name="connsiteX117" fmla="*/ 235366 w 718718"/>
                      <a:gd name="connsiteY117" fmla="*/ 131125 h 657819"/>
                      <a:gd name="connsiteX118" fmla="*/ 258409 w 718718"/>
                      <a:gd name="connsiteY118" fmla="*/ 146487 h 657819"/>
                      <a:gd name="connsiteX119" fmla="*/ 290779 w 718718"/>
                      <a:gd name="connsiteY119" fmla="*/ 155265 h 657819"/>
                      <a:gd name="connsiteX120" fmla="*/ 356067 w 718718"/>
                      <a:gd name="connsiteY120" fmla="*/ 137709 h 657819"/>
                      <a:gd name="connsiteX121" fmla="*/ 353324 w 718718"/>
                      <a:gd name="connsiteY121" fmla="*/ 140452 h 657819"/>
                      <a:gd name="connsiteX122" fmla="*/ 344546 w 718718"/>
                      <a:gd name="connsiteY122" fmla="*/ 142646 h 657819"/>
                      <a:gd name="connsiteX123" fmla="*/ 356067 w 718718"/>
                      <a:gd name="connsiteY123" fmla="*/ 143744 h 657819"/>
                      <a:gd name="connsiteX124" fmla="*/ 371978 w 718718"/>
                      <a:gd name="connsiteY124" fmla="*/ 141001 h 657819"/>
                      <a:gd name="connsiteX125" fmla="*/ 371429 w 718718"/>
                      <a:gd name="connsiteY125" fmla="*/ 127833 h 657819"/>
                      <a:gd name="connsiteX126" fmla="*/ 366491 w 718718"/>
                      <a:gd name="connsiteY126" fmla="*/ 113569 h 657819"/>
                      <a:gd name="connsiteX127" fmla="*/ 388437 w 718718"/>
                      <a:gd name="connsiteY127" fmla="*/ 110825 h 657819"/>
                      <a:gd name="connsiteX128" fmla="*/ 421904 w 718718"/>
                      <a:gd name="connsiteY128" fmla="*/ 82845 h 657819"/>
                      <a:gd name="connsiteX129" fmla="*/ 440009 w 718718"/>
                      <a:gd name="connsiteY129" fmla="*/ 80102 h 657819"/>
                      <a:gd name="connsiteX130" fmla="*/ 447690 w 718718"/>
                      <a:gd name="connsiteY130" fmla="*/ 82845 h 657819"/>
                      <a:gd name="connsiteX131" fmla="*/ 454822 w 718718"/>
                      <a:gd name="connsiteY131" fmla="*/ 82845 h 657819"/>
                      <a:gd name="connsiteX132" fmla="*/ 459212 w 718718"/>
                      <a:gd name="connsiteY132" fmla="*/ 79004 h 657819"/>
                      <a:gd name="connsiteX133" fmla="*/ 460309 w 718718"/>
                      <a:gd name="connsiteY133" fmla="*/ 73518 h 657819"/>
                      <a:gd name="connsiteX134" fmla="*/ 484998 w 718718"/>
                      <a:gd name="connsiteY134" fmla="*/ 72969 h 657819"/>
                      <a:gd name="connsiteX135" fmla="*/ 500360 w 718718"/>
                      <a:gd name="connsiteY135" fmla="*/ 88880 h 657819"/>
                      <a:gd name="connsiteX136" fmla="*/ 543702 w 718718"/>
                      <a:gd name="connsiteY136" fmla="*/ 104242 h 657819"/>
                      <a:gd name="connsiteX137" fmla="*/ 551383 w 718718"/>
                      <a:gd name="connsiteY137" fmla="*/ 102596 h 657819"/>
                      <a:gd name="connsiteX138" fmla="*/ 560710 w 718718"/>
                      <a:gd name="connsiteY138" fmla="*/ 104242 h 657819"/>
                      <a:gd name="connsiteX139" fmla="*/ 567294 w 718718"/>
                      <a:gd name="connsiteY139" fmla="*/ 108082 h 657819"/>
                      <a:gd name="connsiteX140" fmla="*/ 573877 w 718718"/>
                      <a:gd name="connsiteY140" fmla="*/ 116861 h 657819"/>
                      <a:gd name="connsiteX141" fmla="*/ 576621 w 718718"/>
                      <a:gd name="connsiteY141" fmla="*/ 125639 h 657819"/>
                      <a:gd name="connsiteX142" fmla="*/ 620512 w 718718"/>
                      <a:gd name="connsiteY142" fmla="*/ 153619 h 657819"/>
                      <a:gd name="connsiteX143" fmla="*/ 638068 w 718718"/>
                      <a:gd name="connsiteY143" fmla="*/ 153619 h 657819"/>
                      <a:gd name="connsiteX144" fmla="*/ 640812 w 718718"/>
                      <a:gd name="connsiteY144" fmla="*/ 157460 h 657819"/>
                      <a:gd name="connsiteX145" fmla="*/ 640812 w 718718"/>
                      <a:gd name="connsiteY145" fmla="*/ 182149 h 657819"/>
                      <a:gd name="connsiteX146" fmla="*/ 643555 w 718718"/>
                      <a:gd name="connsiteY146" fmla="*/ 189830 h 657819"/>
                      <a:gd name="connsiteX147" fmla="*/ 636971 w 718718"/>
                      <a:gd name="connsiteY147" fmla="*/ 234818 h 657819"/>
                      <a:gd name="connsiteX148" fmla="*/ 628193 w 718718"/>
                      <a:gd name="connsiteY148" fmla="*/ 249631 h 657819"/>
                      <a:gd name="connsiteX149" fmla="*/ 628193 w 718718"/>
                      <a:gd name="connsiteY149" fmla="*/ 259507 h 657819"/>
                      <a:gd name="connsiteX150" fmla="*/ 612831 w 718718"/>
                      <a:gd name="connsiteY150" fmla="*/ 266090 h 657819"/>
                      <a:gd name="connsiteX151" fmla="*/ 612831 w 718718"/>
                      <a:gd name="connsiteY151" fmla="*/ 285842 h 657819"/>
                      <a:gd name="connsiteX152" fmla="*/ 622706 w 718718"/>
                      <a:gd name="connsiteY152" fmla="*/ 289133 h 657819"/>
                      <a:gd name="connsiteX153" fmla="*/ 623255 w 718718"/>
                      <a:gd name="connsiteY153" fmla="*/ 296266 h 657819"/>
                      <a:gd name="connsiteX154" fmla="*/ 615574 w 718718"/>
                      <a:gd name="connsiteY154" fmla="*/ 320954 h 657819"/>
                      <a:gd name="connsiteX155" fmla="*/ 622158 w 718718"/>
                      <a:gd name="connsiteY155" fmla="*/ 340706 h 657819"/>
                      <a:gd name="connsiteX156" fmla="*/ 622706 w 718718"/>
                      <a:gd name="connsiteY156" fmla="*/ 373624 h 657819"/>
                      <a:gd name="connsiteX157" fmla="*/ 629290 w 718718"/>
                      <a:gd name="connsiteY157" fmla="*/ 380756 h 657819"/>
                      <a:gd name="connsiteX158" fmla="*/ 646846 w 718718"/>
                      <a:gd name="connsiteY158" fmla="*/ 383500 h 657819"/>
                      <a:gd name="connsiteX159" fmla="*/ 653430 w 718718"/>
                      <a:gd name="connsiteY159" fmla="*/ 390083 h 657819"/>
                      <a:gd name="connsiteX160" fmla="*/ 657819 w 718718"/>
                      <a:gd name="connsiteY160" fmla="*/ 401605 h 657819"/>
                      <a:gd name="connsiteX161" fmla="*/ 657819 w 718718"/>
                      <a:gd name="connsiteY161" fmla="*/ 410932 h 657819"/>
                      <a:gd name="connsiteX162" fmla="*/ 627095 w 718718"/>
                      <a:gd name="connsiteY162" fmla="*/ 462504 h 657819"/>
                      <a:gd name="connsiteX163" fmla="*/ 641360 w 718718"/>
                      <a:gd name="connsiteY163" fmla="*/ 477317 h 657819"/>
                      <a:gd name="connsiteX164" fmla="*/ 656173 w 718718"/>
                      <a:gd name="connsiteY164" fmla="*/ 506944 h 657819"/>
                      <a:gd name="connsiteX165" fmla="*/ 675376 w 718718"/>
                      <a:gd name="connsiteY165" fmla="*/ 519562 h 657819"/>
                      <a:gd name="connsiteX166" fmla="*/ 694030 w 718718"/>
                      <a:gd name="connsiteY166" fmla="*/ 525597 h 657819"/>
                      <a:gd name="connsiteX167" fmla="*/ 697870 w 718718"/>
                      <a:gd name="connsiteY167" fmla="*/ 529986 h 657819"/>
                      <a:gd name="connsiteX168" fmla="*/ 701162 w 718718"/>
                      <a:gd name="connsiteY168" fmla="*/ 567294 h 657819"/>
                      <a:gd name="connsiteX169" fmla="*/ 714329 w 718718"/>
                      <a:gd name="connsiteY169" fmla="*/ 570037 h 657819"/>
                      <a:gd name="connsiteX170" fmla="*/ 717621 w 718718"/>
                      <a:gd name="connsiteY170" fmla="*/ 573329 h 657819"/>
                      <a:gd name="connsiteX171" fmla="*/ 718718 w 718718"/>
                      <a:gd name="connsiteY171" fmla="*/ 580461 h 657819"/>
                      <a:gd name="connsiteX172" fmla="*/ 717073 w 718718"/>
                      <a:gd name="connsiteY172" fmla="*/ 584302 h 657819"/>
                      <a:gd name="connsiteX173" fmla="*/ 707197 w 718718"/>
                      <a:gd name="connsiteY173" fmla="*/ 593629 h 657819"/>
                      <a:gd name="connsiteX174" fmla="*/ 679765 w 718718"/>
                      <a:gd name="connsiteY174" fmla="*/ 601858 h 657819"/>
                      <a:gd name="connsiteX175" fmla="*/ 664952 w 718718"/>
                      <a:gd name="connsiteY175" fmla="*/ 617220 h 657819"/>
                      <a:gd name="connsiteX176" fmla="*/ 655076 w 718718"/>
                      <a:gd name="connsiteY176" fmla="*/ 656174 h 65781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  <a:cxn ang="0">
                        <a:pos x="connsiteX81" y="connsiteY81"/>
                      </a:cxn>
                      <a:cxn ang="0">
                        <a:pos x="connsiteX82" y="connsiteY82"/>
                      </a:cxn>
                      <a:cxn ang="0">
                        <a:pos x="connsiteX83" y="connsiteY83"/>
                      </a:cxn>
                      <a:cxn ang="0">
                        <a:pos x="connsiteX84" y="connsiteY84"/>
                      </a:cxn>
                      <a:cxn ang="0">
                        <a:pos x="connsiteX85" y="connsiteY85"/>
                      </a:cxn>
                      <a:cxn ang="0">
                        <a:pos x="connsiteX86" y="connsiteY86"/>
                      </a:cxn>
                      <a:cxn ang="0">
                        <a:pos x="connsiteX87" y="connsiteY87"/>
                      </a:cxn>
                      <a:cxn ang="0">
                        <a:pos x="connsiteX88" y="connsiteY88"/>
                      </a:cxn>
                      <a:cxn ang="0">
                        <a:pos x="connsiteX89" y="connsiteY89"/>
                      </a:cxn>
                      <a:cxn ang="0">
                        <a:pos x="connsiteX90" y="connsiteY90"/>
                      </a:cxn>
                      <a:cxn ang="0">
                        <a:pos x="connsiteX91" y="connsiteY91"/>
                      </a:cxn>
                      <a:cxn ang="0">
                        <a:pos x="connsiteX92" y="connsiteY92"/>
                      </a:cxn>
                      <a:cxn ang="0">
                        <a:pos x="connsiteX93" y="connsiteY93"/>
                      </a:cxn>
                      <a:cxn ang="0">
                        <a:pos x="connsiteX94" y="connsiteY94"/>
                      </a:cxn>
                      <a:cxn ang="0">
                        <a:pos x="connsiteX95" y="connsiteY95"/>
                      </a:cxn>
                      <a:cxn ang="0">
                        <a:pos x="connsiteX96" y="connsiteY96"/>
                      </a:cxn>
                      <a:cxn ang="0">
                        <a:pos x="connsiteX97" y="connsiteY97"/>
                      </a:cxn>
                      <a:cxn ang="0">
                        <a:pos x="connsiteX98" y="connsiteY98"/>
                      </a:cxn>
                      <a:cxn ang="0">
                        <a:pos x="connsiteX99" y="connsiteY99"/>
                      </a:cxn>
                      <a:cxn ang="0">
                        <a:pos x="connsiteX100" y="connsiteY100"/>
                      </a:cxn>
                      <a:cxn ang="0">
                        <a:pos x="connsiteX101" y="connsiteY101"/>
                      </a:cxn>
                      <a:cxn ang="0">
                        <a:pos x="connsiteX102" y="connsiteY102"/>
                      </a:cxn>
                      <a:cxn ang="0">
                        <a:pos x="connsiteX103" y="connsiteY103"/>
                      </a:cxn>
                      <a:cxn ang="0">
                        <a:pos x="connsiteX104" y="connsiteY104"/>
                      </a:cxn>
                      <a:cxn ang="0">
                        <a:pos x="connsiteX105" y="connsiteY105"/>
                      </a:cxn>
                      <a:cxn ang="0">
                        <a:pos x="connsiteX106" y="connsiteY106"/>
                      </a:cxn>
                      <a:cxn ang="0">
                        <a:pos x="connsiteX107" y="connsiteY107"/>
                      </a:cxn>
                      <a:cxn ang="0">
                        <a:pos x="connsiteX108" y="connsiteY108"/>
                      </a:cxn>
                      <a:cxn ang="0">
                        <a:pos x="connsiteX109" y="connsiteY109"/>
                      </a:cxn>
                      <a:cxn ang="0">
                        <a:pos x="connsiteX110" y="connsiteY110"/>
                      </a:cxn>
                      <a:cxn ang="0">
                        <a:pos x="connsiteX111" y="connsiteY111"/>
                      </a:cxn>
                      <a:cxn ang="0">
                        <a:pos x="connsiteX112" y="connsiteY112"/>
                      </a:cxn>
                      <a:cxn ang="0">
                        <a:pos x="connsiteX113" y="connsiteY113"/>
                      </a:cxn>
                      <a:cxn ang="0">
                        <a:pos x="connsiteX114" y="connsiteY114"/>
                      </a:cxn>
                      <a:cxn ang="0">
                        <a:pos x="connsiteX115" y="connsiteY115"/>
                      </a:cxn>
                      <a:cxn ang="0">
                        <a:pos x="connsiteX116" y="connsiteY116"/>
                      </a:cxn>
                      <a:cxn ang="0">
                        <a:pos x="connsiteX117" y="connsiteY117"/>
                      </a:cxn>
                      <a:cxn ang="0">
                        <a:pos x="connsiteX118" y="connsiteY118"/>
                      </a:cxn>
                      <a:cxn ang="0">
                        <a:pos x="connsiteX119" y="connsiteY119"/>
                      </a:cxn>
                      <a:cxn ang="0">
                        <a:pos x="connsiteX120" y="connsiteY120"/>
                      </a:cxn>
                      <a:cxn ang="0">
                        <a:pos x="connsiteX121" y="connsiteY121"/>
                      </a:cxn>
                      <a:cxn ang="0">
                        <a:pos x="connsiteX122" y="connsiteY122"/>
                      </a:cxn>
                      <a:cxn ang="0">
                        <a:pos x="connsiteX123" y="connsiteY123"/>
                      </a:cxn>
                      <a:cxn ang="0">
                        <a:pos x="connsiteX124" y="connsiteY124"/>
                      </a:cxn>
                      <a:cxn ang="0">
                        <a:pos x="connsiteX125" y="connsiteY125"/>
                      </a:cxn>
                      <a:cxn ang="0">
                        <a:pos x="connsiteX126" y="connsiteY126"/>
                      </a:cxn>
                      <a:cxn ang="0">
                        <a:pos x="connsiteX127" y="connsiteY127"/>
                      </a:cxn>
                      <a:cxn ang="0">
                        <a:pos x="connsiteX128" y="connsiteY128"/>
                      </a:cxn>
                      <a:cxn ang="0">
                        <a:pos x="connsiteX129" y="connsiteY129"/>
                      </a:cxn>
                      <a:cxn ang="0">
                        <a:pos x="connsiteX130" y="connsiteY130"/>
                      </a:cxn>
                      <a:cxn ang="0">
                        <a:pos x="connsiteX131" y="connsiteY131"/>
                      </a:cxn>
                      <a:cxn ang="0">
                        <a:pos x="connsiteX132" y="connsiteY132"/>
                      </a:cxn>
                      <a:cxn ang="0">
                        <a:pos x="connsiteX133" y="connsiteY133"/>
                      </a:cxn>
                      <a:cxn ang="0">
                        <a:pos x="connsiteX134" y="connsiteY134"/>
                      </a:cxn>
                      <a:cxn ang="0">
                        <a:pos x="connsiteX135" y="connsiteY135"/>
                      </a:cxn>
                      <a:cxn ang="0">
                        <a:pos x="connsiteX136" y="connsiteY136"/>
                      </a:cxn>
                      <a:cxn ang="0">
                        <a:pos x="connsiteX137" y="connsiteY137"/>
                      </a:cxn>
                      <a:cxn ang="0">
                        <a:pos x="connsiteX138" y="connsiteY138"/>
                      </a:cxn>
                      <a:cxn ang="0">
                        <a:pos x="connsiteX139" y="connsiteY139"/>
                      </a:cxn>
                      <a:cxn ang="0">
                        <a:pos x="connsiteX140" y="connsiteY140"/>
                      </a:cxn>
                      <a:cxn ang="0">
                        <a:pos x="connsiteX141" y="connsiteY141"/>
                      </a:cxn>
                      <a:cxn ang="0">
                        <a:pos x="connsiteX142" y="connsiteY142"/>
                      </a:cxn>
                      <a:cxn ang="0">
                        <a:pos x="connsiteX143" y="connsiteY143"/>
                      </a:cxn>
                      <a:cxn ang="0">
                        <a:pos x="connsiteX144" y="connsiteY144"/>
                      </a:cxn>
                      <a:cxn ang="0">
                        <a:pos x="connsiteX145" y="connsiteY145"/>
                      </a:cxn>
                      <a:cxn ang="0">
                        <a:pos x="connsiteX146" y="connsiteY146"/>
                      </a:cxn>
                      <a:cxn ang="0">
                        <a:pos x="connsiteX147" y="connsiteY147"/>
                      </a:cxn>
                      <a:cxn ang="0">
                        <a:pos x="connsiteX148" y="connsiteY148"/>
                      </a:cxn>
                      <a:cxn ang="0">
                        <a:pos x="connsiteX149" y="connsiteY149"/>
                      </a:cxn>
                      <a:cxn ang="0">
                        <a:pos x="connsiteX150" y="connsiteY150"/>
                      </a:cxn>
                      <a:cxn ang="0">
                        <a:pos x="connsiteX151" y="connsiteY151"/>
                      </a:cxn>
                      <a:cxn ang="0">
                        <a:pos x="connsiteX152" y="connsiteY152"/>
                      </a:cxn>
                      <a:cxn ang="0">
                        <a:pos x="connsiteX153" y="connsiteY153"/>
                      </a:cxn>
                      <a:cxn ang="0">
                        <a:pos x="connsiteX154" y="connsiteY154"/>
                      </a:cxn>
                      <a:cxn ang="0">
                        <a:pos x="connsiteX155" y="connsiteY155"/>
                      </a:cxn>
                      <a:cxn ang="0">
                        <a:pos x="connsiteX156" y="connsiteY156"/>
                      </a:cxn>
                      <a:cxn ang="0">
                        <a:pos x="connsiteX157" y="connsiteY157"/>
                      </a:cxn>
                      <a:cxn ang="0">
                        <a:pos x="connsiteX158" y="connsiteY158"/>
                      </a:cxn>
                      <a:cxn ang="0">
                        <a:pos x="connsiteX159" y="connsiteY159"/>
                      </a:cxn>
                      <a:cxn ang="0">
                        <a:pos x="connsiteX160" y="connsiteY160"/>
                      </a:cxn>
                      <a:cxn ang="0">
                        <a:pos x="connsiteX161" y="connsiteY161"/>
                      </a:cxn>
                      <a:cxn ang="0">
                        <a:pos x="connsiteX162" y="connsiteY162"/>
                      </a:cxn>
                      <a:cxn ang="0">
                        <a:pos x="connsiteX163" y="connsiteY163"/>
                      </a:cxn>
                      <a:cxn ang="0">
                        <a:pos x="connsiteX164" y="connsiteY164"/>
                      </a:cxn>
                      <a:cxn ang="0">
                        <a:pos x="connsiteX165" y="connsiteY165"/>
                      </a:cxn>
                      <a:cxn ang="0">
                        <a:pos x="connsiteX166" y="connsiteY166"/>
                      </a:cxn>
                      <a:cxn ang="0">
                        <a:pos x="connsiteX167" y="connsiteY167"/>
                      </a:cxn>
                      <a:cxn ang="0">
                        <a:pos x="connsiteX168" y="connsiteY168"/>
                      </a:cxn>
                      <a:cxn ang="0">
                        <a:pos x="connsiteX169" y="connsiteY169"/>
                      </a:cxn>
                      <a:cxn ang="0">
                        <a:pos x="connsiteX170" y="connsiteY170"/>
                      </a:cxn>
                      <a:cxn ang="0">
                        <a:pos x="connsiteX171" y="connsiteY171"/>
                      </a:cxn>
                      <a:cxn ang="0">
                        <a:pos x="connsiteX172" y="connsiteY172"/>
                      </a:cxn>
                      <a:cxn ang="0">
                        <a:pos x="connsiteX173" y="connsiteY173"/>
                      </a:cxn>
                      <a:cxn ang="0">
                        <a:pos x="connsiteX174" y="connsiteY174"/>
                      </a:cxn>
                      <a:cxn ang="0">
                        <a:pos x="connsiteX175" y="connsiteY175"/>
                      </a:cxn>
                      <a:cxn ang="0">
                        <a:pos x="connsiteX176" y="connsiteY176"/>
                      </a:cxn>
                    </a:cxnLst>
                    <a:rect l="l" t="t" r="r" b="b"/>
                    <a:pathLst>
                      <a:path w="718718" h="657819">
                        <a:moveTo>
                          <a:pt x="655076" y="656174"/>
                        </a:moveTo>
                        <a:lnTo>
                          <a:pt x="653430" y="655625"/>
                        </a:lnTo>
                        <a:lnTo>
                          <a:pt x="648493" y="657820"/>
                        </a:lnTo>
                        <a:lnTo>
                          <a:pt x="618317" y="651236"/>
                        </a:lnTo>
                        <a:lnTo>
                          <a:pt x="613379" y="645749"/>
                        </a:lnTo>
                        <a:lnTo>
                          <a:pt x="608990" y="649590"/>
                        </a:lnTo>
                        <a:lnTo>
                          <a:pt x="565099" y="643006"/>
                        </a:lnTo>
                        <a:lnTo>
                          <a:pt x="561807" y="644104"/>
                        </a:lnTo>
                        <a:lnTo>
                          <a:pt x="560161" y="647395"/>
                        </a:lnTo>
                        <a:lnTo>
                          <a:pt x="551932" y="641909"/>
                        </a:lnTo>
                        <a:lnTo>
                          <a:pt x="497617" y="633131"/>
                        </a:lnTo>
                        <a:lnTo>
                          <a:pt x="477865" y="583205"/>
                        </a:lnTo>
                        <a:lnTo>
                          <a:pt x="460858" y="574426"/>
                        </a:lnTo>
                        <a:lnTo>
                          <a:pt x="455920" y="573878"/>
                        </a:lnTo>
                        <a:lnTo>
                          <a:pt x="428488" y="583753"/>
                        </a:lnTo>
                        <a:lnTo>
                          <a:pt x="424099" y="589240"/>
                        </a:lnTo>
                        <a:lnTo>
                          <a:pt x="418612" y="591983"/>
                        </a:lnTo>
                        <a:lnTo>
                          <a:pt x="412029" y="592531"/>
                        </a:lnTo>
                        <a:lnTo>
                          <a:pt x="400507" y="599115"/>
                        </a:lnTo>
                        <a:lnTo>
                          <a:pt x="392826" y="600761"/>
                        </a:lnTo>
                        <a:lnTo>
                          <a:pt x="382951" y="598566"/>
                        </a:lnTo>
                        <a:lnTo>
                          <a:pt x="378013" y="594177"/>
                        </a:lnTo>
                        <a:lnTo>
                          <a:pt x="368137" y="591983"/>
                        </a:lnTo>
                        <a:lnTo>
                          <a:pt x="353873" y="593629"/>
                        </a:lnTo>
                        <a:lnTo>
                          <a:pt x="347289" y="586496"/>
                        </a:lnTo>
                        <a:lnTo>
                          <a:pt x="350032" y="587594"/>
                        </a:lnTo>
                        <a:lnTo>
                          <a:pt x="349484" y="584302"/>
                        </a:lnTo>
                        <a:lnTo>
                          <a:pt x="322052" y="573878"/>
                        </a:lnTo>
                        <a:lnTo>
                          <a:pt x="316565" y="565648"/>
                        </a:lnTo>
                        <a:lnTo>
                          <a:pt x="316565" y="562905"/>
                        </a:lnTo>
                        <a:lnTo>
                          <a:pt x="310530" y="556321"/>
                        </a:lnTo>
                        <a:lnTo>
                          <a:pt x="291328" y="547543"/>
                        </a:lnTo>
                        <a:lnTo>
                          <a:pt x="280355" y="546994"/>
                        </a:lnTo>
                        <a:lnTo>
                          <a:pt x="273771" y="543702"/>
                        </a:lnTo>
                        <a:lnTo>
                          <a:pt x="268285" y="537119"/>
                        </a:lnTo>
                        <a:lnTo>
                          <a:pt x="254569" y="499811"/>
                        </a:lnTo>
                        <a:lnTo>
                          <a:pt x="240853" y="488290"/>
                        </a:lnTo>
                        <a:lnTo>
                          <a:pt x="234818" y="471830"/>
                        </a:lnTo>
                        <a:lnTo>
                          <a:pt x="229331" y="468539"/>
                        </a:lnTo>
                        <a:lnTo>
                          <a:pt x="221651" y="458114"/>
                        </a:lnTo>
                        <a:lnTo>
                          <a:pt x="221102" y="452628"/>
                        </a:lnTo>
                        <a:lnTo>
                          <a:pt x="218359" y="448239"/>
                        </a:lnTo>
                        <a:lnTo>
                          <a:pt x="215067" y="445496"/>
                        </a:lnTo>
                        <a:lnTo>
                          <a:pt x="206289" y="448788"/>
                        </a:lnTo>
                        <a:lnTo>
                          <a:pt x="201351" y="454274"/>
                        </a:lnTo>
                        <a:lnTo>
                          <a:pt x="200254" y="452628"/>
                        </a:lnTo>
                        <a:lnTo>
                          <a:pt x="196413" y="450982"/>
                        </a:lnTo>
                        <a:lnTo>
                          <a:pt x="194219" y="447690"/>
                        </a:lnTo>
                        <a:lnTo>
                          <a:pt x="189281" y="444398"/>
                        </a:lnTo>
                        <a:lnTo>
                          <a:pt x="185989" y="438912"/>
                        </a:lnTo>
                        <a:lnTo>
                          <a:pt x="184892" y="431780"/>
                        </a:lnTo>
                        <a:lnTo>
                          <a:pt x="182148" y="429037"/>
                        </a:lnTo>
                        <a:lnTo>
                          <a:pt x="176113" y="427391"/>
                        </a:lnTo>
                        <a:lnTo>
                          <a:pt x="172273" y="429585"/>
                        </a:lnTo>
                        <a:lnTo>
                          <a:pt x="174467" y="434523"/>
                        </a:lnTo>
                        <a:lnTo>
                          <a:pt x="172273" y="437815"/>
                        </a:lnTo>
                        <a:lnTo>
                          <a:pt x="173370" y="442753"/>
                        </a:lnTo>
                        <a:lnTo>
                          <a:pt x="167884" y="442753"/>
                        </a:lnTo>
                        <a:lnTo>
                          <a:pt x="166787" y="449336"/>
                        </a:lnTo>
                        <a:lnTo>
                          <a:pt x="144292" y="431231"/>
                        </a:lnTo>
                        <a:lnTo>
                          <a:pt x="140452" y="425745"/>
                        </a:lnTo>
                        <a:lnTo>
                          <a:pt x="138257" y="412029"/>
                        </a:lnTo>
                        <a:lnTo>
                          <a:pt x="128930" y="407091"/>
                        </a:lnTo>
                        <a:lnTo>
                          <a:pt x="132222" y="374721"/>
                        </a:lnTo>
                        <a:lnTo>
                          <a:pt x="112471" y="339608"/>
                        </a:lnTo>
                        <a:lnTo>
                          <a:pt x="96012" y="333573"/>
                        </a:lnTo>
                        <a:lnTo>
                          <a:pt x="68580" y="314371"/>
                        </a:lnTo>
                        <a:lnTo>
                          <a:pt x="68031" y="306690"/>
                        </a:lnTo>
                        <a:lnTo>
                          <a:pt x="63642" y="297912"/>
                        </a:lnTo>
                        <a:lnTo>
                          <a:pt x="59253" y="294071"/>
                        </a:lnTo>
                        <a:lnTo>
                          <a:pt x="56510" y="288036"/>
                        </a:lnTo>
                        <a:lnTo>
                          <a:pt x="50475" y="288585"/>
                        </a:lnTo>
                        <a:lnTo>
                          <a:pt x="46086" y="284744"/>
                        </a:lnTo>
                        <a:lnTo>
                          <a:pt x="44988" y="274320"/>
                        </a:lnTo>
                        <a:lnTo>
                          <a:pt x="47183" y="273223"/>
                        </a:lnTo>
                        <a:lnTo>
                          <a:pt x="49378" y="269382"/>
                        </a:lnTo>
                        <a:lnTo>
                          <a:pt x="52121" y="251277"/>
                        </a:lnTo>
                        <a:lnTo>
                          <a:pt x="54315" y="246888"/>
                        </a:lnTo>
                        <a:lnTo>
                          <a:pt x="60350" y="244694"/>
                        </a:lnTo>
                        <a:lnTo>
                          <a:pt x="59802" y="239207"/>
                        </a:lnTo>
                        <a:lnTo>
                          <a:pt x="75164" y="217262"/>
                        </a:lnTo>
                        <a:lnTo>
                          <a:pt x="71872" y="204643"/>
                        </a:lnTo>
                        <a:lnTo>
                          <a:pt x="75712" y="195316"/>
                        </a:lnTo>
                        <a:lnTo>
                          <a:pt x="80101" y="189830"/>
                        </a:lnTo>
                        <a:lnTo>
                          <a:pt x="54315" y="186538"/>
                        </a:lnTo>
                        <a:lnTo>
                          <a:pt x="47732" y="178857"/>
                        </a:lnTo>
                        <a:lnTo>
                          <a:pt x="42794" y="163495"/>
                        </a:lnTo>
                        <a:lnTo>
                          <a:pt x="34564" y="157460"/>
                        </a:lnTo>
                        <a:lnTo>
                          <a:pt x="27981" y="145390"/>
                        </a:lnTo>
                        <a:lnTo>
                          <a:pt x="23591" y="111923"/>
                        </a:lnTo>
                        <a:lnTo>
                          <a:pt x="15362" y="100401"/>
                        </a:lnTo>
                        <a:lnTo>
                          <a:pt x="6035" y="94366"/>
                        </a:lnTo>
                        <a:lnTo>
                          <a:pt x="6035" y="39502"/>
                        </a:lnTo>
                        <a:lnTo>
                          <a:pt x="0" y="22494"/>
                        </a:lnTo>
                        <a:lnTo>
                          <a:pt x="9875" y="16459"/>
                        </a:lnTo>
                        <a:lnTo>
                          <a:pt x="17556" y="0"/>
                        </a:lnTo>
                        <a:lnTo>
                          <a:pt x="48280" y="42245"/>
                        </a:lnTo>
                        <a:lnTo>
                          <a:pt x="94915" y="44989"/>
                        </a:lnTo>
                        <a:lnTo>
                          <a:pt x="107533" y="25786"/>
                        </a:lnTo>
                        <a:lnTo>
                          <a:pt x="122347" y="12619"/>
                        </a:lnTo>
                        <a:lnTo>
                          <a:pt x="139355" y="8778"/>
                        </a:lnTo>
                        <a:lnTo>
                          <a:pt x="151425" y="15362"/>
                        </a:lnTo>
                        <a:lnTo>
                          <a:pt x="150876" y="24689"/>
                        </a:lnTo>
                        <a:lnTo>
                          <a:pt x="155814" y="38405"/>
                        </a:lnTo>
                        <a:lnTo>
                          <a:pt x="145390" y="44989"/>
                        </a:lnTo>
                        <a:lnTo>
                          <a:pt x="142646" y="47732"/>
                        </a:lnTo>
                        <a:lnTo>
                          <a:pt x="150876" y="51572"/>
                        </a:lnTo>
                        <a:lnTo>
                          <a:pt x="154168" y="55961"/>
                        </a:lnTo>
                        <a:lnTo>
                          <a:pt x="159654" y="58156"/>
                        </a:lnTo>
                        <a:lnTo>
                          <a:pt x="164592" y="63094"/>
                        </a:lnTo>
                        <a:lnTo>
                          <a:pt x="174467" y="64740"/>
                        </a:lnTo>
                        <a:lnTo>
                          <a:pt x="177211" y="63642"/>
                        </a:lnTo>
                        <a:lnTo>
                          <a:pt x="185440" y="106436"/>
                        </a:lnTo>
                        <a:lnTo>
                          <a:pt x="193670" y="112471"/>
                        </a:lnTo>
                        <a:lnTo>
                          <a:pt x="207935" y="116861"/>
                        </a:lnTo>
                        <a:lnTo>
                          <a:pt x="225491" y="116861"/>
                        </a:lnTo>
                        <a:lnTo>
                          <a:pt x="230429" y="120152"/>
                        </a:lnTo>
                        <a:lnTo>
                          <a:pt x="235366" y="131125"/>
                        </a:lnTo>
                        <a:lnTo>
                          <a:pt x="258409" y="146487"/>
                        </a:lnTo>
                        <a:lnTo>
                          <a:pt x="290779" y="155265"/>
                        </a:lnTo>
                        <a:lnTo>
                          <a:pt x="356067" y="137709"/>
                        </a:lnTo>
                        <a:lnTo>
                          <a:pt x="353324" y="140452"/>
                        </a:lnTo>
                        <a:lnTo>
                          <a:pt x="344546" y="142646"/>
                        </a:lnTo>
                        <a:lnTo>
                          <a:pt x="356067" y="143744"/>
                        </a:lnTo>
                        <a:lnTo>
                          <a:pt x="371978" y="141001"/>
                        </a:lnTo>
                        <a:lnTo>
                          <a:pt x="371429" y="127833"/>
                        </a:lnTo>
                        <a:lnTo>
                          <a:pt x="366491" y="113569"/>
                        </a:lnTo>
                        <a:lnTo>
                          <a:pt x="388437" y="110825"/>
                        </a:lnTo>
                        <a:lnTo>
                          <a:pt x="421904" y="82845"/>
                        </a:lnTo>
                        <a:lnTo>
                          <a:pt x="440009" y="80102"/>
                        </a:lnTo>
                        <a:lnTo>
                          <a:pt x="447690" y="82845"/>
                        </a:lnTo>
                        <a:lnTo>
                          <a:pt x="454822" y="82845"/>
                        </a:lnTo>
                        <a:lnTo>
                          <a:pt x="459212" y="79004"/>
                        </a:lnTo>
                        <a:lnTo>
                          <a:pt x="460309" y="73518"/>
                        </a:lnTo>
                        <a:lnTo>
                          <a:pt x="484998" y="72969"/>
                        </a:lnTo>
                        <a:lnTo>
                          <a:pt x="500360" y="88880"/>
                        </a:lnTo>
                        <a:lnTo>
                          <a:pt x="543702" y="104242"/>
                        </a:lnTo>
                        <a:lnTo>
                          <a:pt x="551383" y="102596"/>
                        </a:lnTo>
                        <a:lnTo>
                          <a:pt x="560710" y="104242"/>
                        </a:lnTo>
                        <a:lnTo>
                          <a:pt x="567294" y="108082"/>
                        </a:lnTo>
                        <a:lnTo>
                          <a:pt x="573877" y="116861"/>
                        </a:lnTo>
                        <a:lnTo>
                          <a:pt x="576621" y="125639"/>
                        </a:lnTo>
                        <a:lnTo>
                          <a:pt x="620512" y="153619"/>
                        </a:lnTo>
                        <a:lnTo>
                          <a:pt x="638068" y="153619"/>
                        </a:lnTo>
                        <a:lnTo>
                          <a:pt x="640812" y="157460"/>
                        </a:lnTo>
                        <a:lnTo>
                          <a:pt x="640812" y="182149"/>
                        </a:lnTo>
                        <a:lnTo>
                          <a:pt x="643555" y="189830"/>
                        </a:lnTo>
                        <a:lnTo>
                          <a:pt x="636971" y="234818"/>
                        </a:lnTo>
                        <a:lnTo>
                          <a:pt x="628193" y="249631"/>
                        </a:lnTo>
                        <a:lnTo>
                          <a:pt x="628193" y="259507"/>
                        </a:lnTo>
                        <a:lnTo>
                          <a:pt x="612831" y="266090"/>
                        </a:lnTo>
                        <a:lnTo>
                          <a:pt x="612831" y="285842"/>
                        </a:lnTo>
                        <a:lnTo>
                          <a:pt x="622706" y="289133"/>
                        </a:lnTo>
                        <a:lnTo>
                          <a:pt x="623255" y="296266"/>
                        </a:lnTo>
                        <a:lnTo>
                          <a:pt x="615574" y="320954"/>
                        </a:lnTo>
                        <a:lnTo>
                          <a:pt x="622158" y="340706"/>
                        </a:lnTo>
                        <a:lnTo>
                          <a:pt x="622706" y="373624"/>
                        </a:lnTo>
                        <a:lnTo>
                          <a:pt x="629290" y="380756"/>
                        </a:lnTo>
                        <a:lnTo>
                          <a:pt x="646846" y="383500"/>
                        </a:lnTo>
                        <a:lnTo>
                          <a:pt x="653430" y="390083"/>
                        </a:lnTo>
                        <a:lnTo>
                          <a:pt x="657819" y="401605"/>
                        </a:lnTo>
                        <a:lnTo>
                          <a:pt x="657819" y="410932"/>
                        </a:lnTo>
                        <a:lnTo>
                          <a:pt x="627095" y="462504"/>
                        </a:lnTo>
                        <a:lnTo>
                          <a:pt x="641360" y="477317"/>
                        </a:lnTo>
                        <a:lnTo>
                          <a:pt x="656173" y="506944"/>
                        </a:lnTo>
                        <a:lnTo>
                          <a:pt x="675376" y="519562"/>
                        </a:lnTo>
                        <a:lnTo>
                          <a:pt x="694030" y="525597"/>
                        </a:lnTo>
                        <a:lnTo>
                          <a:pt x="697870" y="529986"/>
                        </a:lnTo>
                        <a:lnTo>
                          <a:pt x="701162" y="567294"/>
                        </a:lnTo>
                        <a:lnTo>
                          <a:pt x="714329" y="570037"/>
                        </a:lnTo>
                        <a:lnTo>
                          <a:pt x="717621" y="573329"/>
                        </a:lnTo>
                        <a:lnTo>
                          <a:pt x="718718" y="580461"/>
                        </a:lnTo>
                        <a:lnTo>
                          <a:pt x="717073" y="584302"/>
                        </a:lnTo>
                        <a:lnTo>
                          <a:pt x="707197" y="593629"/>
                        </a:lnTo>
                        <a:lnTo>
                          <a:pt x="679765" y="601858"/>
                        </a:lnTo>
                        <a:lnTo>
                          <a:pt x="664952" y="617220"/>
                        </a:lnTo>
                        <a:lnTo>
                          <a:pt x="655076" y="656174"/>
                        </a:lnTo>
                      </a:path>
                    </a:pathLst>
                  </a:custGeom>
                  <a:grpFill/>
                  <a:ln w="1270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4" name="Graphic 7">
                    <a:extLst>
                      <a:ext uri="{FF2B5EF4-FFF2-40B4-BE49-F238E27FC236}">
                        <a16:creationId xmlns:a16="http://schemas.microsoft.com/office/drawing/2014/main" id="{AE8E5B84-57E4-DB99-979A-2B105B8329BD}"/>
                      </a:ext>
                    </a:extLst>
                  </p:cNvPr>
                  <p:cNvSpPr/>
                  <p:nvPr/>
                </p:nvSpPr>
                <p:spPr>
                  <a:xfrm>
                    <a:off x="6778330" y="3084272"/>
                    <a:ext cx="415782" cy="286333"/>
                  </a:xfrm>
                  <a:custGeom>
                    <a:avLst/>
                    <a:gdLst>
                      <a:gd name="connsiteX0" fmla="*/ 132222 w 532180"/>
                      <a:gd name="connsiteY0" fmla="*/ 72969 h 366491"/>
                      <a:gd name="connsiteX1" fmla="*/ 168981 w 532180"/>
                      <a:gd name="connsiteY1" fmla="*/ 78455 h 366491"/>
                      <a:gd name="connsiteX2" fmla="*/ 174468 w 532180"/>
                      <a:gd name="connsiteY2" fmla="*/ 75164 h 366491"/>
                      <a:gd name="connsiteX3" fmla="*/ 170627 w 532180"/>
                      <a:gd name="connsiteY3" fmla="*/ 65288 h 366491"/>
                      <a:gd name="connsiteX4" fmla="*/ 170627 w 532180"/>
                      <a:gd name="connsiteY4" fmla="*/ 59802 h 366491"/>
                      <a:gd name="connsiteX5" fmla="*/ 167884 w 532180"/>
                      <a:gd name="connsiteY5" fmla="*/ 48829 h 366491"/>
                      <a:gd name="connsiteX6" fmla="*/ 170627 w 532180"/>
                      <a:gd name="connsiteY6" fmla="*/ 44440 h 366491"/>
                      <a:gd name="connsiteX7" fmla="*/ 174468 w 532180"/>
                      <a:gd name="connsiteY7" fmla="*/ 41148 h 366491"/>
                      <a:gd name="connsiteX8" fmla="*/ 181600 w 532180"/>
                      <a:gd name="connsiteY8" fmla="*/ 31821 h 366491"/>
                      <a:gd name="connsiteX9" fmla="*/ 198059 w 532180"/>
                      <a:gd name="connsiteY9" fmla="*/ 30175 h 366491"/>
                      <a:gd name="connsiteX10" fmla="*/ 202997 w 532180"/>
                      <a:gd name="connsiteY10" fmla="*/ 27981 h 366491"/>
                      <a:gd name="connsiteX11" fmla="*/ 205192 w 532180"/>
                      <a:gd name="connsiteY11" fmla="*/ 23043 h 366491"/>
                      <a:gd name="connsiteX12" fmla="*/ 205192 w 532180"/>
                      <a:gd name="connsiteY12" fmla="*/ 17557 h 366491"/>
                      <a:gd name="connsiteX13" fmla="*/ 210129 w 532180"/>
                      <a:gd name="connsiteY13" fmla="*/ 14813 h 366491"/>
                      <a:gd name="connsiteX14" fmla="*/ 218908 w 532180"/>
                      <a:gd name="connsiteY14" fmla="*/ 21397 h 366491"/>
                      <a:gd name="connsiteX15" fmla="*/ 224394 w 532180"/>
                      <a:gd name="connsiteY15" fmla="*/ 23043 h 366491"/>
                      <a:gd name="connsiteX16" fmla="*/ 218908 w 532180"/>
                      <a:gd name="connsiteY16" fmla="*/ 13167 h 366491"/>
                      <a:gd name="connsiteX17" fmla="*/ 215067 w 532180"/>
                      <a:gd name="connsiteY17" fmla="*/ 9327 h 366491"/>
                      <a:gd name="connsiteX18" fmla="*/ 219456 w 532180"/>
                      <a:gd name="connsiteY18" fmla="*/ 6584 h 366491"/>
                      <a:gd name="connsiteX19" fmla="*/ 224942 w 532180"/>
                      <a:gd name="connsiteY19" fmla="*/ 7132 h 366491"/>
                      <a:gd name="connsiteX20" fmla="*/ 229332 w 532180"/>
                      <a:gd name="connsiteY20" fmla="*/ 3841 h 366491"/>
                      <a:gd name="connsiteX21" fmla="*/ 230429 w 532180"/>
                      <a:gd name="connsiteY21" fmla="*/ 0 h 366491"/>
                      <a:gd name="connsiteX22" fmla="*/ 257312 w 532180"/>
                      <a:gd name="connsiteY22" fmla="*/ 24140 h 366491"/>
                      <a:gd name="connsiteX23" fmla="*/ 262799 w 532180"/>
                      <a:gd name="connsiteY23" fmla="*/ 26335 h 366491"/>
                      <a:gd name="connsiteX24" fmla="*/ 268834 w 532180"/>
                      <a:gd name="connsiteY24" fmla="*/ 25237 h 366491"/>
                      <a:gd name="connsiteX25" fmla="*/ 279806 w 532180"/>
                      <a:gd name="connsiteY25" fmla="*/ 26883 h 366491"/>
                      <a:gd name="connsiteX26" fmla="*/ 282550 w 532180"/>
                      <a:gd name="connsiteY26" fmla="*/ 31821 h 366491"/>
                      <a:gd name="connsiteX27" fmla="*/ 281453 w 532180"/>
                      <a:gd name="connsiteY27" fmla="*/ 37307 h 366491"/>
                      <a:gd name="connsiteX28" fmla="*/ 282001 w 532180"/>
                      <a:gd name="connsiteY28" fmla="*/ 42794 h 366491"/>
                      <a:gd name="connsiteX29" fmla="*/ 290779 w 532180"/>
                      <a:gd name="connsiteY29" fmla="*/ 49378 h 366491"/>
                      <a:gd name="connsiteX30" fmla="*/ 285293 w 532180"/>
                      <a:gd name="connsiteY30" fmla="*/ 51023 h 366491"/>
                      <a:gd name="connsiteX31" fmla="*/ 285293 w 532180"/>
                      <a:gd name="connsiteY31" fmla="*/ 56510 h 366491"/>
                      <a:gd name="connsiteX32" fmla="*/ 286390 w 532180"/>
                      <a:gd name="connsiteY32" fmla="*/ 61996 h 366491"/>
                      <a:gd name="connsiteX33" fmla="*/ 284196 w 532180"/>
                      <a:gd name="connsiteY33" fmla="*/ 67483 h 366491"/>
                      <a:gd name="connsiteX34" fmla="*/ 287488 w 532180"/>
                      <a:gd name="connsiteY34" fmla="*/ 71872 h 366491"/>
                      <a:gd name="connsiteX35" fmla="*/ 297912 w 532180"/>
                      <a:gd name="connsiteY35" fmla="*/ 77358 h 366491"/>
                      <a:gd name="connsiteX36" fmla="*/ 331379 w 532180"/>
                      <a:gd name="connsiteY36" fmla="*/ 82296 h 366491"/>
                      <a:gd name="connsiteX37" fmla="*/ 336317 w 532180"/>
                      <a:gd name="connsiteY37" fmla="*/ 80101 h 366491"/>
                      <a:gd name="connsiteX38" fmla="*/ 336865 w 532180"/>
                      <a:gd name="connsiteY38" fmla="*/ 75164 h 366491"/>
                      <a:gd name="connsiteX39" fmla="*/ 341803 w 532180"/>
                      <a:gd name="connsiteY39" fmla="*/ 72421 h 366491"/>
                      <a:gd name="connsiteX40" fmla="*/ 358262 w 532180"/>
                      <a:gd name="connsiteY40" fmla="*/ 87234 h 366491"/>
                      <a:gd name="connsiteX41" fmla="*/ 359908 w 532180"/>
                      <a:gd name="connsiteY41" fmla="*/ 92720 h 366491"/>
                      <a:gd name="connsiteX42" fmla="*/ 361005 w 532180"/>
                      <a:gd name="connsiteY42" fmla="*/ 103693 h 366491"/>
                      <a:gd name="connsiteX43" fmla="*/ 363749 w 532180"/>
                      <a:gd name="connsiteY43" fmla="*/ 108631 h 366491"/>
                      <a:gd name="connsiteX44" fmla="*/ 371978 w 532180"/>
                      <a:gd name="connsiteY44" fmla="*/ 115763 h 366491"/>
                      <a:gd name="connsiteX45" fmla="*/ 375270 w 532180"/>
                      <a:gd name="connsiteY45" fmla="*/ 126736 h 366491"/>
                      <a:gd name="connsiteX46" fmla="*/ 374721 w 532180"/>
                      <a:gd name="connsiteY46" fmla="*/ 132222 h 366491"/>
                      <a:gd name="connsiteX47" fmla="*/ 382402 w 532180"/>
                      <a:gd name="connsiteY47" fmla="*/ 147035 h 366491"/>
                      <a:gd name="connsiteX48" fmla="*/ 435620 w 532180"/>
                      <a:gd name="connsiteY48" fmla="*/ 187086 h 366491"/>
                      <a:gd name="connsiteX49" fmla="*/ 446593 w 532180"/>
                      <a:gd name="connsiteY49" fmla="*/ 188183 h 366491"/>
                      <a:gd name="connsiteX50" fmla="*/ 488838 w 532180"/>
                      <a:gd name="connsiteY50" fmla="*/ 223845 h 366491"/>
                      <a:gd name="connsiteX51" fmla="*/ 494325 w 532180"/>
                      <a:gd name="connsiteY51" fmla="*/ 224394 h 366491"/>
                      <a:gd name="connsiteX52" fmla="*/ 499262 w 532180"/>
                      <a:gd name="connsiteY52" fmla="*/ 221650 h 366491"/>
                      <a:gd name="connsiteX53" fmla="*/ 504749 w 532180"/>
                      <a:gd name="connsiteY53" fmla="*/ 221102 h 366491"/>
                      <a:gd name="connsiteX54" fmla="*/ 520111 w 532180"/>
                      <a:gd name="connsiteY54" fmla="*/ 227137 h 366491"/>
                      <a:gd name="connsiteX55" fmla="*/ 523403 w 532180"/>
                      <a:gd name="connsiteY55" fmla="*/ 231526 h 366491"/>
                      <a:gd name="connsiteX56" fmla="*/ 532181 w 532180"/>
                      <a:gd name="connsiteY56" fmla="*/ 237561 h 366491"/>
                      <a:gd name="connsiteX57" fmla="*/ 527243 w 532180"/>
                      <a:gd name="connsiteY57" fmla="*/ 247437 h 366491"/>
                      <a:gd name="connsiteX58" fmla="*/ 527792 w 532180"/>
                      <a:gd name="connsiteY58" fmla="*/ 267736 h 366491"/>
                      <a:gd name="connsiteX59" fmla="*/ 517368 w 532180"/>
                      <a:gd name="connsiteY59" fmla="*/ 267188 h 366491"/>
                      <a:gd name="connsiteX60" fmla="*/ 500909 w 532180"/>
                      <a:gd name="connsiteY60" fmla="*/ 259507 h 366491"/>
                      <a:gd name="connsiteX61" fmla="*/ 494325 w 532180"/>
                      <a:gd name="connsiteY61" fmla="*/ 259507 h 366491"/>
                      <a:gd name="connsiteX62" fmla="*/ 492679 w 532180"/>
                      <a:gd name="connsiteY62" fmla="*/ 261701 h 366491"/>
                      <a:gd name="connsiteX63" fmla="*/ 492130 w 532180"/>
                      <a:gd name="connsiteY63" fmla="*/ 267188 h 366491"/>
                      <a:gd name="connsiteX64" fmla="*/ 490484 w 532180"/>
                      <a:gd name="connsiteY64" fmla="*/ 271028 h 366491"/>
                      <a:gd name="connsiteX65" fmla="*/ 489387 w 532180"/>
                      <a:gd name="connsiteY65" fmla="*/ 272125 h 366491"/>
                      <a:gd name="connsiteX66" fmla="*/ 478414 w 532180"/>
                      <a:gd name="connsiteY66" fmla="*/ 272674 h 366491"/>
                      <a:gd name="connsiteX67" fmla="*/ 474574 w 532180"/>
                      <a:gd name="connsiteY67" fmla="*/ 271028 h 366491"/>
                      <a:gd name="connsiteX68" fmla="*/ 468539 w 532180"/>
                      <a:gd name="connsiteY68" fmla="*/ 272125 h 366491"/>
                      <a:gd name="connsiteX69" fmla="*/ 465247 w 532180"/>
                      <a:gd name="connsiteY69" fmla="*/ 276514 h 366491"/>
                      <a:gd name="connsiteX70" fmla="*/ 462504 w 532180"/>
                      <a:gd name="connsiteY70" fmla="*/ 278161 h 366491"/>
                      <a:gd name="connsiteX71" fmla="*/ 461406 w 532180"/>
                      <a:gd name="connsiteY71" fmla="*/ 280904 h 366491"/>
                      <a:gd name="connsiteX72" fmla="*/ 461406 w 532180"/>
                      <a:gd name="connsiteY72" fmla="*/ 284744 h 366491"/>
                      <a:gd name="connsiteX73" fmla="*/ 457566 w 532180"/>
                      <a:gd name="connsiteY73" fmla="*/ 296266 h 366491"/>
                      <a:gd name="connsiteX74" fmla="*/ 455920 w 532180"/>
                      <a:gd name="connsiteY74" fmla="*/ 299009 h 366491"/>
                      <a:gd name="connsiteX75" fmla="*/ 453177 w 532180"/>
                      <a:gd name="connsiteY75" fmla="*/ 315468 h 366491"/>
                      <a:gd name="connsiteX76" fmla="*/ 443301 w 532180"/>
                      <a:gd name="connsiteY76" fmla="*/ 322600 h 366491"/>
                      <a:gd name="connsiteX77" fmla="*/ 438364 w 532180"/>
                      <a:gd name="connsiteY77" fmla="*/ 323149 h 366491"/>
                      <a:gd name="connsiteX78" fmla="*/ 434523 w 532180"/>
                      <a:gd name="connsiteY78" fmla="*/ 327538 h 366491"/>
                      <a:gd name="connsiteX79" fmla="*/ 428488 w 532180"/>
                      <a:gd name="connsiteY79" fmla="*/ 329733 h 366491"/>
                      <a:gd name="connsiteX80" fmla="*/ 423550 w 532180"/>
                      <a:gd name="connsiteY80" fmla="*/ 333025 h 366491"/>
                      <a:gd name="connsiteX81" fmla="*/ 405994 w 532180"/>
                      <a:gd name="connsiteY81" fmla="*/ 337414 h 366491"/>
                      <a:gd name="connsiteX82" fmla="*/ 401056 w 532180"/>
                      <a:gd name="connsiteY82" fmla="*/ 336865 h 366491"/>
                      <a:gd name="connsiteX83" fmla="*/ 401605 w 532180"/>
                      <a:gd name="connsiteY83" fmla="*/ 340705 h 366491"/>
                      <a:gd name="connsiteX84" fmla="*/ 405445 w 532180"/>
                      <a:gd name="connsiteY84" fmla="*/ 344546 h 366491"/>
                      <a:gd name="connsiteX85" fmla="*/ 403250 w 532180"/>
                      <a:gd name="connsiteY85" fmla="*/ 347289 h 366491"/>
                      <a:gd name="connsiteX86" fmla="*/ 400507 w 532180"/>
                      <a:gd name="connsiteY86" fmla="*/ 348386 h 366491"/>
                      <a:gd name="connsiteX87" fmla="*/ 398861 w 532180"/>
                      <a:gd name="connsiteY87" fmla="*/ 357165 h 366491"/>
                      <a:gd name="connsiteX88" fmla="*/ 396118 w 532180"/>
                      <a:gd name="connsiteY88" fmla="*/ 358810 h 366491"/>
                      <a:gd name="connsiteX89" fmla="*/ 390083 w 532180"/>
                      <a:gd name="connsiteY89" fmla="*/ 361005 h 366491"/>
                      <a:gd name="connsiteX90" fmla="*/ 385694 w 532180"/>
                      <a:gd name="connsiteY90" fmla="*/ 365394 h 366491"/>
                      <a:gd name="connsiteX91" fmla="*/ 376367 w 532180"/>
                      <a:gd name="connsiteY91" fmla="*/ 365394 h 366491"/>
                      <a:gd name="connsiteX92" fmla="*/ 371429 w 532180"/>
                      <a:gd name="connsiteY92" fmla="*/ 366491 h 366491"/>
                      <a:gd name="connsiteX93" fmla="*/ 368686 w 532180"/>
                      <a:gd name="connsiteY93" fmla="*/ 366491 h 366491"/>
                      <a:gd name="connsiteX94" fmla="*/ 364846 w 532180"/>
                      <a:gd name="connsiteY94" fmla="*/ 361554 h 366491"/>
                      <a:gd name="connsiteX95" fmla="*/ 359908 w 532180"/>
                      <a:gd name="connsiteY95" fmla="*/ 359359 h 366491"/>
                      <a:gd name="connsiteX96" fmla="*/ 356068 w 532180"/>
                      <a:gd name="connsiteY96" fmla="*/ 356067 h 366491"/>
                      <a:gd name="connsiteX97" fmla="*/ 347289 w 532180"/>
                      <a:gd name="connsiteY97" fmla="*/ 357713 h 366491"/>
                      <a:gd name="connsiteX98" fmla="*/ 339608 w 532180"/>
                      <a:gd name="connsiteY98" fmla="*/ 355519 h 366491"/>
                      <a:gd name="connsiteX99" fmla="*/ 338511 w 532180"/>
                      <a:gd name="connsiteY99" fmla="*/ 353324 h 366491"/>
                      <a:gd name="connsiteX100" fmla="*/ 329733 w 532180"/>
                      <a:gd name="connsiteY100" fmla="*/ 346741 h 366491"/>
                      <a:gd name="connsiteX101" fmla="*/ 331379 w 532180"/>
                      <a:gd name="connsiteY101" fmla="*/ 337414 h 366491"/>
                      <a:gd name="connsiteX102" fmla="*/ 328636 w 532180"/>
                      <a:gd name="connsiteY102" fmla="*/ 329733 h 366491"/>
                      <a:gd name="connsiteX103" fmla="*/ 328636 w 532180"/>
                      <a:gd name="connsiteY103" fmla="*/ 305044 h 366491"/>
                      <a:gd name="connsiteX104" fmla="*/ 325892 w 532180"/>
                      <a:gd name="connsiteY104" fmla="*/ 301203 h 366491"/>
                      <a:gd name="connsiteX105" fmla="*/ 308336 w 532180"/>
                      <a:gd name="connsiteY105" fmla="*/ 301203 h 366491"/>
                      <a:gd name="connsiteX106" fmla="*/ 264445 w 532180"/>
                      <a:gd name="connsiteY106" fmla="*/ 273223 h 366491"/>
                      <a:gd name="connsiteX107" fmla="*/ 261701 w 532180"/>
                      <a:gd name="connsiteY107" fmla="*/ 264445 h 366491"/>
                      <a:gd name="connsiteX108" fmla="*/ 255118 w 532180"/>
                      <a:gd name="connsiteY108" fmla="*/ 255666 h 366491"/>
                      <a:gd name="connsiteX109" fmla="*/ 248534 w 532180"/>
                      <a:gd name="connsiteY109" fmla="*/ 251826 h 366491"/>
                      <a:gd name="connsiteX110" fmla="*/ 239207 w 532180"/>
                      <a:gd name="connsiteY110" fmla="*/ 250180 h 366491"/>
                      <a:gd name="connsiteX111" fmla="*/ 231526 w 532180"/>
                      <a:gd name="connsiteY111" fmla="*/ 251826 h 366491"/>
                      <a:gd name="connsiteX112" fmla="*/ 188184 w 532180"/>
                      <a:gd name="connsiteY112" fmla="*/ 236464 h 366491"/>
                      <a:gd name="connsiteX113" fmla="*/ 172822 w 532180"/>
                      <a:gd name="connsiteY113" fmla="*/ 220553 h 366491"/>
                      <a:gd name="connsiteX114" fmla="*/ 148133 w 532180"/>
                      <a:gd name="connsiteY114" fmla="*/ 221102 h 366491"/>
                      <a:gd name="connsiteX115" fmla="*/ 147036 w 532180"/>
                      <a:gd name="connsiteY115" fmla="*/ 226588 h 366491"/>
                      <a:gd name="connsiteX116" fmla="*/ 142646 w 532180"/>
                      <a:gd name="connsiteY116" fmla="*/ 230429 h 366491"/>
                      <a:gd name="connsiteX117" fmla="*/ 135514 w 532180"/>
                      <a:gd name="connsiteY117" fmla="*/ 230429 h 366491"/>
                      <a:gd name="connsiteX118" fmla="*/ 127833 w 532180"/>
                      <a:gd name="connsiteY118" fmla="*/ 227686 h 366491"/>
                      <a:gd name="connsiteX119" fmla="*/ 109728 w 532180"/>
                      <a:gd name="connsiteY119" fmla="*/ 230429 h 366491"/>
                      <a:gd name="connsiteX120" fmla="*/ 76261 w 532180"/>
                      <a:gd name="connsiteY120" fmla="*/ 258409 h 366491"/>
                      <a:gd name="connsiteX121" fmla="*/ 54315 w 532180"/>
                      <a:gd name="connsiteY121" fmla="*/ 261153 h 366491"/>
                      <a:gd name="connsiteX122" fmla="*/ 54315 w 532180"/>
                      <a:gd name="connsiteY122" fmla="*/ 261153 h 366491"/>
                      <a:gd name="connsiteX123" fmla="*/ 49378 w 532180"/>
                      <a:gd name="connsiteY123" fmla="*/ 212872 h 366491"/>
                      <a:gd name="connsiteX124" fmla="*/ 52670 w 532180"/>
                      <a:gd name="connsiteY124" fmla="*/ 197510 h 366491"/>
                      <a:gd name="connsiteX125" fmla="*/ 58705 w 532180"/>
                      <a:gd name="connsiteY125" fmla="*/ 187635 h 366491"/>
                      <a:gd name="connsiteX126" fmla="*/ 51024 w 532180"/>
                      <a:gd name="connsiteY126" fmla="*/ 185440 h 366491"/>
                      <a:gd name="connsiteX127" fmla="*/ 38954 w 532180"/>
                      <a:gd name="connsiteY127" fmla="*/ 172273 h 366491"/>
                      <a:gd name="connsiteX128" fmla="*/ 34016 w 532180"/>
                      <a:gd name="connsiteY128" fmla="*/ 170627 h 366491"/>
                      <a:gd name="connsiteX129" fmla="*/ 34016 w 532180"/>
                      <a:gd name="connsiteY129" fmla="*/ 168433 h 366491"/>
                      <a:gd name="connsiteX130" fmla="*/ 52670 w 532180"/>
                      <a:gd name="connsiteY130" fmla="*/ 159106 h 366491"/>
                      <a:gd name="connsiteX131" fmla="*/ 39502 w 532180"/>
                      <a:gd name="connsiteY131" fmla="*/ 153619 h 366491"/>
                      <a:gd name="connsiteX132" fmla="*/ 34016 w 532180"/>
                      <a:gd name="connsiteY132" fmla="*/ 149230 h 366491"/>
                      <a:gd name="connsiteX133" fmla="*/ 41697 w 532180"/>
                      <a:gd name="connsiteY133" fmla="*/ 142098 h 366491"/>
                      <a:gd name="connsiteX134" fmla="*/ 52670 w 532180"/>
                      <a:gd name="connsiteY134" fmla="*/ 148681 h 366491"/>
                      <a:gd name="connsiteX135" fmla="*/ 48829 w 532180"/>
                      <a:gd name="connsiteY135" fmla="*/ 140452 h 366491"/>
                      <a:gd name="connsiteX136" fmla="*/ 34565 w 532180"/>
                      <a:gd name="connsiteY136" fmla="*/ 136063 h 366491"/>
                      <a:gd name="connsiteX137" fmla="*/ 23043 w 532180"/>
                      <a:gd name="connsiteY137" fmla="*/ 138257 h 366491"/>
                      <a:gd name="connsiteX138" fmla="*/ 18105 w 532180"/>
                      <a:gd name="connsiteY138" fmla="*/ 144292 h 366491"/>
                      <a:gd name="connsiteX139" fmla="*/ 14265 w 532180"/>
                      <a:gd name="connsiteY139" fmla="*/ 144292 h 366491"/>
                      <a:gd name="connsiteX140" fmla="*/ 9327 w 532180"/>
                      <a:gd name="connsiteY140" fmla="*/ 123444 h 366491"/>
                      <a:gd name="connsiteX141" fmla="*/ 10424 w 532180"/>
                      <a:gd name="connsiteY141" fmla="*/ 113020 h 366491"/>
                      <a:gd name="connsiteX142" fmla="*/ 15362 w 532180"/>
                      <a:gd name="connsiteY142" fmla="*/ 105887 h 366491"/>
                      <a:gd name="connsiteX143" fmla="*/ 14813 w 532180"/>
                      <a:gd name="connsiteY143" fmla="*/ 86685 h 366491"/>
                      <a:gd name="connsiteX144" fmla="*/ 21946 w 532180"/>
                      <a:gd name="connsiteY144" fmla="*/ 102596 h 366491"/>
                      <a:gd name="connsiteX145" fmla="*/ 36210 w 532180"/>
                      <a:gd name="connsiteY145" fmla="*/ 102596 h 366491"/>
                      <a:gd name="connsiteX146" fmla="*/ 49926 w 532180"/>
                      <a:gd name="connsiteY146" fmla="*/ 106985 h 366491"/>
                      <a:gd name="connsiteX147" fmla="*/ 57059 w 532180"/>
                      <a:gd name="connsiteY147" fmla="*/ 105887 h 366491"/>
                      <a:gd name="connsiteX148" fmla="*/ 67483 w 532180"/>
                      <a:gd name="connsiteY148" fmla="*/ 109179 h 366491"/>
                      <a:gd name="connsiteX149" fmla="*/ 74066 w 532180"/>
                      <a:gd name="connsiteY149" fmla="*/ 105887 h 366491"/>
                      <a:gd name="connsiteX150" fmla="*/ 67483 w 532180"/>
                      <a:gd name="connsiteY150" fmla="*/ 104790 h 366491"/>
                      <a:gd name="connsiteX151" fmla="*/ 66386 w 532180"/>
                      <a:gd name="connsiteY151" fmla="*/ 100950 h 366491"/>
                      <a:gd name="connsiteX152" fmla="*/ 76810 w 532180"/>
                      <a:gd name="connsiteY152" fmla="*/ 98206 h 366491"/>
                      <a:gd name="connsiteX153" fmla="*/ 85588 w 532180"/>
                      <a:gd name="connsiteY153" fmla="*/ 85588 h 366491"/>
                      <a:gd name="connsiteX154" fmla="*/ 58705 w 532180"/>
                      <a:gd name="connsiteY154" fmla="*/ 61996 h 366491"/>
                      <a:gd name="connsiteX155" fmla="*/ 54864 w 532180"/>
                      <a:gd name="connsiteY155" fmla="*/ 49926 h 366491"/>
                      <a:gd name="connsiteX156" fmla="*/ 46634 w 532180"/>
                      <a:gd name="connsiteY156" fmla="*/ 38953 h 366491"/>
                      <a:gd name="connsiteX157" fmla="*/ 38405 w 532180"/>
                      <a:gd name="connsiteY157" fmla="*/ 37856 h 366491"/>
                      <a:gd name="connsiteX158" fmla="*/ 15362 w 532180"/>
                      <a:gd name="connsiteY158" fmla="*/ 47732 h 366491"/>
                      <a:gd name="connsiteX159" fmla="*/ 9327 w 532180"/>
                      <a:gd name="connsiteY159" fmla="*/ 55961 h 366491"/>
                      <a:gd name="connsiteX160" fmla="*/ 9327 w 532180"/>
                      <a:gd name="connsiteY160" fmla="*/ 61996 h 366491"/>
                      <a:gd name="connsiteX161" fmla="*/ 12619 w 532180"/>
                      <a:gd name="connsiteY161" fmla="*/ 63642 h 366491"/>
                      <a:gd name="connsiteX162" fmla="*/ 13167 w 532180"/>
                      <a:gd name="connsiteY162" fmla="*/ 81199 h 366491"/>
                      <a:gd name="connsiteX163" fmla="*/ 11522 w 532180"/>
                      <a:gd name="connsiteY163" fmla="*/ 79553 h 366491"/>
                      <a:gd name="connsiteX164" fmla="*/ 2195 w 532180"/>
                      <a:gd name="connsiteY164" fmla="*/ 61996 h 366491"/>
                      <a:gd name="connsiteX165" fmla="*/ 0 w 532180"/>
                      <a:gd name="connsiteY165" fmla="*/ 50475 h 366491"/>
                      <a:gd name="connsiteX166" fmla="*/ 20300 w 532180"/>
                      <a:gd name="connsiteY166" fmla="*/ 31821 h 366491"/>
                      <a:gd name="connsiteX167" fmla="*/ 58156 w 532180"/>
                      <a:gd name="connsiteY167" fmla="*/ 20300 h 366491"/>
                      <a:gd name="connsiteX168" fmla="*/ 63642 w 532180"/>
                      <a:gd name="connsiteY168" fmla="*/ 20848 h 366491"/>
                      <a:gd name="connsiteX169" fmla="*/ 83393 w 532180"/>
                      <a:gd name="connsiteY169" fmla="*/ 31821 h 366491"/>
                      <a:gd name="connsiteX170" fmla="*/ 104242 w 532180"/>
                      <a:gd name="connsiteY170" fmla="*/ 71323 h 366491"/>
                      <a:gd name="connsiteX171" fmla="*/ 110825 w 532180"/>
                      <a:gd name="connsiteY171" fmla="*/ 75712 h 366491"/>
                      <a:gd name="connsiteX172" fmla="*/ 123444 w 532180"/>
                      <a:gd name="connsiteY172" fmla="*/ 76810 h 366491"/>
                      <a:gd name="connsiteX173" fmla="*/ 132222 w 532180"/>
                      <a:gd name="connsiteY173" fmla="*/ 72969 h 36649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  <a:cxn ang="0">
                        <a:pos x="connsiteX81" y="connsiteY81"/>
                      </a:cxn>
                      <a:cxn ang="0">
                        <a:pos x="connsiteX82" y="connsiteY82"/>
                      </a:cxn>
                      <a:cxn ang="0">
                        <a:pos x="connsiteX83" y="connsiteY83"/>
                      </a:cxn>
                      <a:cxn ang="0">
                        <a:pos x="connsiteX84" y="connsiteY84"/>
                      </a:cxn>
                      <a:cxn ang="0">
                        <a:pos x="connsiteX85" y="connsiteY85"/>
                      </a:cxn>
                      <a:cxn ang="0">
                        <a:pos x="connsiteX86" y="connsiteY86"/>
                      </a:cxn>
                      <a:cxn ang="0">
                        <a:pos x="connsiteX87" y="connsiteY87"/>
                      </a:cxn>
                      <a:cxn ang="0">
                        <a:pos x="connsiteX88" y="connsiteY88"/>
                      </a:cxn>
                      <a:cxn ang="0">
                        <a:pos x="connsiteX89" y="connsiteY89"/>
                      </a:cxn>
                      <a:cxn ang="0">
                        <a:pos x="connsiteX90" y="connsiteY90"/>
                      </a:cxn>
                      <a:cxn ang="0">
                        <a:pos x="connsiteX91" y="connsiteY91"/>
                      </a:cxn>
                      <a:cxn ang="0">
                        <a:pos x="connsiteX92" y="connsiteY92"/>
                      </a:cxn>
                      <a:cxn ang="0">
                        <a:pos x="connsiteX93" y="connsiteY93"/>
                      </a:cxn>
                      <a:cxn ang="0">
                        <a:pos x="connsiteX94" y="connsiteY94"/>
                      </a:cxn>
                      <a:cxn ang="0">
                        <a:pos x="connsiteX95" y="connsiteY95"/>
                      </a:cxn>
                      <a:cxn ang="0">
                        <a:pos x="connsiteX96" y="connsiteY96"/>
                      </a:cxn>
                      <a:cxn ang="0">
                        <a:pos x="connsiteX97" y="connsiteY97"/>
                      </a:cxn>
                      <a:cxn ang="0">
                        <a:pos x="connsiteX98" y="connsiteY98"/>
                      </a:cxn>
                      <a:cxn ang="0">
                        <a:pos x="connsiteX99" y="connsiteY99"/>
                      </a:cxn>
                      <a:cxn ang="0">
                        <a:pos x="connsiteX100" y="connsiteY100"/>
                      </a:cxn>
                      <a:cxn ang="0">
                        <a:pos x="connsiteX101" y="connsiteY101"/>
                      </a:cxn>
                      <a:cxn ang="0">
                        <a:pos x="connsiteX102" y="connsiteY102"/>
                      </a:cxn>
                      <a:cxn ang="0">
                        <a:pos x="connsiteX103" y="connsiteY103"/>
                      </a:cxn>
                      <a:cxn ang="0">
                        <a:pos x="connsiteX104" y="connsiteY104"/>
                      </a:cxn>
                      <a:cxn ang="0">
                        <a:pos x="connsiteX105" y="connsiteY105"/>
                      </a:cxn>
                      <a:cxn ang="0">
                        <a:pos x="connsiteX106" y="connsiteY106"/>
                      </a:cxn>
                      <a:cxn ang="0">
                        <a:pos x="connsiteX107" y="connsiteY107"/>
                      </a:cxn>
                      <a:cxn ang="0">
                        <a:pos x="connsiteX108" y="connsiteY108"/>
                      </a:cxn>
                      <a:cxn ang="0">
                        <a:pos x="connsiteX109" y="connsiteY109"/>
                      </a:cxn>
                      <a:cxn ang="0">
                        <a:pos x="connsiteX110" y="connsiteY110"/>
                      </a:cxn>
                      <a:cxn ang="0">
                        <a:pos x="connsiteX111" y="connsiteY111"/>
                      </a:cxn>
                      <a:cxn ang="0">
                        <a:pos x="connsiteX112" y="connsiteY112"/>
                      </a:cxn>
                      <a:cxn ang="0">
                        <a:pos x="connsiteX113" y="connsiteY113"/>
                      </a:cxn>
                      <a:cxn ang="0">
                        <a:pos x="connsiteX114" y="connsiteY114"/>
                      </a:cxn>
                      <a:cxn ang="0">
                        <a:pos x="connsiteX115" y="connsiteY115"/>
                      </a:cxn>
                      <a:cxn ang="0">
                        <a:pos x="connsiteX116" y="connsiteY116"/>
                      </a:cxn>
                      <a:cxn ang="0">
                        <a:pos x="connsiteX117" y="connsiteY117"/>
                      </a:cxn>
                      <a:cxn ang="0">
                        <a:pos x="connsiteX118" y="connsiteY118"/>
                      </a:cxn>
                      <a:cxn ang="0">
                        <a:pos x="connsiteX119" y="connsiteY119"/>
                      </a:cxn>
                      <a:cxn ang="0">
                        <a:pos x="connsiteX120" y="connsiteY120"/>
                      </a:cxn>
                      <a:cxn ang="0">
                        <a:pos x="connsiteX121" y="connsiteY121"/>
                      </a:cxn>
                      <a:cxn ang="0">
                        <a:pos x="connsiteX122" y="connsiteY122"/>
                      </a:cxn>
                      <a:cxn ang="0">
                        <a:pos x="connsiteX123" y="connsiteY123"/>
                      </a:cxn>
                      <a:cxn ang="0">
                        <a:pos x="connsiteX124" y="connsiteY124"/>
                      </a:cxn>
                      <a:cxn ang="0">
                        <a:pos x="connsiteX125" y="connsiteY125"/>
                      </a:cxn>
                      <a:cxn ang="0">
                        <a:pos x="connsiteX126" y="connsiteY126"/>
                      </a:cxn>
                      <a:cxn ang="0">
                        <a:pos x="connsiteX127" y="connsiteY127"/>
                      </a:cxn>
                      <a:cxn ang="0">
                        <a:pos x="connsiteX128" y="connsiteY128"/>
                      </a:cxn>
                      <a:cxn ang="0">
                        <a:pos x="connsiteX129" y="connsiteY129"/>
                      </a:cxn>
                      <a:cxn ang="0">
                        <a:pos x="connsiteX130" y="connsiteY130"/>
                      </a:cxn>
                      <a:cxn ang="0">
                        <a:pos x="connsiteX131" y="connsiteY131"/>
                      </a:cxn>
                      <a:cxn ang="0">
                        <a:pos x="connsiteX132" y="connsiteY132"/>
                      </a:cxn>
                      <a:cxn ang="0">
                        <a:pos x="connsiteX133" y="connsiteY133"/>
                      </a:cxn>
                      <a:cxn ang="0">
                        <a:pos x="connsiteX134" y="connsiteY134"/>
                      </a:cxn>
                      <a:cxn ang="0">
                        <a:pos x="connsiteX135" y="connsiteY135"/>
                      </a:cxn>
                      <a:cxn ang="0">
                        <a:pos x="connsiteX136" y="connsiteY136"/>
                      </a:cxn>
                      <a:cxn ang="0">
                        <a:pos x="connsiteX137" y="connsiteY137"/>
                      </a:cxn>
                      <a:cxn ang="0">
                        <a:pos x="connsiteX138" y="connsiteY138"/>
                      </a:cxn>
                      <a:cxn ang="0">
                        <a:pos x="connsiteX139" y="connsiteY139"/>
                      </a:cxn>
                      <a:cxn ang="0">
                        <a:pos x="connsiteX140" y="connsiteY140"/>
                      </a:cxn>
                      <a:cxn ang="0">
                        <a:pos x="connsiteX141" y="connsiteY141"/>
                      </a:cxn>
                      <a:cxn ang="0">
                        <a:pos x="connsiteX142" y="connsiteY142"/>
                      </a:cxn>
                      <a:cxn ang="0">
                        <a:pos x="connsiteX143" y="connsiteY143"/>
                      </a:cxn>
                      <a:cxn ang="0">
                        <a:pos x="connsiteX144" y="connsiteY144"/>
                      </a:cxn>
                      <a:cxn ang="0">
                        <a:pos x="connsiteX145" y="connsiteY145"/>
                      </a:cxn>
                      <a:cxn ang="0">
                        <a:pos x="connsiteX146" y="connsiteY146"/>
                      </a:cxn>
                      <a:cxn ang="0">
                        <a:pos x="connsiteX147" y="connsiteY147"/>
                      </a:cxn>
                      <a:cxn ang="0">
                        <a:pos x="connsiteX148" y="connsiteY148"/>
                      </a:cxn>
                      <a:cxn ang="0">
                        <a:pos x="connsiteX149" y="connsiteY149"/>
                      </a:cxn>
                      <a:cxn ang="0">
                        <a:pos x="connsiteX150" y="connsiteY150"/>
                      </a:cxn>
                      <a:cxn ang="0">
                        <a:pos x="connsiteX151" y="connsiteY151"/>
                      </a:cxn>
                      <a:cxn ang="0">
                        <a:pos x="connsiteX152" y="connsiteY152"/>
                      </a:cxn>
                      <a:cxn ang="0">
                        <a:pos x="connsiteX153" y="connsiteY153"/>
                      </a:cxn>
                      <a:cxn ang="0">
                        <a:pos x="connsiteX154" y="connsiteY154"/>
                      </a:cxn>
                      <a:cxn ang="0">
                        <a:pos x="connsiteX155" y="connsiteY155"/>
                      </a:cxn>
                      <a:cxn ang="0">
                        <a:pos x="connsiteX156" y="connsiteY156"/>
                      </a:cxn>
                      <a:cxn ang="0">
                        <a:pos x="connsiteX157" y="connsiteY157"/>
                      </a:cxn>
                      <a:cxn ang="0">
                        <a:pos x="connsiteX158" y="connsiteY158"/>
                      </a:cxn>
                      <a:cxn ang="0">
                        <a:pos x="connsiteX159" y="connsiteY159"/>
                      </a:cxn>
                      <a:cxn ang="0">
                        <a:pos x="connsiteX160" y="connsiteY160"/>
                      </a:cxn>
                      <a:cxn ang="0">
                        <a:pos x="connsiteX161" y="connsiteY161"/>
                      </a:cxn>
                      <a:cxn ang="0">
                        <a:pos x="connsiteX162" y="connsiteY162"/>
                      </a:cxn>
                      <a:cxn ang="0">
                        <a:pos x="connsiteX163" y="connsiteY163"/>
                      </a:cxn>
                      <a:cxn ang="0">
                        <a:pos x="connsiteX164" y="connsiteY164"/>
                      </a:cxn>
                      <a:cxn ang="0">
                        <a:pos x="connsiteX165" y="connsiteY165"/>
                      </a:cxn>
                      <a:cxn ang="0">
                        <a:pos x="connsiteX166" y="connsiteY166"/>
                      </a:cxn>
                      <a:cxn ang="0">
                        <a:pos x="connsiteX167" y="connsiteY167"/>
                      </a:cxn>
                      <a:cxn ang="0">
                        <a:pos x="connsiteX168" y="connsiteY168"/>
                      </a:cxn>
                      <a:cxn ang="0">
                        <a:pos x="connsiteX169" y="connsiteY169"/>
                      </a:cxn>
                      <a:cxn ang="0">
                        <a:pos x="connsiteX170" y="connsiteY170"/>
                      </a:cxn>
                      <a:cxn ang="0">
                        <a:pos x="connsiteX171" y="connsiteY171"/>
                      </a:cxn>
                      <a:cxn ang="0">
                        <a:pos x="connsiteX172" y="connsiteY172"/>
                      </a:cxn>
                      <a:cxn ang="0">
                        <a:pos x="connsiteX173" y="connsiteY173"/>
                      </a:cxn>
                    </a:cxnLst>
                    <a:rect l="l" t="t" r="r" b="b"/>
                    <a:pathLst>
                      <a:path w="532180" h="366491">
                        <a:moveTo>
                          <a:pt x="132222" y="72969"/>
                        </a:moveTo>
                        <a:lnTo>
                          <a:pt x="168981" y="78455"/>
                        </a:lnTo>
                        <a:lnTo>
                          <a:pt x="174468" y="75164"/>
                        </a:lnTo>
                        <a:lnTo>
                          <a:pt x="170627" y="65288"/>
                        </a:lnTo>
                        <a:lnTo>
                          <a:pt x="170627" y="59802"/>
                        </a:lnTo>
                        <a:lnTo>
                          <a:pt x="167884" y="48829"/>
                        </a:lnTo>
                        <a:lnTo>
                          <a:pt x="170627" y="44440"/>
                        </a:lnTo>
                        <a:lnTo>
                          <a:pt x="174468" y="41148"/>
                        </a:lnTo>
                        <a:lnTo>
                          <a:pt x="181600" y="31821"/>
                        </a:lnTo>
                        <a:lnTo>
                          <a:pt x="198059" y="30175"/>
                        </a:lnTo>
                        <a:lnTo>
                          <a:pt x="202997" y="27981"/>
                        </a:lnTo>
                        <a:lnTo>
                          <a:pt x="205192" y="23043"/>
                        </a:lnTo>
                        <a:lnTo>
                          <a:pt x="205192" y="17557"/>
                        </a:lnTo>
                        <a:lnTo>
                          <a:pt x="210129" y="14813"/>
                        </a:lnTo>
                        <a:lnTo>
                          <a:pt x="218908" y="21397"/>
                        </a:lnTo>
                        <a:lnTo>
                          <a:pt x="224394" y="23043"/>
                        </a:lnTo>
                        <a:lnTo>
                          <a:pt x="218908" y="13167"/>
                        </a:lnTo>
                        <a:lnTo>
                          <a:pt x="215067" y="9327"/>
                        </a:lnTo>
                        <a:lnTo>
                          <a:pt x="219456" y="6584"/>
                        </a:lnTo>
                        <a:lnTo>
                          <a:pt x="224942" y="7132"/>
                        </a:lnTo>
                        <a:lnTo>
                          <a:pt x="229332" y="3841"/>
                        </a:lnTo>
                        <a:lnTo>
                          <a:pt x="230429" y="0"/>
                        </a:lnTo>
                        <a:lnTo>
                          <a:pt x="257312" y="24140"/>
                        </a:lnTo>
                        <a:lnTo>
                          <a:pt x="262799" y="26335"/>
                        </a:lnTo>
                        <a:lnTo>
                          <a:pt x="268834" y="25237"/>
                        </a:lnTo>
                        <a:lnTo>
                          <a:pt x="279806" y="26883"/>
                        </a:lnTo>
                        <a:lnTo>
                          <a:pt x="282550" y="31821"/>
                        </a:lnTo>
                        <a:lnTo>
                          <a:pt x="281453" y="37307"/>
                        </a:lnTo>
                        <a:lnTo>
                          <a:pt x="282001" y="42794"/>
                        </a:lnTo>
                        <a:lnTo>
                          <a:pt x="290779" y="49378"/>
                        </a:lnTo>
                        <a:lnTo>
                          <a:pt x="285293" y="51023"/>
                        </a:lnTo>
                        <a:lnTo>
                          <a:pt x="285293" y="56510"/>
                        </a:lnTo>
                        <a:lnTo>
                          <a:pt x="286390" y="61996"/>
                        </a:lnTo>
                        <a:lnTo>
                          <a:pt x="284196" y="67483"/>
                        </a:lnTo>
                        <a:lnTo>
                          <a:pt x="287488" y="71872"/>
                        </a:lnTo>
                        <a:lnTo>
                          <a:pt x="297912" y="77358"/>
                        </a:lnTo>
                        <a:lnTo>
                          <a:pt x="331379" y="82296"/>
                        </a:lnTo>
                        <a:lnTo>
                          <a:pt x="336317" y="80101"/>
                        </a:lnTo>
                        <a:lnTo>
                          <a:pt x="336865" y="75164"/>
                        </a:lnTo>
                        <a:lnTo>
                          <a:pt x="341803" y="72421"/>
                        </a:lnTo>
                        <a:lnTo>
                          <a:pt x="358262" y="87234"/>
                        </a:lnTo>
                        <a:lnTo>
                          <a:pt x="359908" y="92720"/>
                        </a:lnTo>
                        <a:lnTo>
                          <a:pt x="361005" y="103693"/>
                        </a:lnTo>
                        <a:lnTo>
                          <a:pt x="363749" y="108631"/>
                        </a:lnTo>
                        <a:lnTo>
                          <a:pt x="371978" y="115763"/>
                        </a:lnTo>
                        <a:lnTo>
                          <a:pt x="375270" y="126736"/>
                        </a:lnTo>
                        <a:lnTo>
                          <a:pt x="374721" y="132222"/>
                        </a:lnTo>
                        <a:lnTo>
                          <a:pt x="382402" y="147035"/>
                        </a:lnTo>
                        <a:lnTo>
                          <a:pt x="435620" y="187086"/>
                        </a:lnTo>
                        <a:lnTo>
                          <a:pt x="446593" y="188183"/>
                        </a:lnTo>
                        <a:lnTo>
                          <a:pt x="488838" y="223845"/>
                        </a:lnTo>
                        <a:lnTo>
                          <a:pt x="494325" y="224394"/>
                        </a:lnTo>
                        <a:lnTo>
                          <a:pt x="499262" y="221650"/>
                        </a:lnTo>
                        <a:lnTo>
                          <a:pt x="504749" y="221102"/>
                        </a:lnTo>
                        <a:lnTo>
                          <a:pt x="520111" y="227137"/>
                        </a:lnTo>
                        <a:lnTo>
                          <a:pt x="523403" y="231526"/>
                        </a:lnTo>
                        <a:lnTo>
                          <a:pt x="532181" y="237561"/>
                        </a:lnTo>
                        <a:lnTo>
                          <a:pt x="527243" y="247437"/>
                        </a:lnTo>
                        <a:lnTo>
                          <a:pt x="527792" y="267736"/>
                        </a:lnTo>
                        <a:lnTo>
                          <a:pt x="517368" y="267188"/>
                        </a:lnTo>
                        <a:lnTo>
                          <a:pt x="500909" y="259507"/>
                        </a:lnTo>
                        <a:lnTo>
                          <a:pt x="494325" y="259507"/>
                        </a:lnTo>
                        <a:lnTo>
                          <a:pt x="492679" y="261701"/>
                        </a:lnTo>
                        <a:lnTo>
                          <a:pt x="492130" y="267188"/>
                        </a:lnTo>
                        <a:lnTo>
                          <a:pt x="490484" y="271028"/>
                        </a:lnTo>
                        <a:lnTo>
                          <a:pt x="489387" y="272125"/>
                        </a:lnTo>
                        <a:lnTo>
                          <a:pt x="478414" y="272674"/>
                        </a:lnTo>
                        <a:lnTo>
                          <a:pt x="474574" y="271028"/>
                        </a:lnTo>
                        <a:lnTo>
                          <a:pt x="468539" y="272125"/>
                        </a:lnTo>
                        <a:lnTo>
                          <a:pt x="465247" y="276514"/>
                        </a:lnTo>
                        <a:lnTo>
                          <a:pt x="462504" y="278161"/>
                        </a:lnTo>
                        <a:lnTo>
                          <a:pt x="461406" y="280904"/>
                        </a:lnTo>
                        <a:lnTo>
                          <a:pt x="461406" y="284744"/>
                        </a:lnTo>
                        <a:lnTo>
                          <a:pt x="457566" y="296266"/>
                        </a:lnTo>
                        <a:lnTo>
                          <a:pt x="455920" y="299009"/>
                        </a:lnTo>
                        <a:lnTo>
                          <a:pt x="453177" y="315468"/>
                        </a:lnTo>
                        <a:lnTo>
                          <a:pt x="443301" y="322600"/>
                        </a:lnTo>
                        <a:lnTo>
                          <a:pt x="438364" y="323149"/>
                        </a:lnTo>
                        <a:lnTo>
                          <a:pt x="434523" y="327538"/>
                        </a:lnTo>
                        <a:lnTo>
                          <a:pt x="428488" y="329733"/>
                        </a:lnTo>
                        <a:lnTo>
                          <a:pt x="423550" y="333025"/>
                        </a:lnTo>
                        <a:lnTo>
                          <a:pt x="405994" y="337414"/>
                        </a:lnTo>
                        <a:lnTo>
                          <a:pt x="401056" y="336865"/>
                        </a:lnTo>
                        <a:lnTo>
                          <a:pt x="401605" y="340705"/>
                        </a:lnTo>
                        <a:lnTo>
                          <a:pt x="405445" y="344546"/>
                        </a:lnTo>
                        <a:lnTo>
                          <a:pt x="403250" y="347289"/>
                        </a:lnTo>
                        <a:lnTo>
                          <a:pt x="400507" y="348386"/>
                        </a:lnTo>
                        <a:lnTo>
                          <a:pt x="398861" y="357165"/>
                        </a:lnTo>
                        <a:lnTo>
                          <a:pt x="396118" y="358810"/>
                        </a:lnTo>
                        <a:lnTo>
                          <a:pt x="390083" y="361005"/>
                        </a:lnTo>
                        <a:lnTo>
                          <a:pt x="385694" y="365394"/>
                        </a:lnTo>
                        <a:lnTo>
                          <a:pt x="376367" y="365394"/>
                        </a:lnTo>
                        <a:lnTo>
                          <a:pt x="371429" y="366491"/>
                        </a:lnTo>
                        <a:lnTo>
                          <a:pt x="368686" y="366491"/>
                        </a:lnTo>
                        <a:lnTo>
                          <a:pt x="364846" y="361554"/>
                        </a:lnTo>
                        <a:lnTo>
                          <a:pt x="359908" y="359359"/>
                        </a:lnTo>
                        <a:lnTo>
                          <a:pt x="356068" y="356067"/>
                        </a:lnTo>
                        <a:lnTo>
                          <a:pt x="347289" y="357713"/>
                        </a:lnTo>
                        <a:lnTo>
                          <a:pt x="339608" y="355519"/>
                        </a:lnTo>
                        <a:lnTo>
                          <a:pt x="338511" y="353324"/>
                        </a:lnTo>
                        <a:lnTo>
                          <a:pt x="329733" y="346741"/>
                        </a:lnTo>
                        <a:lnTo>
                          <a:pt x="331379" y="337414"/>
                        </a:lnTo>
                        <a:lnTo>
                          <a:pt x="328636" y="329733"/>
                        </a:lnTo>
                        <a:lnTo>
                          <a:pt x="328636" y="305044"/>
                        </a:lnTo>
                        <a:lnTo>
                          <a:pt x="325892" y="301203"/>
                        </a:lnTo>
                        <a:lnTo>
                          <a:pt x="308336" y="301203"/>
                        </a:lnTo>
                        <a:lnTo>
                          <a:pt x="264445" y="273223"/>
                        </a:lnTo>
                        <a:lnTo>
                          <a:pt x="261701" y="264445"/>
                        </a:lnTo>
                        <a:lnTo>
                          <a:pt x="255118" y="255666"/>
                        </a:lnTo>
                        <a:lnTo>
                          <a:pt x="248534" y="251826"/>
                        </a:lnTo>
                        <a:lnTo>
                          <a:pt x="239207" y="250180"/>
                        </a:lnTo>
                        <a:lnTo>
                          <a:pt x="231526" y="251826"/>
                        </a:lnTo>
                        <a:lnTo>
                          <a:pt x="188184" y="236464"/>
                        </a:lnTo>
                        <a:lnTo>
                          <a:pt x="172822" y="220553"/>
                        </a:lnTo>
                        <a:lnTo>
                          <a:pt x="148133" y="221102"/>
                        </a:lnTo>
                        <a:lnTo>
                          <a:pt x="147036" y="226588"/>
                        </a:lnTo>
                        <a:lnTo>
                          <a:pt x="142646" y="230429"/>
                        </a:lnTo>
                        <a:lnTo>
                          <a:pt x="135514" y="230429"/>
                        </a:lnTo>
                        <a:lnTo>
                          <a:pt x="127833" y="227686"/>
                        </a:lnTo>
                        <a:lnTo>
                          <a:pt x="109728" y="230429"/>
                        </a:lnTo>
                        <a:lnTo>
                          <a:pt x="76261" y="258409"/>
                        </a:lnTo>
                        <a:lnTo>
                          <a:pt x="54315" y="261153"/>
                        </a:lnTo>
                        <a:lnTo>
                          <a:pt x="54315" y="261153"/>
                        </a:lnTo>
                        <a:lnTo>
                          <a:pt x="49378" y="212872"/>
                        </a:lnTo>
                        <a:lnTo>
                          <a:pt x="52670" y="197510"/>
                        </a:lnTo>
                        <a:lnTo>
                          <a:pt x="58705" y="187635"/>
                        </a:lnTo>
                        <a:lnTo>
                          <a:pt x="51024" y="185440"/>
                        </a:lnTo>
                        <a:lnTo>
                          <a:pt x="38954" y="172273"/>
                        </a:lnTo>
                        <a:lnTo>
                          <a:pt x="34016" y="170627"/>
                        </a:lnTo>
                        <a:lnTo>
                          <a:pt x="34016" y="168433"/>
                        </a:lnTo>
                        <a:lnTo>
                          <a:pt x="52670" y="159106"/>
                        </a:lnTo>
                        <a:lnTo>
                          <a:pt x="39502" y="153619"/>
                        </a:lnTo>
                        <a:lnTo>
                          <a:pt x="34016" y="149230"/>
                        </a:lnTo>
                        <a:lnTo>
                          <a:pt x="41697" y="142098"/>
                        </a:lnTo>
                        <a:lnTo>
                          <a:pt x="52670" y="148681"/>
                        </a:lnTo>
                        <a:lnTo>
                          <a:pt x="48829" y="140452"/>
                        </a:lnTo>
                        <a:lnTo>
                          <a:pt x="34565" y="136063"/>
                        </a:lnTo>
                        <a:lnTo>
                          <a:pt x="23043" y="138257"/>
                        </a:lnTo>
                        <a:lnTo>
                          <a:pt x="18105" y="144292"/>
                        </a:lnTo>
                        <a:lnTo>
                          <a:pt x="14265" y="144292"/>
                        </a:lnTo>
                        <a:lnTo>
                          <a:pt x="9327" y="123444"/>
                        </a:lnTo>
                        <a:lnTo>
                          <a:pt x="10424" y="113020"/>
                        </a:lnTo>
                        <a:lnTo>
                          <a:pt x="15362" y="105887"/>
                        </a:lnTo>
                        <a:lnTo>
                          <a:pt x="14813" y="86685"/>
                        </a:lnTo>
                        <a:lnTo>
                          <a:pt x="21946" y="102596"/>
                        </a:lnTo>
                        <a:lnTo>
                          <a:pt x="36210" y="102596"/>
                        </a:lnTo>
                        <a:lnTo>
                          <a:pt x="49926" y="106985"/>
                        </a:lnTo>
                        <a:lnTo>
                          <a:pt x="57059" y="105887"/>
                        </a:lnTo>
                        <a:lnTo>
                          <a:pt x="67483" y="109179"/>
                        </a:lnTo>
                        <a:lnTo>
                          <a:pt x="74066" y="105887"/>
                        </a:lnTo>
                        <a:lnTo>
                          <a:pt x="67483" y="104790"/>
                        </a:lnTo>
                        <a:lnTo>
                          <a:pt x="66386" y="100950"/>
                        </a:lnTo>
                        <a:lnTo>
                          <a:pt x="76810" y="98206"/>
                        </a:lnTo>
                        <a:lnTo>
                          <a:pt x="85588" y="85588"/>
                        </a:lnTo>
                        <a:lnTo>
                          <a:pt x="58705" y="61996"/>
                        </a:lnTo>
                        <a:lnTo>
                          <a:pt x="54864" y="49926"/>
                        </a:lnTo>
                        <a:lnTo>
                          <a:pt x="46634" y="38953"/>
                        </a:lnTo>
                        <a:lnTo>
                          <a:pt x="38405" y="37856"/>
                        </a:lnTo>
                        <a:lnTo>
                          <a:pt x="15362" y="47732"/>
                        </a:lnTo>
                        <a:lnTo>
                          <a:pt x="9327" y="55961"/>
                        </a:lnTo>
                        <a:lnTo>
                          <a:pt x="9327" y="61996"/>
                        </a:lnTo>
                        <a:lnTo>
                          <a:pt x="12619" y="63642"/>
                        </a:lnTo>
                        <a:lnTo>
                          <a:pt x="13167" y="81199"/>
                        </a:lnTo>
                        <a:lnTo>
                          <a:pt x="11522" y="79553"/>
                        </a:lnTo>
                        <a:lnTo>
                          <a:pt x="2195" y="61996"/>
                        </a:lnTo>
                        <a:lnTo>
                          <a:pt x="0" y="50475"/>
                        </a:lnTo>
                        <a:lnTo>
                          <a:pt x="20300" y="31821"/>
                        </a:lnTo>
                        <a:lnTo>
                          <a:pt x="58156" y="20300"/>
                        </a:lnTo>
                        <a:lnTo>
                          <a:pt x="63642" y="20848"/>
                        </a:lnTo>
                        <a:lnTo>
                          <a:pt x="83393" y="31821"/>
                        </a:lnTo>
                        <a:lnTo>
                          <a:pt x="104242" y="71323"/>
                        </a:lnTo>
                        <a:lnTo>
                          <a:pt x="110825" y="75712"/>
                        </a:lnTo>
                        <a:lnTo>
                          <a:pt x="123444" y="76810"/>
                        </a:lnTo>
                        <a:lnTo>
                          <a:pt x="132222" y="72969"/>
                        </a:lnTo>
                      </a:path>
                    </a:pathLst>
                  </a:custGeom>
                  <a:grpFill/>
                  <a:ln w="1270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5" name="Graphic 7">
                    <a:extLst>
                      <a:ext uri="{FF2B5EF4-FFF2-40B4-BE49-F238E27FC236}">
                        <a16:creationId xmlns:a16="http://schemas.microsoft.com/office/drawing/2014/main" id="{A73E9ADC-C4D6-9F38-E8FD-489F13761DF5}"/>
                      </a:ext>
                    </a:extLst>
                  </p:cNvPr>
                  <p:cNvSpPr/>
                  <p:nvPr/>
                </p:nvSpPr>
                <p:spPr>
                  <a:xfrm>
                    <a:off x="6881633" y="2969825"/>
                    <a:ext cx="502797" cy="327483"/>
                  </a:xfrm>
                  <a:custGeom>
                    <a:avLst/>
                    <a:gdLst>
                      <a:gd name="connsiteX0" fmla="*/ 0 w 643554"/>
                      <a:gd name="connsiteY0" fmla="*/ 34016 h 419161"/>
                      <a:gd name="connsiteX1" fmla="*/ 0 w 643554"/>
                      <a:gd name="connsiteY1" fmla="*/ 219456 h 419161"/>
                      <a:gd name="connsiteX2" fmla="*/ 36759 w 643554"/>
                      <a:gd name="connsiteY2" fmla="*/ 224942 h 419161"/>
                      <a:gd name="connsiteX3" fmla="*/ 42245 w 643554"/>
                      <a:gd name="connsiteY3" fmla="*/ 221651 h 419161"/>
                      <a:gd name="connsiteX4" fmla="*/ 38405 w 643554"/>
                      <a:gd name="connsiteY4" fmla="*/ 211775 h 419161"/>
                      <a:gd name="connsiteX5" fmla="*/ 38405 w 643554"/>
                      <a:gd name="connsiteY5" fmla="*/ 206289 h 419161"/>
                      <a:gd name="connsiteX6" fmla="*/ 35662 w 643554"/>
                      <a:gd name="connsiteY6" fmla="*/ 195316 h 419161"/>
                      <a:gd name="connsiteX7" fmla="*/ 38405 w 643554"/>
                      <a:gd name="connsiteY7" fmla="*/ 190927 h 419161"/>
                      <a:gd name="connsiteX8" fmla="*/ 42245 w 643554"/>
                      <a:gd name="connsiteY8" fmla="*/ 187635 h 419161"/>
                      <a:gd name="connsiteX9" fmla="*/ 49378 w 643554"/>
                      <a:gd name="connsiteY9" fmla="*/ 178308 h 419161"/>
                      <a:gd name="connsiteX10" fmla="*/ 65837 w 643554"/>
                      <a:gd name="connsiteY10" fmla="*/ 176662 h 419161"/>
                      <a:gd name="connsiteX11" fmla="*/ 70774 w 643554"/>
                      <a:gd name="connsiteY11" fmla="*/ 174467 h 419161"/>
                      <a:gd name="connsiteX12" fmla="*/ 72969 w 643554"/>
                      <a:gd name="connsiteY12" fmla="*/ 169530 h 419161"/>
                      <a:gd name="connsiteX13" fmla="*/ 72969 w 643554"/>
                      <a:gd name="connsiteY13" fmla="*/ 164044 h 419161"/>
                      <a:gd name="connsiteX14" fmla="*/ 77907 w 643554"/>
                      <a:gd name="connsiteY14" fmla="*/ 161300 h 419161"/>
                      <a:gd name="connsiteX15" fmla="*/ 86685 w 643554"/>
                      <a:gd name="connsiteY15" fmla="*/ 167884 h 419161"/>
                      <a:gd name="connsiteX16" fmla="*/ 92171 w 643554"/>
                      <a:gd name="connsiteY16" fmla="*/ 169530 h 419161"/>
                      <a:gd name="connsiteX17" fmla="*/ 86685 w 643554"/>
                      <a:gd name="connsiteY17" fmla="*/ 159654 h 419161"/>
                      <a:gd name="connsiteX18" fmla="*/ 82845 w 643554"/>
                      <a:gd name="connsiteY18" fmla="*/ 155814 h 419161"/>
                      <a:gd name="connsiteX19" fmla="*/ 87234 w 643554"/>
                      <a:gd name="connsiteY19" fmla="*/ 153071 h 419161"/>
                      <a:gd name="connsiteX20" fmla="*/ 92720 w 643554"/>
                      <a:gd name="connsiteY20" fmla="*/ 153619 h 419161"/>
                      <a:gd name="connsiteX21" fmla="*/ 97109 w 643554"/>
                      <a:gd name="connsiteY21" fmla="*/ 150328 h 419161"/>
                      <a:gd name="connsiteX22" fmla="*/ 98206 w 643554"/>
                      <a:gd name="connsiteY22" fmla="*/ 146487 h 419161"/>
                      <a:gd name="connsiteX23" fmla="*/ 125090 w 643554"/>
                      <a:gd name="connsiteY23" fmla="*/ 170627 h 419161"/>
                      <a:gd name="connsiteX24" fmla="*/ 130576 w 643554"/>
                      <a:gd name="connsiteY24" fmla="*/ 172822 h 419161"/>
                      <a:gd name="connsiteX25" fmla="*/ 136611 w 643554"/>
                      <a:gd name="connsiteY25" fmla="*/ 171724 h 419161"/>
                      <a:gd name="connsiteX26" fmla="*/ 147584 w 643554"/>
                      <a:gd name="connsiteY26" fmla="*/ 173370 h 419161"/>
                      <a:gd name="connsiteX27" fmla="*/ 150327 w 643554"/>
                      <a:gd name="connsiteY27" fmla="*/ 178308 h 419161"/>
                      <a:gd name="connsiteX28" fmla="*/ 149230 w 643554"/>
                      <a:gd name="connsiteY28" fmla="*/ 183794 h 419161"/>
                      <a:gd name="connsiteX29" fmla="*/ 149779 w 643554"/>
                      <a:gd name="connsiteY29" fmla="*/ 189281 h 419161"/>
                      <a:gd name="connsiteX30" fmla="*/ 158557 w 643554"/>
                      <a:gd name="connsiteY30" fmla="*/ 195865 h 419161"/>
                      <a:gd name="connsiteX31" fmla="*/ 153070 w 643554"/>
                      <a:gd name="connsiteY31" fmla="*/ 197510 h 419161"/>
                      <a:gd name="connsiteX32" fmla="*/ 153070 w 643554"/>
                      <a:gd name="connsiteY32" fmla="*/ 202997 h 419161"/>
                      <a:gd name="connsiteX33" fmla="*/ 154168 w 643554"/>
                      <a:gd name="connsiteY33" fmla="*/ 208483 h 419161"/>
                      <a:gd name="connsiteX34" fmla="*/ 151973 w 643554"/>
                      <a:gd name="connsiteY34" fmla="*/ 213970 h 419161"/>
                      <a:gd name="connsiteX35" fmla="*/ 155265 w 643554"/>
                      <a:gd name="connsiteY35" fmla="*/ 218359 h 419161"/>
                      <a:gd name="connsiteX36" fmla="*/ 165689 w 643554"/>
                      <a:gd name="connsiteY36" fmla="*/ 223845 h 419161"/>
                      <a:gd name="connsiteX37" fmla="*/ 199156 w 643554"/>
                      <a:gd name="connsiteY37" fmla="*/ 228783 h 419161"/>
                      <a:gd name="connsiteX38" fmla="*/ 204094 w 643554"/>
                      <a:gd name="connsiteY38" fmla="*/ 226588 h 419161"/>
                      <a:gd name="connsiteX39" fmla="*/ 204643 w 643554"/>
                      <a:gd name="connsiteY39" fmla="*/ 221651 h 419161"/>
                      <a:gd name="connsiteX40" fmla="*/ 209581 w 643554"/>
                      <a:gd name="connsiteY40" fmla="*/ 218908 h 419161"/>
                      <a:gd name="connsiteX41" fmla="*/ 226040 w 643554"/>
                      <a:gd name="connsiteY41" fmla="*/ 233721 h 419161"/>
                      <a:gd name="connsiteX42" fmla="*/ 227686 w 643554"/>
                      <a:gd name="connsiteY42" fmla="*/ 239207 h 419161"/>
                      <a:gd name="connsiteX43" fmla="*/ 228783 w 643554"/>
                      <a:gd name="connsiteY43" fmla="*/ 250180 h 419161"/>
                      <a:gd name="connsiteX44" fmla="*/ 231526 w 643554"/>
                      <a:gd name="connsiteY44" fmla="*/ 255118 h 419161"/>
                      <a:gd name="connsiteX45" fmla="*/ 239756 w 643554"/>
                      <a:gd name="connsiteY45" fmla="*/ 262250 h 419161"/>
                      <a:gd name="connsiteX46" fmla="*/ 243047 w 643554"/>
                      <a:gd name="connsiteY46" fmla="*/ 273223 h 419161"/>
                      <a:gd name="connsiteX47" fmla="*/ 242499 w 643554"/>
                      <a:gd name="connsiteY47" fmla="*/ 278709 h 419161"/>
                      <a:gd name="connsiteX48" fmla="*/ 250180 w 643554"/>
                      <a:gd name="connsiteY48" fmla="*/ 293522 h 419161"/>
                      <a:gd name="connsiteX49" fmla="*/ 303398 w 643554"/>
                      <a:gd name="connsiteY49" fmla="*/ 333573 h 419161"/>
                      <a:gd name="connsiteX50" fmla="*/ 314371 w 643554"/>
                      <a:gd name="connsiteY50" fmla="*/ 334670 h 419161"/>
                      <a:gd name="connsiteX51" fmla="*/ 356616 w 643554"/>
                      <a:gd name="connsiteY51" fmla="*/ 370332 h 419161"/>
                      <a:gd name="connsiteX52" fmla="*/ 362102 w 643554"/>
                      <a:gd name="connsiteY52" fmla="*/ 370881 h 419161"/>
                      <a:gd name="connsiteX53" fmla="*/ 367040 w 643554"/>
                      <a:gd name="connsiteY53" fmla="*/ 368137 h 419161"/>
                      <a:gd name="connsiteX54" fmla="*/ 372526 w 643554"/>
                      <a:gd name="connsiteY54" fmla="*/ 367589 h 419161"/>
                      <a:gd name="connsiteX55" fmla="*/ 387889 w 643554"/>
                      <a:gd name="connsiteY55" fmla="*/ 373624 h 419161"/>
                      <a:gd name="connsiteX56" fmla="*/ 391180 w 643554"/>
                      <a:gd name="connsiteY56" fmla="*/ 378013 h 419161"/>
                      <a:gd name="connsiteX57" fmla="*/ 399958 w 643554"/>
                      <a:gd name="connsiteY57" fmla="*/ 384048 h 419161"/>
                      <a:gd name="connsiteX58" fmla="*/ 395021 w 643554"/>
                      <a:gd name="connsiteY58" fmla="*/ 393923 h 419161"/>
                      <a:gd name="connsiteX59" fmla="*/ 395569 w 643554"/>
                      <a:gd name="connsiteY59" fmla="*/ 414223 h 419161"/>
                      <a:gd name="connsiteX60" fmla="*/ 395569 w 643554"/>
                      <a:gd name="connsiteY60" fmla="*/ 414223 h 419161"/>
                      <a:gd name="connsiteX61" fmla="*/ 415321 w 643554"/>
                      <a:gd name="connsiteY61" fmla="*/ 413126 h 419161"/>
                      <a:gd name="connsiteX62" fmla="*/ 420258 w 643554"/>
                      <a:gd name="connsiteY62" fmla="*/ 415321 h 419161"/>
                      <a:gd name="connsiteX63" fmla="*/ 424647 w 643554"/>
                      <a:gd name="connsiteY63" fmla="*/ 419161 h 419161"/>
                      <a:gd name="connsiteX64" fmla="*/ 431231 w 643554"/>
                      <a:gd name="connsiteY64" fmla="*/ 416966 h 419161"/>
                      <a:gd name="connsiteX65" fmla="*/ 440009 w 643554"/>
                      <a:gd name="connsiteY65" fmla="*/ 418064 h 419161"/>
                      <a:gd name="connsiteX66" fmla="*/ 443301 w 643554"/>
                      <a:gd name="connsiteY66" fmla="*/ 416418 h 419161"/>
                      <a:gd name="connsiteX67" fmla="*/ 442204 w 643554"/>
                      <a:gd name="connsiteY67" fmla="*/ 406542 h 419161"/>
                      <a:gd name="connsiteX68" fmla="*/ 454822 w 643554"/>
                      <a:gd name="connsiteY68" fmla="*/ 385145 h 419161"/>
                      <a:gd name="connsiteX69" fmla="*/ 459212 w 643554"/>
                      <a:gd name="connsiteY69" fmla="*/ 382402 h 419161"/>
                      <a:gd name="connsiteX70" fmla="*/ 462503 w 643554"/>
                      <a:gd name="connsiteY70" fmla="*/ 378562 h 419161"/>
                      <a:gd name="connsiteX71" fmla="*/ 464149 w 643554"/>
                      <a:gd name="connsiteY71" fmla="*/ 374173 h 419161"/>
                      <a:gd name="connsiteX72" fmla="*/ 463601 w 643554"/>
                      <a:gd name="connsiteY72" fmla="*/ 369784 h 419161"/>
                      <a:gd name="connsiteX73" fmla="*/ 458663 w 643554"/>
                      <a:gd name="connsiteY73" fmla="*/ 366491 h 419161"/>
                      <a:gd name="connsiteX74" fmla="*/ 455371 w 643554"/>
                      <a:gd name="connsiteY74" fmla="*/ 361554 h 419161"/>
                      <a:gd name="connsiteX75" fmla="*/ 452079 w 643554"/>
                      <a:gd name="connsiteY75" fmla="*/ 350581 h 419161"/>
                      <a:gd name="connsiteX76" fmla="*/ 455920 w 643554"/>
                      <a:gd name="connsiteY76" fmla="*/ 340157 h 419161"/>
                      <a:gd name="connsiteX77" fmla="*/ 454274 w 643554"/>
                      <a:gd name="connsiteY77" fmla="*/ 335219 h 419161"/>
                      <a:gd name="connsiteX78" fmla="*/ 449885 w 643554"/>
                      <a:gd name="connsiteY78" fmla="*/ 331927 h 419161"/>
                      <a:gd name="connsiteX79" fmla="*/ 443850 w 643554"/>
                      <a:gd name="connsiteY79" fmla="*/ 333025 h 419161"/>
                      <a:gd name="connsiteX80" fmla="*/ 438363 w 643554"/>
                      <a:gd name="connsiteY80" fmla="*/ 331927 h 419161"/>
                      <a:gd name="connsiteX81" fmla="*/ 436169 w 643554"/>
                      <a:gd name="connsiteY81" fmla="*/ 326441 h 419161"/>
                      <a:gd name="connsiteX82" fmla="*/ 427390 w 643554"/>
                      <a:gd name="connsiteY82" fmla="*/ 318760 h 419161"/>
                      <a:gd name="connsiteX83" fmla="*/ 432328 w 643554"/>
                      <a:gd name="connsiteY83" fmla="*/ 316017 h 419161"/>
                      <a:gd name="connsiteX84" fmla="*/ 431231 w 643554"/>
                      <a:gd name="connsiteY84" fmla="*/ 310530 h 419161"/>
                      <a:gd name="connsiteX85" fmla="*/ 434523 w 643554"/>
                      <a:gd name="connsiteY85" fmla="*/ 306141 h 419161"/>
                      <a:gd name="connsiteX86" fmla="*/ 444947 w 643554"/>
                      <a:gd name="connsiteY86" fmla="*/ 302301 h 419161"/>
                      <a:gd name="connsiteX87" fmla="*/ 448787 w 643554"/>
                      <a:gd name="connsiteY87" fmla="*/ 306141 h 419161"/>
                      <a:gd name="connsiteX88" fmla="*/ 465247 w 643554"/>
                      <a:gd name="connsiteY88" fmla="*/ 307238 h 419161"/>
                      <a:gd name="connsiteX89" fmla="*/ 470185 w 643554"/>
                      <a:gd name="connsiteY89" fmla="*/ 305044 h 419161"/>
                      <a:gd name="connsiteX90" fmla="*/ 478414 w 643554"/>
                      <a:gd name="connsiteY90" fmla="*/ 290231 h 419161"/>
                      <a:gd name="connsiteX91" fmla="*/ 478963 w 643554"/>
                      <a:gd name="connsiteY91" fmla="*/ 284195 h 419161"/>
                      <a:gd name="connsiteX92" fmla="*/ 483901 w 643554"/>
                      <a:gd name="connsiteY92" fmla="*/ 281452 h 419161"/>
                      <a:gd name="connsiteX93" fmla="*/ 494325 w 643554"/>
                      <a:gd name="connsiteY93" fmla="*/ 279806 h 419161"/>
                      <a:gd name="connsiteX94" fmla="*/ 498165 w 643554"/>
                      <a:gd name="connsiteY94" fmla="*/ 276515 h 419161"/>
                      <a:gd name="connsiteX95" fmla="*/ 500360 w 643554"/>
                      <a:gd name="connsiteY95" fmla="*/ 271028 h 419161"/>
                      <a:gd name="connsiteX96" fmla="*/ 499811 w 643554"/>
                      <a:gd name="connsiteY96" fmla="*/ 265542 h 419161"/>
                      <a:gd name="connsiteX97" fmla="*/ 497617 w 643554"/>
                      <a:gd name="connsiteY97" fmla="*/ 261153 h 419161"/>
                      <a:gd name="connsiteX98" fmla="*/ 501457 w 643554"/>
                      <a:gd name="connsiteY98" fmla="*/ 257312 h 419161"/>
                      <a:gd name="connsiteX99" fmla="*/ 502554 w 643554"/>
                      <a:gd name="connsiteY99" fmla="*/ 252374 h 419161"/>
                      <a:gd name="connsiteX100" fmla="*/ 507492 w 643554"/>
                      <a:gd name="connsiteY100" fmla="*/ 249631 h 419161"/>
                      <a:gd name="connsiteX101" fmla="*/ 511881 w 643554"/>
                      <a:gd name="connsiteY101" fmla="*/ 252923 h 419161"/>
                      <a:gd name="connsiteX102" fmla="*/ 516819 w 643554"/>
                      <a:gd name="connsiteY102" fmla="*/ 252374 h 419161"/>
                      <a:gd name="connsiteX103" fmla="*/ 536570 w 643554"/>
                      <a:gd name="connsiteY103" fmla="*/ 241950 h 419161"/>
                      <a:gd name="connsiteX104" fmla="*/ 539313 w 643554"/>
                      <a:gd name="connsiteY104" fmla="*/ 237013 h 419161"/>
                      <a:gd name="connsiteX105" fmla="*/ 543154 w 643554"/>
                      <a:gd name="connsiteY105" fmla="*/ 233172 h 419161"/>
                      <a:gd name="connsiteX106" fmla="*/ 548640 w 643554"/>
                      <a:gd name="connsiteY106" fmla="*/ 233721 h 419161"/>
                      <a:gd name="connsiteX107" fmla="*/ 549189 w 643554"/>
                      <a:gd name="connsiteY107" fmla="*/ 239207 h 419161"/>
                      <a:gd name="connsiteX108" fmla="*/ 553029 w 643554"/>
                      <a:gd name="connsiteY108" fmla="*/ 243596 h 419161"/>
                      <a:gd name="connsiteX109" fmla="*/ 553578 w 643554"/>
                      <a:gd name="connsiteY109" fmla="*/ 249083 h 419161"/>
                      <a:gd name="connsiteX110" fmla="*/ 550834 w 643554"/>
                      <a:gd name="connsiteY110" fmla="*/ 254020 h 419161"/>
                      <a:gd name="connsiteX111" fmla="*/ 545348 w 643554"/>
                      <a:gd name="connsiteY111" fmla="*/ 255666 h 419161"/>
                      <a:gd name="connsiteX112" fmla="*/ 542056 w 643554"/>
                      <a:gd name="connsiteY112" fmla="*/ 260056 h 419161"/>
                      <a:gd name="connsiteX113" fmla="*/ 547543 w 643554"/>
                      <a:gd name="connsiteY113" fmla="*/ 275417 h 419161"/>
                      <a:gd name="connsiteX114" fmla="*/ 553029 w 643554"/>
                      <a:gd name="connsiteY114" fmla="*/ 274320 h 419161"/>
                      <a:gd name="connsiteX115" fmla="*/ 558515 w 643554"/>
                      <a:gd name="connsiteY115" fmla="*/ 272125 h 419161"/>
                      <a:gd name="connsiteX116" fmla="*/ 574975 w 643554"/>
                      <a:gd name="connsiteY116" fmla="*/ 271577 h 419161"/>
                      <a:gd name="connsiteX117" fmla="*/ 585399 w 643554"/>
                      <a:gd name="connsiteY117" fmla="*/ 275966 h 419161"/>
                      <a:gd name="connsiteX118" fmla="*/ 596372 w 643554"/>
                      <a:gd name="connsiteY118" fmla="*/ 274320 h 419161"/>
                      <a:gd name="connsiteX119" fmla="*/ 600761 w 643554"/>
                      <a:gd name="connsiteY119" fmla="*/ 270479 h 419161"/>
                      <a:gd name="connsiteX120" fmla="*/ 602955 w 643554"/>
                      <a:gd name="connsiteY120" fmla="*/ 265542 h 419161"/>
                      <a:gd name="connsiteX121" fmla="*/ 607893 w 643554"/>
                      <a:gd name="connsiteY121" fmla="*/ 262799 h 419161"/>
                      <a:gd name="connsiteX122" fmla="*/ 613379 w 643554"/>
                      <a:gd name="connsiteY122" fmla="*/ 262799 h 419161"/>
                      <a:gd name="connsiteX123" fmla="*/ 616671 w 643554"/>
                      <a:gd name="connsiteY123" fmla="*/ 258409 h 419161"/>
                      <a:gd name="connsiteX124" fmla="*/ 622158 w 643554"/>
                      <a:gd name="connsiteY124" fmla="*/ 260056 h 419161"/>
                      <a:gd name="connsiteX125" fmla="*/ 627095 w 643554"/>
                      <a:gd name="connsiteY125" fmla="*/ 257312 h 419161"/>
                      <a:gd name="connsiteX126" fmla="*/ 629290 w 643554"/>
                      <a:gd name="connsiteY126" fmla="*/ 252374 h 419161"/>
                      <a:gd name="connsiteX127" fmla="*/ 640263 w 643554"/>
                      <a:gd name="connsiteY127" fmla="*/ 249083 h 419161"/>
                      <a:gd name="connsiteX128" fmla="*/ 643555 w 643554"/>
                      <a:gd name="connsiteY128" fmla="*/ 244693 h 419161"/>
                      <a:gd name="connsiteX129" fmla="*/ 638617 w 643554"/>
                      <a:gd name="connsiteY129" fmla="*/ 241950 h 419161"/>
                      <a:gd name="connsiteX130" fmla="*/ 633130 w 643554"/>
                      <a:gd name="connsiteY130" fmla="*/ 243596 h 419161"/>
                      <a:gd name="connsiteX131" fmla="*/ 622706 w 643554"/>
                      <a:gd name="connsiteY131" fmla="*/ 240853 h 419161"/>
                      <a:gd name="connsiteX132" fmla="*/ 614477 w 643554"/>
                      <a:gd name="connsiteY132" fmla="*/ 233172 h 419161"/>
                      <a:gd name="connsiteX133" fmla="*/ 608990 w 643554"/>
                      <a:gd name="connsiteY133" fmla="*/ 233721 h 419161"/>
                      <a:gd name="connsiteX134" fmla="*/ 595274 w 643554"/>
                      <a:gd name="connsiteY134" fmla="*/ 223845 h 419161"/>
                      <a:gd name="connsiteX135" fmla="*/ 595274 w 643554"/>
                      <a:gd name="connsiteY135" fmla="*/ 218359 h 419161"/>
                      <a:gd name="connsiteX136" fmla="*/ 591982 w 643554"/>
                      <a:gd name="connsiteY136" fmla="*/ 213970 h 419161"/>
                      <a:gd name="connsiteX137" fmla="*/ 587045 w 643554"/>
                      <a:gd name="connsiteY137" fmla="*/ 211226 h 419161"/>
                      <a:gd name="connsiteX138" fmla="*/ 583753 w 643554"/>
                      <a:gd name="connsiteY138" fmla="*/ 221651 h 419161"/>
                      <a:gd name="connsiteX139" fmla="*/ 578815 w 643554"/>
                      <a:gd name="connsiteY139" fmla="*/ 224942 h 419161"/>
                      <a:gd name="connsiteX140" fmla="*/ 577169 w 643554"/>
                      <a:gd name="connsiteY140" fmla="*/ 229880 h 419161"/>
                      <a:gd name="connsiteX141" fmla="*/ 571683 w 643554"/>
                      <a:gd name="connsiteY141" fmla="*/ 229880 h 419161"/>
                      <a:gd name="connsiteX142" fmla="*/ 556321 w 643554"/>
                      <a:gd name="connsiteY142" fmla="*/ 223297 h 419161"/>
                      <a:gd name="connsiteX143" fmla="*/ 550286 w 643554"/>
                      <a:gd name="connsiteY143" fmla="*/ 213970 h 419161"/>
                      <a:gd name="connsiteX144" fmla="*/ 545348 w 643554"/>
                      <a:gd name="connsiteY144" fmla="*/ 216713 h 419161"/>
                      <a:gd name="connsiteX145" fmla="*/ 540959 w 643554"/>
                      <a:gd name="connsiteY145" fmla="*/ 213421 h 419161"/>
                      <a:gd name="connsiteX146" fmla="*/ 535473 w 643554"/>
                      <a:gd name="connsiteY146" fmla="*/ 211226 h 419161"/>
                      <a:gd name="connsiteX147" fmla="*/ 536021 w 643554"/>
                      <a:gd name="connsiteY147" fmla="*/ 205740 h 419161"/>
                      <a:gd name="connsiteX148" fmla="*/ 561259 w 643554"/>
                      <a:gd name="connsiteY148" fmla="*/ 183246 h 419161"/>
                      <a:gd name="connsiteX149" fmla="*/ 571683 w 643554"/>
                      <a:gd name="connsiteY149" fmla="*/ 178308 h 419161"/>
                      <a:gd name="connsiteX150" fmla="*/ 570037 w 643554"/>
                      <a:gd name="connsiteY150" fmla="*/ 172822 h 419161"/>
                      <a:gd name="connsiteX151" fmla="*/ 558515 w 643554"/>
                      <a:gd name="connsiteY151" fmla="*/ 169530 h 419161"/>
                      <a:gd name="connsiteX152" fmla="*/ 556870 w 643554"/>
                      <a:gd name="connsiteY152" fmla="*/ 174467 h 419161"/>
                      <a:gd name="connsiteX153" fmla="*/ 549737 w 643554"/>
                      <a:gd name="connsiteY153" fmla="*/ 182697 h 419161"/>
                      <a:gd name="connsiteX154" fmla="*/ 544251 w 643554"/>
                      <a:gd name="connsiteY154" fmla="*/ 184343 h 419161"/>
                      <a:gd name="connsiteX155" fmla="*/ 539313 w 643554"/>
                      <a:gd name="connsiteY155" fmla="*/ 182697 h 419161"/>
                      <a:gd name="connsiteX156" fmla="*/ 534924 w 643554"/>
                      <a:gd name="connsiteY156" fmla="*/ 192573 h 419161"/>
                      <a:gd name="connsiteX157" fmla="*/ 530535 w 643554"/>
                      <a:gd name="connsiteY157" fmla="*/ 196962 h 419161"/>
                      <a:gd name="connsiteX158" fmla="*/ 505297 w 643554"/>
                      <a:gd name="connsiteY158" fmla="*/ 208483 h 419161"/>
                      <a:gd name="connsiteX159" fmla="*/ 502006 w 643554"/>
                      <a:gd name="connsiteY159" fmla="*/ 213421 h 419161"/>
                      <a:gd name="connsiteX160" fmla="*/ 492130 w 643554"/>
                      <a:gd name="connsiteY160" fmla="*/ 218359 h 419161"/>
                      <a:gd name="connsiteX161" fmla="*/ 487741 w 643554"/>
                      <a:gd name="connsiteY161" fmla="*/ 228783 h 419161"/>
                      <a:gd name="connsiteX162" fmla="*/ 478414 w 643554"/>
                      <a:gd name="connsiteY162" fmla="*/ 234269 h 419161"/>
                      <a:gd name="connsiteX163" fmla="*/ 447142 w 643554"/>
                      <a:gd name="connsiteY163" fmla="*/ 222199 h 419161"/>
                      <a:gd name="connsiteX164" fmla="*/ 408737 w 643554"/>
                      <a:gd name="connsiteY164" fmla="*/ 226040 h 419161"/>
                      <a:gd name="connsiteX165" fmla="*/ 402153 w 643554"/>
                      <a:gd name="connsiteY165" fmla="*/ 194219 h 419161"/>
                      <a:gd name="connsiteX166" fmla="*/ 379659 w 643554"/>
                      <a:gd name="connsiteY166" fmla="*/ 190378 h 419161"/>
                      <a:gd name="connsiteX167" fmla="*/ 379110 w 643554"/>
                      <a:gd name="connsiteY167" fmla="*/ 170078 h 419161"/>
                      <a:gd name="connsiteX168" fmla="*/ 384597 w 643554"/>
                      <a:gd name="connsiteY168" fmla="*/ 169530 h 419161"/>
                      <a:gd name="connsiteX169" fmla="*/ 383499 w 643554"/>
                      <a:gd name="connsiteY169" fmla="*/ 140452 h 419161"/>
                      <a:gd name="connsiteX170" fmla="*/ 374721 w 643554"/>
                      <a:gd name="connsiteY170" fmla="*/ 141001 h 419161"/>
                      <a:gd name="connsiteX171" fmla="*/ 362651 w 643554"/>
                      <a:gd name="connsiteY171" fmla="*/ 118506 h 419161"/>
                      <a:gd name="connsiteX172" fmla="*/ 336865 w 643554"/>
                      <a:gd name="connsiteY172" fmla="*/ 97658 h 419161"/>
                      <a:gd name="connsiteX173" fmla="*/ 326989 w 643554"/>
                      <a:gd name="connsiteY173" fmla="*/ 102047 h 419161"/>
                      <a:gd name="connsiteX174" fmla="*/ 226588 w 643554"/>
                      <a:gd name="connsiteY174" fmla="*/ 109728 h 419161"/>
                      <a:gd name="connsiteX175" fmla="*/ 96561 w 643554"/>
                      <a:gd name="connsiteY175" fmla="*/ 0 h 419161"/>
                      <a:gd name="connsiteX176" fmla="*/ 0 w 643554"/>
                      <a:gd name="connsiteY176" fmla="*/ 34016 h 4191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  <a:cxn ang="0">
                        <a:pos x="connsiteX81" y="connsiteY81"/>
                      </a:cxn>
                      <a:cxn ang="0">
                        <a:pos x="connsiteX82" y="connsiteY82"/>
                      </a:cxn>
                      <a:cxn ang="0">
                        <a:pos x="connsiteX83" y="connsiteY83"/>
                      </a:cxn>
                      <a:cxn ang="0">
                        <a:pos x="connsiteX84" y="connsiteY84"/>
                      </a:cxn>
                      <a:cxn ang="0">
                        <a:pos x="connsiteX85" y="connsiteY85"/>
                      </a:cxn>
                      <a:cxn ang="0">
                        <a:pos x="connsiteX86" y="connsiteY86"/>
                      </a:cxn>
                      <a:cxn ang="0">
                        <a:pos x="connsiteX87" y="connsiteY87"/>
                      </a:cxn>
                      <a:cxn ang="0">
                        <a:pos x="connsiteX88" y="connsiteY88"/>
                      </a:cxn>
                      <a:cxn ang="0">
                        <a:pos x="connsiteX89" y="connsiteY89"/>
                      </a:cxn>
                      <a:cxn ang="0">
                        <a:pos x="connsiteX90" y="connsiteY90"/>
                      </a:cxn>
                      <a:cxn ang="0">
                        <a:pos x="connsiteX91" y="connsiteY91"/>
                      </a:cxn>
                      <a:cxn ang="0">
                        <a:pos x="connsiteX92" y="connsiteY92"/>
                      </a:cxn>
                      <a:cxn ang="0">
                        <a:pos x="connsiteX93" y="connsiteY93"/>
                      </a:cxn>
                      <a:cxn ang="0">
                        <a:pos x="connsiteX94" y="connsiteY94"/>
                      </a:cxn>
                      <a:cxn ang="0">
                        <a:pos x="connsiteX95" y="connsiteY95"/>
                      </a:cxn>
                      <a:cxn ang="0">
                        <a:pos x="connsiteX96" y="connsiteY96"/>
                      </a:cxn>
                      <a:cxn ang="0">
                        <a:pos x="connsiteX97" y="connsiteY97"/>
                      </a:cxn>
                      <a:cxn ang="0">
                        <a:pos x="connsiteX98" y="connsiteY98"/>
                      </a:cxn>
                      <a:cxn ang="0">
                        <a:pos x="connsiteX99" y="connsiteY99"/>
                      </a:cxn>
                      <a:cxn ang="0">
                        <a:pos x="connsiteX100" y="connsiteY100"/>
                      </a:cxn>
                      <a:cxn ang="0">
                        <a:pos x="connsiteX101" y="connsiteY101"/>
                      </a:cxn>
                      <a:cxn ang="0">
                        <a:pos x="connsiteX102" y="connsiteY102"/>
                      </a:cxn>
                      <a:cxn ang="0">
                        <a:pos x="connsiteX103" y="connsiteY103"/>
                      </a:cxn>
                      <a:cxn ang="0">
                        <a:pos x="connsiteX104" y="connsiteY104"/>
                      </a:cxn>
                      <a:cxn ang="0">
                        <a:pos x="connsiteX105" y="connsiteY105"/>
                      </a:cxn>
                      <a:cxn ang="0">
                        <a:pos x="connsiteX106" y="connsiteY106"/>
                      </a:cxn>
                      <a:cxn ang="0">
                        <a:pos x="connsiteX107" y="connsiteY107"/>
                      </a:cxn>
                      <a:cxn ang="0">
                        <a:pos x="connsiteX108" y="connsiteY108"/>
                      </a:cxn>
                      <a:cxn ang="0">
                        <a:pos x="connsiteX109" y="connsiteY109"/>
                      </a:cxn>
                      <a:cxn ang="0">
                        <a:pos x="connsiteX110" y="connsiteY110"/>
                      </a:cxn>
                      <a:cxn ang="0">
                        <a:pos x="connsiteX111" y="connsiteY111"/>
                      </a:cxn>
                      <a:cxn ang="0">
                        <a:pos x="connsiteX112" y="connsiteY112"/>
                      </a:cxn>
                      <a:cxn ang="0">
                        <a:pos x="connsiteX113" y="connsiteY113"/>
                      </a:cxn>
                      <a:cxn ang="0">
                        <a:pos x="connsiteX114" y="connsiteY114"/>
                      </a:cxn>
                      <a:cxn ang="0">
                        <a:pos x="connsiteX115" y="connsiteY115"/>
                      </a:cxn>
                      <a:cxn ang="0">
                        <a:pos x="connsiteX116" y="connsiteY116"/>
                      </a:cxn>
                      <a:cxn ang="0">
                        <a:pos x="connsiteX117" y="connsiteY117"/>
                      </a:cxn>
                      <a:cxn ang="0">
                        <a:pos x="connsiteX118" y="connsiteY118"/>
                      </a:cxn>
                      <a:cxn ang="0">
                        <a:pos x="connsiteX119" y="connsiteY119"/>
                      </a:cxn>
                      <a:cxn ang="0">
                        <a:pos x="connsiteX120" y="connsiteY120"/>
                      </a:cxn>
                      <a:cxn ang="0">
                        <a:pos x="connsiteX121" y="connsiteY121"/>
                      </a:cxn>
                      <a:cxn ang="0">
                        <a:pos x="connsiteX122" y="connsiteY122"/>
                      </a:cxn>
                      <a:cxn ang="0">
                        <a:pos x="connsiteX123" y="connsiteY123"/>
                      </a:cxn>
                      <a:cxn ang="0">
                        <a:pos x="connsiteX124" y="connsiteY124"/>
                      </a:cxn>
                      <a:cxn ang="0">
                        <a:pos x="connsiteX125" y="connsiteY125"/>
                      </a:cxn>
                      <a:cxn ang="0">
                        <a:pos x="connsiteX126" y="connsiteY126"/>
                      </a:cxn>
                      <a:cxn ang="0">
                        <a:pos x="connsiteX127" y="connsiteY127"/>
                      </a:cxn>
                      <a:cxn ang="0">
                        <a:pos x="connsiteX128" y="connsiteY128"/>
                      </a:cxn>
                      <a:cxn ang="0">
                        <a:pos x="connsiteX129" y="connsiteY129"/>
                      </a:cxn>
                      <a:cxn ang="0">
                        <a:pos x="connsiteX130" y="connsiteY130"/>
                      </a:cxn>
                      <a:cxn ang="0">
                        <a:pos x="connsiteX131" y="connsiteY131"/>
                      </a:cxn>
                      <a:cxn ang="0">
                        <a:pos x="connsiteX132" y="connsiteY132"/>
                      </a:cxn>
                      <a:cxn ang="0">
                        <a:pos x="connsiteX133" y="connsiteY133"/>
                      </a:cxn>
                      <a:cxn ang="0">
                        <a:pos x="connsiteX134" y="connsiteY134"/>
                      </a:cxn>
                      <a:cxn ang="0">
                        <a:pos x="connsiteX135" y="connsiteY135"/>
                      </a:cxn>
                      <a:cxn ang="0">
                        <a:pos x="connsiteX136" y="connsiteY136"/>
                      </a:cxn>
                      <a:cxn ang="0">
                        <a:pos x="connsiteX137" y="connsiteY137"/>
                      </a:cxn>
                      <a:cxn ang="0">
                        <a:pos x="connsiteX138" y="connsiteY138"/>
                      </a:cxn>
                      <a:cxn ang="0">
                        <a:pos x="connsiteX139" y="connsiteY139"/>
                      </a:cxn>
                      <a:cxn ang="0">
                        <a:pos x="connsiteX140" y="connsiteY140"/>
                      </a:cxn>
                      <a:cxn ang="0">
                        <a:pos x="connsiteX141" y="connsiteY141"/>
                      </a:cxn>
                      <a:cxn ang="0">
                        <a:pos x="connsiteX142" y="connsiteY142"/>
                      </a:cxn>
                      <a:cxn ang="0">
                        <a:pos x="connsiteX143" y="connsiteY143"/>
                      </a:cxn>
                      <a:cxn ang="0">
                        <a:pos x="connsiteX144" y="connsiteY144"/>
                      </a:cxn>
                      <a:cxn ang="0">
                        <a:pos x="connsiteX145" y="connsiteY145"/>
                      </a:cxn>
                      <a:cxn ang="0">
                        <a:pos x="connsiteX146" y="connsiteY146"/>
                      </a:cxn>
                      <a:cxn ang="0">
                        <a:pos x="connsiteX147" y="connsiteY147"/>
                      </a:cxn>
                      <a:cxn ang="0">
                        <a:pos x="connsiteX148" y="connsiteY148"/>
                      </a:cxn>
                      <a:cxn ang="0">
                        <a:pos x="connsiteX149" y="connsiteY149"/>
                      </a:cxn>
                      <a:cxn ang="0">
                        <a:pos x="connsiteX150" y="connsiteY150"/>
                      </a:cxn>
                      <a:cxn ang="0">
                        <a:pos x="connsiteX151" y="connsiteY151"/>
                      </a:cxn>
                      <a:cxn ang="0">
                        <a:pos x="connsiteX152" y="connsiteY152"/>
                      </a:cxn>
                      <a:cxn ang="0">
                        <a:pos x="connsiteX153" y="connsiteY153"/>
                      </a:cxn>
                      <a:cxn ang="0">
                        <a:pos x="connsiteX154" y="connsiteY154"/>
                      </a:cxn>
                      <a:cxn ang="0">
                        <a:pos x="connsiteX155" y="connsiteY155"/>
                      </a:cxn>
                      <a:cxn ang="0">
                        <a:pos x="connsiteX156" y="connsiteY156"/>
                      </a:cxn>
                      <a:cxn ang="0">
                        <a:pos x="connsiteX157" y="connsiteY157"/>
                      </a:cxn>
                      <a:cxn ang="0">
                        <a:pos x="connsiteX158" y="connsiteY158"/>
                      </a:cxn>
                      <a:cxn ang="0">
                        <a:pos x="connsiteX159" y="connsiteY159"/>
                      </a:cxn>
                      <a:cxn ang="0">
                        <a:pos x="connsiteX160" y="connsiteY160"/>
                      </a:cxn>
                      <a:cxn ang="0">
                        <a:pos x="connsiteX161" y="connsiteY161"/>
                      </a:cxn>
                      <a:cxn ang="0">
                        <a:pos x="connsiteX162" y="connsiteY162"/>
                      </a:cxn>
                      <a:cxn ang="0">
                        <a:pos x="connsiteX163" y="connsiteY163"/>
                      </a:cxn>
                      <a:cxn ang="0">
                        <a:pos x="connsiteX164" y="connsiteY164"/>
                      </a:cxn>
                      <a:cxn ang="0">
                        <a:pos x="connsiteX165" y="connsiteY165"/>
                      </a:cxn>
                      <a:cxn ang="0">
                        <a:pos x="connsiteX166" y="connsiteY166"/>
                      </a:cxn>
                      <a:cxn ang="0">
                        <a:pos x="connsiteX167" y="connsiteY167"/>
                      </a:cxn>
                      <a:cxn ang="0">
                        <a:pos x="connsiteX168" y="connsiteY168"/>
                      </a:cxn>
                      <a:cxn ang="0">
                        <a:pos x="connsiteX169" y="connsiteY169"/>
                      </a:cxn>
                      <a:cxn ang="0">
                        <a:pos x="connsiteX170" y="connsiteY170"/>
                      </a:cxn>
                      <a:cxn ang="0">
                        <a:pos x="connsiteX171" y="connsiteY171"/>
                      </a:cxn>
                      <a:cxn ang="0">
                        <a:pos x="connsiteX172" y="connsiteY172"/>
                      </a:cxn>
                      <a:cxn ang="0">
                        <a:pos x="connsiteX173" y="connsiteY173"/>
                      </a:cxn>
                      <a:cxn ang="0">
                        <a:pos x="connsiteX174" y="connsiteY174"/>
                      </a:cxn>
                      <a:cxn ang="0">
                        <a:pos x="connsiteX175" y="connsiteY175"/>
                      </a:cxn>
                      <a:cxn ang="0">
                        <a:pos x="connsiteX176" y="connsiteY176"/>
                      </a:cxn>
                    </a:cxnLst>
                    <a:rect l="l" t="t" r="r" b="b"/>
                    <a:pathLst>
                      <a:path w="643554" h="419161">
                        <a:moveTo>
                          <a:pt x="0" y="34016"/>
                        </a:moveTo>
                        <a:lnTo>
                          <a:pt x="0" y="219456"/>
                        </a:lnTo>
                        <a:lnTo>
                          <a:pt x="36759" y="224942"/>
                        </a:lnTo>
                        <a:lnTo>
                          <a:pt x="42245" y="221651"/>
                        </a:lnTo>
                        <a:lnTo>
                          <a:pt x="38405" y="211775"/>
                        </a:lnTo>
                        <a:lnTo>
                          <a:pt x="38405" y="206289"/>
                        </a:lnTo>
                        <a:lnTo>
                          <a:pt x="35662" y="195316"/>
                        </a:lnTo>
                        <a:lnTo>
                          <a:pt x="38405" y="190927"/>
                        </a:lnTo>
                        <a:lnTo>
                          <a:pt x="42245" y="187635"/>
                        </a:lnTo>
                        <a:lnTo>
                          <a:pt x="49378" y="178308"/>
                        </a:lnTo>
                        <a:lnTo>
                          <a:pt x="65837" y="176662"/>
                        </a:lnTo>
                        <a:lnTo>
                          <a:pt x="70774" y="174467"/>
                        </a:lnTo>
                        <a:lnTo>
                          <a:pt x="72969" y="169530"/>
                        </a:lnTo>
                        <a:lnTo>
                          <a:pt x="72969" y="164044"/>
                        </a:lnTo>
                        <a:lnTo>
                          <a:pt x="77907" y="161300"/>
                        </a:lnTo>
                        <a:lnTo>
                          <a:pt x="86685" y="167884"/>
                        </a:lnTo>
                        <a:lnTo>
                          <a:pt x="92171" y="169530"/>
                        </a:lnTo>
                        <a:lnTo>
                          <a:pt x="86685" y="159654"/>
                        </a:lnTo>
                        <a:lnTo>
                          <a:pt x="82845" y="155814"/>
                        </a:lnTo>
                        <a:lnTo>
                          <a:pt x="87234" y="153071"/>
                        </a:lnTo>
                        <a:lnTo>
                          <a:pt x="92720" y="153619"/>
                        </a:lnTo>
                        <a:lnTo>
                          <a:pt x="97109" y="150328"/>
                        </a:lnTo>
                        <a:lnTo>
                          <a:pt x="98206" y="146487"/>
                        </a:lnTo>
                        <a:lnTo>
                          <a:pt x="125090" y="170627"/>
                        </a:lnTo>
                        <a:lnTo>
                          <a:pt x="130576" y="172822"/>
                        </a:lnTo>
                        <a:lnTo>
                          <a:pt x="136611" y="171724"/>
                        </a:lnTo>
                        <a:lnTo>
                          <a:pt x="147584" y="173370"/>
                        </a:lnTo>
                        <a:lnTo>
                          <a:pt x="150327" y="178308"/>
                        </a:lnTo>
                        <a:lnTo>
                          <a:pt x="149230" y="183794"/>
                        </a:lnTo>
                        <a:lnTo>
                          <a:pt x="149779" y="189281"/>
                        </a:lnTo>
                        <a:lnTo>
                          <a:pt x="158557" y="195865"/>
                        </a:lnTo>
                        <a:lnTo>
                          <a:pt x="153070" y="197510"/>
                        </a:lnTo>
                        <a:lnTo>
                          <a:pt x="153070" y="202997"/>
                        </a:lnTo>
                        <a:lnTo>
                          <a:pt x="154168" y="208483"/>
                        </a:lnTo>
                        <a:lnTo>
                          <a:pt x="151973" y="213970"/>
                        </a:lnTo>
                        <a:lnTo>
                          <a:pt x="155265" y="218359"/>
                        </a:lnTo>
                        <a:lnTo>
                          <a:pt x="165689" y="223845"/>
                        </a:lnTo>
                        <a:lnTo>
                          <a:pt x="199156" y="228783"/>
                        </a:lnTo>
                        <a:lnTo>
                          <a:pt x="204094" y="226588"/>
                        </a:lnTo>
                        <a:lnTo>
                          <a:pt x="204643" y="221651"/>
                        </a:lnTo>
                        <a:lnTo>
                          <a:pt x="209581" y="218908"/>
                        </a:lnTo>
                        <a:lnTo>
                          <a:pt x="226040" y="233721"/>
                        </a:lnTo>
                        <a:lnTo>
                          <a:pt x="227686" y="239207"/>
                        </a:lnTo>
                        <a:lnTo>
                          <a:pt x="228783" y="250180"/>
                        </a:lnTo>
                        <a:lnTo>
                          <a:pt x="231526" y="255118"/>
                        </a:lnTo>
                        <a:lnTo>
                          <a:pt x="239756" y="262250"/>
                        </a:lnTo>
                        <a:lnTo>
                          <a:pt x="243047" y="273223"/>
                        </a:lnTo>
                        <a:lnTo>
                          <a:pt x="242499" y="278709"/>
                        </a:lnTo>
                        <a:lnTo>
                          <a:pt x="250180" y="293522"/>
                        </a:lnTo>
                        <a:lnTo>
                          <a:pt x="303398" y="333573"/>
                        </a:lnTo>
                        <a:lnTo>
                          <a:pt x="314371" y="334670"/>
                        </a:lnTo>
                        <a:lnTo>
                          <a:pt x="356616" y="370332"/>
                        </a:lnTo>
                        <a:lnTo>
                          <a:pt x="362102" y="370881"/>
                        </a:lnTo>
                        <a:lnTo>
                          <a:pt x="367040" y="368137"/>
                        </a:lnTo>
                        <a:lnTo>
                          <a:pt x="372526" y="367589"/>
                        </a:lnTo>
                        <a:lnTo>
                          <a:pt x="387889" y="373624"/>
                        </a:lnTo>
                        <a:lnTo>
                          <a:pt x="391180" y="378013"/>
                        </a:lnTo>
                        <a:lnTo>
                          <a:pt x="399958" y="384048"/>
                        </a:lnTo>
                        <a:lnTo>
                          <a:pt x="395021" y="393923"/>
                        </a:lnTo>
                        <a:lnTo>
                          <a:pt x="395569" y="414223"/>
                        </a:lnTo>
                        <a:lnTo>
                          <a:pt x="395569" y="414223"/>
                        </a:lnTo>
                        <a:lnTo>
                          <a:pt x="415321" y="413126"/>
                        </a:lnTo>
                        <a:lnTo>
                          <a:pt x="420258" y="415321"/>
                        </a:lnTo>
                        <a:lnTo>
                          <a:pt x="424647" y="419161"/>
                        </a:lnTo>
                        <a:lnTo>
                          <a:pt x="431231" y="416966"/>
                        </a:lnTo>
                        <a:lnTo>
                          <a:pt x="440009" y="418064"/>
                        </a:lnTo>
                        <a:lnTo>
                          <a:pt x="443301" y="416418"/>
                        </a:lnTo>
                        <a:lnTo>
                          <a:pt x="442204" y="406542"/>
                        </a:lnTo>
                        <a:lnTo>
                          <a:pt x="454822" y="385145"/>
                        </a:lnTo>
                        <a:lnTo>
                          <a:pt x="459212" y="382402"/>
                        </a:lnTo>
                        <a:lnTo>
                          <a:pt x="462503" y="378562"/>
                        </a:lnTo>
                        <a:lnTo>
                          <a:pt x="464149" y="374173"/>
                        </a:lnTo>
                        <a:lnTo>
                          <a:pt x="463601" y="369784"/>
                        </a:lnTo>
                        <a:lnTo>
                          <a:pt x="458663" y="366491"/>
                        </a:lnTo>
                        <a:lnTo>
                          <a:pt x="455371" y="361554"/>
                        </a:lnTo>
                        <a:lnTo>
                          <a:pt x="452079" y="350581"/>
                        </a:lnTo>
                        <a:lnTo>
                          <a:pt x="455920" y="340157"/>
                        </a:lnTo>
                        <a:lnTo>
                          <a:pt x="454274" y="335219"/>
                        </a:lnTo>
                        <a:lnTo>
                          <a:pt x="449885" y="331927"/>
                        </a:lnTo>
                        <a:lnTo>
                          <a:pt x="443850" y="333025"/>
                        </a:lnTo>
                        <a:lnTo>
                          <a:pt x="438363" y="331927"/>
                        </a:lnTo>
                        <a:lnTo>
                          <a:pt x="436169" y="326441"/>
                        </a:lnTo>
                        <a:lnTo>
                          <a:pt x="427390" y="318760"/>
                        </a:lnTo>
                        <a:lnTo>
                          <a:pt x="432328" y="316017"/>
                        </a:lnTo>
                        <a:lnTo>
                          <a:pt x="431231" y="310530"/>
                        </a:lnTo>
                        <a:lnTo>
                          <a:pt x="434523" y="306141"/>
                        </a:lnTo>
                        <a:lnTo>
                          <a:pt x="444947" y="302301"/>
                        </a:lnTo>
                        <a:lnTo>
                          <a:pt x="448787" y="306141"/>
                        </a:lnTo>
                        <a:lnTo>
                          <a:pt x="465247" y="307238"/>
                        </a:lnTo>
                        <a:lnTo>
                          <a:pt x="470185" y="305044"/>
                        </a:lnTo>
                        <a:lnTo>
                          <a:pt x="478414" y="290231"/>
                        </a:lnTo>
                        <a:lnTo>
                          <a:pt x="478963" y="284195"/>
                        </a:lnTo>
                        <a:lnTo>
                          <a:pt x="483901" y="281452"/>
                        </a:lnTo>
                        <a:lnTo>
                          <a:pt x="494325" y="279806"/>
                        </a:lnTo>
                        <a:lnTo>
                          <a:pt x="498165" y="276515"/>
                        </a:lnTo>
                        <a:lnTo>
                          <a:pt x="500360" y="271028"/>
                        </a:lnTo>
                        <a:lnTo>
                          <a:pt x="499811" y="265542"/>
                        </a:lnTo>
                        <a:lnTo>
                          <a:pt x="497617" y="261153"/>
                        </a:lnTo>
                        <a:lnTo>
                          <a:pt x="501457" y="257312"/>
                        </a:lnTo>
                        <a:lnTo>
                          <a:pt x="502554" y="252374"/>
                        </a:lnTo>
                        <a:lnTo>
                          <a:pt x="507492" y="249631"/>
                        </a:lnTo>
                        <a:lnTo>
                          <a:pt x="511881" y="252923"/>
                        </a:lnTo>
                        <a:lnTo>
                          <a:pt x="516819" y="252374"/>
                        </a:lnTo>
                        <a:lnTo>
                          <a:pt x="536570" y="241950"/>
                        </a:lnTo>
                        <a:lnTo>
                          <a:pt x="539313" y="237013"/>
                        </a:lnTo>
                        <a:lnTo>
                          <a:pt x="543154" y="233172"/>
                        </a:lnTo>
                        <a:lnTo>
                          <a:pt x="548640" y="233721"/>
                        </a:lnTo>
                        <a:lnTo>
                          <a:pt x="549189" y="239207"/>
                        </a:lnTo>
                        <a:lnTo>
                          <a:pt x="553029" y="243596"/>
                        </a:lnTo>
                        <a:lnTo>
                          <a:pt x="553578" y="249083"/>
                        </a:lnTo>
                        <a:lnTo>
                          <a:pt x="550834" y="254020"/>
                        </a:lnTo>
                        <a:lnTo>
                          <a:pt x="545348" y="255666"/>
                        </a:lnTo>
                        <a:lnTo>
                          <a:pt x="542056" y="260056"/>
                        </a:lnTo>
                        <a:lnTo>
                          <a:pt x="547543" y="275417"/>
                        </a:lnTo>
                        <a:lnTo>
                          <a:pt x="553029" y="274320"/>
                        </a:lnTo>
                        <a:lnTo>
                          <a:pt x="558515" y="272125"/>
                        </a:lnTo>
                        <a:lnTo>
                          <a:pt x="574975" y="271577"/>
                        </a:lnTo>
                        <a:lnTo>
                          <a:pt x="585399" y="275966"/>
                        </a:lnTo>
                        <a:lnTo>
                          <a:pt x="596372" y="274320"/>
                        </a:lnTo>
                        <a:lnTo>
                          <a:pt x="600761" y="270479"/>
                        </a:lnTo>
                        <a:lnTo>
                          <a:pt x="602955" y="265542"/>
                        </a:lnTo>
                        <a:lnTo>
                          <a:pt x="607893" y="262799"/>
                        </a:lnTo>
                        <a:lnTo>
                          <a:pt x="613379" y="262799"/>
                        </a:lnTo>
                        <a:lnTo>
                          <a:pt x="616671" y="258409"/>
                        </a:lnTo>
                        <a:lnTo>
                          <a:pt x="622158" y="260056"/>
                        </a:lnTo>
                        <a:lnTo>
                          <a:pt x="627095" y="257312"/>
                        </a:lnTo>
                        <a:lnTo>
                          <a:pt x="629290" y="252374"/>
                        </a:lnTo>
                        <a:lnTo>
                          <a:pt x="640263" y="249083"/>
                        </a:lnTo>
                        <a:lnTo>
                          <a:pt x="643555" y="244693"/>
                        </a:lnTo>
                        <a:lnTo>
                          <a:pt x="638617" y="241950"/>
                        </a:lnTo>
                        <a:lnTo>
                          <a:pt x="633130" y="243596"/>
                        </a:lnTo>
                        <a:lnTo>
                          <a:pt x="622706" y="240853"/>
                        </a:lnTo>
                        <a:lnTo>
                          <a:pt x="614477" y="233172"/>
                        </a:lnTo>
                        <a:lnTo>
                          <a:pt x="608990" y="233721"/>
                        </a:lnTo>
                        <a:lnTo>
                          <a:pt x="595274" y="223845"/>
                        </a:lnTo>
                        <a:lnTo>
                          <a:pt x="595274" y="218359"/>
                        </a:lnTo>
                        <a:lnTo>
                          <a:pt x="591982" y="213970"/>
                        </a:lnTo>
                        <a:lnTo>
                          <a:pt x="587045" y="211226"/>
                        </a:lnTo>
                        <a:lnTo>
                          <a:pt x="583753" y="221651"/>
                        </a:lnTo>
                        <a:lnTo>
                          <a:pt x="578815" y="224942"/>
                        </a:lnTo>
                        <a:lnTo>
                          <a:pt x="577169" y="229880"/>
                        </a:lnTo>
                        <a:lnTo>
                          <a:pt x="571683" y="229880"/>
                        </a:lnTo>
                        <a:lnTo>
                          <a:pt x="556321" y="223297"/>
                        </a:lnTo>
                        <a:lnTo>
                          <a:pt x="550286" y="213970"/>
                        </a:lnTo>
                        <a:lnTo>
                          <a:pt x="545348" y="216713"/>
                        </a:lnTo>
                        <a:lnTo>
                          <a:pt x="540959" y="213421"/>
                        </a:lnTo>
                        <a:lnTo>
                          <a:pt x="535473" y="211226"/>
                        </a:lnTo>
                        <a:lnTo>
                          <a:pt x="536021" y="205740"/>
                        </a:lnTo>
                        <a:lnTo>
                          <a:pt x="561259" y="183246"/>
                        </a:lnTo>
                        <a:lnTo>
                          <a:pt x="571683" y="178308"/>
                        </a:lnTo>
                        <a:lnTo>
                          <a:pt x="570037" y="172822"/>
                        </a:lnTo>
                        <a:lnTo>
                          <a:pt x="558515" y="169530"/>
                        </a:lnTo>
                        <a:lnTo>
                          <a:pt x="556870" y="174467"/>
                        </a:lnTo>
                        <a:lnTo>
                          <a:pt x="549737" y="182697"/>
                        </a:lnTo>
                        <a:lnTo>
                          <a:pt x="544251" y="184343"/>
                        </a:lnTo>
                        <a:lnTo>
                          <a:pt x="539313" y="182697"/>
                        </a:lnTo>
                        <a:lnTo>
                          <a:pt x="534924" y="192573"/>
                        </a:lnTo>
                        <a:lnTo>
                          <a:pt x="530535" y="196962"/>
                        </a:lnTo>
                        <a:lnTo>
                          <a:pt x="505297" y="208483"/>
                        </a:lnTo>
                        <a:lnTo>
                          <a:pt x="502006" y="213421"/>
                        </a:lnTo>
                        <a:lnTo>
                          <a:pt x="492130" y="218359"/>
                        </a:lnTo>
                        <a:lnTo>
                          <a:pt x="487741" y="228783"/>
                        </a:lnTo>
                        <a:lnTo>
                          <a:pt x="478414" y="234269"/>
                        </a:lnTo>
                        <a:lnTo>
                          <a:pt x="447142" y="222199"/>
                        </a:lnTo>
                        <a:lnTo>
                          <a:pt x="408737" y="226040"/>
                        </a:lnTo>
                        <a:lnTo>
                          <a:pt x="402153" y="194219"/>
                        </a:lnTo>
                        <a:lnTo>
                          <a:pt x="379659" y="190378"/>
                        </a:lnTo>
                        <a:lnTo>
                          <a:pt x="379110" y="170078"/>
                        </a:lnTo>
                        <a:lnTo>
                          <a:pt x="384597" y="169530"/>
                        </a:lnTo>
                        <a:lnTo>
                          <a:pt x="383499" y="140452"/>
                        </a:lnTo>
                        <a:lnTo>
                          <a:pt x="374721" y="141001"/>
                        </a:lnTo>
                        <a:lnTo>
                          <a:pt x="362651" y="118506"/>
                        </a:lnTo>
                        <a:lnTo>
                          <a:pt x="336865" y="97658"/>
                        </a:lnTo>
                        <a:lnTo>
                          <a:pt x="326989" y="102047"/>
                        </a:lnTo>
                        <a:lnTo>
                          <a:pt x="226588" y="109728"/>
                        </a:lnTo>
                        <a:lnTo>
                          <a:pt x="96561" y="0"/>
                        </a:lnTo>
                        <a:lnTo>
                          <a:pt x="0" y="34016"/>
                        </a:lnTo>
                      </a:path>
                    </a:pathLst>
                  </a:custGeom>
                  <a:grpFill/>
                  <a:ln w="1270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" name="Graphic 7">
                    <a:extLst>
                      <a:ext uri="{FF2B5EF4-FFF2-40B4-BE49-F238E27FC236}">
                        <a16:creationId xmlns:a16="http://schemas.microsoft.com/office/drawing/2014/main" id="{A6FA1369-533E-38ED-AE42-4CA2A88C63DC}"/>
                      </a:ext>
                    </a:extLst>
                  </p:cNvPr>
                  <p:cNvSpPr/>
                  <p:nvPr/>
                </p:nvSpPr>
                <p:spPr>
                  <a:xfrm>
                    <a:off x="7013227" y="3252300"/>
                    <a:ext cx="421355" cy="320624"/>
                  </a:xfrm>
                  <a:custGeom>
                    <a:avLst/>
                    <a:gdLst>
                      <a:gd name="connsiteX0" fmla="*/ 16459 w 539313"/>
                      <a:gd name="connsiteY0" fmla="*/ 391180 h 410382"/>
                      <a:gd name="connsiteX1" fmla="*/ 40599 w 539313"/>
                      <a:gd name="connsiteY1" fmla="*/ 355519 h 410382"/>
                      <a:gd name="connsiteX2" fmla="*/ 44988 w 539313"/>
                      <a:gd name="connsiteY2" fmla="*/ 343449 h 410382"/>
                      <a:gd name="connsiteX3" fmla="*/ 44988 w 539313"/>
                      <a:gd name="connsiteY3" fmla="*/ 334122 h 410382"/>
                      <a:gd name="connsiteX4" fmla="*/ 40599 w 539313"/>
                      <a:gd name="connsiteY4" fmla="*/ 322600 h 410382"/>
                      <a:gd name="connsiteX5" fmla="*/ 33467 w 539313"/>
                      <a:gd name="connsiteY5" fmla="*/ 316017 h 410382"/>
                      <a:gd name="connsiteX6" fmla="*/ 15910 w 539313"/>
                      <a:gd name="connsiteY6" fmla="*/ 313273 h 410382"/>
                      <a:gd name="connsiteX7" fmla="*/ 9875 w 539313"/>
                      <a:gd name="connsiteY7" fmla="*/ 306141 h 410382"/>
                      <a:gd name="connsiteX8" fmla="*/ 9327 w 539313"/>
                      <a:gd name="connsiteY8" fmla="*/ 273223 h 410382"/>
                      <a:gd name="connsiteX9" fmla="*/ 2743 w 539313"/>
                      <a:gd name="connsiteY9" fmla="*/ 254020 h 410382"/>
                      <a:gd name="connsiteX10" fmla="*/ 10424 w 539313"/>
                      <a:gd name="connsiteY10" fmla="*/ 228783 h 410382"/>
                      <a:gd name="connsiteX11" fmla="*/ 9875 w 539313"/>
                      <a:gd name="connsiteY11" fmla="*/ 221650 h 410382"/>
                      <a:gd name="connsiteX12" fmla="*/ 0 w 539313"/>
                      <a:gd name="connsiteY12" fmla="*/ 218907 h 410382"/>
                      <a:gd name="connsiteX13" fmla="*/ 0 w 539313"/>
                      <a:gd name="connsiteY13" fmla="*/ 198607 h 410382"/>
                      <a:gd name="connsiteX14" fmla="*/ 15362 w 539313"/>
                      <a:gd name="connsiteY14" fmla="*/ 192024 h 410382"/>
                      <a:gd name="connsiteX15" fmla="*/ 15362 w 539313"/>
                      <a:gd name="connsiteY15" fmla="*/ 182148 h 410382"/>
                      <a:gd name="connsiteX16" fmla="*/ 24140 w 539313"/>
                      <a:gd name="connsiteY16" fmla="*/ 167335 h 410382"/>
                      <a:gd name="connsiteX17" fmla="*/ 28529 w 539313"/>
                      <a:gd name="connsiteY17" fmla="*/ 131674 h 410382"/>
                      <a:gd name="connsiteX18" fmla="*/ 37856 w 539313"/>
                      <a:gd name="connsiteY18" fmla="*/ 138257 h 410382"/>
                      <a:gd name="connsiteX19" fmla="*/ 38953 w 539313"/>
                      <a:gd name="connsiteY19" fmla="*/ 140452 h 410382"/>
                      <a:gd name="connsiteX20" fmla="*/ 46634 w 539313"/>
                      <a:gd name="connsiteY20" fmla="*/ 142646 h 410382"/>
                      <a:gd name="connsiteX21" fmla="*/ 55413 w 539313"/>
                      <a:gd name="connsiteY21" fmla="*/ 141549 h 410382"/>
                      <a:gd name="connsiteX22" fmla="*/ 59253 w 539313"/>
                      <a:gd name="connsiteY22" fmla="*/ 144292 h 410382"/>
                      <a:gd name="connsiteX23" fmla="*/ 64191 w 539313"/>
                      <a:gd name="connsiteY23" fmla="*/ 146487 h 410382"/>
                      <a:gd name="connsiteX24" fmla="*/ 68031 w 539313"/>
                      <a:gd name="connsiteY24" fmla="*/ 151425 h 410382"/>
                      <a:gd name="connsiteX25" fmla="*/ 70774 w 539313"/>
                      <a:gd name="connsiteY25" fmla="*/ 151425 h 410382"/>
                      <a:gd name="connsiteX26" fmla="*/ 75712 w 539313"/>
                      <a:gd name="connsiteY26" fmla="*/ 150327 h 410382"/>
                      <a:gd name="connsiteX27" fmla="*/ 85039 w 539313"/>
                      <a:gd name="connsiteY27" fmla="*/ 150327 h 410382"/>
                      <a:gd name="connsiteX28" fmla="*/ 89428 w 539313"/>
                      <a:gd name="connsiteY28" fmla="*/ 145938 h 410382"/>
                      <a:gd name="connsiteX29" fmla="*/ 95463 w 539313"/>
                      <a:gd name="connsiteY29" fmla="*/ 143743 h 410382"/>
                      <a:gd name="connsiteX30" fmla="*/ 98206 w 539313"/>
                      <a:gd name="connsiteY30" fmla="*/ 142098 h 410382"/>
                      <a:gd name="connsiteX31" fmla="*/ 99852 w 539313"/>
                      <a:gd name="connsiteY31" fmla="*/ 133319 h 410382"/>
                      <a:gd name="connsiteX32" fmla="*/ 102595 w 539313"/>
                      <a:gd name="connsiteY32" fmla="*/ 132222 h 410382"/>
                      <a:gd name="connsiteX33" fmla="*/ 104790 w 539313"/>
                      <a:gd name="connsiteY33" fmla="*/ 129479 h 410382"/>
                      <a:gd name="connsiteX34" fmla="*/ 100401 w 539313"/>
                      <a:gd name="connsiteY34" fmla="*/ 125638 h 410382"/>
                      <a:gd name="connsiteX35" fmla="*/ 100401 w 539313"/>
                      <a:gd name="connsiteY35" fmla="*/ 121798 h 410382"/>
                      <a:gd name="connsiteX36" fmla="*/ 105339 w 539313"/>
                      <a:gd name="connsiteY36" fmla="*/ 122895 h 410382"/>
                      <a:gd name="connsiteX37" fmla="*/ 122347 w 539313"/>
                      <a:gd name="connsiteY37" fmla="*/ 117958 h 410382"/>
                      <a:gd name="connsiteX38" fmla="*/ 127833 w 539313"/>
                      <a:gd name="connsiteY38" fmla="*/ 114666 h 410382"/>
                      <a:gd name="connsiteX39" fmla="*/ 133868 w 539313"/>
                      <a:gd name="connsiteY39" fmla="*/ 112471 h 410382"/>
                      <a:gd name="connsiteX40" fmla="*/ 137709 w 539313"/>
                      <a:gd name="connsiteY40" fmla="*/ 108082 h 410382"/>
                      <a:gd name="connsiteX41" fmla="*/ 142646 w 539313"/>
                      <a:gd name="connsiteY41" fmla="*/ 107533 h 410382"/>
                      <a:gd name="connsiteX42" fmla="*/ 152522 w 539313"/>
                      <a:gd name="connsiteY42" fmla="*/ 100401 h 410382"/>
                      <a:gd name="connsiteX43" fmla="*/ 153619 w 539313"/>
                      <a:gd name="connsiteY43" fmla="*/ 97658 h 410382"/>
                      <a:gd name="connsiteX44" fmla="*/ 155265 w 539313"/>
                      <a:gd name="connsiteY44" fmla="*/ 83942 h 410382"/>
                      <a:gd name="connsiteX45" fmla="*/ 156911 w 539313"/>
                      <a:gd name="connsiteY45" fmla="*/ 81199 h 410382"/>
                      <a:gd name="connsiteX46" fmla="*/ 160751 w 539313"/>
                      <a:gd name="connsiteY46" fmla="*/ 69677 h 410382"/>
                      <a:gd name="connsiteX47" fmla="*/ 160751 w 539313"/>
                      <a:gd name="connsiteY47" fmla="*/ 65837 h 410382"/>
                      <a:gd name="connsiteX48" fmla="*/ 161849 w 539313"/>
                      <a:gd name="connsiteY48" fmla="*/ 63094 h 410382"/>
                      <a:gd name="connsiteX49" fmla="*/ 164592 w 539313"/>
                      <a:gd name="connsiteY49" fmla="*/ 61447 h 410382"/>
                      <a:gd name="connsiteX50" fmla="*/ 167884 w 539313"/>
                      <a:gd name="connsiteY50" fmla="*/ 57058 h 410382"/>
                      <a:gd name="connsiteX51" fmla="*/ 173919 w 539313"/>
                      <a:gd name="connsiteY51" fmla="*/ 55961 h 410382"/>
                      <a:gd name="connsiteX52" fmla="*/ 177759 w 539313"/>
                      <a:gd name="connsiteY52" fmla="*/ 57607 h 410382"/>
                      <a:gd name="connsiteX53" fmla="*/ 188732 w 539313"/>
                      <a:gd name="connsiteY53" fmla="*/ 57058 h 410382"/>
                      <a:gd name="connsiteX54" fmla="*/ 189829 w 539313"/>
                      <a:gd name="connsiteY54" fmla="*/ 55961 h 410382"/>
                      <a:gd name="connsiteX55" fmla="*/ 191475 w 539313"/>
                      <a:gd name="connsiteY55" fmla="*/ 52121 h 410382"/>
                      <a:gd name="connsiteX56" fmla="*/ 192024 w 539313"/>
                      <a:gd name="connsiteY56" fmla="*/ 46634 h 410382"/>
                      <a:gd name="connsiteX57" fmla="*/ 193670 w 539313"/>
                      <a:gd name="connsiteY57" fmla="*/ 44440 h 410382"/>
                      <a:gd name="connsiteX58" fmla="*/ 200254 w 539313"/>
                      <a:gd name="connsiteY58" fmla="*/ 44440 h 410382"/>
                      <a:gd name="connsiteX59" fmla="*/ 216713 w 539313"/>
                      <a:gd name="connsiteY59" fmla="*/ 52669 h 410382"/>
                      <a:gd name="connsiteX60" fmla="*/ 246888 w 539313"/>
                      <a:gd name="connsiteY60" fmla="*/ 51572 h 410382"/>
                      <a:gd name="connsiteX61" fmla="*/ 251826 w 539313"/>
                      <a:gd name="connsiteY61" fmla="*/ 53767 h 410382"/>
                      <a:gd name="connsiteX62" fmla="*/ 255666 w 539313"/>
                      <a:gd name="connsiteY62" fmla="*/ 57607 h 410382"/>
                      <a:gd name="connsiteX63" fmla="*/ 262798 w 539313"/>
                      <a:gd name="connsiteY63" fmla="*/ 55413 h 410382"/>
                      <a:gd name="connsiteX64" fmla="*/ 271577 w 539313"/>
                      <a:gd name="connsiteY64" fmla="*/ 56510 h 410382"/>
                      <a:gd name="connsiteX65" fmla="*/ 284195 w 539313"/>
                      <a:gd name="connsiteY65" fmla="*/ 70226 h 410382"/>
                      <a:gd name="connsiteX66" fmla="*/ 289133 w 539313"/>
                      <a:gd name="connsiteY66" fmla="*/ 68031 h 410382"/>
                      <a:gd name="connsiteX67" fmla="*/ 294071 w 539313"/>
                      <a:gd name="connsiteY67" fmla="*/ 68031 h 410382"/>
                      <a:gd name="connsiteX68" fmla="*/ 295168 w 539313"/>
                      <a:gd name="connsiteY68" fmla="*/ 64191 h 410382"/>
                      <a:gd name="connsiteX69" fmla="*/ 307787 w 539313"/>
                      <a:gd name="connsiteY69" fmla="*/ 58704 h 410382"/>
                      <a:gd name="connsiteX70" fmla="*/ 311079 w 539313"/>
                      <a:gd name="connsiteY70" fmla="*/ 59253 h 410382"/>
                      <a:gd name="connsiteX71" fmla="*/ 312725 w 539313"/>
                      <a:gd name="connsiteY71" fmla="*/ 57058 h 410382"/>
                      <a:gd name="connsiteX72" fmla="*/ 317114 w 539313"/>
                      <a:gd name="connsiteY72" fmla="*/ 55413 h 410382"/>
                      <a:gd name="connsiteX73" fmla="*/ 319308 w 539313"/>
                      <a:gd name="connsiteY73" fmla="*/ 55961 h 410382"/>
                      <a:gd name="connsiteX74" fmla="*/ 322600 w 539313"/>
                      <a:gd name="connsiteY74" fmla="*/ 59802 h 410382"/>
                      <a:gd name="connsiteX75" fmla="*/ 332476 w 539313"/>
                      <a:gd name="connsiteY75" fmla="*/ 62545 h 410382"/>
                      <a:gd name="connsiteX76" fmla="*/ 334670 w 539313"/>
                      <a:gd name="connsiteY76" fmla="*/ 60899 h 410382"/>
                      <a:gd name="connsiteX77" fmla="*/ 335219 w 539313"/>
                      <a:gd name="connsiteY77" fmla="*/ 59253 h 410382"/>
                      <a:gd name="connsiteX78" fmla="*/ 335219 w 539313"/>
                      <a:gd name="connsiteY78" fmla="*/ 55961 h 410382"/>
                      <a:gd name="connsiteX79" fmla="*/ 333573 w 539313"/>
                      <a:gd name="connsiteY79" fmla="*/ 53218 h 410382"/>
                      <a:gd name="connsiteX80" fmla="*/ 333024 w 539313"/>
                      <a:gd name="connsiteY80" fmla="*/ 48829 h 410382"/>
                      <a:gd name="connsiteX81" fmla="*/ 339608 w 539313"/>
                      <a:gd name="connsiteY81" fmla="*/ 40599 h 410382"/>
                      <a:gd name="connsiteX82" fmla="*/ 342900 w 539313"/>
                      <a:gd name="connsiteY82" fmla="*/ 40051 h 410382"/>
                      <a:gd name="connsiteX83" fmla="*/ 346740 w 539313"/>
                      <a:gd name="connsiteY83" fmla="*/ 42245 h 410382"/>
                      <a:gd name="connsiteX84" fmla="*/ 352775 w 539313"/>
                      <a:gd name="connsiteY84" fmla="*/ 40599 h 410382"/>
                      <a:gd name="connsiteX85" fmla="*/ 358262 w 539313"/>
                      <a:gd name="connsiteY85" fmla="*/ 43891 h 410382"/>
                      <a:gd name="connsiteX86" fmla="*/ 361005 w 539313"/>
                      <a:gd name="connsiteY86" fmla="*/ 44440 h 410382"/>
                      <a:gd name="connsiteX87" fmla="*/ 362651 w 539313"/>
                      <a:gd name="connsiteY87" fmla="*/ 43891 h 410382"/>
                      <a:gd name="connsiteX88" fmla="*/ 367589 w 539313"/>
                      <a:gd name="connsiteY88" fmla="*/ 37856 h 410382"/>
                      <a:gd name="connsiteX89" fmla="*/ 368686 w 539313"/>
                      <a:gd name="connsiteY89" fmla="*/ 35113 h 410382"/>
                      <a:gd name="connsiteX90" fmla="*/ 364846 w 539313"/>
                      <a:gd name="connsiteY90" fmla="*/ 31272 h 410382"/>
                      <a:gd name="connsiteX91" fmla="*/ 364846 w 539313"/>
                      <a:gd name="connsiteY91" fmla="*/ 26883 h 410382"/>
                      <a:gd name="connsiteX92" fmla="*/ 379110 w 539313"/>
                      <a:gd name="connsiteY92" fmla="*/ 7132 h 410382"/>
                      <a:gd name="connsiteX93" fmla="*/ 381305 w 539313"/>
                      <a:gd name="connsiteY93" fmla="*/ 6035 h 410382"/>
                      <a:gd name="connsiteX94" fmla="*/ 382951 w 539313"/>
                      <a:gd name="connsiteY94" fmla="*/ 2194 h 410382"/>
                      <a:gd name="connsiteX95" fmla="*/ 383499 w 539313"/>
                      <a:gd name="connsiteY95" fmla="*/ 1097 h 410382"/>
                      <a:gd name="connsiteX96" fmla="*/ 388437 w 539313"/>
                      <a:gd name="connsiteY96" fmla="*/ 2194 h 410382"/>
                      <a:gd name="connsiteX97" fmla="*/ 391729 w 539313"/>
                      <a:gd name="connsiteY97" fmla="*/ 0 h 410382"/>
                      <a:gd name="connsiteX98" fmla="*/ 398313 w 539313"/>
                      <a:gd name="connsiteY98" fmla="*/ 1097 h 410382"/>
                      <a:gd name="connsiteX99" fmla="*/ 407091 w 539313"/>
                      <a:gd name="connsiteY99" fmla="*/ 9875 h 410382"/>
                      <a:gd name="connsiteX100" fmla="*/ 407091 w 539313"/>
                      <a:gd name="connsiteY100" fmla="*/ 14265 h 410382"/>
                      <a:gd name="connsiteX101" fmla="*/ 404347 w 539313"/>
                      <a:gd name="connsiteY101" fmla="*/ 19202 h 410382"/>
                      <a:gd name="connsiteX102" fmla="*/ 404347 w 539313"/>
                      <a:gd name="connsiteY102" fmla="*/ 22494 h 410382"/>
                      <a:gd name="connsiteX103" fmla="*/ 405445 w 539313"/>
                      <a:gd name="connsiteY103" fmla="*/ 24140 h 410382"/>
                      <a:gd name="connsiteX104" fmla="*/ 408737 w 539313"/>
                      <a:gd name="connsiteY104" fmla="*/ 26335 h 410382"/>
                      <a:gd name="connsiteX105" fmla="*/ 412577 w 539313"/>
                      <a:gd name="connsiteY105" fmla="*/ 25237 h 410382"/>
                      <a:gd name="connsiteX106" fmla="*/ 414772 w 539313"/>
                      <a:gd name="connsiteY106" fmla="*/ 26335 h 410382"/>
                      <a:gd name="connsiteX107" fmla="*/ 415869 w 539313"/>
                      <a:gd name="connsiteY107" fmla="*/ 29626 h 410382"/>
                      <a:gd name="connsiteX108" fmla="*/ 414223 w 539313"/>
                      <a:gd name="connsiteY108" fmla="*/ 31821 h 410382"/>
                      <a:gd name="connsiteX109" fmla="*/ 413126 w 539313"/>
                      <a:gd name="connsiteY109" fmla="*/ 35113 h 410382"/>
                      <a:gd name="connsiteX110" fmla="*/ 414223 w 539313"/>
                      <a:gd name="connsiteY110" fmla="*/ 42245 h 410382"/>
                      <a:gd name="connsiteX111" fmla="*/ 413674 w 539313"/>
                      <a:gd name="connsiteY111" fmla="*/ 46086 h 410382"/>
                      <a:gd name="connsiteX112" fmla="*/ 412029 w 539313"/>
                      <a:gd name="connsiteY112" fmla="*/ 49926 h 410382"/>
                      <a:gd name="connsiteX113" fmla="*/ 412029 w 539313"/>
                      <a:gd name="connsiteY113" fmla="*/ 56510 h 410382"/>
                      <a:gd name="connsiteX114" fmla="*/ 409834 w 539313"/>
                      <a:gd name="connsiteY114" fmla="*/ 62545 h 410382"/>
                      <a:gd name="connsiteX115" fmla="*/ 419161 w 539313"/>
                      <a:gd name="connsiteY115" fmla="*/ 83393 h 410382"/>
                      <a:gd name="connsiteX116" fmla="*/ 420807 w 539313"/>
                      <a:gd name="connsiteY116" fmla="*/ 85039 h 410382"/>
                      <a:gd name="connsiteX117" fmla="*/ 423550 w 539313"/>
                      <a:gd name="connsiteY117" fmla="*/ 85588 h 410382"/>
                      <a:gd name="connsiteX118" fmla="*/ 444398 w 539313"/>
                      <a:gd name="connsiteY118" fmla="*/ 71872 h 410382"/>
                      <a:gd name="connsiteX119" fmla="*/ 458663 w 539313"/>
                      <a:gd name="connsiteY119" fmla="*/ 68031 h 410382"/>
                      <a:gd name="connsiteX120" fmla="*/ 460309 w 539313"/>
                      <a:gd name="connsiteY120" fmla="*/ 66934 h 410382"/>
                      <a:gd name="connsiteX121" fmla="*/ 463052 w 539313"/>
                      <a:gd name="connsiteY121" fmla="*/ 62545 h 410382"/>
                      <a:gd name="connsiteX122" fmla="*/ 468538 w 539313"/>
                      <a:gd name="connsiteY122" fmla="*/ 59802 h 410382"/>
                      <a:gd name="connsiteX123" fmla="*/ 469087 w 539313"/>
                      <a:gd name="connsiteY123" fmla="*/ 57607 h 410382"/>
                      <a:gd name="connsiteX124" fmla="*/ 472379 w 539313"/>
                      <a:gd name="connsiteY124" fmla="*/ 57058 h 410382"/>
                      <a:gd name="connsiteX125" fmla="*/ 478963 w 539313"/>
                      <a:gd name="connsiteY125" fmla="*/ 52121 h 410382"/>
                      <a:gd name="connsiteX126" fmla="*/ 482803 w 539313"/>
                      <a:gd name="connsiteY126" fmla="*/ 51572 h 410382"/>
                      <a:gd name="connsiteX127" fmla="*/ 487192 w 539313"/>
                      <a:gd name="connsiteY127" fmla="*/ 47731 h 410382"/>
                      <a:gd name="connsiteX128" fmla="*/ 491581 w 539313"/>
                      <a:gd name="connsiteY128" fmla="*/ 47731 h 410382"/>
                      <a:gd name="connsiteX129" fmla="*/ 493227 w 539313"/>
                      <a:gd name="connsiteY129" fmla="*/ 49926 h 410382"/>
                      <a:gd name="connsiteX130" fmla="*/ 498165 w 539313"/>
                      <a:gd name="connsiteY130" fmla="*/ 49926 h 410382"/>
                      <a:gd name="connsiteX131" fmla="*/ 499262 w 539313"/>
                      <a:gd name="connsiteY131" fmla="*/ 57058 h 410382"/>
                      <a:gd name="connsiteX132" fmla="*/ 501457 w 539313"/>
                      <a:gd name="connsiteY132" fmla="*/ 59253 h 410382"/>
                      <a:gd name="connsiteX133" fmla="*/ 503103 w 539313"/>
                      <a:gd name="connsiteY133" fmla="*/ 58704 h 410382"/>
                      <a:gd name="connsiteX134" fmla="*/ 507492 w 539313"/>
                      <a:gd name="connsiteY134" fmla="*/ 54864 h 410382"/>
                      <a:gd name="connsiteX135" fmla="*/ 508041 w 539313"/>
                      <a:gd name="connsiteY135" fmla="*/ 55413 h 410382"/>
                      <a:gd name="connsiteX136" fmla="*/ 509686 w 539313"/>
                      <a:gd name="connsiteY136" fmla="*/ 55413 h 410382"/>
                      <a:gd name="connsiteX137" fmla="*/ 525048 w 539313"/>
                      <a:gd name="connsiteY137" fmla="*/ 51023 h 410382"/>
                      <a:gd name="connsiteX138" fmla="*/ 529986 w 539313"/>
                      <a:gd name="connsiteY138" fmla="*/ 51023 h 410382"/>
                      <a:gd name="connsiteX139" fmla="*/ 533278 w 539313"/>
                      <a:gd name="connsiteY139" fmla="*/ 52669 h 410382"/>
                      <a:gd name="connsiteX140" fmla="*/ 538216 w 539313"/>
                      <a:gd name="connsiteY140" fmla="*/ 52669 h 410382"/>
                      <a:gd name="connsiteX141" fmla="*/ 539313 w 539313"/>
                      <a:gd name="connsiteY141" fmla="*/ 54864 h 410382"/>
                      <a:gd name="connsiteX142" fmla="*/ 539313 w 539313"/>
                      <a:gd name="connsiteY142" fmla="*/ 57058 h 410382"/>
                      <a:gd name="connsiteX143" fmla="*/ 536570 w 539313"/>
                      <a:gd name="connsiteY143" fmla="*/ 57607 h 410382"/>
                      <a:gd name="connsiteX144" fmla="*/ 538216 w 539313"/>
                      <a:gd name="connsiteY144" fmla="*/ 57607 h 410382"/>
                      <a:gd name="connsiteX145" fmla="*/ 536570 w 539313"/>
                      <a:gd name="connsiteY145" fmla="*/ 57607 h 410382"/>
                      <a:gd name="connsiteX146" fmla="*/ 533278 w 539313"/>
                      <a:gd name="connsiteY146" fmla="*/ 56510 h 410382"/>
                      <a:gd name="connsiteX147" fmla="*/ 530535 w 539313"/>
                      <a:gd name="connsiteY147" fmla="*/ 57058 h 410382"/>
                      <a:gd name="connsiteX148" fmla="*/ 525048 w 539313"/>
                      <a:gd name="connsiteY148" fmla="*/ 62545 h 410382"/>
                      <a:gd name="connsiteX149" fmla="*/ 526694 w 539313"/>
                      <a:gd name="connsiteY149" fmla="*/ 64739 h 410382"/>
                      <a:gd name="connsiteX150" fmla="*/ 530535 w 539313"/>
                      <a:gd name="connsiteY150" fmla="*/ 66385 h 410382"/>
                      <a:gd name="connsiteX151" fmla="*/ 531632 w 539313"/>
                      <a:gd name="connsiteY151" fmla="*/ 69677 h 410382"/>
                      <a:gd name="connsiteX152" fmla="*/ 531083 w 539313"/>
                      <a:gd name="connsiteY152" fmla="*/ 72969 h 410382"/>
                      <a:gd name="connsiteX153" fmla="*/ 523951 w 539313"/>
                      <a:gd name="connsiteY153" fmla="*/ 71872 h 410382"/>
                      <a:gd name="connsiteX154" fmla="*/ 520659 w 539313"/>
                      <a:gd name="connsiteY154" fmla="*/ 74066 h 410382"/>
                      <a:gd name="connsiteX155" fmla="*/ 518465 w 539313"/>
                      <a:gd name="connsiteY155" fmla="*/ 74066 h 410382"/>
                      <a:gd name="connsiteX156" fmla="*/ 514624 w 539313"/>
                      <a:gd name="connsiteY156" fmla="*/ 77358 h 410382"/>
                      <a:gd name="connsiteX157" fmla="*/ 511332 w 539313"/>
                      <a:gd name="connsiteY157" fmla="*/ 77358 h 410382"/>
                      <a:gd name="connsiteX158" fmla="*/ 501457 w 539313"/>
                      <a:gd name="connsiteY158" fmla="*/ 74066 h 410382"/>
                      <a:gd name="connsiteX159" fmla="*/ 496519 w 539313"/>
                      <a:gd name="connsiteY159" fmla="*/ 74615 h 410382"/>
                      <a:gd name="connsiteX160" fmla="*/ 494325 w 539313"/>
                      <a:gd name="connsiteY160" fmla="*/ 74066 h 410382"/>
                      <a:gd name="connsiteX161" fmla="*/ 455920 w 539313"/>
                      <a:gd name="connsiteY161" fmla="*/ 78455 h 410382"/>
                      <a:gd name="connsiteX162" fmla="*/ 449885 w 539313"/>
                      <a:gd name="connsiteY162" fmla="*/ 82296 h 410382"/>
                      <a:gd name="connsiteX163" fmla="*/ 443850 w 539313"/>
                      <a:gd name="connsiteY163" fmla="*/ 82845 h 410382"/>
                      <a:gd name="connsiteX164" fmla="*/ 441106 w 539313"/>
                      <a:gd name="connsiteY164" fmla="*/ 85039 h 410382"/>
                      <a:gd name="connsiteX165" fmla="*/ 437815 w 539313"/>
                      <a:gd name="connsiteY165" fmla="*/ 85039 h 410382"/>
                      <a:gd name="connsiteX166" fmla="*/ 437815 w 539313"/>
                      <a:gd name="connsiteY166" fmla="*/ 87782 h 410382"/>
                      <a:gd name="connsiteX167" fmla="*/ 435071 w 539313"/>
                      <a:gd name="connsiteY167" fmla="*/ 89977 h 410382"/>
                      <a:gd name="connsiteX168" fmla="*/ 429036 w 539313"/>
                      <a:gd name="connsiteY168" fmla="*/ 91623 h 410382"/>
                      <a:gd name="connsiteX169" fmla="*/ 427939 w 539313"/>
                      <a:gd name="connsiteY169" fmla="*/ 93269 h 410382"/>
                      <a:gd name="connsiteX170" fmla="*/ 428488 w 539313"/>
                      <a:gd name="connsiteY170" fmla="*/ 96012 h 410382"/>
                      <a:gd name="connsiteX171" fmla="*/ 425745 w 539313"/>
                      <a:gd name="connsiteY171" fmla="*/ 96561 h 410382"/>
                      <a:gd name="connsiteX172" fmla="*/ 423001 w 539313"/>
                      <a:gd name="connsiteY172" fmla="*/ 94915 h 410382"/>
                      <a:gd name="connsiteX173" fmla="*/ 419161 w 539313"/>
                      <a:gd name="connsiteY173" fmla="*/ 94915 h 410382"/>
                      <a:gd name="connsiteX174" fmla="*/ 418612 w 539313"/>
                      <a:gd name="connsiteY174" fmla="*/ 96012 h 410382"/>
                      <a:gd name="connsiteX175" fmla="*/ 418063 w 539313"/>
                      <a:gd name="connsiteY175" fmla="*/ 99304 h 410382"/>
                      <a:gd name="connsiteX176" fmla="*/ 406542 w 539313"/>
                      <a:gd name="connsiteY176" fmla="*/ 108082 h 410382"/>
                      <a:gd name="connsiteX177" fmla="*/ 404347 w 539313"/>
                      <a:gd name="connsiteY177" fmla="*/ 111374 h 410382"/>
                      <a:gd name="connsiteX178" fmla="*/ 403799 w 539313"/>
                      <a:gd name="connsiteY178" fmla="*/ 114666 h 410382"/>
                      <a:gd name="connsiteX179" fmla="*/ 404347 w 539313"/>
                      <a:gd name="connsiteY179" fmla="*/ 116311 h 410382"/>
                      <a:gd name="connsiteX180" fmla="*/ 414772 w 539313"/>
                      <a:gd name="connsiteY180" fmla="*/ 125090 h 410382"/>
                      <a:gd name="connsiteX181" fmla="*/ 419710 w 539313"/>
                      <a:gd name="connsiteY181" fmla="*/ 141000 h 410382"/>
                      <a:gd name="connsiteX182" fmla="*/ 419710 w 539313"/>
                      <a:gd name="connsiteY182" fmla="*/ 142098 h 410382"/>
                      <a:gd name="connsiteX183" fmla="*/ 417515 w 539313"/>
                      <a:gd name="connsiteY183" fmla="*/ 147584 h 410382"/>
                      <a:gd name="connsiteX184" fmla="*/ 417515 w 539313"/>
                      <a:gd name="connsiteY184" fmla="*/ 149779 h 410382"/>
                      <a:gd name="connsiteX185" fmla="*/ 418612 w 539313"/>
                      <a:gd name="connsiteY185" fmla="*/ 151973 h 410382"/>
                      <a:gd name="connsiteX186" fmla="*/ 418063 w 539313"/>
                      <a:gd name="connsiteY186" fmla="*/ 156362 h 410382"/>
                      <a:gd name="connsiteX187" fmla="*/ 401056 w 539313"/>
                      <a:gd name="connsiteY187" fmla="*/ 176113 h 410382"/>
                      <a:gd name="connsiteX188" fmla="*/ 398861 w 539313"/>
                      <a:gd name="connsiteY188" fmla="*/ 181051 h 410382"/>
                      <a:gd name="connsiteX189" fmla="*/ 396118 w 539313"/>
                      <a:gd name="connsiteY189" fmla="*/ 184343 h 410382"/>
                      <a:gd name="connsiteX190" fmla="*/ 396118 w 539313"/>
                      <a:gd name="connsiteY190" fmla="*/ 188732 h 410382"/>
                      <a:gd name="connsiteX191" fmla="*/ 399958 w 539313"/>
                      <a:gd name="connsiteY191" fmla="*/ 189829 h 410382"/>
                      <a:gd name="connsiteX192" fmla="*/ 401604 w 539313"/>
                      <a:gd name="connsiteY192" fmla="*/ 192024 h 410382"/>
                      <a:gd name="connsiteX193" fmla="*/ 399958 w 539313"/>
                      <a:gd name="connsiteY193" fmla="*/ 194218 h 410382"/>
                      <a:gd name="connsiteX194" fmla="*/ 399958 w 539313"/>
                      <a:gd name="connsiteY194" fmla="*/ 198607 h 410382"/>
                      <a:gd name="connsiteX195" fmla="*/ 394472 w 539313"/>
                      <a:gd name="connsiteY195" fmla="*/ 205740 h 410382"/>
                      <a:gd name="connsiteX196" fmla="*/ 382402 w 539313"/>
                      <a:gd name="connsiteY196" fmla="*/ 209580 h 410382"/>
                      <a:gd name="connsiteX197" fmla="*/ 358810 w 539313"/>
                      <a:gd name="connsiteY197" fmla="*/ 205191 h 410382"/>
                      <a:gd name="connsiteX198" fmla="*/ 356067 w 539313"/>
                      <a:gd name="connsiteY198" fmla="*/ 206837 h 410382"/>
                      <a:gd name="connsiteX199" fmla="*/ 354970 w 539313"/>
                      <a:gd name="connsiteY199" fmla="*/ 210129 h 410382"/>
                      <a:gd name="connsiteX200" fmla="*/ 360456 w 539313"/>
                      <a:gd name="connsiteY200" fmla="*/ 218907 h 410382"/>
                      <a:gd name="connsiteX201" fmla="*/ 363199 w 539313"/>
                      <a:gd name="connsiteY201" fmla="*/ 219456 h 410382"/>
                      <a:gd name="connsiteX202" fmla="*/ 365943 w 539313"/>
                      <a:gd name="connsiteY202" fmla="*/ 230429 h 410382"/>
                      <a:gd name="connsiteX203" fmla="*/ 369783 w 539313"/>
                      <a:gd name="connsiteY203" fmla="*/ 233172 h 410382"/>
                      <a:gd name="connsiteX204" fmla="*/ 369235 w 539313"/>
                      <a:gd name="connsiteY204" fmla="*/ 235915 h 410382"/>
                      <a:gd name="connsiteX205" fmla="*/ 354970 w 539313"/>
                      <a:gd name="connsiteY205" fmla="*/ 247437 h 410382"/>
                      <a:gd name="connsiteX206" fmla="*/ 348935 w 539313"/>
                      <a:gd name="connsiteY206" fmla="*/ 245791 h 410382"/>
                      <a:gd name="connsiteX207" fmla="*/ 340705 w 539313"/>
                      <a:gd name="connsiteY207" fmla="*/ 248534 h 410382"/>
                      <a:gd name="connsiteX208" fmla="*/ 340157 w 539313"/>
                      <a:gd name="connsiteY208" fmla="*/ 257861 h 410382"/>
                      <a:gd name="connsiteX209" fmla="*/ 336316 w 539313"/>
                      <a:gd name="connsiteY209" fmla="*/ 259507 h 410382"/>
                      <a:gd name="connsiteX210" fmla="*/ 335219 w 539313"/>
                      <a:gd name="connsiteY210" fmla="*/ 263347 h 410382"/>
                      <a:gd name="connsiteX211" fmla="*/ 336316 w 539313"/>
                      <a:gd name="connsiteY211" fmla="*/ 267187 h 410382"/>
                      <a:gd name="connsiteX212" fmla="*/ 335767 w 539313"/>
                      <a:gd name="connsiteY212" fmla="*/ 269931 h 410382"/>
                      <a:gd name="connsiteX213" fmla="*/ 334122 w 539313"/>
                      <a:gd name="connsiteY213" fmla="*/ 269931 h 410382"/>
                      <a:gd name="connsiteX214" fmla="*/ 329184 w 539313"/>
                      <a:gd name="connsiteY214" fmla="*/ 276514 h 410382"/>
                      <a:gd name="connsiteX215" fmla="*/ 330830 w 539313"/>
                      <a:gd name="connsiteY215" fmla="*/ 301203 h 410382"/>
                      <a:gd name="connsiteX216" fmla="*/ 317662 w 539313"/>
                      <a:gd name="connsiteY216" fmla="*/ 314919 h 410382"/>
                      <a:gd name="connsiteX217" fmla="*/ 315468 w 539313"/>
                      <a:gd name="connsiteY217" fmla="*/ 315468 h 410382"/>
                      <a:gd name="connsiteX218" fmla="*/ 311627 w 539313"/>
                      <a:gd name="connsiteY218" fmla="*/ 313822 h 410382"/>
                      <a:gd name="connsiteX219" fmla="*/ 309982 w 539313"/>
                      <a:gd name="connsiteY219" fmla="*/ 311079 h 410382"/>
                      <a:gd name="connsiteX220" fmla="*/ 309433 w 539313"/>
                      <a:gd name="connsiteY220" fmla="*/ 308335 h 410382"/>
                      <a:gd name="connsiteX221" fmla="*/ 303946 w 539313"/>
                      <a:gd name="connsiteY221" fmla="*/ 305592 h 410382"/>
                      <a:gd name="connsiteX222" fmla="*/ 301203 w 539313"/>
                      <a:gd name="connsiteY222" fmla="*/ 305044 h 410382"/>
                      <a:gd name="connsiteX223" fmla="*/ 299557 w 539313"/>
                      <a:gd name="connsiteY223" fmla="*/ 307787 h 410382"/>
                      <a:gd name="connsiteX224" fmla="*/ 302301 w 539313"/>
                      <a:gd name="connsiteY224" fmla="*/ 308884 h 410382"/>
                      <a:gd name="connsiteX225" fmla="*/ 302849 w 539313"/>
                      <a:gd name="connsiteY225" fmla="*/ 310530 h 410382"/>
                      <a:gd name="connsiteX226" fmla="*/ 291328 w 539313"/>
                      <a:gd name="connsiteY226" fmla="*/ 307238 h 410382"/>
                      <a:gd name="connsiteX227" fmla="*/ 286939 w 539313"/>
                      <a:gd name="connsiteY227" fmla="*/ 307238 h 410382"/>
                      <a:gd name="connsiteX228" fmla="*/ 284195 w 539313"/>
                      <a:gd name="connsiteY228" fmla="*/ 308884 h 410382"/>
                      <a:gd name="connsiteX229" fmla="*/ 282001 w 539313"/>
                      <a:gd name="connsiteY229" fmla="*/ 312176 h 410382"/>
                      <a:gd name="connsiteX230" fmla="*/ 270479 w 539313"/>
                      <a:gd name="connsiteY230" fmla="*/ 317662 h 410382"/>
                      <a:gd name="connsiteX231" fmla="*/ 268285 w 539313"/>
                      <a:gd name="connsiteY231" fmla="*/ 320406 h 410382"/>
                      <a:gd name="connsiteX232" fmla="*/ 268834 w 539313"/>
                      <a:gd name="connsiteY232" fmla="*/ 321503 h 410382"/>
                      <a:gd name="connsiteX233" fmla="*/ 274320 w 539313"/>
                      <a:gd name="connsiteY233" fmla="*/ 323149 h 410382"/>
                      <a:gd name="connsiteX234" fmla="*/ 274320 w 539313"/>
                      <a:gd name="connsiteY234" fmla="*/ 325343 h 410382"/>
                      <a:gd name="connsiteX235" fmla="*/ 272674 w 539313"/>
                      <a:gd name="connsiteY235" fmla="*/ 327538 h 410382"/>
                      <a:gd name="connsiteX236" fmla="*/ 244693 w 539313"/>
                      <a:gd name="connsiteY236" fmla="*/ 330281 h 410382"/>
                      <a:gd name="connsiteX237" fmla="*/ 244693 w 539313"/>
                      <a:gd name="connsiteY237" fmla="*/ 328087 h 410382"/>
                      <a:gd name="connsiteX238" fmla="*/ 241402 w 539313"/>
                      <a:gd name="connsiteY238" fmla="*/ 326441 h 410382"/>
                      <a:gd name="connsiteX239" fmla="*/ 237012 w 539313"/>
                      <a:gd name="connsiteY239" fmla="*/ 329184 h 410382"/>
                      <a:gd name="connsiteX240" fmla="*/ 233172 w 539313"/>
                      <a:gd name="connsiteY240" fmla="*/ 336316 h 410382"/>
                      <a:gd name="connsiteX241" fmla="*/ 224394 w 539313"/>
                      <a:gd name="connsiteY241" fmla="*/ 342351 h 410382"/>
                      <a:gd name="connsiteX242" fmla="*/ 220005 w 539313"/>
                      <a:gd name="connsiteY242" fmla="*/ 356616 h 410382"/>
                      <a:gd name="connsiteX243" fmla="*/ 220553 w 539313"/>
                      <a:gd name="connsiteY243" fmla="*/ 365394 h 410382"/>
                      <a:gd name="connsiteX244" fmla="*/ 218359 w 539313"/>
                      <a:gd name="connsiteY244" fmla="*/ 378013 h 410382"/>
                      <a:gd name="connsiteX245" fmla="*/ 218907 w 539313"/>
                      <a:gd name="connsiteY245" fmla="*/ 380756 h 410382"/>
                      <a:gd name="connsiteX246" fmla="*/ 220553 w 539313"/>
                      <a:gd name="connsiteY246" fmla="*/ 382951 h 410382"/>
                      <a:gd name="connsiteX247" fmla="*/ 220553 w 539313"/>
                      <a:gd name="connsiteY247" fmla="*/ 387340 h 410382"/>
                      <a:gd name="connsiteX248" fmla="*/ 214518 w 539313"/>
                      <a:gd name="connsiteY248" fmla="*/ 392278 h 410382"/>
                      <a:gd name="connsiteX249" fmla="*/ 172273 w 539313"/>
                      <a:gd name="connsiteY249" fmla="*/ 402702 h 410382"/>
                      <a:gd name="connsiteX250" fmla="*/ 146487 w 539313"/>
                      <a:gd name="connsiteY250" fmla="*/ 401604 h 410382"/>
                      <a:gd name="connsiteX251" fmla="*/ 141549 w 539313"/>
                      <a:gd name="connsiteY251" fmla="*/ 403250 h 410382"/>
                      <a:gd name="connsiteX252" fmla="*/ 139903 w 539313"/>
                      <a:gd name="connsiteY252" fmla="*/ 404896 h 410382"/>
                      <a:gd name="connsiteX253" fmla="*/ 137709 w 539313"/>
                      <a:gd name="connsiteY253" fmla="*/ 408188 h 410382"/>
                      <a:gd name="connsiteX254" fmla="*/ 135514 w 539313"/>
                      <a:gd name="connsiteY254" fmla="*/ 409834 h 410382"/>
                      <a:gd name="connsiteX255" fmla="*/ 124541 w 539313"/>
                      <a:gd name="connsiteY255" fmla="*/ 405445 h 410382"/>
                      <a:gd name="connsiteX256" fmla="*/ 80101 w 539313"/>
                      <a:gd name="connsiteY256" fmla="*/ 407639 h 410382"/>
                      <a:gd name="connsiteX257" fmla="*/ 77358 w 539313"/>
                      <a:gd name="connsiteY257" fmla="*/ 409834 h 410382"/>
                      <a:gd name="connsiteX258" fmla="*/ 74615 w 539313"/>
                      <a:gd name="connsiteY258" fmla="*/ 410383 h 410382"/>
                      <a:gd name="connsiteX259" fmla="*/ 16459 w 539313"/>
                      <a:gd name="connsiteY259" fmla="*/ 391180 h 410382"/>
                      <a:gd name="connsiteX260" fmla="*/ 16459 w 539313"/>
                      <a:gd name="connsiteY260" fmla="*/ 391180 h 41038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  <a:cxn ang="0">
                        <a:pos x="connsiteX81" y="connsiteY81"/>
                      </a:cxn>
                      <a:cxn ang="0">
                        <a:pos x="connsiteX82" y="connsiteY82"/>
                      </a:cxn>
                      <a:cxn ang="0">
                        <a:pos x="connsiteX83" y="connsiteY83"/>
                      </a:cxn>
                      <a:cxn ang="0">
                        <a:pos x="connsiteX84" y="connsiteY84"/>
                      </a:cxn>
                      <a:cxn ang="0">
                        <a:pos x="connsiteX85" y="connsiteY85"/>
                      </a:cxn>
                      <a:cxn ang="0">
                        <a:pos x="connsiteX86" y="connsiteY86"/>
                      </a:cxn>
                      <a:cxn ang="0">
                        <a:pos x="connsiteX87" y="connsiteY87"/>
                      </a:cxn>
                      <a:cxn ang="0">
                        <a:pos x="connsiteX88" y="connsiteY88"/>
                      </a:cxn>
                      <a:cxn ang="0">
                        <a:pos x="connsiteX89" y="connsiteY89"/>
                      </a:cxn>
                      <a:cxn ang="0">
                        <a:pos x="connsiteX90" y="connsiteY90"/>
                      </a:cxn>
                      <a:cxn ang="0">
                        <a:pos x="connsiteX91" y="connsiteY91"/>
                      </a:cxn>
                      <a:cxn ang="0">
                        <a:pos x="connsiteX92" y="connsiteY92"/>
                      </a:cxn>
                      <a:cxn ang="0">
                        <a:pos x="connsiteX93" y="connsiteY93"/>
                      </a:cxn>
                      <a:cxn ang="0">
                        <a:pos x="connsiteX94" y="connsiteY94"/>
                      </a:cxn>
                      <a:cxn ang="0">
                        <a:pos x="connsiteX95" y="connsiteY95"/>
                      </a:cxn>
                      <a:cxn ang="0">
                        <a:pos x="connsiteX96" y="connsiteY96"/>
                      </a:cxn>
                      <a:cxn ang="0">
                        <a:pos x="connsiteX97" y="connsiteY97"/>
                      </a:cxn>
                      <a:cxn ang="0">
                        <a:pos x="connsiteX98" y="connsiteY98"/>
                      </a:cxn>
                      <a:cxn ang="0">
                        <a:pos x="connsiteX99" y="connsiteY99"/>
                      </a:cxn>
                      <a:cxn ang="0">
                        <a:pos x="connsiteX100" y="connsiteY100"/>
                      </a:cxn>
                      <a:cxn ang="0">
                        <a:pos x="connsiteX101" y="connsiteY101"/>
                      </a:cxn>
                      <a:cxn ang="0">
                        <a:pos x="connsiteX102" y="connsiteY102"/>
                      </a:cxn>
                      <a:cxn ang="0">
                        <a:pos x="connsiteX103" y="connsiteY103"/>
                      </a:cxn>
                      <a:cxn ang="0">
                        <a:pos x="connsiteX104" y="connsiteY104"/>
                      </a:cxn>
                      <a:cxn ang="0">
                        <a:pos x="connsiteX105" y="connsiteY105"/>
                      </a:cxn>
                      <a:cxn ang="0">
                        <a:pos x="connsiteX106" y="connsiteY106"/>
                      </a:cxn>
                      <a:cxn ang="0">
                        <a:pos x="connsiteX107" y="connsiteY107"/>
                      </a:cxn>
                      <a:cxn ang="0">
                        <a:pos x="connsiteX108" y="connsiteY108"/>
                      </a:cxn>
                      <a:cxn ang="0">
                        <a:pos x="connsiteX109" y="connsiteY109"/>
                      </a:cxn>
                      <a:cxn ang="0">
                        <a:pos x="connsiteX110" y="connsiteY110"/>
                      </a:cxn>
                      <a:cxn ang="0">
                        <a:pos x="connsiteX111" y="connsiteY111"/>
                      </a:cxn>
                      <a:cxn ang="0">
                        <a:pos x="connsiteX112" y="connsiteY112"/>
                      </a:cxn>
                      <a:cxn ang="0">
                        <a:pos x="connsiteX113" y="connsiteY113"/>
                      </a:cxn>
                      <a:cxn ang="0">
                        <a:pos x="connsiteX114" y="connsiteY114"/>
                      </a:cxn>
                      <a:cxn ang="0">
                        <a:pos x="connsiteX115" y="connsiteY115"/>
                      </a:cxn>
                      <a:cxn ang="0">
                        <a:pos x="connsiteX116" y="connsiteY116"/>
                      </a:cxn>
                      <a:cxn ang="0">
                        <a:pos x="connsiteX117" y="connsiteY117"/>
                      </a:cxn>
                      <a:cxn ang="0">
                        <a:pos x="connsiteX118" y="connsiteY118"/>
                      </a:cxn>
                      <a:cxn ang="0">
                        <a:pos x="connsiteX119" y="connsiteY119"/>
                      </a:cxn>
                      <a:cxn ang="0">
                        <a:pos x="connsiteX120" y="connsiteY120"/>
                      </a:cxn>
                      <a:cxn ang="0">
                        <a:pos x="connsiteX121" y="connsiteY121"/>
                      </a:cxn>
                      <a:cxn ang="0">
                        <a:pos x="connsiteX122" y="connsiteY122"/>
                      </a:cxn>
                      <a:cxn ang="0">
                        <a:pos x="connsiteX123" y="connsiteY123"/>
                      </a:cxn>
                      <a:cxn ang="0">
                        <a:pos x="connsiteX124" y="connsiteY124"/>
                      </a:cxn>
                      <a:cxn ang="0">
                        <a:pos x="connsiteX125" y="connsiteY125"/>
                      </a:cxn>
                      <a:cxn ang="0">
                        <a:pos x="connsiteX126" y="connsiteY126"/>
                      </a:cxn>
                      <a:cxn ang="0">
                        <a:pos x="connsiteX127" y="connsiteY127"/>
                      </a:cxn>
                      <a:cxn ang="0">
                        <a:pos x="connsiteX128" y="connsiteY128"/>
                      </a:cxn>
                      <a:cxn ang="0">
                        <a:pos x="connsiteX129" y="connsiteY129"/>
                      </a:cxn>
                      <a:cxn ang="0">
                        <a:pos x="connsiteX130" y="connsiteY130"/>
                      </a:cxn>
                      <a:cxn ang="0">
                        <a:pos x="connsiteX131" y="connsiteY131"/>
                      </a:cxn>
                      <a:cxn ang="0">
                        <a:pos x="connsiteX132" y="connsiteY132"/>
                      </a:cxn>
                      <a:cxn ang="0">
                        <a:pos x="connsiteX133" y="connsiteY133"/>
                      </a:cxn>
                      <a:cxn ang="0">
                        <a:pos x="connsiteX134" y="connsiteY134"/>
                      </a:cxn>
                      <a:cxn ang="0">
                        <a:pos x="connsiteX135" y="connsiteY135"/>
                      </a:cxn>
                      <a:cxn ang="0">
                        <a:pos x="connsiteX136" y="connsiteY136"/>
                      </a:cxn>
                      <a:cxn ang="0">
                        <a:pos x="connsiteX137" y="connsiteY137"/>
                      </a:cxn>
                      <a:cxn ang="0">
                        <a:pos x="connsiteX138" y="connsiteY138"/>
                      </a:cxn>
                      <a:cxn ang="0">
                        <a:pos x="connsiteX139" y="connsiteY139"/>
                      </a:cxn>
                      <a:cxn ang="0">
                        <a:pos x="connsiteX140" y="connsiteY140"/>
                      </a:cxn>
                      <a:cxn ang="0">
                        <a:pos x="connsiteX141" y="connsiteY141"/>
                      </a:cxn>
                      <a:cxn ang="0">
                        <a:pos x="connsiteX142" y="connsiteY142"/>
                      </a:cxn>
                      <a:cxn ang="0">
                        <a:pos x="connsiteX143" y="connsiteY143"/>
                      </a:cxn>
                      <a:cxn ang="0">
                        <a:pos x="connsiteX144" y="connsiteY144"/>
                      </a:cxn>
                      <a:cxn ang="0">
                        <a:pos x="connsiteX145" y="connsiteY145"/>
                      </a:cxn>
                      <a:cxn ang="0">
                        <a:pos x="connsiteX146" y="connsiteY146"/>
                      </a:cxn>
                      <a:cxn ang="0">
                        <a:pos x="connsiteX147" y="connsiteY147"/>
                      </a:cxn>
                      <a:cxn ang="0">
                        <a:pos x="connsiteX148" y="connsiteY148"/>
                      </a:cxn>
                      <a:cxn ang="0">
                        <a:pos x="connsiteX149" y="connsiteY149"/>
                      </a:cxn>
                      <a:cxn ang="0">
                        <a:pos x="connsiteX150" y="connsiteY150"/>
                      </a:cxn>
                      <a:cxn ang="0">
                        <a:pos x="connsiteX151" y="connsiteY151"/>
                      </a:cxn>
                      <a:cxn ang="0">
                        <a:pos x="connsiteX152" y="connsiteY152"/>
                      </a:cxn>
                      <a:cxn ang="0">
                        <a:pos x="connsiteX153" y="connsiteY153"/>
                      </a:cxn>
                      <a:cxn ang="0">
                        <a:pos x="connsiteX154" y="connsiteY154"/>
                      </a:cxn>
                      <a:cxn ang="0">
                        <a:pos x="connsiteX155" y="connsiteY155"/>
                      </a:cxn>
                      <a:cxn ang="0">
                        <a:pos x="connsiteX156" y="connsiteY156"/>
                      </a:cxn>
                      <a:cxn ang="0">
                        <a:pos x="connsiteX157" y="connsiteY157"/>
                      </a:cxn>
                      <a:cxn ang="0">
                        <a:pos x="connsiteX158" y="connsiteY158"/>
                      </a:cxn>
                      <a:cxn ang="0">
                        <a:pos x="connsiteX159" y="connsiteY159"/>
                      </a:cxn>
                      <a:cxn ang="0">
                        <a:pos x="connsiteX160" y="connsiteY160"/>
                      </a:cxn>
                      <a:cxn ang="0">
                        <a:pos x="connsiteX161" y="connsiteY161"/>
                      </a:cxn>
                      <a:cxn ang="0">
                        <a:pos x="connsiteX162" y="connsiteY162"/>
                      </a:cxn>
                      <a:cxn ang="0">
                        <a:pos x="connsiteX163" y="connsiteY163"/>
                      </a:cxn>
                      <a:cxn ang="0">
                        <a:pos x="connsiteX164" y="connsiteY164"/>
                      </a:cxn>
                      <a:cxn ang="0">
                        <a:pos x="connsiteX165" y="connsiteY165"/>
                      </a:cxn>
                      <a:cxn ang="0">
                        <a:pos x="connsiteX166" y="connsiteY166"/>
                      </a:cxn>
                      <a:cxn ang="0">
                        <a:pos x="connsiteX167" y="connsiteY167"/>
                      </a:cxn>
                      <a:cxn ang="0">
                        <a:pos x="connsiteX168" y="connsiteY168"/>
                      </a:cxn>
                      <a:cxn ang="0">
                        <a:pos x="connsiteX169" y="connsiteY169"/>
                      </a:cxn>
                      <a:cxn ang="0">
                        <a:pos x="connsiteX170" y="connsiteY170"/>
                      </a:cxn>
                      <a:cxn ang="0">
                        <a:pos x="connsiteX171" y="connsiteY171"/>
                      </a:cxn>
                      <a:cxn ang="0">
                        <a:pos x="connsiteX172" y="connsiteY172"/>
                      </a:cxn>
                      <a:cxn ang="0">
                        <a:pos x="connsiteX173" y="connsiteY173"/>
                      </a:cxn>
                      <a:cxn ang="0">
                        <a:pos x="connsiteX174" y="connsiteY174"/>
                      </a:cxn>
                      <a:cxn ang="0">
                        <a:pos x="connsiteX175" y="connsiteY175"/>
                      </a:cxn>
                      <a:cxn ang="0">
                        <a:pos x="connsiteX176" y="connsiteY176"/>
                      </a:cxn>
                      <a:cxn ang="0">
                        <a:pos x="connsiteX177" y="connsiteY177"/>
                      </a:cxn>
                      <a:cxn ang="0">
                        <a:pos x="connsiteX178" y="connsiteY178"/>
                      </a:cxn>
                      <a:cxn ang="0">
                        <a:pos x="connsiteX179" y="connsiteY179"/>
                      </a:cxn>
                      <a:cxn ang="0">
                        <a:pos x="connsiteX180" y="connsiteY180"/>
                      </a:cxn>
                      <a:cxn ang="0">
                        <a:pos x="connsiteX181" y="connsiteY181"/>
                      </a:cxn>
                      <a:cxn ang="0">
                        <a:pos x="connsiteX182" y="connsiteY182"/>
                      </a:cxn>
                      <a:cxn ang="0">
                        <a:pos x="connsiteX183" y="connsiteY183"/>
                      </a:cxn>
                      <a:cxn ang="0">
                        <a:pos x="connsiteX184" y="connsiteY184"/>
                      </a:cxn>
                      <a:cxn ang="0">
                        <a:pos x="connsiteX185" y="connsiteY185"/>
                      </a:cxn>
                      <a:cxn ang="0">
                        <a:pos x="connsiteX186" y="connsiteY186"/>
                      </a:cxn>
                      <a:cxn ang="0">
                        <a:pos x="connsiteX187" y="connsiteY187"/>
                      </a:cxn>
                      <a:cxn ang="0">
                        <a:pos x="connsiteX188" y="connsiteY188"/>
                      </a:cxn>
                      <a:cxn ang="0">
                        <a:pos x="connsiteX189" y="connsiteY189"/>
                      </a:cxn>
                      <a:cxn ang="0">
                        <a:pos x="connsiteX190" y="connsiteY190"/>
                      </a:cxn>
                      <a:cxn ang="0">
                        <a:pos x="connsiteX191" y="connsiteY191"/>
                      </a:cxn>
                      <a:cxn ang="0">
                        <a:pos x="connsiteX192" y="connsiteY192"/>
                      </a:cxn>
                      <a:cxn ang="0">
                        <a:pos x="connsiteX193" y="connsiteY193"/>
                      </a:cxn>
                      <a:cxn ang="0">
                        <a:pos x="connsiteX194" y="connsiteY194"/>
                      </a:cxn>
                      <a:cxn ang="0">
                        <a:pos x="connsiteX195" y="connsiteY195"/>
                      </a:cxn>
                      <a:cxn ang="0">
                        <a:pos x="connsiteX196" y="connsiteY196"/>
                      </a:cxn>
                      <a:cxn ang="0">
                        <a:pos x="connsiteX197" y="connsiteY197"/>
                      </a:cxn>
                      <a:cxn ang="0">
                        <a:pos x="connsiteX198" y="connsiteY198"/>
                      </a:cxn>
                      <a:cxn ang="0">
                        <a:pos x="connsiteX199" y="connsiteY199"/>
                      </a:cxn>
                      <a:cxn ang="0">
                        <a:pos x="connsiteX200" y="connsiteY200"/>
                      </a:cxn>
                      <a:cxn ang="0">
                        <a:pos x="connsiteX201" y="connsiteY201"/>
                      </a:cxn>
                      <a:cxn ang="0">
                        <a:pos x="connsiteX202" y="connsiteY202"/>
                      </a:cxn>
                      <a:cxn ang="0">
                        <a:pos x="connsiteX203" y="connsiteY203"/>
                      </a:cxn>
                      <a:cxn ang="0">
                        <a:pos x="connsiteX204" y="connsiteY204"/>
                      </a:cxn>
                      <a:cxn ang="0">
                        <a:pos x="connsiteX205" y="connsiteY205"/>
                      </a:cxn>
                      <a:cxn ang="0">
                        <a:pos x="connsiteX206" y="connsiteY206"/>
                      </a:cxn>
                      <a:cxn ang="0">
                        <a:pos x="connsiteX207" y="connsiteY207"/>
                      </a:cxn>
                      <a:cxn ang="0">
                        <a:pos x="connsiteX208" y="connsiteY208"/>
                      </a:cxn>
                      <a:cxn ang="0">
                        <a:pos x="connsiteX209" y="connsiteY209"/>
                      </a:cxn>
                      <a:cxn ang="0">
                        <a:pos x="connsiteX210" y="connsiteY210"/>
                      </a:cxn>
                      <a:cxn ang="0">
                        <a:pos x="connsiteX211" y="connsiteY211"/>
                      </a:cxn>
                      <a:cxn ang="0">
                        <a:pos x="connsiteX212" y="connsiteY212"/>
                      </a:cxn>
                      <a:cxn ang="0">
                        <a:pos x="connsiteX213" y="connsiteY213"/>
                      </a:cxn>
                      <a:cxn ang="0">
                        <a:pos x="connsiteX214" y="connsiteY214"/>
                      </a:cxn>
                      <a:cxn ang="0">
                        <a:pos x="connsiteX215" y="connsiteY215"/>
                      </a:cxn>
                      <a:cxn ang="0">
                        <a:pos x="connsiteX216" y="connsiteY216"/>
                      </a:cxn>
                      <a:cxn ang="0">
                        <a:pos x="connsiteX217" y="connsiteY217"/>
                      </a:cxn>
                      <a:cxn ang="0">
                        <a:pos x="connsiteX218" y="connsiteY218"/>
                      </a:cxn>
                      <a:cxn ang="0">
                        <a:pos x="connsiteX219" y="connsiteY219"/>
                      </a:cxn>
                      <a:cxn ang="0">
                        <a:pos x="connsiteX220" y="connsiteY220"/>
                      </a:cxn>
                      <a:cxn ang="0">
                        <a:pos x="connsiteX221" y="connsiteY221"/>
                      </a:cxn>
                      <a:cxn ang="0">
                        <a:pos x="connsiteX222" y="connsiteY222"/>
                      </a:cxn>
                      <a:cxn ang="0">
                        <a:pos x="connsiteX223" y="connsiteY223"/>
                      </a:cxn>
                      <a:cxn ang="0">
                        <a:pos x="connsiteX224" y="connsiteY224"/>
                      </a:cxn>
                      <a:cxn ang="0">
                        <a:pos x="connsiteX225" y="connsiteY225"/>
                      </a:cxn>
                      <a:cxn ang="0">
                        <a:pos x="connsiteX226" y="connsiteY226"/>
                      </a:cxn>
                      <a:cxn ang="0">
                        <a:pos x="connsiteX227" y="connsiteY227"/>
                      </a:cxn>
                      <a:cxn ang="0">
                        <a:pos x="connsiteX228" y="connsiteY228"/>
                      </a:cxn>
                      <a:cxn ang="0">
                        <a:pos x="connsiteX229" y="connsiteY229"/>
                      </a:cxn>
                      <a:cxn ang="0">
                        <a:pos x="connsiteX230" y="connsiteY230"/>
                      </a:cxn>
                      <a:cxn ang="0">
                        <a:pos x="connsiteX231" y="connsiteY231"/>
                      </a:cxn>
                      <a:cxn ang="0">
                        <a:pos x="connsiteX232" y="connsiteY232"/>
                      </a:cxn>
                      <a:cxn ang="0">
                        <a:pos x="connsiteX233" y="connsiteY233"/>
                      </a:cxn>
                      <a:cxn ang="0">
                        <a:pos x="connsiteX234" y="connsiteY234"/>
                      </a:cxn>
                      <a:cxn ang="0">
                        <a:pos x="connsiteX235" y="connsiteY235"/>
                      </a:cxn>
                      <a:cxn ang="0">
                        <a:pos x="connsiteX236" y="connsiteY236"/>
                      </a:cxn>
                      <a:cxn ang="0">
                        <a:pos x="connsiteX237" y="connsiteY237"/>
                      </a:cxn>
                      <a:cxn ang="0">
                        <a:pos x="connsiteX238" y="connsiteY238"/>
                      </a:cxn>
                      <a:cxn ang="0">
                        <a:pos x="connsiteX239" y="connsiteY239"/>
                      </a:cxn>
                      <a:cxn ang="0">
                        <a:pos x="connsiteX240" y="connsiteY240"/>
                      </a:cxn>
                      <a:cxn ang="0">
                        <a:pos x="connsiteX241" y="connsiteY241"/>
                      </a:cxn>
                      <a:cxn ang="0">
                        <a:pos x="connsiteX242" y="connsiteY242"/>
                      </a:cxn>
                      <a:cxn ang="0">
                        <a:pos x="connsiteX243" y="connsiteY243"/>
                      </a:cxn>
                      <a:cxn ang="0">
                        <a:pos x="connsiteX244" y="connsiteY244"/>
                      </a:cxn>
                      <a:cxn ang="0">
                        <a:pos x="connsiteX245" y="connsiteY245"/>
                      </a:cxn>
                      <a:cxn ang="0">
                        <a:pos x="connsiteX246" y="connsiteY246"/>
                      </a:cxn>
                      <a:cxn ang="0">
                        <a:pos x="connsiteX247" y="connsiteY247"/>
                      </a:cxn>
                      <a:cxn ang="0">
                        <a:pos x="connsiteX248" y="connsiteY248"/>
                      </a:cxn>
                      <a:cxn ang="0">
                        <a:pos x="connsiteX249" y="connsiteY249"/>
                      </a:cxn>
                      <a:cxn ang="0">
                        <a:pos x="connsiteX250" y="connsiteY250"/>
                      </a:cxn>
                      <a:cxn ang="0">
                        <a:pos x="connsiteX251" y="connsiteY251"/>
                      </a:cxn>
                      <a:cxn ang="0">
                        <a:pos x="connsiteX252" y="connsiteY252"/>
                      </a:cxn>
                      <a:cxn ang="0">
                        <a:pos x="connsiteX253" y="connsiteY253"/>
                      </a:cxn>
                      <a:cxn ang="0">
                        <a:pos x="connsiteX254" y="connsiteY254"/>
                      </a:cxn>
                      <a:cxn ang="0">
                        <a:pos x="connsiteX255" y="connsiteY255"/>
                      </a:cxn>
                      <a:cxn ang="0">
                        <a:pos x="connsiteX256" y="connsiteY256"/>
                      </a:cxn>
                      <a:cxn ang="0">
                        <a:pos x="connsiteX257" y="connsiteY257"/>
                      </a:cxn>
                      <a:cxn ang="0">
                        <a:pos x="connsiteX258" y="connsiteY258"/>
                      </a:cxn>
                      <a:cxn ang="0">
                        <a:pos x="connsiteX259" y="connsiteY259"/>
                      </a:cxn>
                      <a:cxn ang="0">
                        <a:pos x="connsiteX260" y="connsiteY260"/>
                      </a:cxn>
                    </a:cxnLst>
                    <a:rect l="l" t="t" r="r" b="b"/>
                    <a:pathLst>
                      <a:path w="539313" h="410382">
                        <a:moveTo>
                          <a:pt x="16459" y="391180"/>
                        </a:moveTo>
                        <a:lnTo>
                          <a:pt x="40599" y="355519"/>
                        </a:lnTo>
                        <a:lnTo>
                          <a:pt x="44988" y="343449"/>
                        </a:lnTo>
                        <a:lnTo>
                          <a:pt x="44988" y="334122"/>
                        </a:lnTo>
                        <a:lnTo>
                          <a:pt x="40599" y="322600"/>
                        </a:lnTo>
                        <a:lnTo>
                          <a:pt x="33467" y="316017"/>
                        </a:lnTo>
                        <a:lnTo>
                          <a:pt x="15910" y="313273"/>
                        </a:lnTo>
                        <a:lnTo>
                          <a:pt x="9875" y="306141"/>
                        </a:lnTo>
                        <a:lnTo>
                          <a:pt x="9327" y="273223"/>
                        </a:lnTo>
                        <a:lnTo>
                          <a:pt x="2743" y="254020"/>
                        </a:lnTo>
                        <a:lnTo>
                          <a:pt x="10424" y="228783"/>
                        </a:lnTo>
                        <a:lnTo>
                          <a:pt x="9875" y="221650"/>
                        </a:lnTo>
                        <a:lnTo>
                          <a:pt x="0" y="218907"/>
                        </a:lnTo>
                        <a:lnTo>
                          <a:pt x="0" y="198607"/>
                        </a:lnTo>
                        <a:lnTo>
                          <a:pt x="15362" y="192024"/>
                        </a:lnTo>
                        <a:lnTo>
                          <a:pt x="15362" y="182148"/>
                        </a:lnTo>
                        <a:lnTo>
                          <a:pt x="24140" y="167335"/>
                        </a:lnTo>
                        <a:lnTo>
                          <a:pt x="28529" y="131674"/>
                        </a:lnTo>
                        <a:lnTo>
                          <a:pt x="37856" y="138257"/>
                        </a:lnTo>
                        <a:lnTo>
                          <a:pt x="38953" y="140452"/>
                        </a:lnTo>
                        <a:lnTo>
                          <a:pt x="46634" y="142646"/>
                        </a:lnTo>
                        <a:lnTo>
                          <a:pt x="55413" y="141549"/>
                        </a:lnTo>
                        <a:lnTo>
                          <a:pt x="59253" y="144292"/>
                        </a:lnTo>
                        <a:lnTo>
                          <a:pt x="64191" y="146487"/>
                        </a:lnTo>
                        <a:lnTo>
                          <a:pt x="68031" y="151425"/>
                        </a:lnTo>
                        <a:lnTo>
                          <a:pt x="70774" y="151425"/>
                        </a:lnTo>
                        <a:lnTo>
                          <a:pt x="75712" y="150327"/>
                        </a:lnTo>
                        <a:lnTo>
                          <a:pt x="85039" y="150327"/>
                        </a:lnTo>
                        <a:lnTo>
                          <a:pt x="89428" y="145938"/>
                        </a:lnTo>
                        <a:lnTo>
                          <a:pt x="95463" y="143743"/>
                        </a:lnTo>
                        <a:lnTo>
                          <a:pt x="98206" y="142098"/>
                        </a:lnTo>
                        <a:lnTo>
                          <a:pt x="99852" y="133319"/>
                        </a:lnTo>
                        <a:lnTo>
                          <a:pt x="102595" y="132222"/>
                        </a:lnTo>
                        <a:lnTo>
                          <a:pt x="104790" y="129479"/>
                        </a:lnTo>
                        <a:lnTo>
                          <a:pt x="100401" y="125638"/>
                        </a:lnTo>
                        <a:lnTo>
                          <a:pt x="100401" y="121798"/>
                        </a:lnTo>
                        <a:lnTo>
                          <a:pt x="105339" y="122895"/>
                        </a:lnTo>
                        <a:lnTo>
                          <a:pt x="122347" y="117958"/>
                        </a:lnTo>
                        <a:lnTo>
                          <a:pt x="127833" y="114666"/>
                        </a:lnTo>
                        <a:lnTo>
                          <a:pt x="133868" y="112471"/>
                        </a:lnTo>
                        <a:lnTo>
                          <a:pt x="137709" y="108082"/>
                        </a:lnTo>
                        <a:lnTo>
                          <a:pt x="142646" y="107533"/>
                        </a:lnTo>
                        <a:lnTo>
                          <a:pt x="152522" y="100401"/>
                        </a:lnTo>
                        <a:lnTo>
                          <a:pt x="153619" y="97658"/>
                        </a:lnTo>
                        <a:lnTo>
                          <a:pt x="155265" y="83942"/>
                        </a:lnTo>
                        <a:lnTo>
                          <a:pt x="156911" y="81199"/>
                        </a:lnTo>
                        <a:lnTo>
                          <a:pt x="160751" y="69677"/>
                        </a:lnTo>
                        <a:lnTo>
                          <a:pt x="160751" y="65837"/>
                        </a:lnTo>
                        <a:lnTo>
                          <a:pt x="161849" y="63094"/>
                        </a:lnTo>
                        <a:lnTo>
                          <a:pt x="164592" y="61447"/>
                        </a:lnTo>
                        <a:lnTo>
                          <a:pt x="167884" y="57058"/>
                        </a:lnTo>
                        <a:lnTo>
                          <a:pt x="173919" y="55961"/>
                        </a:lnTo>
                        <a:lnTo>
                          <a:pt x="177759" y="57607"/>
                        </a:lnTo>
                        <a:lnTo>
                          <a:pt x="188732" y="57058"/>
                        </a:lnTo>
                        <a:lnTo>
                          <a:pt x="189829" y="55961"/>
                        </a:lnTo>
                        <a:lnTo>
                          <a:pt x="191475" y="52121"/>
                        </a:lnTo>
                        <a:lnTo>
                          <a:pt x="192024" y="46634"/>
                        </a:lnTo>
                        <a:lnTo>
                          <a:pt x="193670" y="44440"/>
                        </a:lnTo>
                        <a:lnTo>
                          <a:pt x="200254" y="44440"/>
                        </a:lnTo>
                        <a:lnTo>
                          <a:pt x="216713" y="52669"/>
                        </a:lnTo>
                        <a:lnTo>
                          <a:pt x="246888" y="51572"/>
                        </a:lnTo>
                        <a:lnTo>
                          <a:pt x="251826" y="53767"/>
                        </a:lnTo>
                        <a:lnTo>
                          <a:pt x="255666" y="57607"/>
                        </a:lnTo>
                        <a:lnTo>
                          <a:pt x="262798" y="55413"/>
                        </a:lnTo>
                        <a:lnTo>
                          <a:pt x="271577" y="56510"/>
                        </a:lnTo>
                        <a:lnTo>
                          <a:pt x="284195" y="70226"/>
                        </a:lnTo>
                        <a:lnTo>
                          <a:pt x="289133" y="68031"/>
                        </a:lnTo>
                        <a:lnTo>
                          <a:pt x="294071" y="68031"/>
                        </a:lnTo>
                        <a:lnTo>
                          <a:pt x="295168" y="64191"/>
                        </a:lnTo>
                        <a:lnTo>
                          <a:pt x="307787" y="58704"/>
                        </a:lnTo>
                        <a:lnTo>
                          <a:pt x="311079" y="59253"/>
                        </a:lnTo>
                        <a:lnTo>
                          <a:pt x="312725" y="57058"/>
                        </a:lnTo>
                        <a:lnTo>
                          <a:pt x="317114" y="55413"/>
                        </a:lnTo>
                        <a:lnTo>
                          <a:pt x="319308" y="55961"/>
                        </a:lnTo>
                        <a:lnTo>
                          <a:pt x="322600" y="59802"/>
                        </a:lnTo>
                        <a:lnTo>
                          <a:pt x="332476" y="62545"/>
                        </a:lnTo>
                        <a:lnTo>
                          <a:pt x="334670" y="60899"/>
                        </a:lnTo>
                        <a:lnTo>
                          <a:pt x="335219" y="59253"/>
                        </a:lnTo>
                        <a:lnTo>
                          <a:pt x="335219" y="55961"/>
                        </a:lnTo>
                        <a:lnTo>
                          <a:pt x="333573" y="53218"/>
                        </a:lnTo>
                        <a:lnTo>
                          <a:pt x="333024" y="48829"/>
                        </a:lnTo>
                        <a:lnTo>
                          <a:pt x="339608" y="40599"/>
                        </a:lnTo>
                        <a:lnTo>
                          <a:pt x="342900" y="40051"/>
                        </a:lnTo>
                        <a:lnTo>
                          <a:pt x="346740" y="42245"/>
                        </a:lnTo>
                        <a:lnTo>
                          <a:pt x="352775" y="40599"/>
                        </a:lnTo>
                        <a:lnTo>
                          <a:pt x="358262" y="43891"/>
                        </a:lnTo>
                        <a:lnTo>
                          <a:pt x="361005" y="44440"/>
                        </a:lnTo>
                        <a:lnTo>
                          <a:pt x="362651" y="43891"/>
                        </a:lnTo>
                        <a:lnTo>
                          <a:pt x="367589" y="37856"/>
                        </a:lnTo>
                        <a:lnTo>
                          <a:pt x="368686" y="35113"/>
                        </a:lnTo>
                        <a:lnTo>
                          <a:pt x="364846" y="31272"/>
                        </a:lnTo>
                        <a:lnTo>
                          <a:pt x="364846" y="26883"/>
                        </a:lnTo>
                        <a:lnTo>
                          <a:pt x="379110" y="7132"/>
                        </a:lnTo>
                        <a:lnTo>
                          <a:pt x="381305" y="6035"/>
                        </a:lnTo>
                        <a:lnTo>
                          <a:pt x="382951" y="2194"/>
                        </a:lnTo>
                        <a:lnTo>
                          <a:pt x="383499" y="1097"/>
                        </a:lnTo>
                        <a:lnTo>
                          <a:pt x="388437" y="2194"/>
                        </a:lnTo>
                        <a:lnTo>
                          <a:pt x="391729" y="0"/>
                        </a:lnTo>
                        <a:lnTo>
                          <a:pt x="398313" y="1097"/>
                        </a:lnTo>
                        <a:lnTo>
                          <a:pt x="407091" y="9875"/>
                        </a:lnTo>
                        <a:lnTo>
                          <a:pt x="407091" y="14265"/>
                        </a:lnTo>
                        <a:lnTo>
                          <a:pt x="404347" y="19202"/>
                        </a:lnTo>
                        <a:lnTo>
                          <a:pt x="404347" y="22494"/>
                        </a:lnTo>
                        <a:lnTo>
                          <a:pt x="405445" y="24140"/>
                        </a:lnTo>
                        <a:lnTo>
                          <a:pt x="408737" y="26335"/>
                        </a:lnTo>
                        <a:lnTo>
                          <a:pt x="412577" y="25237"/>
                        </a:lnTo>
                        <a:lnTo>
                          <a:pt x="414772" y="26335"/>
                        </a:lnTo>
                        <a:lnTo>
                          <a:pt x="415869" y="29626"/>
                        </a:lnTo>
                        <a:lnTo>
                          <a:pt x="414223" y="31821"/>
                        </a:lnTo>
                        <a:lnTo>
                          <a:pt x="413126" y="35113"/>
                        </a:lnTo>
                        <a:lnTo>
                          <a:pt x="414223" y="42245"/>
                        </a:lnTo>
                        <a:lnTo>
                          <a:pt x="413674" y="46086"/>
                        </a:lnTo>
                        <a:lnTo>
                          <a:pt x="412029" y="49926"/>
                        </a:lnTo>
                        <a:lnTo>
                          <a:pt x="412029" y="56510"/>
                        </a:lnTo>
                        <a:lnTo>
                          <a:pt x="409834" y="62545"/>
                        </a:lnTo>
                        <a:lnTo>
                          <a:pt x="419161" y="83393"/>
                        </a:lnTo>
                        <a:lnTo>
                          <a:pt x="420807" y="85039"/>
                        </a:lnTo>
                        <a:lnTo>
                          <a:pt x="423550" y="85588"/>
                        </a:lnTo>
                        <a:lnTo>
                          <a:pt x="444398" y="71872"/>
                        </a:lnTo>
                        <a:lnTo>
                          <a:pt x="458663" y="68031"/>
                        </a:lnTo>
                        <a:lnTo>
                          <a:pt x="460309" y="66934"/>
                        </a:lnTo>
                        <a:lnTo>
                          <a:pt x="463052" y="62545"/>
                        </a:lnTo>
                        <a:lnTo>
                          <a:pt x="468538" y="59802"/>
                        </a:lnTo>
                        <a:lnTo>
                          <a:pt x="469087" y="57607"/>
                        </a:lnTo>
                        <a:lnTo>
                          <a:pt x="472379" y="57058"/>
                        </a:lnTo>
                        <a:lnTo>
                          <a:pt x="478963" y="52121"/>
                        </a:lnTo>
                        <a:lnTo>
                          <a:pt x="482803" y="51572"/>
                        </a:lnTo>
                        <a:lnTo>
                          <a:pt x="487192" y="47731"/>
                        </a:lnTo>
                        <a:lnTo>
                          <a:pt x="491581" y="47731"/>
                        </a:lnTo>
                        <a:lnTo>
                          <a:pt x="493227" y="49926"/>
                        </a:lnTo>
                        <a:lnTo>
                          <a:pt x="498165" y="49926"/>
                        </a:lnTo>
                        <a:lnTo>
                          <a:pt x="499262" y="57058"/>
                        </a:lnTo>
                        <a:lnTo>
                          <a:pt x="501457" y="59253"/>
                        </a:lnTo>
                        <a:lnTo>
                          <a:pt x="503103" y="58704"/>
                        </a:lnTo>
                        <a:lnTo>
                          <a:pt x="507492" y="54864"/>
                        </a:lnTo>
                        <a:lnTo>
                          <a:pt x="508041" y="55413"/>
                        </a:lnTo>
                        <a:lnTo>
                          <a:pt x="509686" y="55413"/>
                        </a:lnTo>
                        <a:lnTo>
                          <a:pt x="525048" y="51023"/>
                        </a:lnTo>
                        <a:lnTo>
                          <a:pt x="529986" y="51023"/>
                        </a:lnTo>
                        <a:lnTo>
                          <a:pt x="533278" y="52669"/>
                        </a:lnTo>
                        <a:lnTo>
                          <a:pt x="538216" y="52669"/>
                        </a:lnTo>
                        <a:lnTo>
                          <a:pt x="539313" y="54864"/>
                        </a:lnTo>
                        <a:lnTo>
                          <a:pt x="539313" y="57058"/>
                        </a:lnTo>
                        <a:lnTo>
                          <a:pt x="536570" y="57607"/>
                        </a:lnTo>
                        <a:lnTo>
                          <a:pt x="538216" y="57607"/>
                        </a:lnTo>
                        <a:lnTo>
                          <a:pt x="536570" y="57607"/>
                        </a:lnTo>
                        <a:lnTo>
                          <a:pt x="533278" y="56510"/>
                        </a:lnTo>
                        <a:lnTo>
                          <a:pt x="530535" y="57058"/>
                        </a:lnTo>
                        <a:lnTo>
                          <a:pt x="525048" y="62545"/>
                        </a:lnTo>
                        <a:lnTo>
                          <a:pt x="526694" y="64739"/>
                        </a:lnTo>
                        <a:lnTo>
                          <a:pt x="530535" y="66385"/>
                        </a:lnTo>
                        <a:lnTo>
                          <a:pt x="531632" y="69677"/>
                        </a:lnTo>
                        <a:lnTo>
                          <a:pt x="531083" y="72969"/>
                        </a:lnTo>
                        <a:lnTo>
                          <a:pt x="523951" y="71872"/>
                        </a:lnTo>
                        <a:lnTo>
                          <a:pt x="520659" y="74066"/>
                        </a:lnTo>
                        <a:lnTo>
                          <a:pt x="518465" y="74066"/>
                        </a:lnTo>
                        <a:lnTo>
                          <a:pt x="514624" y="77358"/>
                        </a:lnTo>
                        <a:lnTo>
                          <a:pt x="511332" y="77358"/>
                        </a:lnTo>
                        <a:lnTo>
                          <a:pt x="501457" y="74066"/>
                        </a:lnTo>
                        <a:lnTo>
                          <a:pt x="496519" y="74615"/>
                        </a:lnTo>
                        <a:lnTo>
                          <a:pt x="494325" y="74066"/>
                        </a:lnTo>
                        <a:lnTo>
                          <a:pt x="455920" y="78455"/>
                        </a:lnTo>
                        <a:lnTo>
                          <a:pt x="449885" y="82296"/>
                        </a:lnTo>
                        <a:lnTo>
                          <a:pt x="443850" y="82845"/>
                        </a:lnTo>
                        <a:lnTo>
                          <a:pt x="441106" y="85039"/>
                        </a:lnTo>
                        <a:lnTo>
                          <a:pt x="437815" y="85039"/>
                        </a:lnTo>
                        <a:lnTo>
                          <a:pt x="437815" y="87782"/>
                        </a:lnTo>
                        <a:lnTo>
                          <a:pt x="435071" y="89977"/>
                        </a:lnTo>
                        <a:lnTo>
                          <a:pt x="429036" y="91623"/>
                        </a:lnTo>
                        <a:lnTo>
                          <a:pt x="427939" y="93269"/>
                        </a:lnTo>
                        <a:lnTo>
                          <a:pt x="428488" y="96012"/>
                        </a:lnTo>
                        <a:lnTo>
                          <a:pt x="425745" y="96561"/>
                        </a:lnTo>
                        <a:lnTo>
                          <a:pt x="423001" y="94915"/>
                        </a:lnTo>
                        <a:lnTo>
                          <a:pt x="419161" y="94915"/>
                        </a:lnTo>
                        <a:lnTo>
                          <a:pt x="418612" y="96012"/>
                        </a:lnTo>
                        <a:lnTo>
                          <a:pt x="418063" y="99304"/>
                        </a:lnTo>
                        <a:lnTo>
                          <a:pt x="406542" y="108082"/>
                        </a:lnTo>
                        <a:lnTo>
                          <a:pt x="404347" y="111374"/>
                        </a:lnTo>
                        <a:lnTo>
                          <a:pt x="403799" y="114666"/>
                        </a:lnTo>
                        <a:lnTo>
                          <a:pt x="404347" y="116311"/>
                        </a:lnTo>
                        <a:lnTo>
                          <a:pt x="414772" y="125090"/>
                        </a:lnTo>
                        <a:lnTo>
                          <a:pt x="419710" y="141000"/>
                        </a:lnTo>
                        <a:lnTo>
                          <a:pt x="419710" y="142098"/>
                        </a:lnTo>
                        <a:lnTo>
                          <a:pt x="417515" y="147584"/>
                        </a:lnTo>
                        <a:lnTo>
                          <a:pt x="417515" y="149779"/>
                        </a:lnTo>
                        <a:lnTo>
                          <a:pt x="418612" y="151973"/>
                        </a:lnTo>
                        <a:lnTo>
                          <a:pt x="418063" y="156362"/>
                        </a:lnTo>
                        <a:lnTo>
                          <a:pt x="401056" y="176113"/>
                        </a:lnTo>
                        <a:lnTo>
                          <a:pt x="398861" y="181051"/>
                        </a:lnTo>
                        <a:lnTo>
                          <a:pt x="396118" y="184343"/>
                        </a:lnTo>
                        <a:lnTo>
                          <a:pt x="396118" y="188732"/>
                        </a:lnTo>
                        <a:lnTo>
                          <a:pt x="399958" y="189829"/>
                        </a:lnTo>
                        <a:lnTo>
                          <a:pt x="401604" y="192024"/>
                        </a:lnTo>
                        <a:lnTo>
                          <a:pt x="399958" y="194218"/>
                        </a:lnTo>
                        <a:lnTo>
                          <a:pt x="399958" y="198607"/>
                        </a:lnTo>
                        <a:lnTo>
                          <a:pt x="394472" y="205740"/>
                        </a:lnTo>
                        <a:lnTo>
                          <a:pt x="382402" y="209580"/>
                        </a:lnTo>
                        <a:lnTo>
                          <a:pt x="358810" y="205191"/>
                        </a:lnTo>
                        <a:lnTo>
                          <a:pt x="356067" y="206837"/>
                        </a:lnTo>
                        <a:lnTo>
                          <a:pt x="354970" y="210129"/>
                        </a:lnTo>
                        <a:lnTo>
                          <a:pt x="360456" y="218907"/>
                        </a:lnTo>
                        <a:lnTo>
                          <a:pt x="363199" y="219456"/>
                        </a:lnTo>
                        <a:lnTo>
                          <a:pt x="365943" y="230429"/>
                        </a:lnTo>
                        <a:lnTo>
                          <a:pt x="369783" y="233172"/>
                        </a:lnTo>
                        <a:lnTo>
                          <a:pt x="369235" y="235915"/>
                        </a:lnTo>
                        <a:lnTo>
                          <a:pt x="354970" y="247437"/>
                        </a:lnTo>
                        <a:lnTo>
                          <a:pt x="348935" y="245791"/>
                        </a:lnTo>
                        <a:lnTo>
                          <a:pt x="340705" y="248534"/>
                        </a:lnTo>
                        <a:lnTo>
                          <a:pt x="340157" y="257861"/>
                        </a:lnTo>
                        <a:lnTo>
                          <a:pt x="336316" y="259507"/>
                        </a:lnTo>
                        <a:lnTo>
                          <a:pt x="335219" y="263347"/>
                        </a:lnTo>
                        <a:lnTo>
                          <a:pt x="336316" y="267187"/>
                        </a:lnTo>
                        <a:lnTo>
                          <a:pt x="335767" y="269931"/>
                        </a:lnTo>
                        <a:lnTo>
                          <a:pt x="334122" y="269931"/>
                        </a:lnTo>
                        <a:lnTo>
                          <a:pt x="329184" y="276514"/>
                        </a:lnTo>
                        <a:lnTo>
                          <a:pt x="330830" y="301203"/>
                        </a:lnTo>
                        <a:lnTo>
                          <a:pt x="317662" y="314919"/>
                        </a:lnTo>
                        <a:lnTo>
                          <a:pt x="315468" y="315468"/>
                        </a:lnTo>
                        <a:lnTo>
                          <a:pt x="311627" y="313822"/>
                        </a:lnTo>
                        <a:lnTo>
                          <a:pt x="309982" y="311079"/>
                        </a:lnTo>
                        <a:lnTo>
                          <a:pt x="309433" y="308335"/>
                        </a:lnTo>
                        <a:lnTo>
                          <a:pt x="303946" y="305592"/>
                        </a:lnTo>
                        <a:lnTo>
                          <a:pt x="301203" y="305044"/>
                        </a:lnTo>
                        <a:lnTo>
                          <a:pt x="299557" y="307787"/>
                        </a:lnTo>
                        <a:lnTo>
                          <a:pt x="302301" y="308884"/>
                        </a:lnTo>
                        <a:lnTo>
                          <a:pt x="302849" y="310530"/>
                        </a:lnTo>
                        <a:lnTo>
                          <a:pt x="291328" y="307238"/>
                        </a:lnTo>
                        <a:lnTo>
                          <a:pt x="286939" y="307238"/>
                        </a:lnTo>
                        <a:lnTo>
                          <a:pt x="284195" y="308884"/>
                        </a:lnTo>
                        <a:lnTo>
                          <a:pt x="282001" y="312176"/>
                        </a:lnTo>
                        <a:lnTo>
                          <a:pt x="270479" y="317662"/>
                        </a:lnTo>
                        <a:lnTo>
                          <a:pt x="268285" y="320406"/>
                        </a:lnTo>
                        <a:lnTo>
                          <a:pt x="268834" y="321503"/>
                        </a:lnTo>
                        <a:lnTo>
                          <a:pt x="274320" y="323149"/>
                        </a:lnTo>
                        <a:lnTo>
                          <a:pt x="274320" y="325343"/>
                        </a:lnTo>
                        <a:lnTo>
                          <a:pt x="272674" y="327538"/>
                        </a:lnTo>
                        <a:lnTo>
                          <a:pt x="244693" y="330281"/>
                        </a:lnTo>
                        <a:lnTo>
                          <a:pt x="244693" y="328087"/>
                        </a:lnTo>
                        <a:lnTo>
                          <a:pt x="241402" y="326441"/>
                        </a:lnTo>
                        <a:lnTo>
                          <a:pt x="237012" y="329184"/>
                        </a:lnTo>
                        <a:lnTo>
                          <a:pt x="233172" y="336316"/>
                        </a:lnTo>
                        <a:lnTo>
                          <a:pt x="224394" y="342351"/>
                        </a:lnTo>
                        <a:lnTo>
                          <a:pt x="220005" y="356616"/>
                        </a:lnTo>
                        <a:lnTo>
                          <a:pt x="220553" y="365394"/>
                        </a:lnTo>
                        <a:lnTo>
                          <a:pt x="218359" y="378013"/>
                        </a:lnTo>
                        <a:lnTo>
                          <a:pt x="218907" y="380756"/>
                        </a:lnTo>
                        <a:lnTo>
                          <a:pt x="220553" y="382951"/>
                        </a:lnTo>
                        <a:lnTo>
                          <a:pt x="220553" y="387340"/>
                        </a:lnTo>
                        <a:lnTo>
                          <a:pt x="214518" y="392278"/>
                        </a:lnTo>
                        <a:lnTo>
                          <a:pt x="172273" y="402702"/>
                        </a:lnTo>
                        <a:lnTo>
                          <a:pt x="146487" y="401604"/>
                        </a:lnTo>
                        <a:lnTo>
                          <a:pt x="141549" y="403250"/>
                        </a:lnTo>
                        <a:lnTo>
                          <a:pt x="139903" y="404896"/>
                        </a:lnTo>
                        <a:lnTo>
                          <a:pt x="137709" y="408188"/>
                        </a:lnTo>
                        <a:lnTo>
                          <a:pt x="135514" y="409834"/>
                        </a:lnTo>
                        <a:lnTo>
                          <a:pt x="124541" y="405445"/>
                        </a:lnTo>
                        <a:lnTo>
                          <a:pt x="80101" y="407639"/>
                        </a:lnTo>
                        <a:lnTo>
                          <a:pt x="77358" y="409834"/>
                        </a:lnTo>
                        <a:lnTo>
                          <a:pt x="74615" y="410383"/>
                        </a:lnTo>
                        <a:lnTo>
                          <a:pt x="16459" y="391180"/>
                        </a:lnTo>
                        <a:lnTo>
                          <a:pt x="16459" y="391180"/>
                        </a:lnTo>
                      </a:path>
                    </a:pathLst>
                  </a:custGeom>
                  <a:grpFill/>
                  <a:ln w="1270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7" name="Graphic 7">
                    <a:extLst>
                      <a:ext uri="{FF2B5EF4-FFF2-40B4-BE49-F238E27FC236}">
                        <a16:creationId xmlns:a16="http://schemas.microsoft.com/office/drawing/2014/main" id="{4390DC72-FC8F-E5A6-36CB-F9C76DBF02EE}"/>
                      </a:ext>
                    </a:extLst>
                  </p:cNvPr>
                  <p:cNvSpPr/>
                  <p:nvPr/>
                </p:nvSpPr>
                <p:spPr>
                  <a:xfrm>
                    <a:off x="6604301" y="2515892"/>
                    <a:ext cx="1192911" cy="637390"/>
                  </a:xfrm>
                  <a:custGeom>
                    <a:avLst/>
                    <a:gdLst>
                      <a:gd name="connsiteX0" fmla="*/ 354970 w 1526865"/>
                      <a:gd name="connsiteY0" fmla="*/ 615026 h 815827"/>
                      <a:gd name="connsiteX1" fmla="*/ 354970 w 1526865"/>
                      <a:gd name="connsiteY1" fmla="*/ 800466 h 815827"/>
                      <a:gd name="connsiteX2" fmla="*/ 346192 w 1526865"/>
                      <a:gd name="connsiteY2" fmla="*/ 804306 h 815827"/>
                      <a:gd name="connsiteX3" fmla="*/ 333573 w 1526865"/>
                      <a:gd name="connsiteY3" fmla="*/ 803209 h 815827"/>
                      <a:gd name="connsiteX4" fmla="*/ 326441 w 1526865"/>
                      <a:gd name="connsiteY4" fmla="*/ 798820 h 815827"/>
                      <a:gd name="connsiteX5" fmla="*/ 317663 w 1526865"/>
                      <a:gd name="connsiteY5" fmla="*/ 778520 h 815827"/>
                      <a:gd name="connsiteX6" fmla="*/ 313822 w 1526865"/>
                      <a:gd name="connsiteY6" fmla="*/ 774680 h 815827"/>
                      <a:gd name="connsiteX7" fmla="*/ 309433 w 1526865"/>
                      <a:gd name="connsiteY7" fmla="*/ 763707 h 815827"/>
                      <a:gd name="connsiteX8" fmla="*/ 305593 w 1526865"/>
                      <a:gd name="connsiteY8" fmla="*/ 759318 h 815827"/>
                      <a:gd name="connsiteX9" fmla="*/ 286390 w 1526865"/>
                      <a:gd name="connsiteY9" fmla="*/ 748345 h 815827"/>
                      <a:gd name="connsiteX10" fmla="*/ 280904 w 1526865"/>
                      <a:gd name="connsiteY10" fmla="*/ 747796 h 815827"/>
                      <a:gd name="connsiteX11" fmla="*/ 243047 w 1526865"/>
                      <a:gd name="connsiteY11" fmla="*/ 759318 h 815827"/>
                      <a:gd name="connsiteX12" fmla="*/ 222748 w 1526865"/>
                      <a:gd name="connsiteY12" fmla="*/ 777972 h 815827"/>
                      <a:gd name="connsiteX13" fmla="*/ 221651 w 1526865"/>
                      <a:gd name="connsiteY13" fmla="*/ 750540 h 815827"/>
                      <a:gd name="connsiteX14" fmla="*/ 227686 w 1526865"/>
                      <a:gd name="connsiteY14" fmla="*/ 742859 h 815827"/>
                      <a:gd name="connsiteX15" fmla="*/ 229331 w 1526865"/>
                      <a:gd name="connsiteY15" fmla="*/ 729691 h 815827"/>
                      <a:gd name="connsiteX16" fmla="*/ 221102 w 1526865"/>
                      <a:gd name="connsiteY16" fmla="*/ 726399 h 815827"/>
                      <a:gd name="connsiteX17" fmla="*/ 212872 w 1526865"/>
                      <a:gd name="connsiteY17" fmla="*/ 725302 h 815827"/>
                      <a:gd name="connsiteX18" fmla="*/ 199156 w 1526865"/>
                      <a:gd name="connsiteY18" fmla="*/ 719267 h 815827"/>
                      <a:gd name="connsiteX19" fmla="*/ 192573 w 1526865"/>
                      <a:gd name="connsiteY19" fmla="*/ 709940 h 815827"/>
                      <a:gd name="connsiteX20" fmla="*/ 178857 w 1526865"/>
                      <a:gd name="connsiteY20" fmla="*/ 709392 h 815827"/>
                      <a:gd name="connsiteX21" fmla="*/ 177211 w 1526865"/>
                      <a:gd name="connsiteY21" fmla="*/ 683057 h 815827"/>
                      <a:gd name="connsiteX22" fmla="*/ 168981 w 1526865"/>
                      <a:gd name="connsiteY22" fmla="*/ 669341 h 815827"/>
                      <a:gd name="connsiteX23" fmla="*/ 164044 w 1526865"/>
                      <a:gd name="connsiteY23" fmla="*/ 664952 h 815827"/>
                      <a:gd name="connsiteX24" fmla="*/ 158557 w 1526865"/>
                      <a:gd name="connsiteY24" fmla="*/ 655076 h 815827"/>
                      <a:gd name="connsiteX25" fmla="*/ 143195 w 1526865"/>
                      <a:gd name="connsiteY25" fmla="*/ 648492 h 815827"/>
                      <a:gd name="connsiteX26" fmla="*/ 134965 w 1526865"/>
                      <a:gd name="connsiteY26" fmla="*/ 637520 h 815827"/>
                      <a:gd name="connsiteX27" fmla="*/ 140452 w 1526865"/>
                      <a:gd name="connsiteY27" fmla="*/ 632582 h 815827"/>
                      <a:gd name="connsiteX28" fmla="*/ 152522 w 1526865"/>
                      <a:gd name="connsiteY28" fmla="*/ 632582 h 815827"/>
                      <a:gd name="connsiteX29" fmla="*/ 171176 w 1526865"/>
                      <a:gd name="connsiteY29" fmla="*/ 639165 h 815827"/>
                      <a:gd name="connsiteX30" fmla="*/ 176662 w 1526865"/>
                      <a:gd name="connsiteY30" fmla="*/ 636971 h 815827"/>
                      <a:gd name="connsiteX31" fmla="*/ 185989 w 1526865"/>
                      <a:gd name="connsiteY31" fmla="*/ 638068 h 815827"/>
                      <a:gd name="connsiteX32" fmla="*/ 180503 w 1526865"/>
                      <a:gd name="connsiteY32" fmla="*/ 625449 h 815827"/>
                      <a:gd name="connsiteX33" fmla="*/ 178857 w 1526865"/>
                      <a:gd name="connsiteY33" fmla="*/ 612831 h 815827"/>
                      <a:gd name="connsiteX34" fmla="*/ 182149 w 1526865"/>
                      <a:gd name="connsiteY34" fmla="*/ 605150 h 815827"/>
                      <a:gd name="connsiteX35" fmla="*/ 188732 w 1526865"/>
                      <a:gd name="connsiteY35" fmla="*/ 601310 h 815827"/>
                      <a:gd name="connsiteX36" fmla="*/ 188732 w 1526865"/>
                      <a:gd name="connsiteY36" fmla="*/ 606247 h 815827"/>
                      <a:gd name="connsiteX37" fmla="*/ 196413 w 1526865"/>
                      <a:gd name="connsiteY37" fmla="*/ 607344 h 815827"/>
                      <a:gd name="connsiteX38" fmla="*/ 204094 w 1526865"/>
                      <a:gd name="connsiteY38" fmla="*/ 604601 h 815827"/>
                      <a:gd name="connsiteX39" fmla="*/ 205740 w 1526865"/>
                      <a:gd name="connsiteY39" fmla="*/ 598017 h 815827"/>
                      <a:gd name="connsiteX40" fmla="*/ 212324 w 1526865"/>
                      <a:gd name="connsiteY40" fmla="*/ 592531 h 815827"/>
                      <a:gd name="connsiteX41" fmla="*/ 224394 w 1526865"/>
                      <a:gd name="connsiteY41" fmla="*/ 591983 h 815827"/>
                      <a:gd name="connsiteX42" fmla="*/ 246340 w 1526865"/>
                      <a:gd name="connsiteY42" fmla="*/ 602407 h 815827"/>
                      <a:gd name="connsiteX43" fmla="*/ 256763 w 1526865"/>
                      <a:gd name="connsiteY43" fmla="*/ 600212 h 815827"/>
                      <a:gd name="connsiteX44" fmla="*/ 263896 w 1526865"/>
                      <a:gd name="connsiteY44" fmla="*/ 595274 h 815827"/>
                      <a:gd name="connsiteX45" fmla="*/ 266639 w 1526865"/>
                      <a:gd name="connsiteY45" fmla="*/ 595823 h 815827"/>
                      <a:gd name="connsiteX46" fmla="*/ 269931 w 1526865"/>
                      <a:gd name="connsiteY46" fmla="*/ 598566 h 815827"/>
                      <a:gd name="connsiteX47" fmla="*/ 290231 w 1526865"/>
                      <a:gd name="connsiteY47" fmla="*/ 607344 h 815827"/>
                      <a:gd name="connsiteX48" fmla="*/ 297363 w 1526865"/>
                      <a:gd name="connsiteY48" fmla="*/ 605699 h 815827"/>
                      <a:gd name="connsiteX49" fmla="*/ 306141 w 1526865"/>
                      <a:gd name="connsiteY49" fmla="*/ 607893 h 815827"/>
                      <a:gd name="connsiteX50" fmla="*/ 308336 w 1526865"/>
                      <a:gd name="connsiteY50" fmla="*/ 602407 h 815827"/>
                      <a:gd name="connsiteX51" fmla="*/ 303398 w 1526865"/>
                      <a:gd name="connsiteY51" fmla="*/ 594177 h 815827"/>
                      <a:gd name="connsiteX52" fmla="*/ 309982 w 1526865"/>
                      <a:gd name="connsiteY52" fmla="*/ 594177 h 815827"/>
                      <a:gd name="connsiteX53" fmla="*/ 297363 w 1526865"/>
                      <a:gd name="connsiteY53" fmla="*/ 576072 h 815827"/>
                      <a:gd name="connsiteX54" fmla="*/ 290779 w 1526865"/>
                      <a:gd name="connsiteY54" fmla="*/ 571683 h 815827"/>
                      <a:gd name="connsiteX55" fmla="*/ 287488 w 1526865"/>
                      <a:gd name="connsiteY55" fmla="*/ 564002 h 815827"/>
                      <a:gd name="connsiteX56" fmla="*/ 280355 w 1526865"/>
                      <a:gd name="connsiteY56" fmla="*/ 564002 h 815827"/>
                      <a:gd name="connsiteX57" fmla="*/ 272125 w 1526865"/>
                      <a:gd name="connsiteY57" fmla="*/ 551932 h 815827"/>
                      <a:gd name="connsiteX58" fmla="*/ 268834 w 1526865"/>
                      <a:gd name="connsiteY58" fmla="*/ 536021 h 815827"/>
                      <a:gd name="connsiteX59" fmla="*/ 263347 w 1526865"/>
                      <a:gd name="connsiteY59" fmla="*/ 528340 h 815827"/>
                      <a:gd name="connsiteX60" fmla="*/ 261701 w 1526865"/>
                      <a:gd name="connsiteY60" fmla="*/ 532181 h 815827"/>
                      <a:gd name="connsiteX61" fmla="*/ 256763 w 1526865"/>
                      <a:gd name="connsiteY61" fmla="*/ 521208 h 815827"/>
                      <a:gd name="connsiteX62" fmla="*/ 252923 w 1526865"/>
                      <a:gd name="connsiteY62" fmla="*/ 521208 h 815827"/>
                      <a:gd name="connsiteX63" fmla="*/ 251826 w 1526865"/>
                      <a:gd name="connsiteY63" fmla="*/ 512978 h 815827"/>
                      <a:gd name="connsiteX64" fmla="*/ 238110 w 1526865"/>
                      <a:gd name="connsiteY64" fmla="*/ 501457 h 815827"/>
                      <a:gd name="connsiteX65" fmla="*/ 230429 w 1526865"/>
                      <a:gd name="connsiteY65" fmla="*/ 500360 h 815827"/>
                      <a:gd name="connsiteX66" fmla="*/ 230429 w 1526865"/>
                      <a:gd name="connsiteY66" fmla="*/ 496519 h 815827"/>
                      <a:gd name="connsiteX67" fmla="*/ 221102 w 1526865"/>
                      <a:gd name="connsiteY67" fmla="*/ 495971 h 815827"/>
                      <a:gd name="connsiteX68" fmla="*/ 199705 w 1526865"/>
                      <a:gd name="connsiteY68" fmla="*/ 503651 h 815827"/>
                      <a:gd name="connsiteX69" fmla="*/ 197510 w 1526865"/>
                      <a:gd name="connsiteY69" fmla="*/ 496519 h 815827"/>
                      <a:gd name="connsiteX70" fmla="*/ 165689 w 1526865"/>
                      <a:gd name="connsiteY70" fmla="*/ 492679 h 815827"/>
                      <a:gd name="connsiteX71" fmla="*/ 142098 w 1526865"/>
                      <a:gd name="connsiteY71" fmla="*/ 515173 h 815827"/>
                      <a:gd name="connsiteX72" fmla="*/ 77907 w 1526865"/>
                      <a:gd name="connsiteY72" fmla="*/ 528340 h 815827"/>
                      <a:gd name="connsiteX73" fmla="*/ 93269 w 1526865"/>
                      <a:gd name="connsiteY73" fmla="*/ 539313 h 815827"/>
                      <a:gd name="connsiteX74" fmla="*/ 81199 w 1526865"/>
                      <a:gd name="connsiteY74" fmla="*/ 543702 h 815827"/>
                      <a:gd name="connsiteX75" fmla="*/ 76810 w 1526865"/>
                      <a:gd name="connsiteY75" fmla="*/ 542056 h 815827"/>
                      <a:gd name="connsiteX76" fmla="*/ 74066 w 1526865"/>
                      <a:gd name="connsiteY76" fmla="*/ 537667 h 815827"/>
                      <a:gd name="connsiteX77" fmla="*/ 69129 w 1526865"/>
                      <a:gd name="connsiteY77" fmla="*/ 535473 h 815827"/>
                      <a:gd name="connsiteX78" fmla="*/ 63642 w 1526865"/>
                      <a:gd name="connsiteY78" fmla="*/ 535473 h 815827"/>
                      <a:gd name="connsiteX79" fmla="*/ 59253 w 1526865"/>
                      <a:gd name="connsiteY79" fmla="*/ 533827 h 815827"/>
                      <a:gd name="connsiteX80" fmla="*/ 57059 w 1526865"/>
                      <a:gd name="connsiteY80" fmla="*/ 528889 h 815827"/>
                      <a:gd name="connsiteX81" fmla="*/ 61448 w 1526865"/>
                      <a:gd name="connsiteY81" fmla="*/ 524500 h 815827"/>
                      <a:gd name="connsiteX82" fmla="*/ 61996 w 1526865"/>
                      <a:gd name="connsiteY82" fmla="*/ 519562 h 815827"/>
                      <a:gd name="connsiteX83" fmla="*/ 67483 w 1526865"/>
                      <a:gd name="connsiteY83" fmla="*/ 517916 h 815827"/>
                      <a:gd name="connsiteX84" fmla="*/ 72969 w 1526865"/>
                      <a:gd name="connsiteY84" fmla="*/ 521757 h 815827"/>
                      <a:gd name="connsiteX85" fmla="*/ 81199 w 1526865"/>
                      <a:gd name="connsiteY85" fmla="*/ 519562 h 815827"/>
                      <a:gd name="connsiteX86" fmla="*/ 75712 w 1526865"/>
                      <a:gd name="connsiteY86" fmla="*/ 480609 h 815827"/>
                      <a:gd name="connsiteX87" fmla="*/ 70226 w 1526865"/>
                      <a:gd name="connsiteY87" fmla="*/ 478963 h 815827"/>
                      <a:gd name="connsiteX88" fmla="*/ 67483 w 1526865"/>
                      <a:gd name="connsiteY88" fmla="*/ 474574 h 815827"/>
                      <a:gd name="connsiteX89" fmla="*/ 65837 w 1526865"/>
                      <a:gd name="connsiteY89" fmla="*/ 469087 h 815827"/>
                      <a:gd name="connsiteX90" fmla="*/ 58705 w 1526865"/>
                      <a:gd name="connsiteY90" fmla="*/ 460309 h 815827"/>
                      <a:gd name="connsiteX91" fmla="*/ 42245 w 1526865"/>
                      <a:gd name="connsiteY91" fmla="*/ 461955 h 815827"/>
                      <a:gd name="connsiteX92" fmla="*/ 32918 w 1526865"/>
                      <a:gd name="connsiteY92" fmla="*/ 459212 h 815827"/>
                      <a:gd name="connsiteX93" fmla="*/ 31821 w 1526865"/>
                      <a:gd name="connsiteY93" fmla="*/ 465795 h 815827"/>
                      <a:gd name="connsiteX94" fmla="*/ 23591 w 1526865"/>
                      <a:gd name="connsiteY94" fmla="*/ 457017 h 815827"/>
                      <a:gd name="connsiteX95" fmla="*/ 23043 w 1526865"/>
                      <a:gd name="connsiteY95" fmla="*/ 451531 h 815827"/>
                      <a:gd name="connsiteX96" fmla="*/ 20300 w 1526865"/>
                      <a:gd name="connsiteY96" fmla="*/ 447142 h 815827"/>
                      <a:gd name="connsiteX97" fmla="*/ 23043 w 1526865"/>
                      <a:gd name="connsiteY97" fmla="*/ 442204 h 815827"/>
                      <a:gd name="connsiteX98" fmla="*/ 20300 w 1526865"/>
                      <a:gd name="connsiteY98" fmla="*/ 437266 h 815827"/>
                      <a:gd name="connsiteX99" fmla="*/ 19751 w 1526865"/>
                      <a:gd name="connsiteY99" fmla="*/ 432328 h 815827"/>
                      <a:gd name="connsiteX100" fmla="*/ 0 w 1526865"/>
                      <a:gd name="connsiteY100" fmla="*/ 425745 h 815827"/>
                      <a:gd name="connsiteX101" fmla="*/ 7681 w 1526865"/>
                      <a:gd name="connsiteY101" fmla="*/ 395569 h 815827"/>
                      <a:gd name="connsiteX102" fmla="*/ 17008 w 1526865"/>
                      <a:gd name="connsiteY102" fmla="*/ 390083 h 815827"/>
                      <a:gd name="connsiteX103" fmla="*/ 19751 w 1526865"/>
                      <a:gd name="connsiteY103" fmla="*/ 385694 h 815827"/>
                      <a:gd name="connsiteX104" fmla="*/ 18105 w 1526865"/>
                      <a:gd name="connsiteY104" fmla="*/ 380207 h 815827"/>
                      <a:gd name="connsiteX105" fmla="*/ 10424 w 1526865"/>
                      <a:gd name="connsiteY105" fmla="*/ 373075 h 815827"/>
                      <a:gd name="connsiteX106" fmla="*/ 17008 w 1526865"/>
                      <a:gd name="connsiteY106" fmla="*/ 341803 h 815827"/>
                      <a:gd name="connsiteX107" fmla="*/ 26883 w 1526865"/>
                      <a:gd name="connsiteY107" fmla="*/ 336316 h 815827"/>
                      <a:gd name="connsiteX108" fmla="*/ 30175 w 1526865"/>
                      <a:gd name="connsiteY108" fmla="*/ 331379 h 815827"/>
                      <a:gd name="connsiteX109" fmla="*/ 29078 w 1526865"/>
                      <a:gd name="connsiteY109" fmla="*/ 325892 h 815827"/>
                      <a:gd name="connsiteX110" fmla="*/ 30724 w 1526865"/>
                      <a:gd name="connsiteY110" fmla="*/ 320954 h 815827"/>
                      <a:gd name="connsiteX111" fmla="*/ 31273 w 1526865"/>
                      <a:gd name="connsiteY111" fmla="*/ 315468 h 815827"/>
                      <a:gd name="connsiteX112" fmla="*/ 36759 w 1526865"/>
                      <a:gd name="connsiteY112" fmla="*/ 305592 h 815827"/>
                      <a:gd name="connsiteX113" fmla="*/ 41697 w 1526865"/>
                      <a:gd name="connsiteY113" fmla="*/ 308884 h 815827"/>
                      <a:gd name="connsiteX114" fmla="*/ 43343 w 1526865"/>
                      <a:gd name="connsiteY114" fmla="*/ 314371 h 815827"/>
                      <a:gd name="connsiteX115" fmla="*/ 52121 w 1526865"/>
                      <a:gd name="connsiteY115" fmla="*/ 320954 h 815827"/>
                      <a:gd name="connsiteX116" fmla="*/ 64191 w 1526865"/>
                      <a:gd name="connsiteY116" fmla="*/ 346192 h 815827"/>
                      <a:gd name="connsiteX117" fmla="*/ 69677 w 1526865"/>
                      <a:gd name="connsiteY117" fmla="*/ 347838 h 815827"/>
                      <a:gd name="connsiteX118" fmla="*/ 87234 w 1526865"/>
                      <a:gd name="connsiteY118" fmla="*/ 335768 h 815827"/>
                      <a:gd name="connsiteX119" fmla="*/ 75712 w 1526865"/>
                      <a:gd name="connsiteY119" fmla="*/ 298460 h 815827"/>
                      <a:gd name="connsiteX120" fmla="*/ 81199 w 1526865"/>
                      <a:gd name="connsiteY120" fmla="*/ 299557 h 815827"/>
                      <a:gd name="connsiteX121" fmla="*/ 104790 w 1526865"/>
                      <a:gd name="connsiteY121" fmla="*/ 285293 h 815827"/>
                      <a:gd name="connsiteX122" fmla="*/ 108082 w 1526865"/>
                      <a:gd name="connsiteY122" fmla="*/ 280904 h 815827"/>
                      <a:gd name="connsiteX123" fmla="*/ 108082 w 1526865"/>
                      <a:gd name="connsiteY123" fmla="*/ 269382 h 815827"/>
                      <a:gd name="connsiteX124" fmla="*/ 113569 w 1526865"/>
                      <a:gd name="connsiteY124" fmla="*/ 268834 h 815827"/>
                      <a:gd name="connsiteX125" fmla="*/ 119055 w 1526865"/>
                      <a:gd name="connsiteY125" fmla="*/ 269382 h 815827"/>
                      <a:gd name="connsiteX126" fmla="*/ 123993 w 1526865"/>
                      <a:gd name="connsiteY126" fmla="*/ 267188 h 815827"/>
                      <a:gd name="connsiteX127" fmla="*/ 127285 w 1526865"/>
                      <a:gd name="connsiteY127" fmla="*/ 262799 h 815827"/>
                      <a:gd name="connsiteX128" fmla="*/ 137709 w 1526865"/>
                      <a:gd name="connsiteY128" fmla="*/ 258958 h 815827"/>
                      <a:gd name="connsiteX129" fmla="*/ 141001 w 1526865"/>
                      <a:gd name="connsiteY129" fmla="*/ 254569 h 815827"/>
                      <a:gd name="connsiteX130" fmla="*/ 145938 w 1526865"/>
                      <a:gd name="connsiteY130" fmla="*/ 251277 h 815827"/>
                      <a:gd name="connsiteX131" fmla="*/ 149230 w 1526865"/>
                      <a:gd name="connsiteY131" fmla="*/ 246888 h 815827"/>
                      <a:gd name="connsiteX132" fmla="*/ 150328 w 1526865"/>
                      <a:gd name="connsiteY132" fmla="*/ 241402 h 815827"/>
                      <a:gd name="connsiteX133" fmla="*/ 155265 w 1526865"/>
                      <a:gd name="connsiteY133" fmla="*/ 238110 h 815827"/>
                      <a:gd name="connsiteX134" fmla="*/ 165689 w 1526865"/>
                      <a:gd name="connsiteY134" fmla="*/ 234818 h 815827"/>
                      <a:gd name="connsiteX135" fmla="*/ 176113 w 1526865"/>
                      <a:gd name="connsiteY135" fmla="*/ 235367 h 815827"/>
                      <a:gd name="connsiteX136" fmla="*/ 179954 w 1526865"/>
                      <a:gd name="connsiteY136" fmla="*/ 245242 h 815827"/>
                      <a:gd name="connsiteX137" fmla="*/ 190927 w 1526865"/>
                      <a:gd name="connsiteY137" fmla="*/ 243047 h 815827"/>
                      <a:gd name="connsiteX138" fmla="*/ 194219 w 1526865"/>
                      <a:gd name="connsiteY138" fmla="*/ 247437 h 815827"/>
                      <a:gd name="connsiteX139" fmla="*/ 196962 w 1526865"/>
                      <a:gd name="connsiteY139" fmla="*/ 243047 h 815827"/>
                      <a:gd name="connsiteX140" fmla="*/ 199156 w 1526865"/>
                      <a:gd name="connsiteY140" fmla="*/ 237012 h 815827"/>
                      <a:gd name="connsiteX141" fmla="*/ 202448 w 1526865"/>
                      <a:gd name="connsiteY141" fmla="*/ 232623 h 815827"/>
                      <a:gd name="connsiteX142" fmla="*/ 207935 w 1526865"/>
                      <a:gd name="connsiteY142" fmla="*/ 232623 h 815827"/>
                      <a:gd name="connsiteX143" fmla="*/ 212872 w 1526865"/>
                      <a:gd name="connsiteY143" fmla="*/ 230429 h 815827"/>
                      <a:gd name="connsiteX144" fmla="*/ 217810 w 1526865"/>
                      <a:gd name="connsiteY144" fmla="*/ 230977 h 815827"/>
                      <a:gd name="connsiteX145" fmla="*/ 222199 w 1526865"/>
                      <a:gd name="connsiteY145" fmla="*/ 241402 h 815827"/>
                      <a:gd name="connsiteX146" fmla="*/ 225491 w 1526865"/>
                      <a:gd name="connsiteY146" fmla="*/ 245242 h 815827"/>
                      <a:gd name="connsiteX147" fmla="*/ 236464 w 1526865"/>
                      <a:gd name="connsiteY147" fmla="*/ 243047 h 815827"/>
                      <a:gd name="connsiteX148" fmla="*/ 241402 w 1526865"/>
                      <a:gd name="connsiteY148" fmla="*/ 245242 h 815827"/>
                      <a:gd name="connsiteX149" fmla="*/ 252374 w 1526865"/>
                      <a:gd name="connsiteY149" fmla="*/ 243047 h 815827"/>
                      <a:gd name="connsiteX150" fmla="*/ 257861 w 1526865"/>
                      <a:gd name="connsiteY150" fmla="*/ 243047 h 815827"/>
                      <a:gd name="connsiteX151" fmla="*/ 266639 w 1526865"/>
                      <a:gd name="connsiteY151" fmla="*/ 250180 h 815827"/>
                      <a:gd name="connsiteX152" fmla="*/ 270479 w 1526865"/>
                      <a:gd name="connsiteY152" fmla="*/ 260604 h 815827"/>
                      <a:gd name="connsiteX153" fmla="*/ 284744 w 1526865"/>
                      <a:gd name="connsiteY153" fmla="*/ 268834 h 815827"/>
                      <a:gd name="connsiteX154" fmla="*/ 288036 w 1526865"/>
                      <a:gd name="connsiteY154" fmla="*/ 273223 h 815827"/>
                      <a:gd name="connsiteX155" fmla="*/ 290231 w 1526865"/>
                      <a:gd name="connsiteY155" fmla="*/ 278709 h 815827"/>
                      <a:gd name="connsiteX156" fmla="*/ 297363 w 1526865"/>
                      <a:gd name="connsiteY156" fmla="*/ 286939 h 815827"/>
                      <a:gd name="connsiteX157" fmla="*/ 297363 w 1526865"/>
                      <a:gd name="connsiteY157" fmla="*/ 297911 h 815827"/>
                      <a:gd name="connsiteX158" fmla="*/ 300655 w 1526865"/>
                      <a:gd name="connsiteY158" fmla="*/ 302301 h 815827"/>
                      <a:gd name="connsiteX159" fmla="*/ 306141 w 1526865"/>
                      <a:gd name="connsiteY159" fmla="*/ 300655 h 815827"/>
                      <a:gd name="connsiteX160" fmla="*/ 305593 w 1526865"/>
                      <a:gd name="connsiteY160" fmla="*/ 284195 h 815827"/>
                      <a:gd name="connsiteX161" fmla="*/ 302849 w 1526865"/>
                      <a:gd name="connsiteY161" fmla="*/ 279258 h 815827"/>
                      <a:gd name="connsiteX162" fmla="*/ 306141 w 1526865"/>
                      <a:gd name="connsiteY162" fmla="*/ 275417 h 815827"/>
                      <a:gd name="connsiteX163" fmla="*/ 311627 w 1526865"/>
                      <a:gd name="connsiteY163" fmla="*/ 274869 h 815827"/>
                      <a:gd name="connsiteX164" fmla="*/ 313822 w 1526865"/>
                      <a:gd name="connsiteY164" fmla="*/ 279806 h 815827"/>
                      <a:gd name="connsiteX165" fmla="*/ 317663 w 1526865"/>
                      <a:gd name="connsiteY165" fmla="*/ 283647 h 815827"/>
                      <a:gd name="connsiteX166" fmla="*/ 319309 w 1526865"/>
                      <a:gd name="connsiteY166" fmla="*/ 288585 h 815827"/>
                      <a:gd name="connsiteX167" fmla="*/ 323698 w 1526865"/>
                      <a:gd name="connsiteY167" fmla="*/ 291876 h 815827"/>
                      <a:gd name="connsiteX168" fmla="*/ 343997 w 1526865"/>
                      <a:gd name="connsiteY168" fmla="*/ 301752 h 815827"/>
                      <a:gd name="connsiteX169" fmla="*/ 350032 w 1526865"/>
                      <a:gd name="connsiteY169" fmla="*/ 300106 h 815827"/>
                      <a:gd name="connsiteX170" fmla="*/ 363200 w 1526865"/>
                      <a:gd name="connsiteY170" fmla="*/ 290231 h 815827"/>
                      <a:gd name="connsiteX171" fmla="*/ 363200 w 1526865"/>
                      <a:gd name="connsiteY171" fmla="*/ 284744 h 815827"/>
                      <a:gd name="connsiteX172" fmla="*/ 368137 w 1526865"/>
                      <a:gd name="connsiteY172" fmla="*/ 282550 h 815827"/>
                      <a:gd name="connsiteX173" fmla="*/ 371978 w 1526865"/>
                      <a:gd name="connsiteY173" fmla="*/ 278709 h 815827"/>
                      <a:gd name="connsiteX174" fmla="*/ 377464 w 1526865"/>
                      <a:gd name="connsiteY174" fmla="*/ 277612 h 815827"/>
                      <a:gd name="connsiteX175" fmla="*/ 382402 w 1526865"/>
                      <a:gd name="connsiteY175" fmla="*/ 279258 h 815827"/>
                      <a:gd name="connsiteX176" fmla="*/ 382951 w 1526865"/>
                      <a:gd name="connsiteY176" fmla="*/ 274320 h 815827"/>
                      <a:gd name="connsiteX177" fmla="*/ 393923 w 1526865"/>
                      <a:gd name="connsiteY177" fmla="*/ 274869 h 815827"/>
                      <a:gd name="connsiteX178" fmla="*/ 398861 w 1526865"/>
                      <a:gd name="connsiteY178" fmla="*/ 272125 h 815827"/>
                      <a:gd name="connsiteX179" fmla="*/ 411480 w 1526865"/>
                      <a:gd name="connsiteY179" fmla="*/ 283098 h 815827"/>
                      <a:gd name="connsiteX180" fmla="*/ 420807 w 1526865"/>
                      <a:gd name="connsiteY180" fmla="*/ 277063 h 815827"/>
                      <a:gd name="connsiteX181" fmla="*/ 423550 w 1526865"/>
                      <a:gd name="connsiteY181" fmla="*/ 272125 h 815827"/>
                      <a:gd name="connsiteX182" fmla="*/ 434523 w 1526865"/>
                      <a:gd name="connsiteY182" fmla="*/ 272125 h 815827"/>
                      <a:gd name="connsiteX183" fmla="*/ 439461 w 1526865"/>
                      <a:gd name="connsiteY183" fmla="*/ 269382 h 815827"/>
                      <a:gd name="connsiteX184" fmla="*/ 449885 w 1526865"/>
                      <a:gd name="connsiteY184" fmla="*/ 273223 h 815827"/>
                      <a:gd name="connsiteX185" fmla="*/ 453177 w 1526865"/>
                      <a:gd name="connsiteY185" fmla="*/ 278160 h 815827"/>
                      <a:gd name="connsiteX186" fmla="*/ 453725 w 1526865"/>
                      <a:gd name="connsiteY186" fmla="*/ 289133 h 815827"/>
                      <a:gd name="connsiteX187" fmla="*/ 461406 w 1526865"/>
                      <a:gd name="connsiteY187" fmla="*/ 296814 h 815827"/>
                      <a:gd name="connsiteX188" fmla="*/ 472379 w 1526865"/>
                      <a:gd name="connsiteY188" fmla="*/ 296266 h 815827"/>
                      <a:gd name="connsiteX189" fmla="*/ 482803 w 1526865"/>
                      <a:gd name="connsiteY189" fmla="*/ 297911 h 815827"/>
                      <a:gd name="connsiteX190" fmla="*/ 482255 w 1526865"/>
                      <a:gd name="connsiteY190" fmla="*/ 297911 h 815827"/>
                      <a:gd name="connsiteX191" fmla="*/ 484449 w 1526865"/>
                      <a:gd name="connsiteY191" fmla="*/ 305592 h 815827"/>
                      <a:gd name="connsiteX192" fmla="*/ 495971 w 1526865"/>
                      <a:gd name="connsiteY192" fmla="*/ 304495 h 815827"/>
                      <a:gd name="connsiteX193" fmla="*/ 500908 w 1526865"/>
                      <a:gd name="connsiteY193" fmla="*/ 301752 h 815827"/>
                      <a:gd name="connsiteX194" fmla="*/ 508589 w 1526865"/>
                      <a:gd name="connsiteY194" fmla="*/ 286939 h 815827"/>
                      <a:gd name="connsiteX195" fmla="*/ 513527 w 1526865"/>
                      <a:gd name="connsiteY195" fmla="*/ 289133 h 815827"/>
                      <a:gd name="connsiteX196" fmla="*/ 520660 w 1526865"/>
                      <a:gd name="connsiteY196" fmla="*/ 297363 h 815827"/>
                      <a:gd name="connsiteX197" fmla="*/ 542605 w 1526865"/>
                      <a:gd name="connsiteY197" fmla="*/ 296266 h 815827"/>
                      <a:gd name="connsiteX198" fmla="*/ 546994 w 1526865"/>
                      <a:gd name="connsiteY198" fmla="*/ 292425 h 815827"/>
                      <a:gd name="connsiteX199" fmla="*/ 557967 w 1526865"/>
                      <a:gd name="connsiteY199" fmla="*/ 288585 h 815827"/>
                      <a:gd name="connsiteX200" fmla="*/ 568391 w 1526865"/>
                      <a:gd name="connsiteY200" fmla="*/ 257861 h 815827"/>
                      <a:gd name="connsiteX201" fmla="*/ 562905 w 1526865"/>
                      <a:gd name="connsiteY201" fmla="*/ 250728 h 815827"/>
                      <a:gd name="connsiteX202" fmla="*/ 543154 w 1526865"/>
                      <a:gd name="connsiteY202" fmla="*/ 249083 h 815827"/>
                      <a:gd name="connsiteX203" fmla="*/ 536570 w 1526865"/>
                      <a:gd name="connsiteY203" fmla="*/ 240853 h 815827"/>
                      <a:gd name="connsiteX204" fmla="*/ 520111 w 1526865"/>
                      <a:gd name="connsiteY204" fmla="*/ 236464 h 815827"/>
                      <a:gd name="connsiteX205" fmla="*/ 520660 w 1526865"/>
                      <a:gd name="connsiteY205" fmla="*/ 230429 h 815827"/>
                      <a:gd name="connsiteX206" fmla="*/ 517367 w 1526865"/>
                      <a:gd name="connsiteY206" fmla="*/ 226040 h 815827"/>
                      <a:gd name="connsiteX207" fmla="*/ 506395 w 1526865"/>
                      <a:gd name="connsiteY207" fmla="*/ 223845 h 815827"/>
                      <a:gd name="connsiteX208" fmla="*/ 506944 w 1526865"/>
                      <a:gd name="connsiteY208" fmla="*/ 217810 h 815827"/>
                      <a:gd name="connsiteX209" fmla="*/ 512430 w 1526865"/>
                      <a:gd name="connsiteY209" fmla="*/ 216713 h 815827"/>
                      <a:gd name="connsiteX210" fmla="*/ 520660 w 1526865"/>
                      <a:gd name="connsiteY210" fmla="*/ 209580 h 815827"/>
                      <a:gd name="connsiteX211" fmla="*/ 540959 w 1526865"/>
                      <a:gd name="connsiteY211" fmla="*/ 199705 h 815827"/>
                      <a:gd name="connsiteX212" fmla="*/ 543702 w 1526865"/>
                      <a:gd name="connsiteY212" fmla="*/ 195316 h 815827"/>
                      <a:gd name="connsiteX213" fmla="*/ 544251 w 1526865"/>
                      <a:gd name="connsiteY213" fmla="*/ 189281 h 815827"/>
                      <a:gd name="connsiteX214" fmla="*/ 531632 w 1526865"/>
                      <a:gd name="connsiteY214" fmla="*/ 170627 h 815827"/>
                      <a:gd name="connsiteX215" fmla="*/ 536570 w 1526865"/>
                      <a:gd name="connsiteY215" fmla="*/ 168981 h 815827"/>
                      <a:gd name="connsiteX216" fmla="*/ 540959 w 1526865"/>
                      <a:gd name="connsiteY216" fmla="*/ 164592 h 815827"/>
                      <a:gd name="connsiteX217" fmla="*/ 542605 w 1526865"/>
                      <a:gd name="connsiteY217" fmla="*/ 159654 h 815827"/>
                      <a:gd name="connsiteX218" fmla="*/ 546445 w 1526865"/>
                      <a:gd name="connsiteY218" fmla="*/ 155265 h 815827"/>
                      <a:gd name="connsiteX219" fmla="*/ 579913 w 1526865"/>
                      <a:gd name="connsiteY219" fmla="*/ 156362 h 815827"/>
                      <a:gd name="connsiteX220" fmla="*/ 584850 w 1526865"/>
                      <a:gd name="connsiteY220" fmla="*/ 154716 h 815827"/>
                      <a:gd name="connsiteX221" fmla="*/ 587593 w 1526865"/>
                      <a:gd name="connsiteY221" fmla="*/ 149779 h 815827"/>
                      <a:gd name="connsiteX222" fmla="*/ 584302 w 1526865"/>
                      <a:gd name="connsiteY222" fmla="*/ 144841 h 815827"/>
                      <a:gd name="connsiteX223" fmla="*/ 574426 w 1526865"/>
                      <a:gd name="connsiteY223" fmla="*/ 139355 h 815827"/>
                      <a:gd name="connsiteX224" fmla="*/ 552481 w 1526865"/>
                      <a:gd name="connsiteY224" fmla="*/ 136063 h 815827"/>
                      <a:gd name="connsiteX225" fmla="*/ 549737 w 1526865"/>
                      <a:gd name="connsiteY225" fmla="*/ 131674 h 815827"/>
                      <a:gd name="connsiteX226" fmla="*/ 550286 w 1526865"/>
                      <a:gd name="connsiteY226" fmla="*/ 125639 h 815827"/>
                      <a:gd name="connsiteX227" fmla="*/ 555772 w 1526865"/>
                      <a:gd name="connsiteY227" fmla="*/ 126187 h 815827"/>
                      <a:gd name="connsiteX228" fmla="*/ 561259 w 1526865"/>
                      <a:gd name="connsiteY228" fmla="*/ 123993 h 815827"/>
                      <a:gd name="connsiteX229" fmla="*/ 564002 w 1526865"/>
                      <a:gd name="connsiteY229" fmla="*/ 119055 h 815827"/>
                      <a:gd name="connsiteX230" fmla="*/ 560161 w 1526865"/>
                      <a:gd name="connsiteY230" fmla="*/ 115214 h 815827"/>
                      <a:gd name="connsiteX231" fmla="*/ 555224 w 1526865"/>
                      <a:gd name="connsiteY231" fmla="*/ 118506 h 815827"/>
                      <a:gd name="connsiteX232" fmla="*/ 544251 w 1526865"/>
                      <a:gd name="connsiteY232" fmla="*/ 118506 h 815827"/>
                      <a:gd name="connsiteX233" fmla="*/ 544251 w 1526865"/>
                      <a:gd name="connsiteY233" fmla="*/ 112471 h 815827"/>
                      <a:gd name="connsiteX234" fmla="*/ 545897 w 1526865"/>
                      <a:gd name="connsiteY234" fmla="*/ 106985 h 815827"/>
                      <a:gd name="connsiteX235" fmla="*/ 549189 w 1526865"/>
                      <a:gd name="connsiteY235" fmla="*/ 103144 h 815827"/>
                      <a:gd name="connsiteX236" fmla="*/ 542056 w 1526865"/>
                      <a:gd name="connsiteY236" fmla="*/ 94915 h 815827"/>
                      <a:gd name="connsiteX237" fmla="*/ 553029 w 1526865"/>
                      <a:gd name="connsiteY237" fmla="*/ 94366 h 815827"/>
                      <a:gd name="connsiteX238" fmla="*/ 555224 w 1526865"/>
                      <a:gd name="connsiteY238" fmla="*/ 89977 h 815827"/>
                      <a:gd name="connsiteX239" fmla="*/ 561808 w 1526865"/>
                      <a:gd name="connsiteY239" fmla="*/ 89977 h 815827"/>
                      <a:gd name="connsiteX240" fmla="*/ 565099 w 1526865"/>
                      <a:gd name="connsiteY240" fmla="*/ 94366 h 815827"/>
                      <a:gd name="connsiteX241" fmla="*/ 570586 w 1526865"/>
                      <a:gd name="connsiteY241" fmla="*/ 93269 h 815827"/>
                      <a:gd name="connsiteX242" fmla="*/ 576072 w 1526865"/>
                      <a:gd name="connsiteY242" fmla="*/ 94366 h 815827"/>
                      <a:gd name="connsiteX243" fmla="*/ 581010 w 1526865"/>
                      <a:gd name="connsiteY243" fmla="*/ 92171 h 815827"/>
                      <a:gd name="connsiteX244" fmla="*/ 598018 w 1526865"/>
                      <a:gd name="connsiteY244" fmla="*/ 93269 h 815827"/>
                      <a:gd name="connsiteX245" fmla="*/ 601309 w 1526865"/>
                      <a:gd name="connsiteY245" fmla="*/ 97658 h 815827"/>
                      <a:gd name="connsiteX246" fmla="*/ 608442 w 1526865"/>
                      <a:gd name="connsiteY246" fmla="*/ 88880 h 815827"/>
                      <a:gd name="connsiteX247" fmla="*/ 613379 w 1526865"/>
                      <a:gd name="connsiteY247" fmla="*/ 87234 h 815827"/>
                      <a:gd name="connsiteX248" fmla="*/ 624352 w 1526865"/>
                      <a:gd name="connsiteY248" fmla="*/ 88331 h 815827"/>
                      <a:gd name="connsiteX249" fmla="*/ 628741 w 1526865"/>
                      <a:gd name="connsiteY249" fmla="*/ 83942 h 815827"/>
                      <a:gd name="connsiteX250" fmla="*/ 634228 w 1526865"/>
                      <a:gd name="connsiteY250" fmla="*/ 82845 h 815827"/>
                      <a:gd name="connsiteX251" fmla="*/ 643006 w 1526865"/>
                      <a:gd name="connsiteY251" fmla="*/ 75712 h 815827"/>
                      <a:gd name="connsiteX252" fmla="*/ 647944 w 1526865"/>
                      <a:gd name="connsiteY252" fmla="*/ 77907 h 815827"/>
                      <a:gd name="connsiteX253" fmla="*/ 652333 w 1526865"/>
                      <a:gd name="connsiteY253" fmla="*/ 81199 h 815827"/>
                      <a:gd name="connsiteX254" fmla="*/ 657820 w 1526865"/>
                      <a:gd name="connsiteY254" fmla="*/ 81199 h 815827"/>
                      <a:gd name="connsiteX255" fmla="*/ 660014 w 1526865"/>
                      <a:gd name="connsiteY255" fmla="*/ 75712 h 815827"/>
                      <a:gd name="connsiteX256" fmla="*/ 670438 w 1526865"/>
                      <a:gd name="connsiteY256" fmla="*/ 72969 h 815827"/>
                      <a:gd name="connsiteX257" fmla="*/ 675376 w 1526865"/>
                      <a:gd name="connsiteY257" fmla="*/ 70226 h 815827"/>
                      <a:gd name="connsiteX258" fmla="*/ 680862 w 1526865"/>
                      <a:gd name="connsiteY258" fmla="*/ 69677 h 815827"/>
                      <a:gd name="connsiteX259" fmla="*/ 685800 w 1526865"/>
                      <a:gd name="connsiteY259" fmla="*/ 67483 h 815827"/>
                      <a:gd name="connsiteX260" fmla="*/ 691286 w 1526865"/>
                      <a:gd name="connsiteY260" fmla="*/ 67483 h 815827"/>
                      <a:gd name="connsiteX261" fmla="*/ 696773 w 1526865"/>
                      <a:gd name="connsiteY261" fmla="*/ 69129 h 815827"/>
                      <a:gd name="connsiteX262" fmla="*/ 699516 w 1526865"/>
                      <a:gd name="connsiteY262" fmla="*/ 64191 h 815827"/>
                      <a:gd name="connsiteX263" fmla="*/ 702808 w 1526865"/>
                      <a:gd name="connsiteY263" fmla="*/ 53767 h 815827"/>
                      <a:gd name="connsiteX264" fmla="*/ 707746 w 1526865"/>
                      <a:gd name="connsiteY264" fmla="*/ 51023 h 815827"/>
                      <a:gd name="connsiteX265" fmla="*/ 713232 w 1526865"/>
                      <a:gd name="connsiteY265" fmla="*/ 49926 h 815827"/>
                      <a:gd name="connsiteX266" fmla="*/ 718170 w 1526865"/>
                      <a:gd name="connsiteY266" fmla="*/ 52121 h 815827"/>
                      <a:gd name="connsiteX267" fmla="*/ 730789 w 1526865"/>
                      <a:gd name="connsiteY267" fmla="*/ 48829 h 815827"/>
                      <a:gd name="connsiteX268" fmla="*/ 730240 w 1526865"/>
                      <a:gd name="connsiteY268" fmla="*/ 48829 h 815827"/>
                      <a:gd name="connsiteX269" fmla="*/ 797723 w 1526865"/>
                      <a:gd name="connsiteY269" fmla="*/ 34016 h 815827"/>
                      <a:gd name="connsiteX270" fmla="*/ 802112 w 1526865"/>
                      <a:gd name="connsiteY270" fmla="*/ 30175 h 815827"/>
                      <a:gd name="connsiteX271" fmla="*/ 807598 w 1526865"/>
                      <a:gd name="connsiteY271" fmla="*/ 30724 h 815827"/>
                      <a:gd name="connsiteX272" fmla="*/ 812536 w 1526865"/>
                      <a:gd name="connsiteY272" fmla="*/ 29078 h 815827"/>
                      <a:gd name="connsiteX273" fmla="*/ 816376 w 1526865"/>
                      <a:gd name="connsiteY273" fmla="*/ 24689 h 815827"/>
                      <a:gd name="connsiteX274" fmla="*/ 815828 w 1526865"/>
                      <a:gd name="connsiteY274" fmla="*/ 13716 h 815827"/>
                      <a:gd name="connsiteX275" fmla="*/ 821314 w 1526865"/>
                      <a:gd name="connsiteY275" fmla="*/ 14813 h 815827"/>
                      <a:gd name="connsiteX276" fmla="*/ 826801 w 1526865"/>
                      <a:gd name="connsiteY276" fmla="*/ 13716 h 815827"/>
                      <a:gd name="connsiteX277" fmla="*/ 830092 w 1526865"/>
                      <a:gd name="connsiteY277" fmla="*/ 8230 h 815827"/>
                      <a:gd name="connsiteX278" fmla="*/ 834481 w 1526865"/>
                      <a:gd name="connsiteY278" fmla="*/ 5486 h 815827"/>
                      <a:gd name="connsiteX279" fmla="*/ 839968 w 1526865"/>
                      <a:gd name="connsiteY279" fmla="*/ 4938 h 815827"/>
                      <a:gd name="connsiteX280" fmla="*/ 843260 w 1526865"/>
                      <a:gd name="connsiteY280" fmla="*/ 1097 h 815827"/>
                      <a:gd name="connsiteX281" fmla="*/ 848746 w 1526865"/>
                      <a:gd name="connsiteY281" fmla="*/ 0 h 815827"/>
                      <a:gd name="connsiteX282" fmla="*/ 852587 w 1526865"/>
                      <a:gd name="connsiteY282" fmla="*/ 3840 h 815827"/>
                      <a:gd name="connsiteX283" fmla="*/ 858073 w 1526865"/>
                      <a:gd name="connsiteY283" fmla="*/ 3292 h 815827"/>
                      <a:gd name="connsiteX284" fmla="*/ 863011 w 1526865"/>
                      <a:gd name="connsiteY284" fmla="*/ 4938 h 815827"/>
                      <a:gd name="connsiteX285" fmla="*/ 868497 w 1526865"/>
                      <a:gd name="connsiteY285" fmla="*/ 3840 h 815827"/>
                      <a:gd name="connsiteX286" fmla="*/ 873984 w 1526865"/>
                      <a:gd name="connsiteY286" fmla="*/ 6035 h 815827"/>
                      <a:gd name="connsiteX287" fmla="*/ 877276 w 1526865"/>
                      <a:gd name="connsiteY287" fmla="*/ 10424 h 815827"/>
                      <a:gd name="connsiteX288" fmla="*/ 886602 w 1526865"/>
                      <a:gd name="connsiteY288" fmla="*/ 16459 h 815827"/>
                      <a:gd name="connsiteX289" fmla="*/ 891540 w 1526865"/>
                      <a:gd name="connsiteY289" fmla="*/ 13716 h 815827"/>
                      <a:gd name="connsiteX290" fmla="*/ 895381 w 1526865"/>
                      <a:gd name="connsiteY290" fmla="*/ 10424 h 815827"/>
                      <a:gd name="connsiteX291" fmla="*/ 906902 w 1526865"/>
                      <a:gd name="connsiteY291" fmla="*/ 8230 h 815827"/>
                      <a:gd name="connsiteX292" fmla="*/ 912388 w 1526865"/>
                      <a:gd name="connsiteY292" fmla="*/ 10424 h 815827"/>
                      <a:gd name="connsiteX293" fmla="*/ 916229 w 1526865"/>
                      <a:gd name="connsiteY293" fmla="*/ 14813 h 815827"/>
                      <a:gd name="connsiteX294" fmla="*/ 918424 w 1526865"/>
                      <a:gd name="connsiteY294" fmla="*/ 19751 h 815827"/>
                      <a:gd name="connsiteX295" fmla="*/ 918972 w 1526865"/>
                      <a:gd name="connsiteY295" fmla="*/ 36210 h 815827"/>
                      <a:gd name="connsiteX296" fmla="*/ 920618 w 1526865"/>
                      <a:gd name="connsiteY296" fmla="*/ 41697 h 815827"/>
                      <a:gd name="connsiteX297" fmla="*/ 928848 w 1526865"/>
                      <a:gd name="connsiteY297" fmla="*/ 48829 h 815827"/>
                      <a:gd name="connsiteX298" fmla="*/ 926104 w 1526865"/>
                      <a:gd name="connsiteY298" fmla="*/ 53767 h 815827"/>
                      <a:gd name="connsiteX299" fmla="*/ 926653 w 1526865"/>
                      <a:gd name="connsiteY299" fmla="*/ 64739 h 815827"/>
                      <a:gd name="connsiteX300" fmla="*/ 920069 w 1526865"/>
                      <a:gd name="connsiteY300" fmla="*/ 73518 h 815827"/>
                      <a:gd name="connsiteX301" fmla="*/ 923361 w 1526865"/>
                      <a:gd name="connsiteY301" fmla="*/ 78455 h 815827"/>
                      <a:gd name="connsiteX302" fmla="*/ 924458 w 1526865"/>
                      <a:gd name="connsiteY302" fmla="*/ 83942 h 815827"/>
                      <a:gd name="connsiteX303" fmla="*/ 935431 w 1526865"/>
                      <a:gd name="connsiteY303" fmla="*/ 81199 h 815827"/>
                      <a:gd name="connsiteX304" fmla="*/ 940369 w 1526865"/>
                      <a:gd name="connsiteY304" fmla="*/ 83942 h 815827"/>
                      <a:gd name="connsiteX305" fmla="*/ 945856 w 1526865"/>
                      <a:gd name="connsiteY305" fmla="*/ 83393 h 815827"/>
                      <a:gd name="connsiteX306" fmla="*/ 947501 w 1526865"/>
                      <a:gd name="connsiteY306" fmla="*/ 77907 h 815827"/>
                      <a:gd name="connsiteX307" fmla="*/ 952988 w 1526865"/>
                      <a:gd name="connsiteY307" fmla="*/ 77358 h 815827"/>
                      <a:gd name="connsiteX308" fmla="*/ 958474 w 1526865"/>
                      <a:gd name="connsiteY308" fmla="*/ 79004 h 815827"/>
                      <a:gd name="connsiteX309" fmla="*/ 959572 w 1526865"/>
                      <a:gd name="connsiteY309" fmla="*/ 68031 h 815827"/>
                      <a:gd name="connsiteX310" fmla="*/ 965058 w 1526865"/>
                      <a:gd name="connsiteY310" fmla="*/ 69129 h 815827"/>
                      <a:gd name="connsiteX311" fmla="*/ 968898 w 1526865"/>
                      <a:gd name="connsiteY311" fmla="*/ 80101 h 815827"/>
                      <a:gd name="connsiteX312" fmla="*/ 972190 w 1526865"/>
                      <a:gd name="connsiteY312" fmla="*/ 83393 h 815827"/>
                      <a:gd name="connsiteX313" fmla="*/ 969996 w 1526865"/>
                      <a:gd name="connsiteY313" fmla="*/ 94366 h 815827"/>
                      <a:gd name="connsiteX314" fmla="*/ 980968 w 1526865"/>
                      <a:gd name="connsiteY314" fmla="*/ 95463 h 815827"/>
                      <a:gd name="connsiteX315" fmla="*/ 979322 w 1526865"/>
                      <a:gd name="connsiteY315" fmla="*/ 90526 h 815827"/>
                      <a:gd name="connsiteX316" fmla="*/ 975482 w 1526865"/>
                      <a:gd name="connsiteY316" fmla="*/ 86136 h 815827"/>
                      <a:gd name="connsiteX317" fmla="*/ 980968 w 1526865"/>
                      <a:gd name="connsiteY317" fmla="*/ 83942 h 815827"/>
                      <a:gd name="connsiteX318" fmla="*/ 991393 w 1526865"/>
                      <a:gd name="connsiteY318" fmla="*/ 86136 h 815827"/>
                      <a:gd name="connsiteX319" fmla="*/ 1005657 w 1526865"/>
                      <a:gd name="connsiteY319" fmla="*/ 96012 h 815827"/>
                      <a:gd name="connsiteX320" fmla="*/ 1011144 w 1526865"/>
                      <a:gd name="connsiteY320" fmla="*/ 96012 h 815827"/>
                      <a:gd name="connsiteX321" fmla="*/ 1013887 w 1526865"/>
                      <a:gd name="connsiteY321" fmla="*/ 91074 h 815827"/>
                      <a:gd name="connsiteX322" fmla="*/ 1018825 w 1526865"/>
                      <a:gd name="connsiteY322" fmla="*/ 88880 h 815827"/>
                      <a:gd name="connsiteX323" fmla="*/ 1020470 w 1526865"/>
                      <a:gd name="connsiteY323" fmla="*/ 94366 h 815827"/>
                      <a:gd name="connsiteX324" fmla="*/ 1019922 w 1526865"/>
                      <a:gd name="connsiteY324" fmla="*/ 99852 h 815827"/>
                      <a:gd name="connsiteX325" fmla="*/ 1014984 w 1526865"/>
                      <a:gd name="connsiteY325" fmla="*/ 101498 h 815827"/>
                      <a:gd name="connsiteX326" fmla="*/ 1010046 w 1526865"/>
                      <a:gd name="connsiteY326" fmla="*/ 104790 h 815827"/>
                      <a:gd name="connsiteX327" fmla="*/ 1006754 w 1526865"/>
                      <a:gd name="connsiteY327" fmla="*/ 109728 h 815827"/>
                      <a:gd name="connsiteX328" fmla="*/ 1005109 w 1526865"/>
                      <a:gd name="connsiteY328" fmla="*/ 115214 h 815827"/>
                      <a:gd name="connsiteX329" fmla="*/ 1006206 w 1526865"/>
                      <a:gd name="connsiteY329" fmla="*/ 120152 h 815827"/>
                      <a:gd name="connsiteX330" fmla="*/ 1008949 w 1526865"/>
                      <a:gd name="connsiteY330" fmla="*/ 125090 h 815827"/>
                      <a:gd name="connsiteX331" fmla="*/ 1014436 w 1526865"/>
                      <a:gd name="connsiteY331" fmla="*/ 124541 h 815827"/>
                      <a:gd name="connsiteX332" fmla="*/ 1017727 w 1526865"/>
                      <a:gd name="connsiteY332" fmla="*/ 120152 h 815827"/>
                      <a:gd name="connsiteX333" fmla="*/ 1028152 w 1526865"/>
                      <a:gd name="connsiteY333" fmla="*/ 116312 h 815827"/>
                      <a:gd name="connsiteX334" fmla="*/ 1033089 w 1526865"/>
                      <a:gd name="connsiteY334" fmla="*/ 118506 h 815827"/>
                      <a:gd name="connsiteX335" fmla="*/ 1038576 w 1526865"/>
                      <a:gd name="connsiteY335" fmla="*/ 117958 h 815827"/>
                      <a:gd name="connsiteX336" fmla="*/ 1042416 w 1526865"/>
                      <a:gd name="connsiteY336" fmla="*/ 121798 h 815827"/>
                      <a:gd name="connsiteX337" fmla="*/ 1048451 w 1526865"/>
                      <a:gd name="connsiteY337" fmla="*/ 121798 h 815827"/>
                      <a:gd name="connsiteX338" fmla="*/ 1046257 w 1526865"/>
                      <a:gd name="connsiteY338" fmla="*/ 116860 h 815827"/>
                      <a:gd name="connsiteX339" fmla="*/ 1049548 w 1526865"/>
                      <a:gd name="connsiteY339" fmla="*/ 111923 h 815827"/>
                      <a:gd name="connsiteX340" fmla="*/ 1055035 w 1526865"/>
                      <a:gd name="connsiteY340" fmla="*/ 111923 h 815827"/>
                      <a:gd name="connsiteX341" fmla="*/ 1062716 w 1526865"/>
                      <a:gd name="connsiteY341" fmla="*/ 103693 h 815827"/>
                      <a:gd name="connsiteX342" fmla="*/ 1073689 w 1526865"/>
                      <a:gd name="connsiteY342" fmla="*/ 102047 h 815827"/>
                      <a:gd name="connsiteX343" fmla="*/ 1081369 w 1526865"/>
                      <a:gd name="connsiteY343" fmla="*/ 94366 h 815827"/>
                      <a:gd name="connsiteX344" fmla="*/ 1085759 w 1526865"/>
                      <a:gd name="connsiteY344" fmla="*/ 83942 h 815827"/>
                      <a:gd name="connsiteX345" fmla="*/ 1090148 w 1526865"/>
                      <a:gd name="connsiteY345" fmla="*/ 81199 h 815827"/>
                      <a:gd name="connsiteX346" fmla="*/ 1095634 w 1526865"/>
                      <a:gd name="connsiteY346" fmla="*/ 81747 h 815827"/>
                      <a:gd name="connsiteX347" fmla="*/ 1112093 w 1526865"/>
                      <a:gd name="connsiteY347" fmla="*/ 77358 h 815827"/>
                      <a:gd name="connsiteX348" fmla="*/ 1114837 w 1526865"/>
                      <a:gd name="connsiteY348" fmla="*/ 72420 h 815827"/>
                      <a:gd name="connsiteX349" fmla="*/ 1125809 w 1526865"/>
                      <a:gd name="connsiteY349" fmla="*/ 71872 h 815827"/>
                      <a:gd name="connsiteX350" fmla="*/ 1135136 w 1526865"/>
                      <a:gd name="connsiteY350" fmla="*/ 65837 h 815827"/>
                      <a:gd name="connsiteX351" fmla="*/ 1137331 w 1526865"/>
                      <a:gd name="connsiteY351" fmla="*/ 70775 h 815827"/>
                      <a:gd name="connsiteX352" fmla="*/ 1137880 w 1526865"/>
                      <a:gd name="connsiteY352" fmla="*/ 76261 h 815827"/>
                      <a:gd name="connsiteX353" fmla="*/ 1135136 w 1526865"/>
                      <a:gd name="connsiteY353" fmla="*/ 81199 h 815827"/>
                      <a:gd name="connsiteX354" fmla="*/ 1129650 w 1526865"/>
                      <a:gd name="connsiteY354" fmla="*/ 82845 h 815827"/>
                      <a:gd name="connsiteX355" fmla="*/ 1124164 w 1526865"/>
                      <a:gd name="connsiteY355" fmla="*/ 82845 h 815827"/>
                      <a:gd name="connsiteX356" fmla="*/ 1123615 w 1526865"/>
                      <a:gd name="connsiteY356" fmla="*/ 88331 h 815827"/>
                      <a:gd name="connsiteX357" fmla="*/ 1125809 w 1526865"/>
                      <a:gd name="connsiteY357" fmla="*/ 93269 h 815827"/>
                      <a:gd name="connsiteX358" fmla="*/ 1129101 w 1526865"/>
                      <a:gd name="connsiteY358" fmla="*/ 94366 h 815827"/>
                      <a:gd name="connsiteX359" fmla="*/ 1177930 w 1526865"/>
                      <a:gd name="connsiteY359" fmla="*/ 139355 h 815827"/>
                      <a:gd name="connsiteX360" fmla="*/ 1260226 w 1526865"/>
                      <a:gd name="connsiteY360" fmla="*/ 289682 h 815827"/>
                      <a:gd name="connsiteX361" fmla="*/ 1269553 w 1526865"/>
                      <a:gd name="connsiteY361" fmla="*/ 282550 h 815827"/>
                      <a:gd name="connsiteX362" fmla="*/ 1271748 w 1526865"/>
                      <a:gd name="connsiteY362" fmla="*/ 277063 h 815827"/>
                      <a:gd name="connsiteX363" fmla="*/ 1271748 w 1526865"/>
                      <a:gd name="connsiteY363" fmla="*/ 271577 h 815827"/>
                      <a:gd name="connsiteX364" fmla="*/ 1278880 w 1526865"/>
                      <a:gd name="connsiteY364" fmla="*/ 262799 h 815827"/>
                      <a:gd name="connsiteX365" fmla="*/ 1284366 w 1526865"/>
                      <a:gd name="connsiteY365" fmla="*/ 261701 h 815827"/>
                      <a:gd name="connsiteX366" fmla="*/ 1288207 w 1526865"/>
                      <a:gd name="connsiteY366" fmla="*/ 266090 h 815827"/>
                      <a:gd name="connsiteX367" fmla="*/ 1293693 w 1526865"/>
                      <a:gd name="connsiteY367" fmla="*/ 267736 h 815827"/>
                      <a:gd name="connsiteX368" fmla="*/ 1303020 w 1526865"/>
                      <a:gd name="connsiteY368" fmla="*/ 273223 h 815827"/>
                      <a:gd name="connsiteX369" fmla="*/ 1300277 w 1526865"/>
                      <a:gd name="connsiteY369" fmla="*/ 278709 h 815827"/>
                      <a:gd name="connsiteX370" fmla="*/ 1303569 w 1526865"/>
                      <a:gd name="connsiteY370" fmla="*/ 283098 h 815827"/>
                      <a:gd name="connsiteX371" fmla="*/ 1307409 w 1526865"/>
                      <a:gd name="connsiteY371" fmla="*/ 284195 h 815827"/>
                      <a:gd name="connsiteX372" fmla="*/ 1310152 w 1526865"/>
                      <a:gd name="connsiteY372" fmla="*/ 292974 h 815827"/>
                      <a:gd name="connsiteX373" fmla="*/ 1327709 w 1526865"/>
                      <a:gd name="connsiteY373" fmla="*/ 291328 h 815827"/>
                      <a:gd name="connsiteX374" fmla="*/ 1338682 w 1526865"/>
                      <a:gd name="connsiteY374" fmla="*/ 294620 h 815827"/>
                      <a:gd name="connsiteX375" fmla="*/ 1343620 w 1526865"/>
                      <a:gd name="connsiteY375" fmla="*/ 292425 h 815827"/>
                      <a:gd name="connsiteX376" fmla="*/ 1355141 w 1526865"/>
                      <a:gd name="connsiteY376" fmla="*/ 293522 h 815827"/>
                      <a:gd name="connsiteX377" fmla="*/ 1356787 w 1526865"/>
                      <a:gd name="connsiteY377" fmla="*/ 288036 h 815827"/>
                      <a:gd name="connsiteX378" fmla="*/ 1360079 w 1526865"/>
                      <a:gd name="connsiteY378" fmla="*/ 283647 h 815827"/>
                      <a:gd name="connsiteX379" fmla="*/ 1365565 w 1526865"/>
                      <a:gd name="connsiteY379" fmla="*/ 284744 h 815827"/>
                      <a:gd name="connsiteX380" fmla="*/ 1371052 w 1526865"/>
                      <a:gd name="connsiteY380" fmla="*/ 284195 h 815827"/>
                      <a:gd name="connsiteX381" fmla="*/ 1373246 w 1526865"/>
                      <a:gd name="connsiteY381" fmla="*/ 279258 h 815827"/>
                      <a:gd name="connsiteX382" fmla="*/ 1378184 w 1526865"/>
                      <a:gd name="connsiteY382" fmla="*/ 275966 h 815827"/>
                      <a:gd name="connsiteX383" fmla="*/ 1388608 w 1526865"/>
                      <a:gd name="connsiteY383" fmla="*/ 279258 h 815827"/>
                      <a:gd name="connsiteX384" fmla="*/ 1393546 w 1526865"/>
                      <a:gd name="connsiteY384" fmla="*/ 282001 h 815827"/>
                      <a:gd name="connsiteX385" fmla="*/ 1396289 w 1526865"/>
                      <a:gd name="connsiteY385" fmla="*/ 286939 h 815827"/>
                      <a:gd name="connsiteX386" fmla="*/ 1401227 w 1526865"/>
                      <a:gd name="connsiteY386" fmla="*/ 289682 h 815827"/>
                      <a:gd name="connsiteX387" fmla="*/ 1408359 w 1526865"/>
                      <a:gd name="connsiteY387" fmla="*/ 297911 h 815827"/>
                      <a:gd name="connsiteX388" fmla="*/ 1413297 w 1526865"/>
                      <a:gd name="connsiteY388" fmla="*/ 300106 h 815827"/>
                      <a:gd name="connsiteX389" fmla="*/ 1415491 w 1526865"/>
                      <a:gd name="connsiteY389" fmla="*/ 305044 h 815827"/>
                      <a:gd name="connsiteX390" fmla="*/ 1414394 w 1526865"/>
                      <a:gd name="connsiteY390" fmla="*/ 311079 h 815827"/>
                      <a:gd name="connsiteX391" fmla="*/ 1414943 w 1526865"/>
                      <a:gd name="connsiteY391" fmla="*/ 316565 h 815827"/>
                      <a:gd name="connsiteX392" fmla="*/ 1417686 w 1526865"/>
                      <a:gd name="connsiteY392" fmla="*/ 321503 h 815827"/>
                      <a:gd name="connsiteX393" fmla="*/ 1423172 w 1526865"/>
                      <a:gd name="connsiteY393" fmla="*/ 322600 h 815827"/>
                      <a:gd name="connsiteX394" fmla="*/ 1437985 w 1526865"/>
                      <a:gd name="connsiteY394" fmla="*/ 329733 h 815827"/>
                      <a:gd name="connsiteX395" fmla="*/ 1440180 w 1526865"/>
                      <a:gd name="connsiteY395" fmla="*/ 334670 h 815827"/>
                      <a:gd name="connsiteX396" fmla="*/ 1439632 w 1526865"/>
                      <a:gd name="connsiteY396" fmla="*/ 340157 h 815827"/>
                      <a:gd name="connsiteX397" fmla="*/ 1444569 w 1526865"/>
                      <a:gd name="connsiteY397" fmla="*/ 342351 h 815827"/>
                      <a:gd name="connsiteX398" fmla="*/ 1448958 w 1526865"/>
                      <a:gd name="connsiteY398" fmla="*/ 346192 h 815827"/>
                      <a:gd name="connsiteX399" fmla="*/ 1453348 w 1526865"/>
                      <a:gd name="connsiteY399" fmla="*/ 356067 h 815827"/>
                      <a:gd name="connsiteX400" fmla="*/ 1457737 w 1526865"/>
                      <a:gd name="connsiteY400" fmla="*/ 358811 h 815827"/>
                      <a:gd name="connsiteX401" fmla="*/ 1469258 w 1526865"/>
                      <a:gd name="connsiteY401" fmla="*/ 360456 h 815827"/>
                      <a:gd name="connsiteX402" fmla="*/ 1473647 w 1526865"/>
                      <a:gd name="connsiteY402" fmla="*/ 363748 h 815827"/>
                      <a:gd name="connsiteX403" fmla="*/ 1490106 w 1526865"/>
                      <a:gd name="connsiteY403" fmla="*/ 366491 h 815827"/>
                      <a:gd name="connsiteX404" fmla="*/ 1492301 w 1526865"/>
                      <a:gd name="connsiteY404" fmla="*/ 361005 h 815827"/>
                      <a:gd name="connsiteX405" fmla="*/ 1495593 w 1526865"/>
                      <a:gd name="connsiteY405" fmla="*/ 356616 h 815827"/>
                      <a:gd name="connsiteX406" fmla="*/ 1506017 w 1526865"/>
                      <a:gd name="connsiteY406" fmla="*/ 352775 h 815827"/>
                      <a:gd name="connsiteX407" fmla="*/ 1507663 w 1526865"/>
                      <a:gd name="connsiteY407" fmla="*/ 358811 h 815827"/>
                      <a:gd name="connsiteX408" fmla="*/ 1510406 w 1526865"/>
                      <a:gd name="connsiteY408" fmla="*/ 363748 h 815827"/>
                      <a:gd name="connsiteX409" fmla="*/ 1514795 w 1526865"/>
                      <a:gd name="connsiteY409" fmla="*/ 366491 h 815827"/>
                      <a:gd name="connsiteX410" fmla="*/ 1519733 w 1526865"/>
                      <a:gd name="connsiteY410" fmla="*/ 376367 h 815827"/>
                      <a:gd name="connsiteX411" fmla="*/ 1524122 w 1526865"/>
                      <a:gd name="connsiteY411" fmla="*/ 379659 h 815827"/>
                      <a:gd name="connsiteX412" fmla="*/ 1526865 w 1526865"/>
                      <a:gd name="connsiteY412" fmla="*/ 384597 h 815827"/>
                      <a:gd name="connsiteX413" fmla="*/ 1518636 w 1526865"/>
                      <a:gd name="connsiteY413" fmla="*/ 402702 h 815827"/>
                      <a:gd name="connsiteX414" fmla="*/ 1518636 w 1526865"/>
                      <a:gd name="connsiteY414" fmla="*/ 402702 h 815827"/>
                      <a:gd name="connsiteX415" fmla="*/ 1511503 w 1526865"/>
                      <a:gd name="connsiteY415" fmla="*/ 415869 h 815827"/>
                      <a:gd name="connsiteX416" fmla="*/ 1500530 w 1526865"/>
                      <a:gd name="connsiteY416" fmla="*/ 427391 h 815827"/>
                      <a:gd name="connsiteX417" fmla="*/ 1486814 w 1526865"/>
                      <a:gd name="connsiteY417" fmla="*/ 430682 h 815827"/>
                      <a:gd name="connsiteX418" fmla="*/ 1475842 w 1526865"/>
                      <a:gd name="connsiteY418" fmla="*/ 430134 h 815827"/>
                      <a:gd name="connsiteX419" fmla="*/ 1468709 w 1526865"/>
                      <a:gd name="connsiteY419" fmla="*/ 444398 h 815827"/>
                      <a:gd name="connsiteX420" fmla="*/ 1464869 w 1526865"/>
                      <a:gd name="connsiteY420" fmla="*/ 502006 h 815827"/>
                      <a:gd name="connsiteX421" fmla="*/ 1448958 w 1526865"/>
                      <a:gd name="connsiteY421" fmla="*/ 507492 h 815827"/>
                      <a:gd name="connsiteX422" fmla="*/ 1439083 w 1526865"/>
                      <a:gd name="connsiteY422" fmla="*/ 515722 h 815827"/>
                      <a:gd name="connsiteX423" fmla="*/ 1425916 w 1526865"/>
                      <a:gd name="connsiteY423" fmla="*/ 504200 h 815827"/>
                      <a:gd name="connsiteX424" fmla="*/ 1402324 w 1526865"/>
                      <a:gd name="connsiteY424" fmla="*/ 506943 h 815827"/>
                      <a:gd name="connsiteX425" fmla="*/ 1390254 w 1526865"/>
                      <a:gd name="connsiteY425" fmla="*/ 503103 h 815827"/>
                      <a:gd name="connsiteX426" fmla="*/ 1383670 w 1526865"/>
                      <a:gd name="connsiteY426" fmla="*/ 497616 h 815827"/>
                      <a:gd name="connsiteX427" fmla="*/ 1367211 w 1526865"/>
                      <a:gd name="connsiteY427" fmla="*/ 497068 h 815827"/>
                      <a:gd name="connsiteX428" fmla="*/ 1339230 w 1526865"/>
                      <a:gd name="connsiteY428" fmla="*/ 577718 h 815827"/>
                      <a:gd name="connsiteX429" fmla="*/ 1344717 w 1526865"/>
                      <a:gd name="connsiteY429" fmla="*/ 600212 h 815827"/>
                      <a:gd name="connsiteX430" fmla="*/ 1339779 w 1526865"/>
                      <a:gd name="connsiteY430" fmla="*/ 604053 h 815827"/>
                      <a:gd name="connsiteX431" fmla="*/ 1260775 w 1526865"/>
                      <a:gd name="connsiteY431" fmla="*/ 617769 h 815827"/>
                      <a:gd name="connsiteX432" fmla="*/ 1254740 w 1526865"/>
                      <a:gd name="connsiteY432" fmla="*/ 622706 h 815827"/>
                      <a:gd name="connsiteX433" fmla="*/ 1260226 w 1526865"/>
                      <a:gd name="connsiteY433" fmla="*/ 627644 h 815827"/>
                      <a:gd name="connsiteX434" fmla="*/ 1281623 w 1526865"/>
                      <a:gd name="connsiteY434" fmla="*/ 701162 h 815827"/>
                      <a:gd name="connsiteX435" fmla="*/ 1281623 w 1526865"/>
                      <a:gd name="connsiteY435" fmla="*/ 711586 h 815827"/>
                      <a:gd name="connsiteX436" fmla="*/ 1272845 w 1526865"/>
                      <a:gd name="connsiteY436" fmla="*/ 717621 h 815827"/>
                      <a:gd name="connsiteX437" fmla="*/ 1273393 w 1526865"/>
                      <a:gd name="connsiteY437" fmla="*/ 726948 h 815827"/>
                      <a:gd name="connsiteX438" fmla="*/ 1268456 w 1526865"/>
                      <a:gd name="connsiteY438" fmla="*/ 732983 h 815827"/>
                      <a:gd name="connsiteX439" fmla="*/ 1266261 w 1526865"/>
                      <a:gd name="connsiteY439" fmla="*/ 740664 h 815827"/>
                      <a:gd name="connsiteX440" fmla="*/ 1266261 w 1526865"/>
                      <a:gd name="connsiteY440" fmla="*/ 753283 h 815827"/>
                      <a:gd name="connsiteX441" fmla="*/ 1261872 w 1526865"/>
                      <a:gd name="connsiteY441" fmla="*/ 753283 h 815827"/>
                      <a:gd name="connsiteX442" fmla="*/ 1248156 w 1526865"/>
                      <a:gd name="connsiteY442" fmla="*/ 743956 h 815827"/>
                      <a:gd name="connsiteX443" fmla="*/ 1237183 w 1526865"/>
                      <a:gd name="connsiteY443" fmla="*/ 742310 h 815827"/>
                      <a:gd name="connsiteX444" fmla="*/ 1227308 w 1526865"/>
                      <a:gd name="connsiteY444" fmla="*/ 729691 h 815827"/>
                      <a:gd name="connsiteX445" fmla="*/ 1205362 w 1526865"/>
                      <a:gd name="connsiteY445" fmla="*/ 726948 h 815827"/>
                      <a:gd name="connsiteX446" fmla="*/ 1200973 w 1526865"/>
                      <a:gd name="connsiteY446" fmla="*/ 724205 h 815827"/>
                      <a:gd name="connsiteX447" fmla="*/ 1156533 w 1526865"/>
                      <a:gd name="connsiteY447" fmla="*/ 722559 h 815827"/>
                      <a:gd name="connsiteX448" fmla="*/ 1146658 w 1526865"/>
                      <a:gd name="connsiteY448" fmla="*/ 717621 h 815827"/>
                      <a:gd name="connsiteX449" fmla="*/ 1141171 w 1526865"/>
                      <a:gd name="connsiteY449" fmla="*/ 717072 h 815827"/>
                      <a:gd name="connsiteX450" fmla="*/ 1131296 w 1526865"/>
                      <a:gd name="connsiteY450" fmla="*/ 722010 h 815827"/>
                      <a:gd name="connsiteX451" fmla="*/ 1075883 w 1526865"/>
                      <a:gd name="connsiteY451" fmla="*/ 720913 h 815827"/>
                      <a:gd name="connsiteX452" fmla="*/ 1071494 w 1526865"/>
                      <a:gd name="connsiteY452" fmla="*/ 717621 h 815827"/>
                      <a:gd name="connsiteX453" fmla="*/ 1066008 w 1526865"/>
                      <a:gd name="connsiteY453" fmla="*/ 716524 h 815827"/>
                      <a:gd name="connsiteX454" fmla="*/ 1055035 w 1526865"/>
                      <a:gd name="connsiteY454" fmla="*/ 717621 h 815827"/>
                      <a:gd name="connsiteX455" fmla="*/ 1036381 w 1526865"/>
                      <a:gd name="connsiteY455" fmla="*/ 706100 h 815827"/>
                      <a:gd name="connsiteX456" fmla="*/ 1031443 w 1526865"/>
                      <a:gd name="connsiteY456" fmla="*/ 708843 h 815827"/>
                      <a:gd name="connsiteX457" fmla="*/ 1025957 w 1526865"/>
                      <a:gd name="connsiteY457" fmla="*/ 709392 h 815827"/>
                      <a:gd name="connsiteX458" fmla="*/ 1021019 w 1526865"/>
                      <a:gd name="connsiteY458" fmla="*/ 711038 h 815827"/>
                      <a:gd name="connsiteX459" fmla="*/ 1012241 w 1526865"/>
                      <a:gd name="connsiteY459" fmla="*/ 718170 h 815827"/>
                      <a:gd name="connsiteX460" fmla="*/ 1011692 w 1526865"/>
                      <a:gd name="connsiteY460" fmla="*/ 723656 h 815827"/>
                      <a:gd name="connsiteX461" fmla="*/ 1008949 w 1526865"/>
                      <a:gd name="connsiteY461" fmla="*/ 728045 h 815827"/>
                      <a:gd name="connsiteX462" fmla="*/ 1006754 w 1526865"/>
                      <a:gd name="connsiteY462" fmla="*/ 739567 h 815827"/>
                      <a:gd name="connsiteX463" fmla="*/ 1004560 w 1526865"/>
                      <a:gd name="connsiteY463" fmla="*/ 743956 h 815827"/>
                      <a:gd name="connsiteX464" fmla="*/ 946953 w 1526865"/>
                      <a:gd name="connsiteY464" fmla="*/ 726948 h 815827"/>
                      <a:gd name="connsiteX465" fmla="*/ 941466 w 1526865"/>
                      <a:gd name="connsiteY465" fmla="*/ 728045 h 815827"/>
                      <a:gd name="connsiteX466" fmla="*/ 935980 w 1526865"/>
                      <a:gd name="connsiteY466" fmla="*/ 725851 h 815827"/>
                      <a:gd name="connsiteX467" fmla="*/ 920069 w 1526865"/>
                      <a:gd name="connsiteY467" fmla="*/ 729691 h 815827"/>
                      <a:gd name="connsiteX468" fmla="*/ 918424 w 1526865"/>
                      <a:gd name="connsiteY468" fmla="*/ 735177 h 815827"/>
                      <a:gd name="connsiteX469" fmla="*/ 918972 w 1526865"/>
                      <a:gd name="connsiteY469" fmla="*/ 740664 h 815827"/>
                      <a:gd name="connsiteX470" fmla="*/ 904708 w 1526865"/>
                      <a:gd name="connsiteY470" fmla="*/ 763707 h 815827"/>
                      <a:gd name="connsiteX471" fmla="*/ 899221 w 1526865"/>
                      <a:gd name="connsiteY471" fmla="*/ 765353 h 815827"/>
                      <a:gd name="connsiteX472" fmla="*/ 894283 w 1526865"/>
                      <a:gd name="connsiteY472" fmla="*/ 763707 h 815827"/>
                      <a:gd name="connsiteX473" fmla="*/ 889894 w 1526865"/>
                      <a:gd name="connsiteY473" fmla="*/ 774131 h 815827"/>
                      <a:gd name="connsiteX474" fmla="*/ 885505 w 1526865"/>
                      <a:gd name="connsiteY474" fmla="*/ 777972 h 815827"/>
                      <a:gd name="connsiteX475" fmla="*/ 860268 w 1526865"/>
                      <a:gd name="connsiteY475" fmla="*/ 790041 h 815827"/>
                      <a:gd name="connsiteX476" fmla="*/ 856976 w 1526865"/>
                      <a:gd name="connsiteY476" fmla="*/ 794431 h 815827"/>
                      <a:gd name="connsiteX477" fmla="*/ 847100 w 1526865"/>
                      <a:gd name="connsiteY477" fmla="*/ 799368 h 815827"/>
                      <a:gd name="connsiteX478" fmla="*/ 842711 w 1526865"/>
                      <a:gd name="connsiteY478" fmla="*/ 809793 h 815827"/>
                      <a:gd name="connsiteX479" fmla="*/ 833384 w 1526865"/>
                      <a:gd name="connsiteY479" fmla="*/ 815828 h 815827"/>
                      <a:gd name="connsiteX480" fmla="*/ 802112 w 1526865"/>
                      <a:gd name="connsiteY480" fmla="*/ 803209 h 815827"/>
                      <a:gd name="connsiteX481" fmla="*/ 763707 w 1526865"/>
                      <a:gd name="connsiteY481" fmla="*/ 807050 h 815827"/>
                      <a:gd name="connsiteX482" fmla="*/ 757123 w 1526865"/>
                      <a:gd name="connsiteY482" fmla="*/ 775228 h 815827"/>
                      <a:gd name="connsiteX483" fmla="*/ 734629 w 1526865"/>
                      <a:gd name="connsiteY483" fmla="*/ 771388 h 815827"/>
                      <a:gd name="connsiteX484" fmla="*/ 734080 w 1526865"/>
                      <a:gd name="connsiteY484" fmla="*/ 751088 h 815827"/>
                      <a:gd name="connsiteX485" fmla="*/ 739018 w 1526865"/>
                      <a:gd name="connsiteY485" fmla="*/ 750540 h 815827"/>
                      <a:gd name="connsiteX486" fmla="*/ 738469 w 1526865"/>
                      <a:gd name="connsiteY486" fmla="*/ 721461 h 815827"/>
                      <a:gd name="connsiteX487" fmla="*/ 729143 w 1526865"/>
                      <a:gd name="connsiteY487" fmla="*/ 722010 h 815827"/>
                      <a:gd name="connsiteX488" fmla="*/ 717621 w 1526865"/>
                      <a:gd name="connsiteY488" fmla="*/ 699516 h 815827"/>
                      <a:gd name="connsiteX489" fmla="*/ 691835 w 1526865"/>
                      <a:gd name="connsiteY489" fmla="*/ 678668 h 815827"/>
                      <a:gd name="connsiteX490" fmla="*/ 681960 w 1526865"/>
                      <a:gd name="connsiteY490" fmla="*/ 683057 h 815827"/>
                      <a:gd name="connsiteX491" fmla="*/ 581558 w 1526865"/>
                      <a:gd name="connsiteY491" fmla="*/ 690738 h 815827"/>
                      <a:gd name="connsiteX492" fmla="*/ 450982 w 1526865"/>
                      <a:gd name="connsiteY492" fmla="*/ 581010 h 815827"/>
                      <a:gd name="connsiteX493" fmla="*/ 354970 w 1526865"/>
                      <a:gd name="connsiteY493" fmla="*/ 615026 h 81582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  <a:cxn ang="0">
                        <a:pos x="connsiteX81" y="connsiteY81"/>
                      </a:cxn>
                      <a:cxn ang="0">
                        <a:pos x="connsiteX82" y="connsiteY82"/>
                      </a:cxn>
                      <a:cxn ang="0">
                        <a:pos x="connsiteX83" y="connsiteY83"/>
                      </a:cxn>
                      <a:cxn ang="0">
                        <a:pos x="connsiteX84" y="connsiteY84"/>
                      </a:cxn>
                      <a:cxn ang="0">
                        <a:pos x="connsiteX85" y="connsiteY85"/>
                      </a:cxn>
                      <a:cxn ang="0">
                        <a:pos x="connsiteX86" y="connsiteY86"/>
                      </a:cxn>
                      <a:cxn ang="0">
                        <a:pos x="connsiteX87" y="connsiteY87"/>
                      </a:cxn>
                      <a:cxn ang="0">
                        <a:pos x="connsiteX88" y="connsiteY88"/>
                      </a:cxn>
                      <a:cxn ang="0">
                        <a:pos x="connsiteX89" y="connsiteY89"/>
                      </a:cxn>
                      <a:cxn ang="0">
                        <a:pos x="connsiteX90" y="connsiteY90"/>
                      </a:cxn>
                      <a:cxn ang="0">
                        <a:pos x="connsiteX91" y="connsiteY91"/>
                      </a:cxn>
                      <a:cxn ang="0">
                        <a:pos x="connsiteX92" y="connsiteY92"/>
                      </a:cxn>
                      <a:cxn ang="0">
                        <a:pos x="connsiteX93" y="connsiteY93"/>
                      </a:cxn>
                      <a:cxn ang="0">
                        <a:pos x="connsiteX94" y="connsiteY94"/>
                      </a:cxn>
                      <a:cxn ang="0">
                        <a:pos x="connsiteX95" y="connsiteY95"/>
                      </a:cxn>
                      <a:cxn ang="0">
                        <a:pos x="connsiteX96" y="connsiteY96"/>
                      </a:cxn>
                      <a:cxn ang="0">
                        <a:pos x="connsiteX97" y="connsiteY97"/>
                      </a:cxn>
                      <a:cxn ang="0">
                        <a:pos x="connsiteX98" y="connsiteY98"/>
                      </a:cxn>
                      <a:cxn ang="0">
                        <a:pos x="connsiteX99" y="connsiteY99"/>
                      </a:cxn>
                      <a:cxn ang="0">
                        <a:pos x="connsiteX100" y="connsiteY100"/>
                      </a:cxn>
                      <a:cxn ang="0">
                        <a:pos x="connsiteX101" y="connsiteY101"/>
                      </a:cxn>
                      <a:cxn ang="0">
                        <a:pos x="connsiteX102" y="connsiteY102"/>
                      </a:cxn>
                      <a:cxn ang="0">
                        <a:pos x="connsiteX103" y="connsiteY103"/>
                      </a:cxn>
                      <a:cxn ang="0">
                        <a:pos x="connsiteX104" y="connsiteY104"/>
                      </a:cxn>
                      <a:cxn ang="0">
                        <a:pos x="connsiteX105" y="connsiteY105"/>
                      </a:cxn>
                      <a:cxn ang="0">
                        <a:pos x="connsiteX106" y="connsiteY106"/>
                      </a:cxn>
                      <a:cxn ang="0">
                        <a:pos x="connsiteX107" y="connsiteY107"/>
                      </a:cxn>
                      <a:cxn ang="0">
                        <a:pos x="connsiteX108" y="connsiteY108"/>
                      </a:cxn>
                      <a:cxn ang="0">
                        <a:pos x="connsiteX109" y="connsiteY109"/>
                      </a:cxn>
                      <a:cxn ang="0">
                        <a:pos x="connsiteX110" y="connsiteY110"/>
                      </a:cxn>
                      <a:cxn ang="0">
                        <a:pos x="connsiteX111" y="connsiteY111"/>
                      </a:cxn>
                      <a:cxn ang="0">
                        <a:pos x="connsiteX112" y="connsiteY112"/>
                      </a:cxn>
                      <a:cxn ang="0">
                        <a:pos x="connsiteX113" y="connsiteY113"/>
                      </a:cxn>
                      <a:cxn ang="0">
                        <a:pos x="connsiteX114" y="connsiteY114"/>
                      </a:cxn>
                      <a:cxn ang="0">
                        <a:pos x="connsiteX115" y="connsiteY115"/>
                      </a:cxn>
                      <a:cxn ang="0">
                        <a:pos x="connsiteX116" y="connsiteY116"/>
                      </a:cxn>
                      <a:cxn ang="0">
                        <a:pos x="connsiteX117" y="connsiteY117"/>
                      </a:cxn>
                      <a:cxn ang="0">
                        <a:pos x="connsiteX118" y="connsiteY118"/>
                      </a:cxn>
                      <a:cxn ang="0">
                        <a:pos x="connsiteX119" y="connsiteY119"/>
                      </a:cxn>
                      <a:cxn ang="0">
                        <a:pos x="connsiteX120" y="connsiteY120"/>
                      </a:cxn>
                      <a:cxn ang="0">
                        <a:pos x="connsiteX121" y="connsiteY121"/>
                      </a:cxn>
                      <a:cxn ang="0">
                        <a:pos x="connsiteX122" y="connsiteY122"/>
                      </a:cxn>
                      <a:cxn ang="0">
                        <a:pos x="connsiteX123" y="connsiteY123"/>
                      </a:cxn>
                      <a:cxn ang="0">
                        <a:pos x="connsiteX124" y="connsiteY124"/>
                      </a:cxn>
                      <a:cxn ang="0">
                        <a:pos x="connsiteX125" y="connsiteY125"/>
                      </a:cxn>
                      <a:cxn ang="0">
                        <a:pos x="connsiteX126" y="connsiteY126"/>
                      </a:cxn>
                      <a:cxn ang="0">
                        <a:pos x="connsiteX127" y="connsiteY127"/>
                      </a:cxn>
                      <a:cxn ang="0">
                        <a:pos x="connsiteX128" y="connsiteY128"/>
                      </a:cxn>
                      <a:cxn ang="0">
                        <a:pos x="connsiteX129" y="connsiteY129"/>
                      </a:cxn>
                      <a:cxn ang="0">
                        <a:pos x="connsiteX130" y="connsiteY130"/>
                      </a:cxn>
                      <a:cxn ang="0">
                        <a:pos x="connsiteX131" y="connsiteY131"/>
                      </a:cxn>
                      <a:cxn ang="0">
                        <a:pos x="connsiteX132" y="connsiteY132"/>
                      </a:cxn>
                      <a:cxn ang="0">
                        <a:pos x="connsiteX133" y="connsiteY133"/>
                      </a:cxn>
                      <a:cxn ang="0">
                        <a:pos x="connsiteX134" y="connsiteY134"/>
                      </a:cxn>
                      <a:cxn ang="0">
                        <a:pos x="connsiteX135" y="connsiteY135"/>
                      </a:cxn>
                      <a:cxn ang="0">
                        <a:pos x="connsiteX136" y="connsiteY136"/>
                      </a:cxn>
                      <a:cxn ang="0">
                        <a:pos x="connsiteX137" y="connsiteY137"/>
                      </a:cxn>
                      <a:cxn ang="0">
                        <a:pos x="connsiteX138" y="connsiteY138"/>
                      </a:cxn>
                      <a:cxn ang="0">
                        <a:pos x="connsiteX139" y="connsiteY139"/>
                      </a:cxn>
                      <a:cxn ang="0">
                        <a:pos x="connsiteX140" y="connsiteY140"/>
                      </a:cxn>
                      <a:cxn ang="0">
                        <a:pos x="connsiteX141" y="connsiteY141"/>
                      </a:cxn>
                      <a:cxn ang="0">
                        <a:pos x="connsiteX142" y="connsiteY142"/>
                      </a:cxn>
                      <a:cxn ang="0">
                        <a:pos x="connsiteX143" y="connsiteY143"/>
                      </a:cxn>
                      <a:cxn ang="0">
                        <a:pos x="connsiteX144" y="connsiteY144"/>
                      </a:cxn>
                      <a:cxn ang="0">
                        <a:pos x="connsiteX145" y="connsiteY145"/>
                      </a:cxn>
                      <a:cxn ang="0">
                        <a:pos x="connsiteX146" y="connsiteY146"/>
                      </a:cxn>
                      <a:cxn ang="0">
                        <a:pos x="connsiteX147" y="connsiteY147"/>
                      </a:cxn>
                      <a:cxn ang="0">
                        <a:pos x="connsiteX148" y="connsiteY148"/>
                      </a:cxn>
                      <a:cxn ang="0">
                        <a:pos x="connsiteX149" y="connsiteY149"/>
                      </a:cxn>
                      <a:cxn ang="0">
                        <a:pos x="connsiteX150" y="connsiteY150"/>
                      </a:cxn>
                      <a:cxn ang="0">
                        <a:pos x="connsiteX151" y="connsiteY151"/>
                      </a:cxn>
                      <a:cxn ang="0">
                        <a:pos x="connsiteX152" y="connsiteY152"/>
                      </a:cxn>
                      <a:cxn ang="0">
                        <a:pos x="connsiteX153" y="connsiteY153"/>
                      </a:cxn>
                      <a:cxn ang="0">
                        <a:pos x="connsiteX154" y="connsiteY154"/>
                      </a:cxn>
                      <a:cxn ang="0">
                        <a:pos x="connsiteX155" y="connsiteY155"/>
                      </a:cxn>
                      <a:cxn ang="0">
                        <a:pos x="connsiteX156" y="connsiteY156"/>
                      </a:cxn>
                      <a:cxn ang="0">
                        <a:pos x="connsiteX157" y="connsiteY157"/>
                      </a:cxn>
                      <a:cxn ang="0">
                        <a:pos x="connsiteX158" y="connsiteY158"/>
                      </a:cxn>
                      <a:cxn ang="0">
                        <a:pos x="connsiteX159" y="connsiteY159"/>
                      </a:cxn>
                      <a:cxn ang="0">
                        <a:pos x="connsiteX160" y="connsiteY160"/>
                      </a:cxn>
                      <a:cxn ang="0">
                        <a:pos x="connsiteX161" y="connsiteY161"/>
                      </a:cxn>
                      <a:cxn ang="0">
                        <a:pos x="connsiteX162" y="connsiteY162"/>
                      </a:cxn>
                      <a:cxn ang="0">
                        <a:pos x="connsiteX163" y="connsiteY163"/>
                      </a:cxn>
                      <a:cxn ang="0">
                        <a:pos x="connsiteX164" y="connsiteY164"/>
                      </a:cxn>
                      <a:cxn ang="0">
                        <a:pos x="connsiteX165" y="connsiteY165"/>
                      </a:cxn>
                      <a:cxn ang="0">
                        <a:pos x="connsiteX166" y="connsiteY166"/>
                      </a:cxn>
                      <a:cxn ang="0">
                        <a:pos x="connsiteX167" y="connsiteY167"/>
                      </a:cxn>
                      <a:cxn ang="0">
                        <a:pos x="connsiteX168" y="connsiteY168"/>
                      </a:cxn>
                      <a:cxn ang="0">
                        <a:pos x="connsiteX169" y="connsiteY169"/>
                      </a:cxn>
                      <a:cxn ang="0">
                        <a:pos x="connsiteX170" y="connsiteY170"/>
                      </a:cxn>
                      <a:cxn ang="0">
                        <a:pos x="connsiteX171" y="connsiteY171"/>
                      </a:cxn>
                      <a:cxn ang="0">
                        <a:pos x="connsiteX172" y="connsiteY172"/>
                      </a:cxn>
                      <a:cxn ang="0">
                        <a:pos x="connsiteX173" y="connsiteY173"/>
                      </a:cxn>
                      <a:cxn ang="0">
                        <a:pos x="connsiteX174" y="connsiteY174"/>
                      </a:cxn>
                      <a:cxn ang="0">
                        <a:pos x="connsiteX175" y="connsiteY175"/>
                      </a:cxn>
                      <a:cxn ang="0">
                        <a:pos x="connsiteX176" y="connsiteY176"/>
                      </a:cxn>
                      <a:cxn ang="0">
                        <a:pos x="connsiteX177" y="connsiteY177"/>
                      </a:cxn>
                      <a:cxn ang="0">
                        <a:pos x="connsiteX178" y="connsiteY178"/>
                      </a:cxn>
                      <a:cxn ang="0">
                        <a:pos x="connsiteX179" y="connsiteY179"/>
                      </a:cxn>
                      <a:cxn ang="0">
                        <a:pos x="connsiteX180" y="connsiteY180"/>
                      </a:cxn>
                      <a:cxn ang="0">
                        <a:pos x="connsiteX181" y="connsiteY181"/>
                      </a:cxn>
                      <a:cxn ang="0">
                        <a:pos x="connsiteX182" y="connsiteY182"/>
                      </a:cxn>
                      <a:cxn ang="0">
                        <a:pos x="connsiteX183" y="connsiteY183"/>
                      </a:cxn>
                      <a:cxn ang="0">
                        <a:pos x="connsiteX184" y="connsiteY184"/>
                      </a:cxn>
                      <a:cxn ang="0">
                        <a:pos x="connsiteX185" y="connsiteY185"/>
                      </a:cxn>
                      <a:cxn ang="0">
                        <a:pos x="connsiteX186" y="connsiteY186"/>
                      </a:cxn>
                      <a:cxn ang="0">
                        <a:pos x="connsiteX187" y="connsiteY187"/>
                      </a:cxn>
                      <a:cxn ang="0">
                        <a:pos x="connsiteX188" y="connsiteY188"/>
                      </a:cxn>
                      <a:cxn ang="0">
                        <a:pos x="connsiteX189" y="connsiteY189"/>
                      </a:cxn>
                      <a:cxn ang="0">
                        <a:pos x="connsiteX190" y="connsiteY190"/>
                      </a:cxn>
                      <a:cxn ang="0">
                        <a:pos x="connsiteX191" y="connsiteY191"/>
                      </a:cxn>
                      <a:cxn ang="0">
                        <a:pos x="connsiteX192" y="connsiteY192"/>
                      </a:cxn>
                      <a:cxn ang="0">
                        <a:pos x="connsiteX193" y="connsiteY193"/>
                      </a:cxn>
                      <a:cxn ang="0">
                        <a:pos x="connsiteX194" y="connsiteY194"/>
                      </a:cxn>
                      <a:cxn ang="0">
                        <a:pos x="connsiteX195" y="connsiteY195"/>
                      </a:cxn>
                      <a:cxn ang="0">
                        <a:pos x="connsiteX196" y="connsiteY196"/>
                      </a:cxn>
                      <a:cxn ang="0">
                        <a:pos x="connsiteX197" y="connsiteY197"/>
                      </a:cxn>
                      <a:cxn ang="0">
                        <a:pos x="connsiteX198" y="connsiteY198"/>
                      </a:cxn>
                      <a:cxn ang="0">
                        <a:pos x="connsiteX199" y="connsiteY199"/>
                      </a:cxn>
                      <a:cxn ang="0">
                        <a:pos x="connsiteX200" y="connsiteY200"/>
                      </a:cxn>
                      <a:cxn ang="0">
                        <a:pos x="connsiteX201" y="connsiteY201"/>
                      </a:cxn>
                      <a:cxn ang="0">
                        <a:pos x="connsiteX202" y="connsiteY202"/>
                      </a:cxn>
                      <a:cxn ang="0">
                        <a:pos x="connsiteX203" y="connsiteY203"/>
                      </a:cxn>
                      <a:cxn ang="0">
                        <a:pos x="connsiteX204" y="connsiteY204"/>
                      </a:cxn>
                      <a:cxn ang="0">
                        <a:pos x="connsiteX205" y="connsiteY205"/>
                      </a:cxn>
                      <a:cxn ang="0">
                        <a:pos x="connsiteX206" y="connsiteY206"/>
                      </a:cxn>
                      <a:cxn ang="0">
                        <a:pos x="connsiteX207" y="connsiteY207"/>
                      </a:cxn>
                      <a:cxn ang="0">
                        <a:pos x="connsiteX208" y="connsiteY208"/>
                      </a:cxn>
                      <a:cxn ang="0">
                        <a:pos x="connsiteX209" y="connsiteY209"/>
                      </a:cxn>
                      <a:cxn ang="0">
                        <a:pos x="connsiteX210" y="connsiteY210"/>
                      </a:cxn>
                      <a:cxn ang="0">
                        <a:pos x="connsiteX211" y="connsiteY211"/>
                      </a:cxn>
                      <a:cxn ang="0">
                        <a:pos x="connsiteX212" y="connsiteY212"/>
                      </a:cxn>
                      <a:cxn ang="0">
                        <a:pos x="connsiteX213" y="connsiteY213"/>
                      </a:cxn>
                      <a:cxn ang="0">
                        <a:pos x="connsiteX214" y="connsiteY214"/>
                      </a:cxn>
                      <a:cxn ang="0">
                        <a:pos x="connsiteX215" y="connsiteY215"/>
                      </a:cxn>
                      <a:cxn ang="0">
                        <a:pos x="connsiteX216" y="connsiteY216"/>
                      </a:cxn>
                      <a:cxn ang="0">
                        <a:pos x="connsiteX217" y="connsiteY217"/>
                      </a:cxn>
                      <a:cxn ang="0">
                        <a:pos x="connsiteX218" y="connsiteY218"/>
                      </a:cxn>
                      <a:cxn ang="0">
                        <a:pos x="connsiteX219" y="connsiteY219"/>
                      </a:cxn>
                      <a:cxn ang="0">
                        <a:pos x="connsiteX220" y="connsiteY220"/>
                      </a:cxn>
                      <a:cxn ang="0">
                        <a:pos x="connsiteX221" y="connsiteY221"/>
                      </a:cxn>
                      <a:cxn ang="0">
                        <a:pos x="connsiteX222" y="connsiteY222"/>
                      </a:cxn>
                      <a:cxn ang="0">
                        <a:pos x="connsiteX223" y="connsiteY223"/>
                      </a:cxn>
                      <a:cxn ang="0">
                        <a:pos x="connsiteX224" y="connsiteY224"/>
                      </a:cxn>
                      <a:cxn ang="0">
                        <a:pos x="connsiteX225" y="connsiteY225"/>
                      </a:cxn>
                      <a:cxn ang="0">
                        <a:pos x="connsiteX226" y="connsiteY226"/>
                      </a:cxn>
                      <a:cxn ang="0">
                        <a:pos x="connsiteX227" y="connsiteY227"/>
                      </a:cxn>
                      <a:cxn ang="0">
                        <a:pos x="connsiteX228" y="connsiteY228"/>
                      </a:cxn>
                      <a:cxn ang="0">
                        <a:pos x="connsiteX229" y="connsiteY229"/>
                      </a:cxn>
                      <a:cxn ang="0">
                        <a:pos x="connsiteX230" y="connsiteY230"/>
                      </a:cxn>
                      <a:cxn ang="0">
                        <a:pos x="connsiteX231" y="connsiteY231"/>
                      </a:cxn>
                      <a:cxn ang="0">
                        <a:pos x="connsiteX232" y="connsiteY232"/>
                      </a:cxn>
                      <a:cxn ang="0">
                        <a:pos x="connsiteX233" y="connsiteY233"/>
                      </a:cxn>
                      <a:cxn ang="0">
                        <a:pos x="connsiteX234" y="connsiteY234"/>
                      </a:cxn>
                      <a:cxn ang="0">
                        <a:pos x="connsiteX235" y="connsiteY235"/>
                      </a:cxn>
                      <a:cxn ang="0">
                        <a:pos x="connsiteX236" y="connsiteY236"/>
                      </a:cxn>
                      <a:cxn ang="0">
                        <a:pos x="connsiteX237" y="connsiteY237"/>
                      </a:cxn>
                      <a:cxn ang="0">
                        <a:pos x="connsiteX238" y="connsiteY238"/>
                      </a:cxn>
                      <a:cxn ang="0">
                        <a:pos x="connsiteX239" y="connsiteY239"/>
                      </a:cxn>
                      <a:cxn ang="0">
                        <a:pos x="connsiteX240" y="connsiteY240"/>
                      </a:cxn>
                      <a:cxn ang="0">
                        <a:pos x="connsiteX241" y="connsiteY241"/>
                      </a:cxn>
                      <a:cxn ang="0">
                        <a:pos x="connsiteX242" y="connsiteY242"/>
                      </a:cxn>
                      <a:cxn ang="0">
                        <a:pos x="connsiteX243" y="connsiteY243"/>
                      </a:cxn>
                      <a:cxn ang="0">
                        <a:pos x="connsiteX244" y="connsiteY244"/>
                      </a:cxn>
                      <a:cxn ang="0">
                        <a:pos x="connsiteX245" y="connsiteY245"/>
                      </a:cxn>
                      <a:cxn ang="0">
                        <a:pos x="connsiteX246" y="connsiteY246"/>
                      </a:cxn>
                      <a:cxn ang="0">
                        <a:pos x="connsiteX247" y="connsiteY247"/>
                      </a:cxn>
                      <a:cxn ang="0">
                        <a:pos x="connsiteX248" y="connsiteY248"/>
                      </a:cxn>
                      <a:cxn ang="0">
                        <a:pos x="connsiteX249" y="connsiteY249"/>
                      </a:cxn>
                      <a:cxn ang="0">
                        <a:pos x="connsiteX250" y="connsiteY250"/>
                      </a:cxn>
                      <a:cxn ang="0">
                        <a:pos x="connsiteX251" y="connsiteY251"/>
                      </a:cxn>
                      <a:cxn ang="0">
                        <a:pos x="connsiteX252" y="connsiteY252"/>
                      </a:cxn>
                      <a:cxn ang="0">
                        <a:pos x="connsiteX253" y="connsiteY253"/>
                      </a:cxn>
                      <a:cxn ang="0">
                        <a:pos x="connsiteX254" y="connsiteY254"/>
                      </a:cxn>
                      <a:cxn ang="0">
                        <a:pos x="connsiteX255" y="connsiteY255"/>
                      </a:cxn>
                      <a:cxn ang="0">
                        <a:pos x="connsiteX256" y="connsiteY256"/>
                      </a:cxn>
                      <a:cxn ang="0">
                        <a:pos x="connsiteX257" y="connsiteY257"/>
                      </a:cxn>
                      <a:cxn ang="0">
                        <a:pos x="connsiteX258" y="connsiteY258"/>
                      </a:cxn>
                      <a:cxn ang="0">
                        <a:pos x="connsiteX259" y="connsiteY259"/>
                      </a:cxn>
                      <a:cxn ang="0">
                        <a:pos x="connsiteX260" y="connsiteY260"/>
                      </a:cxn>
                      <a:cxn ang="0">
                        <a:pos x="connsiteX261" y="connsiteY261"/>
                      </a:cxn>
                      <a:cxn ang="0">
                        <a:pos x="connsiteX262" y="connsiteY262"/>
                      </a:cxn>
                      <a:cxn ang="0">
                        <a:pos x="connsiteX263" y="connsiteY263"/>
                      </a:cxn>
                      <a:cxn ang="0">
                        <a:pos x="connsiteX264" y="connsiteY264"/>
                      </a:cxn>
                      <a:cxn ang="0">
                        <a:pos x="connsiteX265" y="connsiteY265"/>
                      </a:cxn>
                      <a:cxn ang="0">
                        <a:pos x="connsiteX266" y="connsiteY266"/>
                      </a:cxn>
                      <a:cxn ang="0">
                        <a:pos x="connsiteX267" y="connsiteY267"/>
                      </a:cxn>
                      <a:cxn ang="0">
                        <a:pos x="connsiteX268" y="connsiteY268"/>
                      </a:cxn>
                      <a:cxn ang="0">
                        <a:pos x="connsiteX269" y="connsiteY269"/>
                      </a:cxn>
                      <a:cxn ang="0">
                        <a:pos x="connsiteX270" y="connsiteY270"/>
                      </a:cxn>
                      <a:cxn ang="0">
                        <a:pos x="connsiteX271" y="connsiteY271"/>
                      </a:cxn>
                      <a:cxn ang="0">
                        <a:pos x="connsiteX272" y="connsiteY272"/>
                      </a:cxn>
                      <a:cxn ang="0">
                        <a:pos x="connsiteX273" y="connsiteY273"/>
                      </a:cxn>
                      <a:cxn ang="0">
                        <a:pos x="connsiteX274" y="connsiteY274"/>
                      </a:cxn>
                      <a:cxn ang="0">
                        <a:pos x="connsiteX275" y="connsiteY275"/>
                      </a:cxn>
                      <a:cxn ang="0">
                        <a:pos x="connsiteX276" y="connsiteY276"/>
                      </a:cxn>
                      <a:cxn ang="0">
                        <a:pos x="connsiteX277" y="connsiteY277"/>
                      </a:cxn>
                      <a:cxn ang="0">
                        <a:pos x="connsiteX278" y="connsiteY278"/>
                      </a:cxn>
                      <a:cxn ang="0">
                        <a:pos x="connsiteX279" y="connsiteY279"/>
                      </a:cxn>
                      <a:cxn ang="0">
                        <a:pos x="connsiteX280" y="connsiteY280"/>
                      </a:cxn>
                      <a:cxn ang="0">
                        <a:pos x="connsiteX281" y="connsiteY281"/>
                      </a:cxn>
                      <a:cxn ang="0">
                        <a:pos x="connsiteX282" y="connsiteY282"/>
                      </a:cxn>
                      <a:cxn ang="0">
                        <a:pos x="connsiteX283" y="connsiteY283"/>
                      </a:cxn>
                      <a:cxn ang="0">
                        <a:pos x="connsiteX284" y="connsiteY284"/>
                      </a:cxn>
                      <a:cxn ang="0">
                        <a:pos x="connsiteX285" y="connsiteY285"/>
                      </a:cxn>
                      <a:cxn ang="0">
                        <a:pos x="connsiteX286" y="connsiteY286"/>
                      </a:cxn>
                      <a:cxn ang="0">
                        <a:pos x="connsiteX287" y="connsiteY287"/>
                      </a:cxn>
                      <a:cxn ang="0">
                        <a:pos x="connsiteX288" y="connsiteY288"/>
                      </a:cxn>
                      <a:cxn ang="0">
                        <a:pos x="connsiteX289" y="connsiteY289"/>
                      </a:cxn>
                      <a:cxn ang="0">
                        <a:pos x="connsiteX290" y="connsiteY290"/>
                      </a:cxn>
                      <a:cxn ang="0">
                        <a:pos x="connsiteX291" y="connsiteY291"/>
                      </a:cxn>
                      <a:cxn ang="0">
                        <a:pos x="connsiteX292" y="connsiteY292"/>
                      </a:cxn>
                      <a:cxn ang="0">
                        <a:pos x="connsiteX293" y="connsiteY293"/>
                      </a:cxn>
                      <a:cxn ang="0">
                        <a:pos x="connsiteX294" y="connsiteY294"/>
                      </a:cxn>
                      <a:cxn ang="0">
                        <a:pos x="connsiteX295" y="connsiteY295"/>
                      </a:cxn>
                      <a:cxn ang="0">
                        <a:pos x="connsiteX296" y="connsiteY296"/>
                      </a:cxn>
                      <a:cxn ang="0">
                        <a:pos x="connsiteX297" y="connsiteY297"/>
                      </a:cxn>
                      <a:cxn ang="0">
                        <a:pos x="connsiteX298" y="connsiteY298"/>
                      </a:cxn>
                      <a:cxn ang="0">
                        <a:pos x="connsiteX299" y="connsiteY299"/>
                      </a:cxn>
                      <a:cxn ang="0">
                        <a:pos x="connsiteX300" y="connsiteY300"/>
                      </a:cxn>
                      <a:cxn ang="0">
                        <a:pos x="connsiteX301" y="connsiteY301"/>
                      </a:cxn>
                      <a:cxn ang="0">
                        <a:pos x="connsiteX302" y="connsiteY302"/>
                      </a:cxn>
                      <a:cxn ang="0">
                        <a:pos x="connsiteX303" y="connsiteY303"/>
                      </a:cxn>
                      <a:cxn ang="0">
                        <a:pos x="connsiteX304" y="connsiteY304"/>
                      </a:cxn>
                      <a:cxn ang="0">
                        <a:pos x="connsiteX305" y="connsiteY305"/>
                      </a:cxn>
                      <a:cxn ang="0">
                        <a:pos x="connsiteX306" y="connsiteY306"/>
                      </a:cxn>
                      <a:cxn ang="0">
                        <a:pos x="connsiteX307" y="connsiteY307"/>
                      </a:cxn>
                      <a:cxn ang="0">
                        <a:pos x="connsiteX308" y="connsiteY308"/>
                      </a:cxn>
                      <a:cxn ang="0">
                        <a:pos x="connsiteX309" y="connsiteY309"/>
                      </a:cxn>
                      <a:cxn ang="0">
                        <a:pos x="connsiteX310" y="connsiteY310"/>
                      </a:cxn>
                      <a:cxn ang="0">
                        <a:pos x="connsiteX311" y="connsiteY311"/>
                      </a:cxn>
                      <a:cxn ang="0">
                        <a:pos x="connsiteX312" y="connsiteY312"/>
                      </a:cxn>
                      <a:cxn ang="0">
                        <a:pos x="connsiteX313" y="connsiteY313"/>
                      </a:cxn>
                      <a:cxn ang="0">
                        <a:pos x="connsiteX314" y="connsiteY314"/>
                      </a:cxn>
                      <a:cxn ang="0">
                        <a:pos x="connsiteX315" y="connsiteY315"/>
                      </a:cxn>
                      <a:cxn ang="0">
                        <a:pos x="connsiteX316" y="connsiteY316"/>
                      </a:cxn>
                      <a:cxn ang="0">
                        <a:pos x="connsiteX317" y="connsiteY317"/>
                      </a:cxn>
                      <a:cxn ang="0">
                        <a:pos x="connsiteX318" y="connsiteY318"/>
                      </a:cxn>
                      <a:cxn ang="0">
                        <a:pos x="connsiteX319" y="connsiteY319"/>
                      </a:cxn>
                      <a:cxn ang="0">
                        <a:pos x="connsiteX320" y="connsiteY320"/>
                      </a:cxn>
                      <a:cxn ang="0">
                        <a:pos x="connsiteX321" y="connsiteY321"/>
                      </a:cxn>
                      <a:cxn ang="0">
                        <a:pos x="connsiteX322" y="connsiteY322"/>
                      </a:cxn>
                      <a:cxn ang="0">
                        <a:pos x="connsiteX323" y="connsiteY323"/>
                      </a:cxn>
                      <a:cxn ang="0">
                        <a:pos x="connsiteX324" y="connsiteY324"/>
                      </a:cxn>
                      <a:cxn ang="0">
                        <a:pos x="connsiteX325" y="connsiteY325"/>
                      </a:cxn>
                      <a:cxn ang="0">
                        <a:pos x="connsiteX326" y="connsiteY326"/>
                      </a:cxn>
                      <a:cxn ang="0">
                        <a:pos x="connsiteX327" y="connsiteY327"/>
                      </a:cxn>
                      <a:cxn ang="0">
                        <a:pos x="connsiteX328" y="connsiteY328"/>
                      </a:cxn>
                      <a:cxn ang="0">
                        <a:pos x="connsiteX329" y="connsiteY329"/>
                      </a:cxn>
                      <a:cxn ang="0">
                        <a:pos x="connsiteX330" y="connsiteY330"/>
                      </a:cxn>
                      <a:cxn ang="0">
                        <a:pos x="connsiteX331" y="connsiteY331"/>
                      </a:cxn>
                      <a:cxn ang="0">
                        <a:pos x="connsiteX332" y="connsiteY332"/>
                      </a:cxn>
                      <a:cxn ang="0">
                        <a:pos x="connsiteX333" y="connsiteY333"/>
                      </a:cxn>
                      <a:cxn ang="0">
                        <a:pos x="connsiteX334" y="connsiteY334"/>
                      </a:cxn>
                      <a:cxn ang="0">
                        <a:pos x="connsiteX335" y="connsiteY335"/>
                      </a:cxn>
                      <a:cxn ang="0">
                        <a:pos x="connsiteX336" y="connsiteY336"/>
                      </a:cxn>
                      <a:cxn ang="0">
                        <a:pos x="connsiteX337" y="connsiteY337"/>
                      </a:cxn>
                      <a:cxn ang="0">
                        <a:pos x="connsiteX338" y="connsiteY338"/>
                      </a:cxn>
                      <a:cxn ang="0">
                        <a:pos x="connsiteX339" y="connsiteY339"/>
                      </a:cxn>
                      <a:cxn ang="0">
                        <a:pos x="connsiteX340" y="connsiteY340"/>
                      </a:cxn>
                      <a:cxn ang="0">
                        <a:pos x="connsiteX341" y="connsiteY341"/>
                      </a:cxn>
                      <a:cxn ang="0">
                        <a:pos x="connsiteX342" y="connsiteY342"/>
                      </a:cxn>
                      <a:cxn ang="0">
                        <a:pos x="connsiteX343" y="connsiteY343"/>
                      </a:cxn>
                      <a:cxn ang="0">
                        <a:pos x="connsiteX344" y="connsiteY344"/>
                      </a:cxn>
                      <a:cxn ang="0">
                        <a:pos x="connsiteX345" y="connsiteY345"/>
                      </a:cxn>
                      <a:cxn ang="0">
                        <a:pos x="connsiteX346" y="connsiteY346"/>
                      </a:cxn>
                      <a:cxn ang="0">
                        <a:pos x="connsiteX347" y="connsiteY347"/>
                      </a:cxn>
                      <a:cxn ang="0">
                        <a:pos x="connsiteX348" y="connsiteY348"/>
                      </a:cxn>
                      <a:cxn ang="0">
                        <a:pos x="connsiteX349" y="connsiteY349"/>
                      </a:cxn>
                      <a:cxn ang="0">
                        <a:pos x="connsiteX350" y="connsiteY350"/>
                      </a:cxn>
                      <a:cxn ang="0">
                        <a:pos x="connsiteX351" y="connsiteY351"/>
                      </a:cxn>
                      <a:cxn ang="0">
                        <a:pos x="connsiteX352" y="connsiteY352"/>
                      </a:cxn>
                      <a:cxn ang="0">
                        <a:pos x="connsiteX353" y="connsiteY353"/>
                      </a:cxn>
                      <a:cxn ang="0">
                        <a:pos x="connsiteX354" y="connsiteY354"/>
                      </a:cxn>
                      <a:cxn ang="0">
                        <a:pos x="connsiteX355" y="connsiteY355"/>
                      </a:cxn>
                      <a:cxn ang="0">
                        <a:pos x="connsiteX356" y="connsiteY356"/>
                      </a:cxn>
                      <a:cxn ang="0">
                        <a:pos x="connsiteX357" y="connsiteY357"/>
                      </a:cxn>
                      <a:cxn ang="0">
                        <a:pos x="connsiteX358" y="connsiteY358"/>
                      </a:cxn>
                      <a:cxn ang="0">
                        <a:pos x="connsiteX359" y="connsiteY359"/>
                      </a:cxn>
                      <a:cxn ang="0">
                        <a:pos x="connsiteX360" y="connsiteY360"/>
                      </a:cxn>
                      <a:cxn ang="0">
                        <a:pos x="connsiteX361" y="connsiteY361"/>
                      </a:cxn>
                      <a:cxn ang="0">
                        <a:pos x="connsiteX362" y="connsiteY362"/>
                      </a:cxn>
                      <a:cxn ang="0">
                        <a:pos x="connsiteX363" y="connsiteY363"/>
                      </a:cxn>
                      <a:cxn ang="0">
                        <a:pos x="connsiteX364" y="connsiteY364"/>
                      </a:cxn>
                      <a:cxn ang="0">
                        <a:pos x="connsiteX365" y="connsiteY365"/>
                      </a:cxn>
                      <a:cxn ang="0">
                        <a:pos x="connsiteX366" y="connsiteY366"/>
                      </a:cxn>
                      <a:cxn ang="0">
                        <a:pos x="connsiteX367" y="connsiteY367"/>
                      </a:cxn>
                      <a:cxn ang="0">
                        <a:pos x="connsiteX368" y="connsiteY368"/>
                      </a:cxn>
                      <a:cxn ang="0">
                        <a:pos x="connsiteX369" y="connsiteY369"/>
                      </a:cxn>
                      <a:cxn ang="0">
                        <a:pos x="connsiteX370" y="connsiteY370"/>
                      </a:cxn>
                      <a:cxn ang="0">
                        <a:pos x="connsiteX371" y="connsiteY371"/>
                      </a:cxn>
                      <a:cxn ang="0">
                        <a:pos x="connsiteX372" y="connsiteY372"/>
                      </a:cxn>
                      <a:cxn ang="0">
                        <a:pos x="connsiteX373" y="connsiteY373"/>
                      </a:cxn>
                      <a:cxn ang="0">
                        <a:pos x="connsiteX374" y="connsiteY374"/>
                      </a:cxn>
                      <a:cxn ang="0">
                        <a:pos x="connsiteX375" y="connsiteY375"/>
                      </a:cxn>
                      <a:cxn ang="0">
                        <a:pos x="connsiteX376" y="connsiteY376"/>
                      </a:cxn>
                      <a:cxn ang="0">
                        <a:pos x="connsiteX377" y="connsiteY377"/>
                      </a:cxn>
                      <a:cxn ang="0">
                        <a:pos x="connsiteX378" y="connsiteY378"/>
                      </a:cxn>
                      <a:cxn ang="0">
                        <a:pos x="connsiteX379" y="connsiteY379"/>
                      </a:cxn>
                      <a:cxn ang="0">
                        <a:pos x="connsiteX380" y="connsiteY380"/>
                      </a:cxn>
                      <a:cxn ang="0">
                        <a:pos x="connsiteX381" y="connsiteY381"/>
                      </a:cxn>
                      <a:cxn ang="0">
                        <a:pos x="connsiteX382" y="connsiteY382"/>
                      </a:cxn>
                      <a:cxn ang="0">
                        <a:pos x="connsiteX383" y="connsiteY383"/>
                      </a:cxn>
                      <a:cxn ang="0">
                        <a:pos x="connsiteX384" y="connsiteY384"/>
                      </a:cxn>
                      <a:cxn ang="0">
                        <a:pos x="connsiteX385" y="connsiteY385"/>
                      </a:cxn>
                      <a:cxn ang="0">
                        <a:pos x="connsiteX386" y="connsiteY386"/>
                      </a:cxn>
                      <a:cxn ang="0">
                        <a:pos x="connsiteX387" y="connsiteY387"/>
                      </a:cxn>
                      <a:cxn ang="0">
                        <a:pos x="connsiteX388" y="connsiteY388"/>
                      </a:cxn>
                      <a:cxn ang="0">
                        <a:pos x="connsiteX389" y="connsiteY389"/>
                      </a:cxn>
                      <a:cxn ang="0">
                        <a:pos x="connsiteX390" y="connsiteY390"/>
                      </a:cxn>
                      <a:cxn ang="0">
                        <a:pos x="connsiteX391" y="connsiteY391"/>
                      </a:cxn>
                      <a:cxn ang="0">
                        <a:pos x="connsiteX392" y="connsiteY392"/>
                      </a:cxn>
                      <a:cxn ang="0">
                        <a:pos x="connsiteX393" y="connsiteY393"/>
                      </a:cxn>
                      <a:cxn ang="0">
                        <a:pos x="connsiteX394" y="connsiteY394"/>
                      </a:cxn>
                      <a:cxn ang="0">
                        <a:pos x="connsiteX395" y="connsiteY395"/>
                      </a:cxn>
                      <a:cxn ang="0">
                        <a:pos x="connsiteX396" y="connsiteY396"/>
                      </a:cxn>
                      <a:cxn ang="0">
                        <a:pos x="connsiteX397" y="connsiteY397"/>
                      </a:cxn>
                      <a:cxn ang="0">
                        <a:pos x="connsiteX398" y="connsiteY398"/>
                      </a:cxn>
                      <a:cxn ang="0">
                        <a:pos x="connsiteX399" y="connsiteY399"/>
                      </a:cxn>
                      <a:cxn ang="0">
                        <a:pos x="connsiteX400" y="connsiteY400"/>
                      </a:cxn>
                      <a:cxn ang="0">
                        <a:pos x="connsiteX401" y="connsiteY401"/>
                      </a:cxn>
                      <a:cxn ang="0">
                        <a:pos x="connsiteX402" y="connsiteY402"/>
                      </a:cxn>
                      <a:cxn ang="0">
                        <a:pos x="connsiteX403" y="connsiteY403"/>
                      </a:cxn>
                      <a:cxn ang="0">
                        <a:pos x="connsiteX404" y="connsiteY404"/>
                      </a:cxn>
                      <a:cxn ang="0">
                        <a:pos x="connsiteX405" y="connsiteY405"/>
                      </a:cxn>
                      <a:cxn ang="0">
                        <a:pos x="connsiteX406" y="connsiteY406"/>
                      </a:cxn>
                      <a:cxn ang="0">
                        <a:pos x="connsiteX407" y="connsiteY407"/>
                      </a:cxn>
                      <a:cxn ang="0">
                        <a:pos x="connsiteX408" y="connsiteY408"/>
                      </a:cxn>
                      <a:cxn ang="0">
                        <a:pos x="connsiteX409" y="connsiteY409"/>
                      </a:cxn>
                      <a:cxn ang="0">
                        <a:pos x="connsiteX410" y="connsiteY410"/>
                      </a:cxn>
                      <a:cxn ang="0">
                        <a:pos x="connsiteX411" y="connsiteY411"/>
                      </a:cxn>
                      <a:cxn ang="0">
                        <a:pos x="connsiteX412" y="connsiteY412"/>
                      </a:cxn>
                      <a:cxn ang="0">
                        <a:pos x="connsiteX413" y="connsiteY413"/>
                      </a:cxn>
                      <a:cxn ang="0">
                        <a:pos x="connsiteX414" y="connsiteY414"/>
                      </a:cxn>
                      <a:cxn ang="0">
                        <a:pos x="connsiteX415" y="connsiteY415"/>
                      </a:cxn>
                      <a:cxn ang="0">
                        <a:pos x="connsiteX416" y="connsiteY416"/>
                      </a:cxn>
                      <a:cxn ang="0">
                        <a:pos x="connsiteX417" y="connsiteY417"/>
                      </a:cxn>
                      <a:cxn ang="0">
                        <a:pos x="connsiteX418" y="connsiteY418"/>
                      </a:cxn>
                      <a:cxn ang="0">
                        <a:pos x="connsiteX419" y="connsiteY419"/>
                      </a:cxn>
                      <a:cxn ang="0">
                        <a:pos x="connsiteX420" y="connsiteY420"/>
                      </a:cxn>
                      <a:cxn ang="0">
                        <a:pos x="connsiteX421" y="connsiteY421"/>
                      </a:cxn>
                      <a:cxn ang="0">
                        <a:pos x="connsiteX422" y="connsiteY422"/>
                      </a:cxn>
                      <a:cxn ang="0">
                        <a:pos x="connsiteX423" y="connsiteY423"/>
                      </a:cxn>
                      <a:cxn ang="0">
                        <a:pos x="connsiteX424" y="connsiteY424"/>
                      </a:cxn>
                      <a:cxn ang="0">
                        <a:pos x="connsiteX425" y="connsiteY425"/>
                      </a:cxn>
                      <a:cxn ang="0">
                        <a:pos x="connsiteX426" y="connsiteY426"/>
                      </a:cxn>
                      <a:cxn ang="0">
                        <a:pos x="connsiteX427" y="connsiteY427"/>
                      </a:cxn>
                      <a:cxn ang="0">
                        <a:pos x="connsiteX428" y="connsiteY428"/>
                      </a:cxn>
                      <a:cxn ang="0">
                        <a:pos x="connsiteX429" y="connsiteY429"/>
                      </a:cxn>
                      <a:cxn ang="0">
                        <a:pos x="connsiteX430" y="connsiteY430"/>
                      </a:cxn>
                      <a:cxn ang="0">
                        <a:pos x="connsiteX431" y="connsiteY431"/>
                      </a:cxn>
                      <a:cxn ang="0">
                        <a:pos x="connsiteX432" y="connsiteY432"/>
                      </a:cxn>
                      <a:cxn ang="0">
                        <a:pos x="connsiteX433" y="connsiteY433"/>
                      </a:cxn>
                      <a:cxn ang="0">
                        <a:pos x="connsiteX434" y="connsiteY434"/>
                      </a:cxn>
                      <a:cxn ang="0">
                        <a:pos x="connsiteX435" y="connsiteY435"/>
                      </a:cxn>
                      <a:cxn ang="0">
                        <a:pos x="connsiteX436" y="connsiteY436"/>
                      </a:cxn>
                      <a:cxn ang="0">
                        <a:pos x="connsiteX437" y="connsiteY437"/>
                      </a:cxn>
                      <a:cxn ang="0">
                        <a:pos x="connsiteX438" y="connsiteY438"/>
                      </a:cxn>
                      <a:cxn ang="0">
                        <a:pos x="connsiteX439" y="connsiteY439"/>
                      </a:cxn>
                      <a:cxn ang="0">
                        <a:pos x="connsiteX440" y="connsiteY440"/>
                      </a:cxn>
                      <a:cxn ang="0">
                        <a:pos x="connsiteX441" y="connsiteY441"/>
                      </a:cxn>
                      <a:cxn ang="0">
                        <a:pos x="connsiteX442" y="connsiteY442"/>
                      </a:cxn>
                      <a:cxn ang="0">
                        <a:pos x="connsiteX443" y="connsiteY443"/>
                      </a:cxn>
                      <a:cxn ang="0">
                        <a:pos x="connsiteX444" y="connsiteY444"/>
                      </a:cxn>
                      <a:cxn ang="0">
                        <a:pos x="connsiteX445" y="connsiteY445"/>
                      </a:cxn>
                      <a:cxn ang="0">
                        <a:pos x="connsiteX446" y="connsiteY446"/>
                      </a:cxn>
                      <a:cxn ang="0">
                        <a:pos x="connsiteX447" y="connsiteY447"/>
                      </a:cxn>
                      <a:cxn ang="0">
                        <a:pos x="connsiteX448" y="connsiteY448"/>
                      </a:cxn>
                      <a:cxn ang="0">
                        <a:pos x="connsiteX449" y="connsiteY449"/>
                      </a:cxn>
                      <a:cxn ang="0">
                        <a:pos x="connsiteX450" y="connsiteY450"/>
                      </a:cxn>
                      <a:cxn ang="0">
                        <a:pos x="connsiteX451" y="connsiteY451"/>
                      </a:cxn>
                      <a:cxn ang="0">
                        <a:pos x="connsiteX452" y="connsiteY452"/>
                      </a:cxn>
                      <a:cxn ang="0">
                        <a:pos x="connsiteX453" y="connsiteY453"/>
                      </a:cxn>
                      <a:cxn ang="0">
                        <a:pos x="connsiteX454" y="connsiteY454"/>
                      </a:cxn>
                      <a:cxn ang="0">
                        <a:pos x="connsiteX455" y="connsiteY455"/>
                      </a:cxn>
                      <a:cxn ang="0">
                        <a:pos x="connsiteX456" y="connsiteY456"/>
                      </a:cxn>
                      <a:cxn ang="0">
                        <a:pos x="connsiteX457" y="connsiteY457"/>
                      </a:cxn>
                      <a:cxn ang="0">
                        <a:pos x="connsiteX458" y="connsiteY458"/>
                      </a:cxn>
                      <a:cxn ang="0">
                        <a:pos x="connsiteX459" y="connsiteY459"/>
                      </a:cxn>
                      <a:cxn ang="0">
                        <a:pos x="connsiteX460" y="connsiteY460"/>
                      </a:cxn>
                      <a:cxn ang="0">
                        <a:pos x="connsiteX461" y="connsiteY461"/>
                      </a:cxn>
                      <a:cxn ang="0">
                        <a:pos x="connsiteX462" y="connsiteY462"/>
                      </a:cxn>
                      <a:cxn ang="0">
                        <a:pos x="connsiteX463" y="connsiteY463"/>
                      </a:cxn>
                      <a:cxn ang="0">
                        <a:pos x="connsiteX464" y="connsiteY464"/>
                      </a:cxn>
                      <a:cxn ang="0">
                        <a:pos x="connsiteX465" y="connsiteY465"/>
                      </a:cxn>
                      <a:cxn ang="0">
                        <a:pos x="connsiteX466" y="connsiteY466"/>
                      </a:cxn>
                      <a:cxn ang="0">
                        <a:pos x="connsiteX467" y="connsiteY467"/>
                      </a:cxn>
                      <a:cxn ang="0">
                        <a:pos x="connsiteX468" y="connsiteY468"/>
                      </a:cxn>
                      <a:cxn ang="0">
                        <a:pos x="connsiteX469" y="connsiteY469"/>
                      </a:cxn>
                      <a:cxn ang="0">
                        <a:pos x="connsiteX470" y="connsiteY470"/>
                      </a:cxn>
                      <a:cxn ang="0">
                        <a:pos x="connsiteX471" y="connsiteY471"/>
                      </a:cxn>
                      <a:cxn ang="0">
                        <a:pos x="connsiteX472" y="connsiteY472"/>
                      </a:cxn>
                      <a:cxn ang="0">
                        <a:pos x="connsiteX473" y="connsiteY473"/>
                      </a:cxn>
                      <a:cxn ang="0">
                        <a:pos x="connsiteX474" y="connsiteY474"/>
                      </a:cxn>
                      <a:cxn ang="0">
                        <a:pos x="connsiteX475" y="connsiteY475"/>
                      </a:cxn>
                      <a:cxn ang="0">
                        <a:pos x="connsiteX476" y="connsiteY476"/>
                      </a:cxn>
                      <a:cxn ang="0">
                        <a:pos x="connsiteX477" y="connsiteY477"/>
                      </a:cxn>
                      <a:cxn ang="0">
                        <a:pos x="connsiteX478" y="connsiteY478"/>
                      </a:cxn>
                      <a:cxn ang="0">
                        <a:pos x="connsiteX479" y="connsiteY479"/>
                      </a:cxn>
                      <a:cxn ang="0">
                        <a:pos x="connsiteX480" y="connsiteY480"/>
                      </a:cxn>
                      <a:cxn ang="0">
                        <a:pos x="connsiteX481" y="connsiteY481"/>
                      </a:cxn>
                      <a:cxn ang="0">
                        <a:pos x="connsiteX482" y="connsiteY482"/>
                      </a:cxn>
                      <a:cxn ang="0">
                        <a:pos x="connsiteX483" y="connsiteY483"/>
                      </a:cxn>
                      <a:cxn ang="0">
                        <a:pos x="connsiteX484" y="connsiteY484"/>
                      </a:cxn>
                      <a:cxn ang="0">
                        <a:pos x="connsiteX485" y="connsiteY485"/>
                      </a:cxn>
                      <a:cxn ang="0">
                        <a:pos x="connsiteX486" y="connsiteY486"/>
                      </a:cxn>
                      <a:cxn ang="0">
                        <a:pos x="connsiteX487" y="connsiteY487"/>
                      </a:cxn>
                      <a:cxn ang="0">
                        <a:pos x="connsiteX488" y="connsiteY488"/>
                      </a:cxn>
                      <a:cxn ang="0">
                        <a:pos x="connsiteX489" y="connsiteY489"/>
                      </a:cxn>
                      <a:cxn ang="0">
                        <a:pos x="connsiteX490" y="connsiteY490"/>
                      </a:cxn>
                      <a:cxn ang="0">
                        <a:pos x="connsiteX491" y="connsiteY491"/>
                      </a:cxn>
                      <a:cxn ang="0">
                        <a:pos x="connsiteX492" y="connsiteY492"/>
                      </a:cxn>
                      <a:cxn ang="0">
                        <a:pos x="connsiteX493" y="connsiteY493"/>
                      </a:cxn>
                    </a:cxnLst>
                    <a:rect l="l" t="t" r="r" b="b"/>
                    <a:pathLst>
                      <a:path w="1526865" h="815827">
                        <a:moveTo>
                          <a:pt x="354970" y="615026"/>
                        </a:moveTo>
                        <a:lnTo>
                          <a:pt x="354970" y="800466"/>
                        </a:lnTo>
                        <a:lnTo>
                          <a:pt x="346192" y="804306"/>
                        </a:lnTo>
                        <a:lnTo>
                          <a:pt x="333573" y="803209"/>
                        </a:lnTo>
                        <a:lnTo>
                          <a:pt x="326441" y="798820"/>
                        </a:lnTo>
                        <a:lnTo>
                          <a:pt x="317663" y="778520"/>
                        </a:lnTo>
                        <a:lnTo>
                          <a:pt x="313822" y="774680"/>
                        </a:lnTo>
                        <a:lnTo>
                          <a:pt x="309433" y="763707"/>
                        </a:lnTo>
                        <a:lnTo>
                          <a:pt x="305593" y="759318"/>
                        </a:lnTo>
                        <a:lnTo>
                          <a:pt x="286390" y="748345"/>
                        </a:lnTo>
                        <a:lnTo>
                          <a:pt x="280904" y="747796"/>
                        </a:lnTo>
                        <a:lnTo>
                          <a:pt x="243047" y="759318"/>
                        </a:lnTo>
                        <a:lnTo>
                          <a:pt x="222748" y="777972"/>
                        </a:lnTo>
                        <a:lnTo>
                          <a:pt x="221651" y="750540"/>
                        </a:lnTo>
                        <a:lnTo>
                          <a:pt x="227686" y="742859"/>
                        </a:lnTo>
                        <a:lnTo>
                          <a:pt x="229331" y="729691"/>
                        </a:lnTo>
                        <a:lnTo>
                          <a:pt x="221102" y="726399"/>
                        </a:lnTo>
                        <a:lnTo>
                          <a:pt x="212872" y="725302"/>
                        </a:lnTo>
                        <a:lnTo>
                          <a:pt x="199156" y="719267"/>
                        </a:lnTo>
                        <a:lnTo>
                          <a:pt x="192573" y="709940"/>
                        </a:lnTo>
                        <a:lnTo>
                          <a:pt x="178857" y="709392"/>
                        </a:lnTo>
                        <a:lnTo>
                          <a:pt x="177211" y="683057"/>
                        </a:lnTo>
                        <a:lnTo>
                          <a:pt x="168981" y="669341"/>
                        </a:lnTo>
                        <a:lnTo>
                          <a:pt x="164044" y="664952"/>
                        </a:lnTo>
                        <a:lnTo>
                          <a:pt x="158557" y="655076"/>
                        </a:lnTo>
                        <a:lnTo>
                          <a:pt x="143195" y="648492"/>
                        </a:lnTo>
                        <a:lnTo>
                          <a:pt x="134965" y="637520"/>
                        </a:lnTo>
                        <a:lnTo>
                          <a:pt x="140452" y="632582"/>
                        </a:lnTo>
                        <a:lnTo>
                          <a:pt x="152522" y="632582"/>
                        </a:lnTo>
                        <a:lnTo>
                          <a:pt x="171176" y="639165"/>
                        </a:lnTo>
                        <a:lnTo>
                          <a:pt x="176662" y="636971"/>
                        </a:lnTo>
                        <a:lnTo>
                          <a:pt x="185989" y="638068"/>
                        </a:lnTo>
                        <a:lnTo>
                          <a:pt x="180503" y="625449"/>
                        </a:lnTo>
                        <a:lnTo>
                          <a:pt x="178857" y="612831"/>
                        </a:lnTo>
                        <a:lnTo>
                          <a:pt x="182149" y="605150"/>
                        </a:lnTo>
                        <a:lnTo>
                          <a:pt x="188732" y="601310"/>
                        </a:lnTo>
                        <a:lnTo>
                          <a:pt x="188732" y="606247"/>
                        </a:lnTo>
                        <a:lnTo>
                          <a:pt x="196413" y="607344"/>
                        </a:lnTo>
                        <a:lnTo>
                          <a:pt x="204094" y="604601"/>
                        </a:lnTo>
                        <a:lnTo>
                          <a:pt x="205740" y="598017"/>
                        </a:lnTo>
                        <a:lnTo>
                          <a:pt x="212324" y="592531"/>
                        </a:lnTo>
                        <a:lnTo>
                          <a:pt x="224394" y="591983"/>
                        </a:lnTo>
                        <a:lnTo>
                          <a:pt x="246340" y="602407"/>
                        </a:lnTo>
                        <a:lnTo>
                          <a:pt x="256763" y="600212"/>
                        </a:lnTo>
                        <a:lnTo>
                          <a:pt x="263896" y="595274"/>
                        </a:lnTo>
                        <a:lnTo>
                          <a:pt x="266639" y="595823"/>
                        </a:lnTo>
                        <a:lnTo>
                          <a:pt x="269931" y="598566"/>
                        </a:lnTo>
                        <a:lnTo>
                          <a:pt x="290231" y="607344"/>
                        </a:lnTo>
                        <a:lnTo>
                          <a:pt x="297363" y="605699"/>
                        </a:lnTo>
                        <a:lnTo>
                          <a:pt x="306141" y="607893"/>
                        </a:lnTo>
                        <a:lnTo>
                          <a:pt x="308336" y="602407"/>
                        </a:lnTo>
                        <a:lnTo>
                          <a:pt x="303398" y="594177"/>
                        </a:lnTo>
                        <a:lnTo>
                          <a:pt x="309982" y="594177"/>
                        </a:lnTo>
                        <a:lnTo>
                          <a:pt x="297363" y="576072"/>
                        </a:lnTo>
                        <a:lnTo>
                          <a:pt x="290779" y="571683"/>
                        </a:lnTo>
                        <a:lnTo>
                          <a:pt x="287488" y="564002"/>
                        </a:lnTo>
                        <a:lnTo>
                          <a:pt x="280355" y="564002"/>
                        </a:lnTo>
                        <a:lnTo>
                          <a:pt x="272125" y="551932"/>
                        </a:lnTo>
                        <a:lnTo>
                          <a:pt x="268834" y="536021"/>
                        </a:lnTo>
                        <a:lnTo>
                          <a:pt x="263347" y="528340"/>
                        </a:lnTo>
                        <a:lnTo>
                          <a:pt x="261701" y="532181"/>
                        </a:lnTo>
                        <a:lnTo>
                          <a:pt x="256763" y="521208"/>
                        </a:lnTo>
                        <a:lnTo>
                          <a:pt x="252923" y="521208"/>
                        </a:lnTo>
                        <a:lnTo>
                          <a:pt x="251826" y="512978"/>
                        </a:lnTo>
                        <a:lnTo>
                          <a:pt x="238110" y="501457"/>
                        </a:lnTo>
                        <a:lnTo>
                          <a:pt x="230429" y="500360"/>
                        </a:lnTo>
                        <a:lnTo>
                          <a:pt x="230429" y="496519"/>
                        </a:lnTo>
                        <a:lnTo>
                          <a:pt x="221102" y="495971"/>
                        </a:lnTo>
                        <a:lnTo>
                          <a:pt x="199705" y="503651"/>
                        </a:lnTo>
                        <a:lnTo>
                          <a:pt x="197510" y="496519"/>
                        </a:lnTo>
                        <a:lnTo>
                          <a:pt x="165689" y="492679"/>
                        </a:lnTo>
                        <a:lnTo>
                          <a:pt x="142098" y="515173"/>
                        </a:lnTo>
                        <a:lnTo>
                          <a:pt x="77907" y="528340"/>
                        </a:lnTo>
                        <a:lnTo>
                          <a:pt x="93269" y="539313"/>
                        </a:lnTo>
                        <a:lnTo>
                          <a:pt x="81199" y="543702"/>
                        </a:lnTo>
                        <a:lnTo>
                          <a:pt x="76810" y="542056"/>
                        </a:lnTo>
                        <a:lnTo>
                          <a:pt x="74066" y="537667"/>
                        </a:lnTo>
                        <a:lnTo>
                          <a:pt x="69129" y="535473"/>
                        </a:lnTo>
                        <a:lnTo>
                          <a:pt x="63642" y="535473"/>
                        </a:lnTo>
                        <a:lnTo>
                          <a:pt x="59253" y="533827"/>
                        </a:lnTo>
                        <a:lnTo>
                          <a:pt x="57059" y="528889"/>
                        </a:lnTo>
                        <a:lnTo>
                          <a:pt x="61448" y="524500"/>
                        </a:lnTo>
                        <a:lnTo>
                          <a:pt x="61996" y="519562"/>
                        </a:lnTo>
                        <a:lnTo>
                          <a:pt x="67483" y="517916"/>
                        </a:lnTo>
                        <a:lnTo>
                          <a:pt x="72969" y="521757"/>
                        </a:lnTo>
                        <a:lnTo>
                          <a:pt x="81199" y="519562"/>
                        </a:lnTo>
                        <a:lnTo>
                          <a:pt x="75712" y="480609"/>
                        </a:lnTo>
                        <a:lnTo>
                          <a:pt x="70226" y="478963"/>
                        </a:lnTo>
                        <a:lnTo>
                          <a:pt x="67483" y="474574"/>
                        </a:lnTo>
                        <a:lnTo>
                          <a:pt x="65837" y="469087"/>
                        </a:lnTo>
                        <a:lnTo>
                          <a:pt x="58705" y="460309"/>
                        </a:lnTo>
                        <a:lnTo>
                          <a:pt x="42245" y="461955"/>
                        </a:lnTo>
                        <a:lnTo>
                          <a:pt x="32918" y="459212"/>
                        </a:lnTo>
                        <a:lnTo>
                          <a:pt x="31821" y="465795"/>
                        </a:lnTo>
                        <a:lnTo>
                          <a:pt x="23591" y="457017"/>
                        </a:lnTo>
                        <a:lnTo>
                          <a:pt x="23043" y="451531"/>
                        </a:lnTo>
                        <a:lnTo>
                          <a:pt x="20300" y="447142"/>
                        </a:lnTo>
                        <a:lnTo>
                          <a:pt x="23043" y="442204"/>
                        </a:lnTo>
                        <a:lnTo>
                          <a:pt x="20300" y="437266"/>
                        </a:lnTo>
                        <a:lnTo>
                          <a:pt x="19751" y="432328"/>
                        </a:lnTo>
                        <a:lnTo>
                          <a:pt x="0" y="425745"/>
                        </a:lnTo>
                        <a:lnTo>
                          <a:pt x="7681" y="395569"/>
                        </a:lnTo>
                        <a:lnTo>
                          <a:pt x="17008" y="390083"/>
                        </a:lnTo>
                        <a:lnTo>
                          <a:pt x="19751" y="385694"/>
                        </a:lnTo>
                        <a:lnTo>
                          <a:pt x="18105" y="380207"/>
                        </a:lnTo>
                        <a:lnTo>
                          <a:pt x="10424" y="373075"/>
                        </a:lnTo>
                        <a:lnTo>
                          <a:pt x="17008" y="341803"/>
                        </a:lnTo>
                        <a:lnTo>
                          <a:pt x="26883" y="336316"/>
                        </a:lnTo>
                        <a:lnTo>
                          <a:pt x="30175" y="331379"/>
                        </a:lnTo>
                        <a:lnTo>
                          <a:pt x="29078" y="325892"/>
                        </a:lnTo>
                        <a:lnTo>
                          <a:pt x="30724" y="320954"/>
                        </a:lnTo>
                        <a:lnTo>
                          <a:pt x="31273" y="315468"/>
                        </a:lnTo>
                        <a:lnTo>
                          <a:pt x="36759" y="305592"/>
                        </a:lnTo>
                        <a:lnTo>
                          <a:pt x="41697" y="308884"/>
                        </a:lnTo>
                        <a:lnTo>
                          <a:pt x="43343" y="314371"/>
                        </a:lnTo>
                        <a:lnTo>
                          <a:pt x="52121" y="320954"/>
                        </a:lnTo>
                        <a:lnTo>
                          <a:pt x="64191" y="346192"/>
                        </a:lnTo>
                        <a:lnTo>
                          <a:pt x="69677" y="347838"/>
                        </a:lnTo>
                        <a:lnTo>
                          <a:pt x="87234" y="335768"/>
                        </a:lnTo>
                        <a:lnTo>
                          <a:pt x="75712" y="298460"/>
                        </a:lnTo>
                        <a:lnTo>
                          <a:pt x="81199" y="299557"/>
                        </a:lnTo>
                        <a:lnTo>
                          <a:pt x="104790" y="285293"/>
                        </a:lnTo>
                        <a:lnTo>
                          <a:pt x="108082" y="280904"/>
                        </a:lnTo>
                        <a:lnTo>
                          <a:pt x="108082" y="269382"/>
                        </a:lnTo>
                        <a:lnTo>
                          <a:pt x="113569" y="268834"/>
                        </a:lnTo>
                        <a:lnTo>
                          <a:pt x="119055" y="269382"/>
                        </a:lnTo>
                        <a:lnTo>
                          <a:pt x="123993" y="267188"/>
                        </a:lnTo>
                        <a:lnTo>
                          <a:pt x="127285" y="262799"/>
                        </a:lnTo>
                        <a:lnTo>
                          <a:pt x="137709" y="258958"/>
                        </a:lnTo>
                        <a:lnTo>
                          <a:pt x="141001" y="254569"/>
                        </a:lnTo>
                        <a:lnTo>
                          <a:pt x="145938" y="251277"/>
                        </a:lnTo>
                        <a:lnTo>
                          <a:pt x="149230" y="246888"/>
                        </a:lnTo>
                        <a:lnTo>
                          <a:pt x="150328" y="241402"/>
                        </a:lnTo>
                        <a:lnTo>
                          <a:pt x="155265" y="238110"/>
                        </a:lnTo>
                        <a:lnTo>
                          <a:pt x="165689" y="234818"/>
                        </a:lnTo>
                        <a:lnTo>
                          <a:pt x="176113" y="235367"/>
                        </a:lnTo>
                        <a:lnTo>
                          <a:pt x="179954" y="245242"/>
                        </a:lnTo>
                        <a:lnTo>
                          <a:pt x="190927" y="243047"/>
                        </a:lnTo>
                        <a:lnTo>
                          <a:pt x="194219" y="247437"/>
                        </a:lnTo>
                        <a:lnTo>
                          <a:pt x="196962" y="243047"/>
                        </a:lnTo>
                        <a:lnTo>
                          <a:pt x="199156" y="237012"/>
                        </a:lnTo>
                        <a:lnTo>
                          <a:pt x="202448" y="232623"/>
                        </a:lnTo>
                        <a:lnTo>
                          <a:pt x="207935" y="232623"/>
                        </a:lnTo>
                        <a:lnTo>
                          <a:pt x="212872" y="230429"/>
                        </a:lnTo>
                        <a:lnTo>
                          <a:pt x="217810" y="230977"/>
                        </a:lnTo>
                        <a:lnTo>
                          <a:pt x="222199" y="241402"/>
                        </a:lnTo>
                        <a:lnTo>
                          <a:pt x="225491" y="245242"/>
                        </a:lnTo>
                        <a:lnTo>
                          <a:pt x="236464" y="243047"/>
                        </a:lnTo>
                        <a:lnTo>
                          <a:pt x="241402" y="245242"/>
                        </a:lnTo>
                        <a:lnTo>
                          <a:pt x="252374" y="243047"/>
                        </a:lnTo>
                        <a:lnTo>
                          <a:pt x="257861" y="243047"/>
                        </a:lnTo>
                        <a:lnTo>
                          <a:pt x="266639" y="250180"/>
                        </a:lnTo>
                        <a:lnTo>
                          <a:pt x="270479" y="260604"/>
                        </a:lnTo>
                        <a:lnTo>
                          <a:pt x="284744" y="268834"/>
                        </a:lnTo>
                        <a:lnTo>
                          <a:pt x="288036" y="273223"/>
                        </a:lnTo>
                        <a:lnTo>
                          <a:pt x="290231" y="278709"/>
                        </a:lnTo>
                        <a:lnTo>
                          <a:pt x="297363" y="286939"/>
                        </a:lnTo>
                        <a:lnTo>
                          <a:pt x="297363" y="297911"/>
                        </a:lnTo>
                        <a:lnTo>
                          <a:pt x="300655" y="302301"/>
                        </a:lnTo>
                        <a:lnTo>
                          <a:pt x="306141" y="300655"/>
                        </a:lnTo>
                        <a:lnTo>
                          <a:pt x="305593" y="284195"/>
                        </a:lnTo>
                        <a:lnTo>
                          <a:pt x="302849" y="279258"/>
                        </a:lnTo>
                        <a:lnTo>
                          <a:pt x="306141" y="275417"/>
                        </a:lnTo>
                        <a:lnTo>
                          <a:pt x="311627" y="274869"/>
                        </a:lnTo>
                        <a:lnTo>
                          <a:pt x="313822" y="279806"/>
                        </a:lnTo>
                        <a:lnTo>
                          <a:pt x="317663" y="283647"/>
                        </a:lnTo>
                        <a:lnTo>
                          <a:pt x="319309" y="288585"/>
                        </a:lnTo>
                        <a:lnTo>
                          <a:pt x="323698" y="291876"/>
                        </a:lnTo>
                        <a:lnTo>
                          <a:pt x="343997" y="301752"/>
                        </a:lnTo>
                        <a:lnTo>
                          <a:pt x="350032" y="300106"/>
                        </a:lnTo>
                        <a:lnTo>
                          <a:pt x="363200" y="290231"/>
                        </a:lnTo>
                        <a:lnTo>
                          <a:pt x="363200" y="284744"/>
                        </a:lnTo>
                        <a:lnTo>
                          <a:pt x="368137" y="282550"/>
                        </a:lnTo>
                        <a:lnTo>
                          <a:pt x="371978" y="278709"/>
                        </a:lnTo>
                        <a:lnTo>
                          <a:pt x="377464" y="277612"/>
                        </a:lnTo>
                        <a:lnTo>
                          <a:pt x="382402" y="279258"/>
                        </a:lnTo>
                        <a:lnTo>
                          <a:pt x="382951" y="274320"/>
                        </a:lnTo>
                        <a:lnTo>
                          <a:pt x="393923" y="274869"/>
                        </a:lnTo>
                        <a:lnTo>
                          <a:pt x="398861" y="272125"/>
                        </a:lnTo>
                        <a:lnTo>
                          <a:pt x="411480" y="283098"/>
                        </a:lnTo>
                        <a:lnTo>
                          <a:pt x="420807" y="277063"/>
                        </a:lnTo>
                        <a:lnTo>
                          <a:pt x="423550" y="272125"/>
                        </a:lnTo>
                        <a:lnTo>
                          <a:pt x="434523" y="272125"/>
                        </a:lnTo>
                        <a:lnTo>
                          <a:pt x="439461" y="269382"/>
                        </a:lnTo>
                        <a:lnTo>
                          <a:pt x="449885" y="273223"/>
                        </a:lnTo>
                        <a:lnTo>
                          <a:pt x="453177" y="278160"/>
                        </a:lnTo>
                        <a:lnTo>
                          <a:pt x="453725" y="289133"/>
                        </a:lnTo>
                        <a:lnTo>
                          <a:pt x="461406" y="296814"/>
                        </a:lnTo>
                        <a:lnTo>
                          <a:pt x="472379" y="296266"/>
                        </a:lnTo>
                        <a:lnTo>
                          <a:pt x="482803" y="297911"/>
                        </a:lnTo>
                        <a:lnTo>
                          <a:pt x="482255" y="297911"/>
                        </a:lnTo>
                        <a:lnTo>
                          <a:pt x="484449" y="305592"/>
                        </a:lnTo>
                        <a:lnTo>
                          <a:pt x="495971" y="304495"/>
                        </a:lnTo>
                        <a:lnTo>
                          <a:pt x="500908" y="301752"/>
                        </a:lnTo>
                        <a:lnTo>
                          <a:pt x="508589" y="286939"/>
                        </a:lnTo>
                        <a:lnTo>
                          <a:pt x="513527" y="289133"/>
                        </a:lnTo>
                        <a:lnTo>
                          <a:pt x="520660" y="297363"/>
                        </a:lnTo>
                        <a:lnTo>
                          <a:pt x="542605" y="296266"/>
                        </a:lnTo>
                        <a:lnTo>
                          <a:pt x="546994" y="292425"/>
                        </a:lnTo>
                        <a:lnTo>
                          <a:pt x="557967" y="288585"/>
                        </a:lnTo>
                        <a:lnTo>
                          <a:pt x="568391" y="257861"/>
                        </a:lnTo>
                        <a:lnTo>
                          <a:pt x="562905" y="250728"/>
                        </a:lnTo>
                        <a:lnTo>
                          <a:pt x="543154" y="249083"/>
                        </a:lnTo>
                        <a:lnTo>
                          <a:pt x="536570" y="240853"/>
                        </a:lnTo>
                        <a:lnTo>
                          <a:pt x="520111" y="236464"/>
                        </a:lnTo>
                        <a:lnTo>
                          <a:pt x="520660" y="230429"/>
                        </a:lnTo>
                        <a:lnTo>
                          <a:pt x="517367" y="226040"/>
                        </a:lnTo>
                        <a:lnTo>
                          <a:pt x="506395" y="223845"/>
                        </a:lnTo>
                        <a:lnTo>
                          <a:pt x="506944" y="217810"/>
                        </a:lnTo>
                        <a:lnTo>
                          <a:pt x="512430" y="216713"/>
                        </a:lnTo>
                        <a:lnTo>
                          <a:pt x="520660" y="209580"/>
                        </a:lnTo>
                        <a:lnTo>
                          <a:pt x="540959" y="199705"/>
                        </a:lnTo>
                        <a:lnTo>
                          <a:pt x="543702" y="195316"/>
                        </a:lnTo>
                        <a:lnTo>
                          <a:pt x="544251" y="189281"/>
                        </a:lnTo>
                        <a:lnTo>
                          <a:pt x="531632" y="170627"/>
                        </a:lnTo>
                        <a:lnTo>
                          <a:pt x="536570" y="168981"/>
                        </a:lnTo>
                        <a:lnTo>
                          <a:pt x="540959" y="164592"/>
                        </a:lnTo>
                        <a:lnTo>
                          <a:pt x="542605" y="159654"/>
                        </a:lnTo>
                        <a:lnTo>
                          <a:pt x="546445" y="155265"/>
                        </a:lnTo>
                        <a:lnTo>
                          <a:pt x="579913" y="156362"/>
                        </a:lnTo>
                        <a:lnTo>
                          <a:pt x="584850" y="154716"/>
                        </a:lnTo>
                        <a:lnTo>
                          <a:pt x="587593" y="149779"/>
                        </a:lnTo>
                        <a:lnTo>
                          <a:pt x="584302" y="144841"/>
                        </a:lnTo>
                        <a:lnTo>
                          <a:pt x="574426" y="139355"/>
                        </a:lnTo>
                        <a:lnTo>
                          <a:pt x="552481" y="136063"/>
                        </a:lnTo>
                        <a:lnTo>
                          <a:pt x="549737" y="131674"/>
                        </a:lnTo>
                        <a:lnTo>
                          <a:pt x="550286" y="125639"/>
                        </a:lnTo>
                        <a:lnTo>
                          <a:pt x="555772" y="126187"/>
                        </a:lnTo>
                        <a:lnTo>
                          <a:pt x="561259" y="123993"/>
                        </a:lnTo>
                        <a:lnTo>
                          <a:pt x="564002" y="119055"/>
                        </a:lnTo>
                        <a:lnTo>
                          <a:pt x="560161" y="115214"/>
                        </a:lnTo>
                        <a:lnTo>
                          <a:pt x="555224" y="118506"/>
                        </a:lnTo>
                        <a:lnTo>
                          <a:pt x="544251" y="118506"/>
                        </a:lnTo>
                        <a:lnTo>
                          <a:pt x="544251" y="112471"/>
                        </a:lnTo>
                        <a:lnTo>
                          <a:pt x="545897" y="106985"/>
                        </a:lnTo>
                        <a:lnTo>
                          <a:pt x="549189" y="103144"/>
                        </a:lnTo>
                        <a:lnTo>
                          <a:pt x="542056" y="94915"/>
                        </a:lnTo>
                        <a:lnTo>
                          <a:pt x="553029" y="94366"/>
                        </a:lnTo>
                        <a:lnTo>
                          <a:pt x="555224" y="89977"/>
                        </a:lnTo>
                        <a:lnTo>
                          <a:pt x="561808" y="89977"/>
                        </a:lnTo>
                        <a:lnTo>
                          <a:pt x="565099" y="94366"/>
                        </a:lnTo>
                        <a:lnTo>
                          <a:pt x="570586" y="93269"/>
                        </a:lnTo>
                        <a:lnTo>
                          <a:pt x="576072" y="94366"/>
                        </a:lnTo>
                        <a:lnTo>
                          <a:pt x="581010" y="92171"/>
                        </a:lnTo>
                        <a:lnTo>
                          <a:pt x="598018" y="93269"/>
                        </a:lnTo>
                        <a:lnTo>
                          <a:pt x="601309" y="97658"/>
                        </a:lnTo>
                        <a:lnTo>
                          <a:pt x="608442" y="88880"/>
                        </a:lnTo>
                        <a:lnTo>
                          <a:pt x="613379" y="87234"/>
                        </a:lnTo>
                        <a:lnTo>
                          <a:pt x="624352" y="88331"/>
                        </a:lnTo>
                        <a:lnTo>
                          <a:pt x="628741" y="83942"/>
                        </a:lnTo>
                        <a:lnTo>
                          <a:pt x="634228" y="82845"/>
                        </a:lnTo>
                        <a:lnTo>
                          <a:pt x="643006" y="75712"/>
                        </a:lnTo>
                        <a:lnTo>
                          <a:pt x="647944" y="77907"/>
                        </a:lnTo>
                        <a:lnTo>
                          <a:pt x="652333" y="81199"/>
                        </a:lnTo>
                        <a:lnTo>
                          <a:pt x="657820" y="81199"/>
                        </a:lnTo>
                        <a:lnTo>
                          <a:pt x="660014" y="75712"/>
                        </a:lnTo>
                        <a:lnTo>
                          <a:pt x="670438" y="72969"/>
                        </a:lnTo>
                        <a:lnTo>
                          <a:pt x="675376" y="70226"/>
                        </a:lnTo>
                        <a:lnTo>
                          <a:pt x="680862" y="69677"/>
                        </a:lnTo>
                        <a:lnTo>
                          <a:pt x="685800" y="67483"/>
                        </a:lnTo>
                        <a:lnTo>
                          <a:pt x="691286" y="67483"/>
                        </a:lnTo>
                        <a:lnTo>
                          <a:pt x="696773" y="69129"/>
                        </a:lnTo>
                        <a:lnTo>
                          <a:pt x="699516" y="64191"/>
                        </a:lnTo>
                        <a:lnTo>
                          <a:pt x="702808" y="53767"/>
                        </a:lnTo>
                        <a:lnTo>
                          <a:pt x="707746" y="51023"/>
                        </a:lnTo>
                        <a:lnTo>
                          <a:pt x="713232" y="49926"/>
                        </a:lnTo>
                        <a:lnTo>
                          <a:pt x="718170" y="52121"/>
                        </a:lnTo>
                        <a:lnTo>
                          <a:pt x="730789" y="48829"/>
                        </a:lnTo>
                        <a:lnTo>
                          <a:pt x="730240" y="48829"/>
                        </a:lnTo>
                        <a:lnTo>
                          <a:pt x="797723" y="34016"/>
                        </a:lnTo>
                        <a:lnTo>
                          <a:pt x="802112" y="30175"/>
                        </a:lnTo>
                        <a:lnTo>
                          <a:pt x="807598" y="30724"/>
                        </a:lnTo>
                        <a:lnTo>
                          <a:pt x="812536" y="29078"/>
                        </a:lnTo>
                        <a:lnTo>
                          <a:pt x="816376" y="24689"/>
                        </a:lnTo>
                        <a:lnTo>
                          <a:pt x="815828" y="13716"/>
                        </a:lnTo>
                        <a:lnTo>
                          <a:pt x="821314" y="14813"/>
                        </a:lnTo>
                        <a:lnTo>
                          <a:pt x="826801" y="13716"/>
                        </a:lnTo>
                        <a:lnTo>
                          <a:pt x="830092" y="8230"/>
                        </a:lnTo>
                        <a:lnTo>
                          <a:pt x="834481" y="5486"/>
                        </a:lnTo>
                        <a:lnTo>
                          <a:pt x="839968" y="4938"/>
                        </a:lnTo>
                        <a:lnTo>
                          <a:pt x="843260" y="1097"/>
                        </a:lnTo>
                        <a:lnTo>
                          <a:pt x="848746" y="0"/>
                        </a:lnTo>
                        <a:lnTo>
                          <a:pt x="852587" y="3840"/>
                        </a:lnTo>
                        <a:lnTo>
                          <a:pt x="858073" y="3292"/>
                        </a:lnTo>
                        <a:lnTo>
                          <a:pt x="863011" y="4938"/>
                        </a:lnTo>
                        <a:lnTo>
                          <a:pt x="868497" y="3840"/>
                        </a:lnTo>
                        <a:lnTo>
                          <a:pt x="873984" y="6035"/>
                        </a:lnTo>
                        <a:lnTo>
                          <a:pt x="877276" y="10424"/>
                        </a:lnTo>
                        <a:lnTo>
                          <a:pt x="886602" y="16459"/>
                        </a:lnTo>
                        <a:lnTo>
                          <a:pt x="891540" y="13716"/>
                        </a:lnTo>
                        <a:lnTo>
                          <a:pt x="895381" y="10424"/>
                        </a:lnTo>
                        <a:lnTo>
                          <a:pt x="906902" y="8230"/>
                        </a:lnTo>
                        <a:lnTo>
                          <a:pt x="912388" y="10424"/>
                        </a:lnTo>
                        <a:lnTo>
                          <a:pt x="916229" y="14813"/>
                        </a:lnTo>
                        <a:lnTo>
                          <a:pt x="918424" y="19751"/>
                        </a:lnTo>
                        <a:lnTo>
                          <a:pt x="918972" y="36210"/>
                        </a:lnTo>
                        <a:lnTo>
                          <a:pt x="920618" y="41697"/>
                        </a:lnTo>
                        <a:lnTo>
                          <a:pt x="928848" y="48829"/>
                        </a:lnTo>
                        <a:lnTo>
                          <a:pt x="926104" y="53767"/>
                        </a:lnTo>
                        <a:lnTo>
                          <a:pt x="926653" y="64739"/>
                        </a:lnTo>
                        <a:lnTo>
                          <a:pt x="920069" y="73518"/>
                        </a:lnTo>
                        <a:lnTo>
                          <a:pt x="923361" y="78455"/>
                        </a:lnTo>
                        <a:lnTo>
                          <a:pt x="924458" y="83942"/>
                        </a:lnTo>
                        <a:lnTo>
                          <a:pt x="935431" y="81199"/>
                        </a:lnTo>
                        <a:lnTo>
                          <a:pt x="940369" y="83942"/>
                        </a:lnTo>
                        <a:lnTo>
                          <a:pt x="945856" y="83393"/>
                        </a:lnTo>
                        <a:lnTo>
                          <a:pt x="947501" y="77907"/>
                        </a:lnTo>
                        <a:lnTo>
                          <a:pt x="952988" y="77358"/>
                        </a:lnTo>
                        <a:lnTo>
                          <a:pt x="958474" y="79004"/>
                        </a:lnTo>
                        <a:lnTo>
                          <a:pt x="959572" y="68031"/>
                        </a:lnTo>
                        <a:lnTo>
                          <a:pt x="965058" y="69129"/>
                        </a:lnTo>
                        <a:lnTo>
                          <a:pt x="968898" y="80101"/>
                        </a:lnTo>
                        <a:lnTo>
                          <a:pt x="972190" y="83393"/>
                        </a:lnTo>
                        <a:lnTo>
                          <a:pt x="969996" y="94366"/>
                        </a:lnTo>
                        <a:lnTo>
                          <a:pt x="980968" y="95463"/>
                        </a:lnTo>
                        <a:lnTo>
                          <a:pt x="979322" y="90526"/>
                        </a:lnTo>
                        <a:lnTo>
                          <a:pt x="975482" y="86136"/>
                        </a:lnTo>
                        <a:lnTo>
                          <a:pt x="980968" y="83942"/>
                        </a:lnTo>
                        <a:lnTo>
                          <a:pt x="991393" y="86136"/>
                        </a:lnTo>
                        <a:lnTo>
                          <a:pt x="1005657" y="96012"/>
                        </a:lnTo>
                        <a:lnTo>
                          <a:pt x="1011144" y="96012"/>
                        </a:lnTo>
                        <a:lnTo>
                          <a:pt x="1013887" y="91074"/>
                        </a:lnTo>
                        <a:lnTo>
                          <a:pt x="1018825" y="88880"/>
                        </a:lnTo>
                        <a:lnTo>
                          <a:pt x="1020470" y="94366"/>
                        </a:lnTo>
                        <a:lnTo>
                          <a:pt x="1019922" y="99852"/>
                        </a:lnTo>
                        <a:lnTo>
                          <a:pt x="1014984" y="101498"/>
                        </a:lnTo>
                        <a:lnTo>
                          <a:pt x="1010046" y="104790"/>
                        </a:lnTo>
                        <a:lnTo>
                          <a:pt x="1006754" y="109728"/>
                        </a:lnTo>
                        <a:lnTo>
                          <a:pt x="1005109" y="115214"/>
                        </a:lnTo>
                        <a:lnTo>
                          <a:pt x="1006206" y="120152"/>
                        </a:lnTo>
                        <a:lnTo>
                          <a:pt x="1008949" y="125090"/>
                        </a:lnTo>
                        <a:lnTo>
                          <a:pt x="1014436" y="124541"/>
                        </a:lnTo>
                        <a:lnTo>
                          <a:pt x="1017727" y="120152"/>
                        </a:lnTo>
                        <a:lnTo>
                          <a:pt x="1028152" y="116312"/>
                        </a:lnTo>
                        <a:lnTo>
                          <a:pt x="1033089" y="118506"/>
                        </a:lnTo>
                        <a:lnTo>
                          <a:pt x="1038576" y="117958"/>
                        </a:lnTo>
                        <a:lnTo>
                          <a:pt x="1042416" y="121798"/>
                        </a:lnTo>
                        <a:lnTo>
                          <a:pt x="1048451" y="121798"/>
                        </a:lnTo>
                        <a:lnTo>
                          <a:pt x="1046257" y="116860"/>
                        </a:lnTo>
                        <a:lnTo>
                          <a:pt x="1049548" y="111923"/>
                        </a:lnTo>
                        <a:lnTo>
                          <a:pt x="1055035" y="111923"/>
                        </a:lnTo>
                        <a:lnTo>
                          <a:pt x="1062716" y="103693"/>
                        </a:lnTo>
                        <a:lnTo>
                          <a:pt x="1073689" y="102047"/>
                        </a:lnTo>
                        <a:lnTo>
                          <a:pt x="1081369" y="94366"/>
                        </a:lnTo>
                        <a:lnTo>
                          <a:pt x="1085759" y="83942"/>
                        </a:lnTo>
                        <a:lnTo>
                          <a:pt x="1090148" y="81199"/>
                        </a:lnTo>
                        <a:lnTo>
                          <a:pt x="1095634" y="81747"/>
                        </a:lnTo>
                        <a:lnTo>
                          <a:pt x="1112093" y="77358"/>
                        </a:lnTo>
                        <a:lnTo>
                          <a:pt x="1114837" y="72420"/>
                        </a:lnTo>
                        <a:lnTo>
                          <a:pt x="1125809" y="71872"/>
                        </a:lnTo>
                        <a:lnTo>
                          <a:pt x="1135136" y="65837"/>
                        </a:lnTo>
                        <a:lnTo>
                          <a:pt x="1137331" y="70775"/>
                        </a:lnTo>
                        <a:lnTo>
                          <a:pt x="1137880" y="76261"/>
                        </a:lnTo>
                        <a:lnTo>
                          <a:pt x="1135136" y="81199"/>
                        </a:lnTo>
                        <a:lnTo>
                          <a:pt x="1129650" y="82845"/>
                        </a:lnTo>
                        <a:lnTo>
                          <a:pt x="1124164" y="82845"/>
                        </a:lnTo>
                        <a:lnTo>
                          <a:pt x="1123615" y="88331"/>
                        </a:lnTo>
                        <a:lnTo>
                          <a:pt x="1125809" y="93269"/>
                        </a:lnTo>
                        <a:lnTo>
                          <a:pt x="1129101" y="94366"/>
                        </a:lnTo>
                        <a:lnTo>
                          <a:pt x="1177930" y="139355"/>
                        </a:lnTo>
                        <a:lnTo>
                          <a:pt x="1260226" y="289682"/>
                        </a:lnTo>
                        <a:lnTo>
                          <a:pt x="1269553" y="282550"/>
                        </a:lnTo>
                        <a:lnTo>
                          <a:pt x="1271748" y="277063"/>
                        </a:lnTo>
                        <a:lnTo>
                          <a:pt x="1271748" y="271577"/>
                        </a:lnTo>
                        <a:lnTo>
                          <a:pt x="1278880" y="262799"/>
                        </a:lnTo>
                        <a:lnTo>
                          <a:pt x="1284366" y="261701"/>
                        </a:lnTo>
                        <a:lnTo>
                          <a:pt x="1288207" y="266090"/>
                        </a:lnTo>
                        <a:lnTo>
                          <a:pt x="1293693" y="267736"/>
                        </a:lnTo>
                        <a:lnTo>
                          <a:pt x="1303020" y="273223"/>
                        </a:lnTo>
                        <a:lnTo>
                          <a:pt x="1300277" y="278709"/>
                        </a:lnTo>
                        <a:lnTo>
                          <a:pt x="1303569" y="283098"/>
                        </a:lnTo>
                        <a:lnTo>
                          <a:pt x="1307409" y="284195"/>
                        </a:lnTo>
                        <a:lnTo>
                          <a:pt x="1310152" y="292974"/>
                        </a:lnTo>
                        <a:lnTo>
                          <a:pt x="1327709" y="291328"/>
                        </a:lnTo>
                        <a:lnTo>
                          <a:pt x="1338682" y="294620"/>
                        </a:lnTo>
                        <a:lnTo>
                          <a:pt x="1343620" y="292425"/>
                        </a:lnTo>
                        <a:lnTo>
                          <a:pt x="1355141" y="293522"/>
                        </a:lnTo>
                        <a:lnTo>
                          <a:pt x="1356787" y="288036"/>
                        </a:lnTo>
                        <a:lnTo>
                          <a:pt x="1360079" y="283647"/>
                        </a:lnTo>
                        <a:lnTo>
                          <a:pt x="1365565" y="284744"/>
                        </a:lnTo>
                        <a:lnTo>
                          <a:pt x="1371052" y="284195"/>
                        </a:lnTo>
                        <a:lnTo>
                          <a:pt x="1373246" y="279258"/>
                        </a:lnTo>
                        <a:lnTo>
                          <a:pt x="1378184" y="275966"/>
                        </a:lnTo>
                        <a:lnTo>
                          <a:pt x="1388608" y="279258"/>
                        </a:lnTo>
                        <a:lnTo>
                          <a:pt x="1393546" y="282001"/>
                        </a:lnTo>
                        <a:lnTo>
                          <a:pt x="1396289" y="286939"/>
                        </a:lnTo>
                        <a:lnTo>
                          <a:pt x="1401227" y="289682"/>
                        </a:lnTo>
                        <a:lnTo>
                          <a:pt x="1408359" y="297911"/>
                        </a:lnTo>
                        <a:lnTo>
                          <a:pt x="1413297" y="300106"/>
                        </a:lnTo>
                        <a:lnTo>
                          <a:pt x="1415491" y="305044"/>
                        </a:lnTo>
                        <a:lnTo>
                          <a:pt x="1414394" y="311079"/>
                        </a:lnTo>
                        <a:lnTo>
                          <a:pt x="1414943" y="316565"/>
                        </a:lnTo>
                        <a:lnTo>
                          <a:pt x="1417686" y="321503"/>
                        </a:lnTo>
                        <a:lnTo>
                          <a:pt x="1423172" y="322600"/>
                        </a:lnTo>
                        <a:lnTo>
                          <a:pt x="1437985" y="329733"/>
                        </a:lnTo>
                        <a:lnTo>
                          <a:pt x="1440180" y="334670"/>
                        </a:lnTo>
                        <a:lnTo>
                          <a:pt x="1439632" y="340157"/>
                        </a:lnTo>
                        <a:lnTo>
                          <a:pt x="1444569" y="342351"/>
                        </a:lnTo>
                        <a:lnTo>
                          <a:pt x="1448958" y="346192"/>
                        </a:lnTo>
                        <a:lnTo>
                          <a:pt x="1453348" y="356067"/>
                        </a:lnTo>
                        <a:lnTo>
                          <a:pt x="1457737" y="358811"/>
                        </a:lnTo>
                        <a:lnTo>
                          <a:pt x="1469258" y="360456"/>
                        </a:lnTo>
                        <a:lnTo>
                          <a:pt x="1473647" y="363748"/>
                        </a:lnTo>
                        <a:lnTo>
                          <a:pt x="1490106" y="366491"/>
                        </a:lnTo>
                        <a:lnTo>
                          <a:pt x="1492301" y="361005"/>
                        </a:lnTo>
                        <a:lnTo>
                          <a:pt x="1495593" y="356616"/>
                        </a:lnTo>
                        <a:lnTo>
                          <a:pt x="1506017" y="352775"/>
                        </a:lnTo>
                        <a:lnTo>
                          <a:pt x="1507663" y="358811"/>
                        </a:lnTo>
                        <a:lnTo>
                          <a:pt x="1510406" y="363748"/>
                        </a:lnTo>
                        <a:lnTo>
                          <a:pt x="1514795" y="366491"/>
                        </a:lnTo>
                        <a:lnTo>
                          <a:pt x="1519733" y="376367"/>
                        </a:lnTo>
                        <a:lnTo>
                          <a:pt x="1524122" y="379659"/>
                        </a:lnTo>
                        <a:lnTo>
                          <a:pt x="1526865" y="384597"/>
                        </a:lnTo>
                        <a:lnTo>
                          <a:pt x="1518636" y="402702"/>
                        </a:lnTo>
                        <a:lnTo>
                          <a:pt x="1518636" y="402702"/>
                        </a:lnTo>
                        <a:lnTo>
                          <a:pt x="1511503" y="415869"/>
                        </a:lnTo>
                        <a:lnTo>
                          <a:pt x="1500530" y="427391"/>
                        </a:lnTo>
                        <a:lnTo>
                          <a:pt x="1486814" y="430682"/>
                        </a:lnTo>
                        <a:lnTo>
                          <a:pt x="1475842" y="430134"/>
                        </a:lnTo>
                        <a:lnTo>
                          <a:pt x="1468709" y="444398"/>
                        </a:lnTo>
                        <a:lnTo>
                          <a:pt x="1464869" y="502006"/>
                        </a:lnTo>
                        <a:lnTo>
                          <a:pt x="1448958" y="507492"/>
                        </a:lnTo>
                        <a:lnTo>
                          <a:pt x="1439083" y="515722"/>
                        </a:lnTo>
                        <a:lnTo>
                          <a:pt x="1425916" y="504200"/>
                        </a:lnTo>
                        <a:lnTo>
                          <a:pt x="1402324" y="506943"/>
                        </a:lnTo>
                        <a:lnTo>
                          <a:pt x="1390254" y="503103"/>
                        </a:lnTo>
                        <a:lnTo>
                          <a:pt x="1383670" y="497616"/>
                        </a:lnTo>
                        <a:lnTo>
                          <a:pt x="1367211" y="497068"/>
                        </a:lnTo>
                        <a:lnTo>
                          <a:pt x="1339230" y="577718"/>
                        </a:lnTo>
                        <a:lnTo>
                          <a:pt x="1344717" y="600212"/>
                        </a:lnTo>
                        <a:lnTo>
                          <a:pt x="1339779" y="604053"/>
                        </a:lnTo>
                        <a:lnTo>
                          <a:pt x="1260775" y="617769"/>
                        </a:lnTo>
                        <a:lnTo>
                          <a:pt x="1254740" y="622706"/>
                        </a:lnTo>
                        <a:lnTo>
                          <a:pt x="1260226" y="627644"/>
                        </a:lnTo>
                        <a:lnTo>
                          <a:pt x="1281623" y="701162"/>
                        </a:lnTo>
                        <a:lnTo>
                          <a:pt x="1281623" y="711586"/>
                        </a:lnTo>
                        <a:lnTo>
                          <a:pt x="1272845" y="717621"/>
                        </a:lnTo>
                        <a:lnTo>
                          <a:pt x="1273393" y="726948"/>
                        </a:lnTo>
                        <a:lnTo>
                          <a:pt x="1268456" y="732983"/>
                        </a:lnTo>
                        <a:lnTo>
                          <a:pt x="1266261" y="740664"/>
                        </a:lnTo>
                        <a:lnTo>
                          <a:pt x="1266261" y="753283"/>
                        </a:lnTo>
                        <a:lnTo>
                          <a:pt x="1261872" y="753283"/>
                        </a:lnTo>
                        <a:lnTo>
                          <a:pt x="1248156" y="743956"/>
                        </a:lnTo>
                        <a:lnTo>
                          <a:pt x="1237183" y="742310"/>
                        </a:lnTo>
                        <a:lnTo>
                          <a:pt x="1227308" y="729691"/>
                        </a:lnTo>
                        <a:lnTo>
                          <a:pt x="1205362" y="726948"/>
                        </a:lnTo>
                        <a:lnTo>
                          <a:pt x="1200973" y="724205"/>
                        </a:lnTo>
                        <a:lnTo>
                          <a:pt x="1156533" y="722559"/>
                        </a:lnTo>
                        <a:lnTo>
                          <a:pt x="1146658" y="717621"/>
                        </a:lnTo>
                        <a:lnTo>
                          <a:pt x="1141171" y="717072"/>
                        </a:lnTo>
                        <a:lnTo>
                          <a:pt x="1131296" y="722010"/>
                        </a:lnTo>
                        <a:lnTo>
                          <a:pt x="1075883" y="720913"/>
                        </a:lnTo>
                        <a:lnTo>
                          <a:pt x="1071494" y="717621"/>
                        </a:lnTo>
                        <a:lnTo>
                          <a:pt x="1066008" y="716524"/>
                        </a:lnTo>
                        <a:lnTo>
                          <a:pt x="1055035" y="717621"/>
                        </a:lnTo>
                        <a:lnTo>
                          <a:pt x="1036381" y="706100"/>
                        </a:lnTo>
                        <a:lnTo>
                          <a:pt x="1031443" y="708843"/>
                        </a:lnTo>
                        <a:lnTo>
                          <a:pt x="1025957" y="709392"/>
                        </a:lnTo>
                        <a:lnTo>
                          <a:pt x="1021019" y="711038"/>
                        </a:lnTo>
                        <a:lnTo>
                          <a:pt x="1012241" y="718170"/>
                        </a:lnTo>
                        <a:lnTo>
                          <a:pt x="1011692" y="723656"/>
                        </a:lnTo>
                        <a:lnTo>
                          <a:pt x="1008949" y="728045"/>
                        </a:lnTo>
                        <a:lnTo>
                          <a:pt x="1006754" y="739567"/>
                        </a:lnTo>
                        <a:lnTo>
                          <a:pt x="1004560" y="743956"/>
                        </a:lnTo>
                        <a:lnTo>
                          <a:pt x="946953" y="726948"/>
                        </a:lnTo>
                        <a:lnTo>
                          <a:pt x="941466" y="728045"/>
                        </a:lnTo>
                        <a:lnTo>
                          <a:pt x="935980" y="725851"/>
                        </a:lnTo>
                        <a:lnTo>
                          <a:pt x="920069" y="729691"/>
                        </a:lnTo>
                        <a:lnTo>
                          <a:pt x="918424" y="735177"/>
                        </a:lnTo>
                        <a:lnTo>
                          <a:pt x="918972" y="740664"/>
                        </a:lnTo>
                        <a:lnTo>
                          <a:pt x="904708" y="763707"/>
                        </a:lnTo>
                        <a:lnTo>
                          <a:pt x="899221" y="765353"/>
                        </a:lnTo>
                        <a:lnTo>
                          <a:pt x="894283" y="763707"/>
                        </a:lnTo>
                        <a:lnTo>
                          <a:pt x="889894" y="774131"/>
                        </a:lnTo>
                        <a:lnTo>
                          <a:pt x="885505" y="777972"/>
                        </a:lnTo>
                        <a:lnTo>
                          <a:pt x="860268" y="790041"/>
                        </a:lnTo>
                        <a:lnTo>
                          <a:pt x="856976" y="794431"/>
                        </a:lnTo>
                        <a:lnTo>
                          <a:pt x="847100" y="799368"/>
                        </a:lnTo>
                        <a:lnTo>
                          <a:pt x="842711" y="809793"/>
                        </a:lnTo>
                        <a:lnTo>
                          <a:pt x="833384" y="815828"/>
                        </a:lnTo>
                        <a:lnTo>
                          <a:pt x="802112" y="803209"/>
                        </a:lnTo>
                        <a:lnTo>
                          <a:pt x="763707" y="807050"/>
                        </a:lnTo>
                        <a:lnTo>
                          <a:pt x="757123" y="775228"/>
                        </a:lnTo>
                        <a:lnTo>
                          <a:pt x="734629" y="771388"/>
                        </a:lnTo>
                        <a:lnTo>
                          <a:pt x="734080" y="751088"/>
                        </a:lnTo>
                        <a:lnTo>
                          <a:pt x="739018" y="750540"/>
                        </a:lnTo>
                        <a:lnTo>
                          <a:pt x="738469" y="721461"/>
                        </a:lnTo>
                        <a:lnTo>
                          <a:pt x="729143" y="722010"/>
                        </a:lnTo>
                        <a:lnTo>
                          <a:pt x="717621" y="699516"/>
                        </a:lnTo>
                        <a:lnTo>
                          <a:pt x="691835" y="678668"/>
                        </a:lnTo>
                        <a:lnTo>
                          <a:pt x="681960" y="683057"/>
                        </a:lnTo>
                        <a:lnTo>
                          <a:pt x="581558" y="690738"/>
                        </a:lnTo>
                        <a:lnTo>
                          <a:pt x="450982" y="581010"/>
                        </a:lnTo>
                        <a:lnTo>
                          <a:pt x="354970" y="615026"/>
                        </a:lnTo>
                      </a:path>
                    </a:pathLst>
                  </a:custGeom>
                  <a:grpFill/>
                  <a:ln w="1270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endParaRPr>
                  </a:p>
                </p:txBody>
              </p:sp>
              <p:grpSp>
                <p:nvGrpSpPr>
                  <p:cNvPr id="28" name="Group 408">
                    <a:extLst>
                      <a:ext uri="{FF2B5EF4-FFF2-40B4-BE49-F238E27FC236}">
                        <a16:creationId xmlns:a16="http://schemas.microsoft.com/office/drawing/2014/main" id="{14E5A2C4-A880-C596-BB89-1D0210970374}"/>
                      </a:ext>
                    </a:extLst>
                  </p:cNvPr>
                  <p:cNvGrpSpPr/>
                  <p:nvPr/>
                </p:nvGrpSpPr>
                <p:grpSpPr>
                  <a:xfrm>
                    <a:off x="6044066" y="736599"/>
                    <a:ext cx="4778932" cy="2409398"/>
                    <a:chOff x="6044066" y="736599"/>
                    <a:chExt cx="4778932" cy="2409398"/>
                  </a:xfrm>
                  <a:grpFill/>
                </p:grpSpPr>
                <p:grpSp>
                  <p:nvGrpSpPr>
                    <p:cNvPr id="29" name="Group 409">
                      <a:extLst>
                        <a:ext uri="{FF2B5EF4-FFF2-40B4-BE49-F238E27FC236}">
                          <a16:creationId xmlns:a16="http://schemas.microsoft.com/office/drawing/2014/main" id="{EFEBC342-BB30-5606-A630-300C5EEAB64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6044066" y="736599"/>
                      <a:ext cx="4778932" cy="2409398"/>
                      <a:chOff x="6044066" y="736599"/>
                      <a:chExt cx="4778932" cy="2409398"/>
                    </a:xfrm>
                    <a:grpFill/>
                  </p:grpSpPr>
                  <p:sp>
                    <p:nvSpPr>
                      <p:cNvPr id="32" name="Graphic 7">
                        <a:extLst>
                          <a:ext uri="{FF2B5EF4-FFF2-40B4-BE49-F238E27FC236}">
                            <a16:creationId xmlns:a16="http://schemas.microsoft.com/office/drawing/2014/main" id="{3EADA014-6B3A-2B6B-63CE-1C7448BB406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750468" y="1248398"/>
                        <a:ext cx="179172" cy="272188"/>
                      </a:xfrm>
                      <a:custGeom>
                        <a:avLst/>
                        <a:gdLst>
                          <a:gd name="connsiteX0" fmla="*/ 83393 w 229331"/>
                          <a:gd name="connsiteY0" fmla="*/ 14265 h 348386"/>
                          <a:gd name="connsiteX1" fmla="*/ 85039 w 229331"/>
                          <a:gd name="connsiteY1" fmla="*/ 12070 h 348386"/>
                          <a:gd name="connsiteX2" fmla="*/ 102596 w 229331"/>
                          <a:gd name="connsiteY2" fmla="*/ 15362 h 348386"/>
                          <a:gd name="connsiteX3" fmla="*/ 108082 w 229331"/>
                          <a:gd name="connsiteY3" fmla="*/ 8778 h 348386"/>
                          <a:gd name="connsiteX4" fmla="*/ 125639 w 229331"/>
                          <a:gd name="connsiteY4" fmla="*/ 0 h 348386"/>
                          <a:gd name="connsiteX5" fmla="*/ 134417 w 229331"/>
                          <a:gd name="connsiteY5" fmla="*/ 0 h 348386"/>
                          <a:gd name="connsiteX6" fmla="*/ 141549 w 229331"/>
                          <a:gd name="connsiteY6" fmla="*/ 7132 h 348386"/>
                          <a:gd name="connsiteX7" fmla="*/ 148133 w 229331"/>
                          <a:gd name="connsiteY7" fmla="*/ 9875 h 348386"/>
                          <a:gd name="connsiteX8" fmla="*/ 158009 w 229331"/>
                          <a:gd name="connsiteY8" fmla="*/ 10973 h 348386"/>
                          <a:gd name="connsiteX9" fmla="*/ 173370 w 229331"/>
                          <a:gd name="connsiteY9" fmla="*/ 23043 h 348386"/>
                          <a:gd name="connsiteX10" fmla="*/ 181600 w 229331"/>
                          <a:gd name="connsiteY10" fmla="*/ 23043 h 348386"/>
                          <a:gd name="connsiteX11" fmla="*/ 187086 w 229331"/>
                          <a:gd name="connsiteY11" fmla="*/ 31821 h 348386"/>
                          <a:gd name="connsiteX12" fmla="*/ 188732 w 229331"/>
                          <a:gd name="connsiteY12" fmla="*/ 37307 h 348386"/>
                          <a:gd name="connsiteX13" fmla="*/ 164592 w 229331"/>
                          <a:gd name="connsiteY13" fmla="*/ 43891 h 348386"/>
                          <a:gd name="connsiteX14" fmla="*/ 183794 w 229331"/>
                          <a:gd name="connsiteY14" fmla="*/ 46634 h 348386"/>
                          <a:gd name="connsiteX15" fmla="*/ 181051 w 229331"/>
                          <a:gd name="connsiteY15" fmla="*/ 51572 h 348386"/>
                          <a:gd name="connsiteX16" fmla="*/ 173370 w 229331"/>
                          <a:gd name="connsiteY16" fmla="*/ 50475 h 348386"/>
                          <a:gd name="connsiteX17" fmla="*/ 157460 w 229331"/>
                          <a:gd name="connsiteY17" fmla="*/ 59253 h 348386"/>
                          <a:gd name="connsiteX18" fmla="*/ 165689 w 229331"/>
                          <a:gd name="connsiteY18" fmla="*/ 60350 h 348386"/>
                          <a:gd name="connsiteX19" fmla="*/ 179405 w 229331"/>
                          <a:gd name="connsiteY19" fmla="*/ 56510 h 348386"/>
                          <a:gd name="connsiteX20" fmla="*/ 179954 w 229331"/>
                          <a:gd name="connsiteY20" fmla="*/ 64739 h 348386"/>
                          <a:gd name="connsiteX21" fmla="*/ 177211 w 229331"/>
                          <a:gd name="connsiteY21" fmla="*/ 70226 h 348386"/>
                          <a:gd name="connsiteX22" fmla="*/ 171725 w 229331"/>
                          <a:gd name="connsiteY22" fmla="*/ 76261 h 348386"/>
                          <a:gd name="connsiteX23" fmla="*/ 164592 w 229331"/>
                          <a:gd name="connsiteY23" fmla="*/ 77907 h 348386"/>
                          <a:gd name="connsiteX24" fmla="*/ 151973 w 229331"/>
                          <a:gd name="connsiteY24" fmla="*/ 76261 h 348386"/>
                          <a:gd name="connsiteX25" fmla="*/ 149779 w 229331"/>
                          <a:gd name="connsiteY25" fmla="*/ 82845 h 348386"/>
                          <a:gd name="connsiteX26" fmla="*/ 160752 w 229331"/>
                          <a:gd name="connsiteY26" fmla="*/ 81747 h 348386"/>
                          <a:gd name="connsiteX27" fmla="*/ 163495 w 229331"/>
                          <a:gd name="connsiteY27" fmla="*/ 89977 h 348386"/>
                          <a:gd name="connsiteX28" fmla="*/ 158557 w 229331"/>
                          <a:gd name="connsiteY28" fmla="*/ 98207 h 348386"/>
                          <a:gd name="connsiteX29" fmla="*/ 156362 w 229331"/>
                          <a:gd name="connsiteY29" fmla="*/ 108631 h 348386"/>
                          <a:gd name="connsiteX30" fmla="*/ 152522 w 229331"/>
                          <a:gd name="connsiteY30" fmla="*/ 106436 h 348386"/>
                          <a:gd name="connsiteX31" fmla="*/ 149779 w 229331"/>
                          <a:gd name="connsiteY31" fmla="*/ 109728 h 348386"/>
                          <a:gd name="connsiteX32" fmla="*/ 152522 w 229331"/>
                          <a:gd name="connsiteY32" fmla="*/ 113020 h 348386"/>
                          <a:gd name="connsiteX33" fmla="*/ 151973 w 229331"/>
                          <a:gd name="connsiteY33" fmla="*/ 120701 h 348386"/>
                          <a:gd name="connsiteX34" fmla="*/ 147584 w 229331"/>
                          <a:gd name="connsiteY34" fmla="*/ 121249 h 348386"/>
                          <a:gd name="connsiteX35" fmla="*/ 148133 w 229331"/>
                          <a:gd name="connsiteY35" fmla="*/ 147036 h 348386"/>
                          <a:gd name="connsiteX36" fmla="*/ 150876 w 229331"/>
                          <a:gd name="connsiteY36" fmla="*/ 154168 h 348386"/>
                          <a:gd name="connsiteX37" fmla="*/ 145938 w 229331"/>
                          <a:gd name="connsiteY37" fmla="*/ 175016 h 348386"/>
                          <a:gd name="connsiteX38" fmla="*/ 147036 w 229331"/>
                          <a:gd name="connsiteY38" fmla="*/ 183246 h 348386"/>
                          <a:gd name="connsiteX39" fmla="*/ 149779 w 229331"/>
                          <a:gd name="connsiteY39" fmla="*/ 187086 h 348386"/>
                          <a:gd name="connsiteX40" fmla="*/ 157460 w 229331"/>
                          <a:gd name="connsiteY40" fmla="*/ 233721 h 348386"/>
                          <a:gd name="connsiteX41" fmla="*/ 168981 w 229331"/>
                          <a:gd name="connsiteY41" fmla="*/ 255666 h 348386"/>
                          <a:gd name="connsiteX42" fmla="*/ 171725 w 229331"/>
                          <a:gd name="connsiteY42" fmla="*/ 269931 h 348386"/>
                          <a:gd name="connsiteX43" fmla="*/ 194767 w 229331"/>
                          <a:gd name="connsiteY43" fmla="*/ 299009 h 348386"/>
                          <a:gd name="connsiteX44" fmla="*/ 200254 w 229331"/>
                          <a:gd name="connsiteY44" fmla="*/ 301203 h 348386"/>
                          <a:gd name="connsiteX45" fmla="*/ 218359 w 229331"/>
                          <a:gd name="connsiteY45" fmla="*/ 317663 h 348386"/>
                          <a:gd name="connsiteX46" fmla="*/ 221651 w 229331"/>
                          <a:gd name="connsiteY46" fmla="*/ 317114 h 348386"/>
                          <a:gd name="connsiteX47" fmla="*/ 229332 w 229331"/>
                          <a:gd name="connsiteY47" fmla="*/ 323698 h 348386"/>
                          <a:gd name="connsiteX48" fmla="*/ 224942 w 229331"/>
                          <a:gd name="connsiteY48" fmla="*/ 325892 h 348386"/>
                          <a:gd name="connsiteX49" fmla="*/ 224942 w 229331"/>
                          <a:gd name="connsiteY49" fmla="*/ 331927 h 348386"/>
                          <a:gd name="connsiteX50" fmla="*/ 218359 w 229331"/>
                          <a:gd name="connsiteY50" fmla="*/ 335768 h 348386"/>
                          <a:gd name="connsiteX51" fmla="*/ 204094 w 229331"/>
                          <a:gd name="connsiteY51" fmla="*/ 333025 h 348386"/>
                          <a:gd name="connsiteX52" fmla="*/ 200254 w 229331"/>
                          <a:gd name="connsiteY52" fmla="*/ 336865 h 348386"/>
                          <a:gd name="connsiteX53" fmla="*/ 216164 w 229331"/>
                          <a:gd name="connsiteY53" fmla="*/ 341254 h 348386"/>
                          <a:gd name="connsiteX54" fmla="*/ 210678 w 229331"/>
                          <a:gd name="connsiteY54" fmla="*/ 342351 h 348386"/>
                          <a:gd name="connsiteX55" fmla="*/ 209581 w 229331"/>
                          <a:gd name="connsiteY55" fmla="*/ 348386 h 348386"/>
                          <a:gd name="connsiteX56" fmla="*/ 203546 w 229331"/>
                          <a:gd name="connsiteY56" fmla="*/ 344546 h 348386"/>
                          <a:gd name="connsiteX57" fmla="*/ 194219 w 229331"/>
                          <a:gd name="connsiteY57" fmla="*/ 332476 h 348386"/>
                          <a:gd name="connsiteX58" fmla="*/ 190378 w 229331"/>
                          <a:gd name="connsiteY58" fmla="*/ 330281 h 348386"/>
                          <a:gd name="connsiteX59" fmla="*/ 192573 w 229331"/>
                          <a:gd name="connsiteY59" fmla="*/ 322052 h 348386"/>
                          <a:gd name="connsiteX60" fmla="*/ 185441 w 229331"/>
                          <a:gd name="connsiteY60" fmla="*/ 325892 h 348386"/>
                          <a:gd name="connsiteX61" fmla="*/ 179405 w 229331"/>
                          <a:gd name="connsiteY61" fmla="*/ 325892 h 348386"/>
                          <a:gd name="connsiteX62" fmla="*/ 176114 w 229331"/>
                          <a:gd name="connsiteY62" fmla="*/ 329733 h 348386"/>
                          <a:gd name="connsiteX63" fmla="*/ 177211 w 229331"/>
                          <a:gd name="connsiteY63" fmla="*/ 334122 h 348386"/>
                          <a:gd name="connsiteX64" fmla="*/ 181600 w 229331"/>
                          <a:gd name="connsiteY64" fmla="*/ 336316 h 348386"/>
                          <a:gd name="connsiteX65" fmla="*/ 184343 w 229331"/>
                          <a:gd name="connsiteY65" fmla="*/ 333573 h 348386"/>
                          <a:gd name="connsiteX66" fmla="*/ 185989 w 229331"/>
                          <a:gd name="connsiteY66" fmla="*/ 341254 h 348386"/>
                          <a:gd name="connsiteX67" fmla="*/ 176662 w 229331"/>
                          <a:gd name="connsiteY67" fmla="*/ 342351 h 348386"/>
                          <a:gd name="connsiteX68" fmla="*/ 169530 w 229331"/>
                          <a:gd name="connsiteY68" fmla="*/ 336316 h 348386"/>
                          <a:gd name="connsiteX69" fmla="*/ 165689 w 229331"/>
                          <a:gd name="connsiteY69" fmla="*/ 336316 h 348386"/>
                          <a:gd name="connsiteX70" fmla="*/ 167884 w 229331"/>
                          <a:gd name="connsiteY70" fmla="*/ 341803 h 348386"/>
                          <a:gd name="connsiteX71" fmla="*/ 164592 w 229331"/>
                          <a:gd name="connsiteY71" fmla="*/ 338511 h 348386"/>
                          <a:gd name="connsiteX72" fmla="*/ 159654 w 229331"/>
                          <a:gd name="connsiteY72" fmla="*/ 329733 h 348386"/>
                          <a:gd name="connsiteX73" fmla="*/ 154168 w 229331"/>
                          <a:gd name="connsiteY73" fmla="*/ 330281 h 348386"/>
                          <a:gd name="connsiteX74" fmla="*/ 148133 w 229331"/>
                          <a:gd name="connsiteY74" fmla="*/ 326441 h 348386"/>
                          <a:gd name="connsiteX75" fmla="*/ 145938 w 229331"/>
                          <a:gd name="connsiteY75" fmla="*/ 333573 h 348386"/>
                          <a:gd name="connsiteX76" fmla="*/ 143195 w 229331"/>
                          <a:gd name="connsiteY76" fmla="*/ 331927 h 348386"/>
                          <a:gd name="connsiteX77" fmla="*/ 141549 w 229331"/>
                          <a:gd name="connsiteY77" fmla="*/ 334670 h 348386"/>
                          <a:gd name="connsiteX78" fmla="*/ 141001 w 229331"/>
                          <a:gd name="connsiteY78" fmla="*/ 342351 h 348386"/>
                          <a:gd name="connsiteX79" fmla="*/ 137160 w 229331"/>
                          <a:gd name="connsiteY79" fmla="*/ 342351 h 348386"/>
                          <a:gd name="connsiteX80" fmla="*/ 122896 w 229331"/>
                          <a:gd name="connsiteY80" fmla="*/ 328635 h 348386"/>
                          <a:gd name="connsiteX81" fmla="*/ 120152 w 229331"/>
                          <a:gd name="connsiteY81" fmla="*/ 323149 h 348386"/>
                          <a:gd name="connsiteX82" fmla="*/ 127833 w 229331"/>
                          <a:gd name="connsiteY82" fmla="*/ 323149 h 348386"/>
                          <a:gd name="connsiteX83" fmla="*/ 127833 w 229331"/>
                          <a:gd name="connsiteY83" fmla="*/ 319857 h 348386"/>
                          <a:gd name="connsiteX84" fmla="*/ 116312 w 229331"/>
                          <a:gd name="connsiteY84" fmla="*/ 318760 h 348386"/>
                          <a:gd name="connsiteX85" fmla="*/ 100950 w 229331"/>
                          <a:gd name="connsiteY85" fmla="*/ 323698 h 348386"/>
                          <a:gd name="connsiteX86" fmla="*/ 96012 w 229331"/>
                          <a:gd name="connsiteY86" fmla="*/ 322600 h 348386"/>
                          <a:gd name="connsiteX87" fmla="*/ 92720 w 229331"/>
                          <a:gd name="connsiteY87" fmla="*/ 316017 h 348386"/>
                          <a:gd name="connsiteX88" fmla="*/ 89977 w 229331"/>
                          <a:gd name="connsiteY88" fmla="*/ 319309 h 348386"/>
                          <a:gd name="connsiteX89" fmla="*/ 85039 w 229331"/>
                          <a:gd name="connsiteY89" fmla="*/ 316565 h 348386"/>
                          <a:gd name="connsiteX90" fmla="*/ 83393 w 229331"/>
                          <a:gd name="connsiteY90" fmla="*/ 313273 h 348386"/>
                          <a:gd name="connsiteX91" fmla="*/ 83393 w 229331"/>
                          <a:gd name="connsiteY91" fmla="*/ 295717 h 348386"/>
                          <a:gd name="connsiteX92" fmla="*/ 80650 w 229331"/>
                          <a:gd name="connsiteY92" fmla="*/ 290231 h 348386"/>
                          <a:gd name="connsiteX93" fmla="*/ 83393 w 229331"/>
                          <a:gd name="connsiteY93" fmla="*/ 288036 h 348386"/>
                          <a:gd name="connsiteX94" fmla="*/ 91074 w 229331"/>
                          <a:gd name="connsiteY94" fmla="*/ 292974 h 348386"/>
                          <a:gd name="connsiteX95" fmla="*/ 92720 w 229331"/>
                          <a:gd name="connsiteY95" fmla="*/ 289682 h 348386"/>
                          <a:gd name="connsiteX96" fmla="*/ 90526 w 229331"/>
                          <a:gd name="connsiteY96" fmla="*/ 283647 h 348386"/>
                          <a:gd name="connsiteX97" fmla="*/ 96012 w 229331"/>
                          <a:gd name="connsiteY97" fmla="*/ 286390 h 348386"/>
                          <a:gd name="connsiteX98" fmla="*/ 104242 w 229331"/>
                          <a:gd name="connsiteY98" fmla="*/ 285293 h 348386"/>
                          <a:gd name="connsiteX99" fmla="*/ 105339 w 229331"/>
                          <a:gd name="connsiteY99" fmla="*/ 282550 h 348386"/>
                          <a:gd name="connsiteX100" fmla="*/ 97109 w 229331"/>
                          <a:gd name="connsiteY100" fmla="*/ 280355 h 348386"/>
                          <a:gd name="connsiteX101" fmla="*/ 99853 w 229331"/>
                          <a:gd name="connsiteY101" fmla="*/ 277063 h 348386"/>
                          <a:gd name="connsiteX102" fmla="*/ 95464 w 229331"/>
                          <a:gd name="connsiteY102" fmla="*/ 273771 h 348386"/>
                          <a:gd name="connsiteX103" fmla="*/ 82845 w 229331"/>
                          <a:gd name="connsiteY103" fmla="*/ 272125 h 348386"/>
                          <a:gd name="connsiteX104" fmla="*/ 76261 w 229331"/>
                          <a:gd name="connsiteY104" fmla="*/ 266090 h 348386"/>
                          <a:gd name="connsiteX105" fmla="*/ 76261 w 229331"/>
                          <a:gd name="connsiteY105" fmla="*/ 260604 h 348386"/>
                          <a:gd name="connsiteX106" fmla="*/ 79004 w 229331"/>
                          <a:gd name="connsiteY106" fmla="*/ 261153 h 348386"/>
                          <a:gd name="connsiteX107" fmla="*/ 80102 w 229331"/>
                          <a:gd name="connsiteY107" fmla="*/ 254569 h 348386"/>
                          <a:gd name="connsiteX108" fmla="*/ 92172 w 229331"/>
                          <a:gd name="connsiteY108" fmla="*/ 238658 h 348386"/>
                          <a:gd name="connsiteX109" fmla="*/ 83393 w 229331"/>
                          <a:gd name="connsiteY109" fmla="*/ 244693 h 348386"/>
                          <a:gd name="connsiteX110" fmla="*/ 72421 w 229331"/>
                          <a:gd name="connsiteY110" fmla="*/ 260604 h 348386"/>
                          <a:gd name="connsiteX111" fmla="*/ 72421 w 229331"/>
                          <a:gd name="connsiteY111" fmla="*/ 250180 h 348386"/>
                          <a:gd name="connsiteX112" fmla="*/ 70775 w 229331"/>
                          <a:gd name="connsiteY112" fmla="*/ 244145 h 348386"/>
                          <a:gd name="connsiteX113" fmla="*/ 72421 w 229331"/>
                          <a:gd name="connsiteY113" fmla="*/ 230429 h 348386"/>
                          <a:gd name="connsiteX114" fmla="*/ 64191 w 229331"/>
                          <a:gd name="connsiteY114" fmla="*/ 239207 h 348386"/>
                          <a:gd name="connsiteX115" fmla="*/ 59253 w 229331"/>
                          <a:gd name="connsiteY115" fmla="*/ 234818 h 348386"/>
                          <a:gd name="connsiteX116" fmla="*/ 56510 w 229331"/>
                          <a:gd name="connsiteY116" fmla="*/ 241402 h 348386"/>
                          <a:gd name="connsiteX117" fmla="*/ 52121 w 229331"/>
                          <a:gd name="connsiteY117" fmla="*/ 238658 h 348386"/>
                          <a:gd name="connsiteX118" fmla="*/ 49926 w 229331"/>
                          <a:gd name="connsiteY118" fmla="*/ 242499 h 348386"/>
                          <a:gd name="connsiteX119" fmla="*/ 47732 w 229331"/>
                          <a:gd name="connsiteY119" fmla="*/ 223297 h 348386"/>
                          <a:gd name="connsiteX120" fmla="*/ 42245 w 229331"/>
                          <a:gd name="connsiteY120" fmla="*/ 218359 h 348386"/>
                          <a:gd name="connsiteX121" fmla="*/ 36759 w 229331"/>
                          <a:gd name="connsiteY121" fmla="*/ 229332 h 348386"/>
                          <a:gd name="connsiteX122" fmla="*/ 35662 w 229331"/>
                          <a:gd name="connsiteY122" fmla="*/ 237561 h 348386"/>
                          <a:gd name="connsiteX123" fmla="*/ 32370 w 229331"/>
                          <a:gd name="connsiteY123" fmla="*/ 227137 h 348386"/>
                          <a:gd name="connsiteX124" fmla="*/ 29078 w 229331"/>
                          <a:gd name="connsiteY124" fmla="*/ 230977 h 348386"/>
                          <a:gd name="connsiteX125" fmla="*/ 27981 w 229331"/>
                          <a:gd name="connsiteY125" fmla="*/ 238110 h 348386"/>
                          <a:gd name="connsiteX126" fmla="*/ 15911 w 229331"/>
                          <a:gd name="connsiteY126" fmla="*/ 237561 h 348386"/>
                          <a:gd name="connsiteX127" fmla="*/ 13167 w 229331"/>
                          <a:gd name="connsiteY127" fmla="*/ 233721 h 348386"/>
                          <a:gd name="connsiteX128" fmla="*/ 8778 w 229331"/>
                          <a:gd name="connsiteY128" fmla="*/ 232623 h 348386"/>
                          <a:gd name="connsiteX129" fmla="*/ 0 w 229331"/>
                          <a:gd name="connsiteY129" fmla="*/ 211775 h 348386"/>
                          <a:gd name="connsiteX130" fmla="*/ 0 w 229331"/>
                          <a:gd name="connsiteY130" fmla="*/ 175016 h 348386"/>
                          <a:gd name="connsiteX131" fmla="*/ 2195 w 229331"/>
                          <a:gd name="connsiteY131" fmla="*/ 168433 h 348386"/>
                          <a:gd name="connsiteX132" fmla="*/ 12070 w 229331"/>
                          <a:gd name="connsiteY132" fmla="*/ 160752 h 348386"/>
                          <a:gd name="connsiteX133" fmla="*/ 16459 w 229331"/>
                          <a:gd name="connsiteY133" fmla="*/ 165689 h 348386"/>
                          <a:gd name="connsiteX134" fmla="*/ 20849 w 229331"/>
                          <a:gd name="connsiteY134" fmla="*/ 161300 h 348386"/>
                          <a:gd name="connsiteX135" fmla="*/ 26883 w 229331"/>
                          <a:gd name="connsiteY135" fmla="*/ 160752 h 348386"/>
                          <a:gd name="connsiteX136" fmla="*/ 26883 w 229331"/>
                          <a:gd name="connsiteY136" fmla="*/ 167335 h 348386"/>
                          <a:gd name="connsiteX137" fmla="*/ 30175 w 229331"/>
                          <a:gd name="connsiteY137" fmla="*/ 171176 h 348386"/>
                          <a:gd name="connsiteX138" fmla="*/ 34016 w 229331"/>
                          <a:gd name="connsiteY138" fmla="*/ 158008 h 348386"/>
                          <a:gd name="connsiteX139" fmla="*/ 36759 w 229331"/>
                          <a:gd name="connsiteY139" fmla="*/ 156362 h 348386"/>
                          <a:gd name="connsiteX140" fmla="*/ 37308 w 229331"/>
                          <a:gd name="connsiteY140" fmla="*/ 141549 h 348386"/>
                          <a:gd name="connsiteX141" fmla="*/ 41697 w 229331"/>
                          <a:gd name="connsiteY141" fmla="*/ 141001 h 348386"/>
                          <a:gd name="connsiteX142" fmla="*/ 42245 w 229331"/>
                          <a:gd name="connsiteY142" fmla="*/ 136063 h 348386"/>
                          <a:gd name="connsiteX143" fmla="*/ 40051 w 229331"/>
                          <a:gd name="connsiteY143" fmla="*/ 129479 h 348386"/>
                          <a:gd name="connsiteX144" fmla="*/ 45537 w 229331"/>
                          <a:gd name="connsiteY144" fmla="*/ 128382 h 348386"/>
                          <a:gd name="connsiteX145" fmla="*/ 45537 w 229331"/>
                          <a:gd name="connsiteY145" fmla="*/ 119055 h 348386"/>
                          <a:gd name="connsiteX146" fmla="*/ 48281 w 229331"/>
                          <a:gd name="connsiteY146" fmla="*/ 117409 h 348386"/>
                          <a:gd name="connsiteX147" fmla="*/ 51572 w 229331"/>
                          <a:gd name="connsiteY147" fmla="*/ 111374 h 348386"/>
                          <a:gd name="connsiteX148" fmla="*/ 55413 w 229331"/>
                          <a:gd name="connsiteY148" fmla="*/ 106985 h 348386"/>
                          <a:gd name="connsiteX149" fmla="*/ 56510 w 229331"/>
                          <a:gd name="connsiteY149" fmla="*/ 103144 h 348386"/>
                          <a:gd name="connsiteX150" fmla="*/ 49378 w 229331"/>
                          <a:gd name="connsiteY150" fmla="*/ 108631 h 348386"/>
                          <a:gd name="connsiteX151" fmla="*/ 46086 w 229331"/>
                          <a:gd name="connsiteY151" fmla="*/ 104242 h 348386"/>
                          <a:gd name="connsiteX152" fmla="*/ 50475 w 229331"/>
                          <a:gd name="connsiteY152" fmla="*/ 95463 h 348386"/>
                          <a:gd name="connsiteX153" fmla="*/ 43891 w 229331"/>
                          <a:gd name="connsiteY153" fmla="*/ 97109 h 348386"/>
                          <a:gd name="connsiteX154" fmla="*/ 32918 w 229331"/>
                          <a:gd name="connsiteY154" fmla="*/ 86685 h 348386"/>
                          <a:gd name="connsiteX155" fmla="*/ 35662 w 229331"/>
                          <a:gd name="connsiteY155" fmla="*/ 76261 h 348386"/>
                          <a:gd name="connsiteX156" fmla="*/ 47183 w 229331"/>
                          <a:gd name="connsiteY156" fmla="*/ 65837 h 348386"/>
                          <a:gd name="connsiteX157" fmla="*/ 55413 w 229331"/>
                          <a:gd name="connsiteY157" fmla="*/ 62545 h 348386"/>
                          <a:gd name="connsiteX158" fmla="*/ 60350 w 229331"/>
                          <a:gd name="connsiteY158" fmla="*/ 65288 h 348386"/>
                          <a:gd name="connsiteX159" fmla="*/ 68580 w 229331"/>
                          <a:gd name="connsiteY159" fmla="*/ 59253 h 348386"/>
                          <a:gd name="connsiteX160" fmla="*/ 62545 w 229331"/>
                          <a:gd name="connsiteY160" fmla="*/ 59253 h 348386"/>
                          <a:gd name="connsiteX161" fmla="*/ 59253 w 229331"/>
                          <a:gd name="connsiteY161" fmla="*/ 54864 h 348386"/>
                          <a:gd name="connsiteX162" fmla="*/ 61448 w 229331"/>
                          <a:gd name="connsiteY162" fmla="*/ 51023 h 348386"/>
                          <a:gd name="connsiteX163" fmla="*/ 66386 w 229331"/>
                          <a:gd name="connsiteY163" fmla="*/ 49926 h 348386"/>
                          <a:gd name="connsiteX164" fmla="*/ 64740 w 229331"/>
                          <a:gd name="connsiteY164" fmla="*/ 45537 h 348386"/>
                          <a:gd name="connsiteX165" fmla="*/ 60899 w 229331"/>
                          <a:gd name="connsiteY165" fmla="*/ 41697 h 348386"/>
                          <a:gd name="connsiteX166" fmla="*/ 60350 w 229331"/>
                          <a:gd name="connsiteY166" fmla="*/ 36210 h 348386"/>
                          <a:gd name="connsiteX167" fmla="*/ 72421 w 229331"/>
                          <a:gd name="connsiteY167" fmla="*/ 20848 h 348386"/>
                          <a:gd name="connsiteX168" fmla="*/ 83393 w 229331"/>
                          <a:gd name="connsiteY168" fmla="*/ 14265 h 3483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  <a:cxn ang="0">
                            <a:pos x="connsiteX43" y="connsiteY43"/>
                          </a:cxn>
                          <a:cxn ang="0">
                            <a:pos x="connsiteX44" y="connsiteY44"/>
                          </a:cxn>
                          <a:cxn ang="0">
                            <a:pos x="connsiteX45" y="connsiteY45"/>
                          </a:cxn>
                          <a:cxn ang="0">
                            <a:pos x="connsiteX46" y="connsiteY46"/>
                          </a:cxn>
                          <a:cxn ang="0">
                            <a:pos x="connsiteX47" y="connsiteY47"/>
                          </a:cxn>
                          <a:cxn ang="0">
                            <a:pos x="connsiteX48" y="connsiteY48"/>
                          </a:cxn>
                          <a:cxn ang="0">
                            <a:pos x="connsiteX49" y="connsiteY49"/>
                          </a:cxn>
                          <a:cxn ang="0">
                            <a:pos x="connsiteX50" y="connsiteY50"/>
                          </a:cxn>
                          <a:cxn ang="0">
                            <a:pos x="connsiteX51" y="connsiteY51"/>
                          </a:cxn>
                          <a:cxn ang="0">
                            <a:pos x="connsiteX52" y="connsiteY52"/>
                          </a:cxn>
                          <a:cxn ang="0">
                            <a:pos x="connsiteX53" y="connsiteY53"/>
                          </a:cxn>
                          <a:cxn ang="0">
                            <a:pos x="connsiteX54" y="connsiteY54"/>
                          </a:cxn>
                          <a:cxn ang="0">
                            <a:pos x="connsiteX55" y="connsiteY55"/>
                          </a:cxn>
                          <a:cxn ang="0">
                            <a:pos x="connsiteX56" y="connsiteY56"/>
                          </a:cxn>
                          <a:cxn ang="0">
                            <a:pos x="connsiteX57" y="connsiteY57"/>
                          </a:cxn>
                          <a:cxn ang="0">
                            <a:pos x="connsiteX58" y="connsiteY58"/>
                          </a:cxn>
                          <a:cxn ang="0">
                            <a:pos x="connsiteX59" y="connsiteY59"/>
                          </a:cxn>
                          <a:cxn ang="0">
                            <a:pos x="connsiteX60" y="connsiteY60"/>
                          </a:cxn>
                          <a:cxn ang="0">
                            <a:pos x="connsiteX61" y="connsiteY61"/>
                          </a:cxn>
                          <a:cxn ang="0">
                            <a:pos x="connsiteX62" y="connsiteY62"/>
                          </a:cxn>
                          <a:cxn ang="0">
                            <a:pos x="connsiteX63" y="connsiteY63"/>
                          </a:cxn>
                          <a:cxn ang="0">
                            <a:pos x="connsiteX64" y="connsiteY64"/>
                          </a:cxn>
                          <a:cxn ang="0">
                            <a:pos x="connsiteX65" y="connsiteY65"/>
                          </a:cxn>
                          <a:cxn ang="0">
                            <a:pos x="connsiteX66" y="connsiteY66"/>
                          </a:cxn>
                          <a:cxn ang="0">
                            <a:pos x="connsiteX67" y="connsiteY67"/>
                          </a:cxn>
                          <a:cxn ang="0">
                            <a:pos x="connsiteX68" y="connsiteY68"/>
                          </a:cxn>
                          <a:cxn ang="0">
                            <a:pos x="connsiteX69" y="connsiteY69"/>
                          </a:cxn>
                          <a:cxn ang="0">
                            <a:pos x="connsiteX70" y="connsiteY70"/>
                          </a:cxn>
                          <a:cxn ang="0">
                            <a:pos x="connsiteX71" y="connsiteY71"/>
                          </a:cxn>
                          <a:cxn ang="0">
                            <a:pos x="connsiteX72" y="connsiteY72"/>
                          </a:cxn>
                          <a:cxn ang="0">
                            <a:pos x="connsiteX73" y="connsiteY73"/>
                          </a:cxn>
                          <a:cxn ang="0">
                            <a:pos x="connsiteX74" y="connsiteY74"/>
                          </a:cxn>
                          <a:cxn ang="0">
                            <a:pos x="connsiteX75" y="connsiteY75"/>
                          </a:cxn>
                          <a:cxn ang="0">
                            <a:pos x="connsiteX76" y="connsiteY76"/>
                          </a:cxn>
                          <a:cxn ang="0">
                            <a:pos x="connsiteX77" y="connsiteY77"/>
                          </a:cxn>
                          <a:cxn ang="0">
                            <a:pos x="connsiteX78" y="connsiteY78"/>
                          </a:cxn>
                          <a:cxn ang="0">
                            <a:pos x="connsiteX79" y="connsiteY79"/>
                          </a:cxn>
                          <a:cxn ang="0">
                            <a:pos x="connsiteX80" y="connsiteY80"/>
                          </a:cxn>
                          <a:cxn ang="0">
                            <a:pos x="connsiteX81" y="connsiteY81"/>
                          </a:cxn>
                          <a:cxn ang="0">
                            <a:pos x="connsiteX82" y="connsiteY82"/>
                          </a:cxn>
                          <a:cxn ang="0">
                            <a:pos x="connsiteX83" y="connsiteY83"/>
                          </a:cxn>
                          <a:cxn ang="0">
                            <a:pos x="connsiteX84" y="connsiteY84"/>
                          </a:cxn>
                          <a:cxn ang="0">
                            <a:pos x="connsiteX85" y="connsiteY85"/>
                          </a:cxn>
                          <a:cxn ang="0">
                            <a:pos x="connsiteX86" y="connsiteY86"/>
                          </a:cxn>
                          <a:cxn ang="0">
                            <a:pos x="connsiteX87" y="connsiteY87"/>
                          </a:cxn>
                          <a:cxn ang="0">
                            <a:pos x="connsiteX88" y="connsiteY88"/>
                          </a:cxn>
                          <a:cxn ang="0">
                            <a:pos x="connsiteX89" y="connsiteY89"/>
                          </a:cxn>
                          <a:cxn ang="0">
                            <a:pos x="connsiteX90" y="connsiteY90"/>
                          </a:cxn>
                          <a:cxn ang="0">
                            <a:pos x="connsiteX91" y="connsiteY91"/>
                          </a:cxn>
                          <a:cxn ang="0">
                            <a:pos x="connsiteX92" y="connsiteY92"/>
                          </a:cxn>
                          <a:cxn ang="0">
                            <a:pos x="connsiteX93" y="connsiteY93"/>
                          </a:cxn>
                          <a:cxn ang="0">
                            <a:pos x="connsiteX94" y="connsiteY94"/>
                          </a:cxn>
                          <a:cxn ang="0">
                            <a:pos x="connsiteX95" y="connsiteY95"/>
                          </a:cxn>
                          <a:cxn ang="0">
                            <a:pos x="connsiteX96" y="connsiteY96"/>
                          </a:cxn>
                          <a:cxn ang="0">
                            <a:pos x="connsiteX97" y="connsiteY97"/>
                          </a:cxn>
                          <a:cxn ang="0">
                            <a:pos x="connsiteX98" y="connsiteY98"/>
                          </a:cxn>
                          <a:cxn ang="0">
                            <a:pos x="connsiteX99" y="connsiteY99"/>
                          </a:cxn>
                          <a:cxn ang="0">
                            <a:pos x="connsiteX100" y="connsiteY100"/>
                          </a:cxn>
                          <a:cxn ang="0">
                            <a:pos x="connsiteX101" y="connsiteY101"/>
                          </a:cxn>
                          <a:cxn ang="0">
                            <a:pos x="connsiteX102" y="connsiteY102"/>
                          </a:cxn>
                          <a:cxn ang="0">
                            <a:pos x="connsiteX103" y="connsiteY103"/>
                          </a:cxn>
                          <a:cxn ang="0">
                            <a:pos x="connsiteX104" y="connsiteY104"/>
                          </a:cxn>
                          <a:cxn ang="0">
                            <a:pos x="connsiteX105" y="connsiteY105"/>
                          </a:cxn>
                          <a:cxn ang="0">
                            <a:pos x="connsiteX106" y="connsiteY106"/>
                          </a:cxn>
                          <a:cxn ang="0">
                            <a:pos x="connsiteX107" y="connsiteY107"/>
                          </a:cxn>
                          <a:cxn ang="0">
                            <a:pos x="connsiteX108" y="connsiteY108"/>
                          </a:cxn>
                          <a:cxn ang="0">
                            <a:pos x="connsiteX109" y="connsiteY109"/>
                          </a:cxn>
                          <a:cxn ang="0">
                            <a:pos x="connsiteX110" y="connsiteY110"/>
                          </a:cxn>
                          <a:cxn ang="0">
                            <a:pos x="connsiteX111" y="connsiteY111"/>
                          </a:cxn>
                          <a:cxn ang="0">
                            <a:pos x="connsiteX112" y="connsiteY112"/>
                          </a:cxn>
                          <a:cxn ang="0">
                            <a:pos x="connsiteX113" y="connsiteY113"/>
                          </a:cxn>
                          <a:cxn ang="0">
                            <a:pos x="connsiteX114" y="connsiteY114"/>
                          </a:cxn>
                          <a:cxn ang="0">
                            <a:pos x="connsiteX115" y="connsiteY115"/>
                          </a:cxn>
                          <a:cxn ang="0">
                            <a:pos x="connsiteX116" y="connsiteY116"/>
                          </a:cxn>
                          <a:cxn ang="0">
                            <a:pos x="connsiteX117" y="connsiteY117"/>
                          </a:cxn>
                          <a:cxn ang="0">
                            <a:pos x="connsiteX118" y="connsiteY118"/>
                          </a:cxn>
                          <a:cxn ang="0">
                            <a:pos x="connsiteX119" y="connsiteY119"/>
                          </a:cxn>
                          <a:cxn ang="0">
                            <a:pos x="connsiteX120" y="connsiteY120"/>
                          </a:cxn>
                          <a:cxn ang="0">
                            <a:pos x="connsiteX121" y="connsiteY121"/>
                          </a:cxn>
                          <a:cxn ang="0">
                            <a:pos x="connsiteX122" y="connsiteY122"/>
                          </a:cxn>
                          <a:cxn ang="0">
                            <a:pos x="connsiteX123" y="connsiteY123"/>
                          </a:cxn>
                          <a:cxn ang="0">
                            <a:pos x="connsiteX124" y="connsiteY124"/>
                          </a:cxn>
                          <a:cxn ang="0">
                            <a:pos x="connsiteX125" y="connsiteY125"/>
                          </a:cxn>
                          <a:cxn ang="0">
                            <a:pos x="connsiteX126" y="connsiteY126"/>
                          </a:cxn>
                          <a:cxn ang="0">
                            <a:pos x="connsiteX127" y="connsiteY127"/>
                          </a:cxn>
                          <a:cxn ang="0">
                            <a:pos x="connsiteX128" y="connsiteY128"/>
                          </a:cxn>
                          <a:cxn ang="0">
                            <a:pos x="connsiteX129" y="connsiteY129"/>
                          </a:cxn>
                          <a:cxn ang="0">
                            <a:pos x="connsiteX130" y="connsiteY130"/>
                          </a:cxn>
                          <a:cxn ang="0">
                            <a:pos x="connsiteX131" y="connsiteY131"/>
                          </a:cxn>
                          <a:cxn ang="0">
                            <a:pos x="connsiteX132" y="connsiteY132"/>
                          </a:cxn>
                          <a:cxn ang="0">
                            <a:pos x="connsiteX133" y="connsiteY133"/>
                          </a:cxn>
                          <a:cxn ang="0">
                            <a:pos x="connsiteX134" y="connsiteY134"/>
                          </a:cxn>
                          <a:cxn ang="0">
                            <a:pos x="connsiteX135" y="connsiteY135"/>
                          </a:cxn>
                          <a:cxn ang="0">
                            <a:pos x="connsiteX136" y="connsiteY136"/>
                          </a:cxn>
                          <a:cxn ang="0">
                            <a:pos x="connsiteX137" y="connsiteY137"/>
                          </a:cxn>
                          <a:cxn ang="0">
                            <a:pos x="connsiteX138" y="connsiteY138"/>
                          </a:cxn>
                          <a:cxn ang="0">
                            <a:pos x="connsiteX139" y="connsiteY139"/>
                          </a:cxn>
                          <a:cxn ang="0">
                            <a:pos x="connsiteX140" y="connsiteY140"/>
                          </a:cxn>
                          <a:cxn ang="0">
                            <a:pos x="connsiteX141" y="connsiteY141"/>
                          </a:cxn>
                          <a:cxn ang="0">
                            <a:pos x="connsiteX142" y="connsiteY142"/>
                          </a:cxn>
                          <a:cxn ang="0">
                            <a:pos x="connsiteX143" y="connsiteY143"/>
                          </a:cxn>
                          <a:cxn ang="0">
                            <a:pos x="connsiteX144" y="connsiteY144"/>
                          </a:cxn>
                          <a:cxn ang="0">
                            <a:pos x="connsiteX145" y="connsiteY145"/>
                          </a:cxn>
                          <a:cxn ang="0">
                            <a:pos x="connsiteX146" y="connsiteY146"/>
                          </a:cxn>
                          <a:cxn ang="0">
                            <a:pos x="connsiteX147" y="connsiteY147"/>
                          </a:cxn>
                          <a:cxn ang="0">
                            <a:pos x="connsiteX148" y="connsiteY148"/>
                          </a:cxn>
                          <a:cxn ang="0">
                            <a:pos x="connsiteX149" y="connsiteY149"/>
                          </a:cxn>
                          <a:cxn ang="0">
                            <a:pos x="connsiteX150" y="connsiteY150"/>
                          </a:cxn>
                          <a:cxn ang="0">
                            <a:pos x="connsiteX151" y="connsiteY151"/>
                          </a:cxn>
                          <a:cxn ang="0">
                            <a:pos x="connsiteX152" y="connsiteY152"/>
                          </a:cxn>
                          <a:cxn ang="0">
                            <a:pos x="connsiteX153" y="connsiteY153"/>
                          </a:cxn>
                          <a:cxn ang="0">
                            <a:pos x="connsiteX154" y="connsiteY154"/>
                          </a:cxn>
                          <a:cxn ang="0">
                            <a:pos x="connsiteX155" y="connsiteY155"/>
                          </a:cxn>
                          <a:cxn ang="0">
                            <a:pos x="connsiteX156" y="connsiteY156"/>
                          </a:cxn>
                          <a:cxn ang="0">
                            <a:pos x="connsiteX157" y="connsiteY157"/>
                          </a:cxn>
                          <a:cxn ang="0">
                            <a:pos x="connsiteX158" y="connsiteY158"/>
                          </a:cxn>
                          <a:cxn ang="0">
                            <a:pos x="connsiteX159" y="connsiteY159"/>
                          </a:cxn>
                          <a:cxn ang="0">
                            <a:pos x="connsiteX160" y="connsiteY160"/>
                          </a:cxn>
                          <a:cxn ang="0">
                            <a:pos x="connsiteX161" y="connsiteY161"/>
                          </a:cxn>
                          <a:cxn ang="0">
                            <a:pos x="connsiteX162" y="connsiteY162"/>
                          </a:cxn>
                          <a:cxn ang="0">
                            <a:pos x="connsiteX163" y="connsiteY163"/>
                          </a:cxn>
                          <a:cxn ang="0">
                            <a:pos x="connsiteX164" y="connsiteY164"/>
                          </a:cxn>
                          <a:cxn ang="0">
                            <a:pos x="connsiteX165" y="connsiteY165"/>
                          </a:cxn>
                          <a:cxn ang="0">
                            <a:pos x="connsiteX166" y="connsiteY166"/>
                          </a:cxn>
                          <a:cxn ang="0">
                            <a:pos x="connsiteX167" y="connsiteY167"/>
                          </a:cxn>
                          <a:cxn ang="0">
                            <a:pos x="connsiteX168" y="connsiteY168"/>
                          </a:cxn>
                        </a:cxnLst>
                        <a:rect l="l" t="t" r="r" b="b"/>
                        <a:pathLst>
                          <a:path w="229331" h="348386">
                            <a:moveTo>
                              <a:pt x="83393" y="14265"/>
                            </a:moveTo>
                            <a:lnTo>
                              <a:pt x="85039" y="12070"/>
                            </a:lnTo>
                            <a:lnTo>
                              <a:pt x="102596" y="15362"/>
                            </a:lnTo>
                            <a:lnTo>
                              <a:pt x="108082" y="8778"/>
                            </a:lnTo>
                            <a:lnTo>
                              <a:pt x="125639" y="0"/>
                            </a:lnTo>
                            <a:lnTo>
                              <a:pt x="134417" y="0"/>
                            </a:lnTo>
                            <a:lnTo>
                              <a:pt x="141549" y="7132"/>
                            </a:lnTo>
                            <a:lnTo>
                              <a:pt x="148133" y="9875"/>
                            </a:lnTo>
                            <a:lnTo>
                              <a:pt x="158009" y="10973"/>
                            </a:lnTo>
                            <a:lnTo>
                              <a:pt x="173370" y="23043"/>
                            </a:lnTo>
                            <a:lnTo>
                              <a:pt x="181600" y="23043"/>
                            </a:lnTo>
                            <a:lnTo>
                              <a:pt x="187086" y="31821"/>
                            </a:lnTo>
                            <a:lnTo>
                              <a:pt x="188732" y="37307"/>
                            </a:lnTo>
                            <a:lnTo>
                              <a:pt x="164592" y="43891"/>
                            </a:lnTo>
                            <a:lnTo>
                              <a:pt x="183794" y="46634"/>
                            </a:lnTo>
                            <a:lnTo>
                              <a:pt x="181051" y="51572"/>
                            </a:lnTo>
                            <a:lnTo>
                              <a:pt x="173370" y="50475"/>
                            </a:lnTo>
                            <a:lnTo>
                              <a:pt x="157460" y="59253"/>
                            </a:lnTo>
                            <a:lnTo>
                              <a:pt x="165689" y="60350"/>
                            </a:lnTo>
                            <a:lnTo>
                              <a:pt x="179405" y="56510"/>
                            </a:lnTo>
                            <a:lnTo>
                              <a:pt x="179954" y="64739"/>
                            </a:lnTo>
                            <a:lnTo>
                              <a:pt x="177211" y="70226"/>
                            </a:lnTo>
                            <a:lnTo>
                              <a:pt x="171725" y="76261"/>
                            </a:lnTo>
                            <a:lnTo>
                              <a:pt x="164592" y="77907"/>
                            </a:lnTo>
                            <a:lnTo>
                              <a:pt x="151973" y="76261"/>
                            </a:lnTo>
                            <a:lnTo>
                              <a:pt x="149779" y="82845"/>
                            </a:lnTo>
                            <a:lnTo>
                              <a:pt x="160752" y="81747"/>
                            </a:lnTo>
                            <a:lnTo>
                              <a:pt x="163495" y="89977"/>
                            </a:lnTo>
                            <a:lnTo>
                              <a:pt x="158557" y="98207"/>
                            </a:lnTo>
                            <a:lnTo>
                              <a:pt x="156362" y="108631"/>
                            </a:lnTo>
                            <a:lnTo>
                              <a:pt x="152522" y="106436"/>
                            </a:lnTo>
                            <a:lnTo>
                              <a:pt x="149779" y="109728"/>
                            </a:lnTo>
                            <a:lnTo>
                              <a:pt x="152522" y="113020"/>
                            </a:lnTo>
                            <a:lnTo>
                              <a:pt x="151973" y="120701"/>
                            </a:lnTo>
                            <a:lnTo>
                              <a:pt x="147584" y="121249"/>
                            </a:lnTo>
                            <a:lnTo>
                              <a:pt x="148133" y="147036"/>
                            </a:lnTo>
                            <a:lnTo>
                              <a:pt x="150876" y="154168"/>
                            </a:lnTo>
                            <a:lnTo>
                              <a:pt x="145938" y="175016"/>
                            </a:lnTo>
                            <a:lnTo>
                              <a:pt x="147036" y="183246"/>
                            </a:lnTo>
                            <a:lnTo>
                              <a:pt x="149779" y="187086"/>
                            </a:lnTo>
                            <a:lnTo>
                              <a:pt x="157460" y="233721"/>
                            </a:lnTo>
                            <a:lnTo>
                              <a:pt x="168981" y="255666"/>
                            </a:lnTo>
                            <a:lnTo>
                              <a:pt x="171725" y="269931"/>
                            </a:lnTo>
                            <a:lnTo>
                              <a:pt x="194767" y="299009"/>
                            </a:lnTo>
                            <a:lnTo>
                              <a:pt x="200254" y="301203"/>
                            </a:lnTo>
                            <a:lnTo>
                              <a:pt x="218359" y="317663"/>
                            </a:lnTo>
                            <a:lnTo>
                              <a:pt x="221651" y="317114"/>
                            </a:lnTo>
                            <a:lnTo>
                              <a:pt x="229332" y="323698"/>
                            </a:lnTo>
                            <a:lnTo>
                              <a:pt x="224942" y="325892"/>
                            </a:lnTo>
                            <a:lnTo>
                              <a:pt x="224942" y="331927"/>
                            </a:lnTo>
                            <a:lnTo>
                              <a:pt x="218359" y="335768"/>
                            </a:lnTo>
                            <a:lnTo>
                              <a:pt x="204094" y="333025"/>
                            </a:lnTo>
                            <a:lnTo>
                              <a:pt x="200254" y="336865"/>
                            </a:lnTo>
                            <a:lnTo>
                              <a:pt x="216164" y="341254"/>
                            </a:lnTo>
                            <a:lnTo>
                              <a:pt x="210678" y="342351"/>
                            </a:lnTo>
                            <a:lnTo>
                              <a:pt x="209581" y="348386"/>
                            </a:lnTo>
                            <a:lnTo>
                              <a:pt x="203546" y="344546"/>
                            </a:lnTo>
                            <a:lnTo>
                              <a:pt x="194219" y="332476"/>
                            </a:lnTo>
                            <a:lnTo>
                              <a:pt x="190378" y="330281"/>
                            </a:lnTo>
                            <a:lnTo>
                              <a:pt x="192573" y="322052"/>
                            </a:lnTo>
                            <a:lnTo>
                              <a:pt x="185441" y="325892"/>
                            </a:lnTo>
                            <a:lnTo>
                              <a:pt x="179405" y="325892"/>
                            </a:lnTo>
                            <a:lnTo>
                              <a:pt x="176114" y="329733"/>
                            </a:lnTo>
                            <a:lnTo>
                              <a:pt x="177211" y="334122"/>
                            </a:lnTo>
                            <a:lnTo>
                              <a:pt x="181600" y="336316"/>
                            </a:lnTo>
                            <a:lnTo>
                              <a:pt x="184343" y="333573"/>
                            </a:lnTo>
                            <a:lnTo>
                              <a:pt x="185989" y="341254"/>
                            </a:lnTo>
                            <a:lnTo>
                              <a:pt x="176662" y="342351"/>
                            </a:lnTo>
                            <a:lnTo>
                              <a:pt x="169530" y="336316"/>
                            </a:lnTo>
                            <a:lnTo>
                              <a:pt x="165689" y="336316"/>
                            </a:lnTo>
                            <a:lnTo>
                              <a:pt x="167884" y="341803"/>
                            </a:lnTo>
                            <a:lnTo>
                              <a:pt x="164592" y="338511"/>
                            </a:lnTo>
                            <a:lnTo>
                              <a:pt x="159654" y="329733"/>
                            </a:lnTo>
                            <a:lnTo>
                              <a:pt x="154168" y="330281"/>
                            </a:lnTo>
                            <a:lnTo>
                              <a:pt x="148133" y="326441"/>
                            </a:lnTo>
                            <a:lnTo>
                              <a:pt x="145938" y="333573"/>
                            </a:lnTo>
                            <a:lnTo>
                              <a:pt x="143195" y="331927"/>
                            </a:lnTo>
                            <a:lnTo>
                              <a:pt x="141549" y="334670"/>
                            </a:lnTo>
                            <a:lnTo>
                              <a:pt x="141001" y="342351"/>
                            </a:lnTo>
                            <a:lnTo>
                              <a:pt x="137160" y="342351"/>
                            </a:lnTo>
                            <a:lnTo>
                              <a:pt x="122896" y="328635"/>
                            </a:lnTo>
                            <a:lnTo>
                              <a:pt x="120152" y="323149"/>
                            </a:lnTo>
                            <a:lnTo>
                              <a:pt x="127833" y="323149"/>
                            </a:lnTo>
                            <a:lnTo>
                              <a:pt x="127833" y="319857"/>
                            </a:lnTo>
                            <a:lnTo>
                              <a:pt x="116312" y="318760"/>
                            </a:lnTo>
                            <a:lnTo>
                              <a:pt x="100950" y="323698"/>
                            </a:lnTo>
                            <a:lnTo>
                              <a:pt x="96012" y="322600"/>
                            </a:lnTo>
                            <a:lnTo>
                              <a:pt x="92720" y="316017"/>
                            </a:lnTo>
                            <a:lnTo>
                              <a:pt x="89977" y="319309"/>
                            </a:lnTo>
                            <a:lnTo>
                              <a:pt x="85039" y="316565"/>
                            </a:lnTo>
                            <a:lnTo>
                              <a:pt x="83393" y="313273"/>
                            </a:lnTo>
                            <a:lnTo>
                              <a:pt x="83393" y="295717"/>
                            </a:lnTo>
                            <a:lnTo>
                              <a:pt x="80650" y="290231"/>
                            </a:lnTo>
                            <a:lnTo>
                              <a:pt x="83393" y="288036"/>
                            </a:lnTo>
                            <a:lnTo>
                              <a:pt x="91074" y="292974"/>
                            </a:lnTo>
                            <a:lnTo>
                              <a:pt x="92720" y="289682"/>
                            </a:lnTo>
                            <a:lnTo>
                              <a:pt x="90526" y="283647"/>
                            </a:lnTo>
                            <a:lnTo>
                              <a:pt x="96012" y="286390"/>
                            </a:lnTo>
                            <a:lnTo>
                              <a:pt x="104242" y="285293"/>
                            </a:lnTo>
                            <a:lnTo>
                              <a:pt x="105339" y="282550"/>
                            </a:lnTo>
                            <a:lnTo>
                              <a:pt x="97109" y="280355"/>
                            </a:lnTo>
                            <a:lnTo>
                              <a:pt x="99853" y="277063"/>
                            </a:lnTo>
                            <a:lnTo>
                              <a:pt x="95464" y="273771"/>
                            </a:lnTo>
                            <a:lnTo>
                              <a:pt x="82845" y="272125"/>
                            </a:lnTo>
                            <a:lnTo>
                              <a:pt x="76261" y="266090"/>
                            </a:lnTo>
                            <a:lnTo>
                              <a:pt x="76261" y="260604"/>
                            </a:lnTo>
                            <a:lnTo>
                              <a:pt x="79004" y="261153"/>
                            </a:lnTo>
                            <a:lnTo>
                              <a:pt x="80102" y="254569"/>
                            </a:lnTo>
                            <a:lnTo>
                              <a:pt x="92172" y="238658"/>
                            </a:lnTo>
                            <a:lnTo>
                              <a:pt x="83393" y="244693"/>
                            </a:lnTo>
                            <a:lnTo>
                              <a:pt x="72421" y="260604"/>
                            </a:lnTo>
                            <a:lnTo>
                              <a:pt x="72421" y="250180"/>
                            </a:lnTo>
                            <a:lnTo>
                              <a:pt x="70775" y="244145"/>
                            </a:lnTo>
                            <a:lnTo>
                              <a:pt x="72421" y="230429"/>
                            </a:lnTo>
                            <a:lnTo>
                              <a:pt x="64191" y="239207"/>
                            </a:lnTo>
                            <a:lnTo>
                              <a:pt x="59253" y="234818"/>
                            </a:lnTo>
                            <a:lnTo>
                              <a:pt x="56510" y="241402"/>
                            </a:lnTo>
                            <a:lnTo>
                              <a:pt x="52121" y="238658"/>
                            </a:lnTo>
                            <a:lnTo>
                              <a:pt x="49926" y="242499"/>
                            </a:lnTo>
                            <a:lnTo>
                              <a:pt x="47732" y="223297"/>
                            </a:lnTo>
                            <a:lnTo>
                              <a:pt x="42245" y="218359"/>
                            </a:lnTo>
                            <a:lnTo>
                              <a:pt x="36759" y="229332"/>
                            </a:lnTo>
                            <a:lnTo>
                              <a:pt x="35662" y="237561"/>
                            </a:lnTo>
                            <a:lnTo>
                              <a:pt x="32370" y="227137"/>
                            </a:lnTo>
                            <a:lnTo>
                              <a:pt x="29078" y="230977"/>
                            </a:lnTo>
                            <a:lnTo>
                              <a:pt x="27981" y="238110"/>
                            </a:lnTo>
                            <a:lnTo>
                              <a:pt x="15911" y="237561"/>
                            </a:lnTo>
                            <a:lnTo>
                              <a:pt x="13167" y="233721"/>
                            </a:lnTo>
                            <a:lnTo>
                              <a:pt x="8778" y="232623"/>
                            </a:lnTo>
                            <a:lnTo>
                              <a:pt x="0" y="211775"/>
                            </a:lnTo>
                            <a:lnTo>
                              <a:pt x="0" y="175016"/>
                            </a:lnTo>
                            <a:lnTo>
                              <a:pt x="2195" y="168433"/>
                            </a:lnTo>
                            <a:lnTo>
                              <a:pt x="12070" y="160752"/>
                            </a:lnTo>
                            <a:lnTo>
                              <a:pt x="16459" y="165689"/>
                            </a:lnTo>
                            <a:lnTo>
                              <a:pt x="20849" y="161300"/>
                            </a:lnTo>
                            <a:lnTo>
                              <a:pt x="26883" y="160752"/>
                            </a:lnTo>
                            <a:lnTo>
                              <a:pt x="26883" y="167335"/>
                            </a:lnTo>
                            <a:lnTo>
                              <a:pt x="30175" y="171176"/>
                            </a:lnTo>
                            <a:lnTo>
                              <a:pt x="34016" y="158008"/>
                            </a:lnTo>
                            <a:lnTo>
                              <a:pt x="36759" y="156362"/>
                            </a:lnTo>
                            <a:lnTo>
                              <a:pt x="37308" y="141549"/>
                            </a:lnTo>
                            <a:lnTo>
                              <a:pt x="41697" y="141001"/>
                            </a:lnTo>
                            <a:lnTo>
                              <a:pt x="42245" y="136063"/>
                            </a:lnTo>
                            <a:lnTo>
                              <a:pt x="40051" y="129479"/>
                            </a:lnTo>
                            <a:lnTo>
                              <a:pt x="45537" y="128382"/>
                            </a:lnTo>
                            <a:lnTo>
                              <a:pt x="45537" y="119055"/>
                            </a:lnTo>
                            <a:lnTo>
                              <a:pt x="48281" y="117409"/>
                            </a:lnTo>
                            <a:lnTo>
                              <a:pt x="51572" y="111374"/>
                            </a:lnTo>
                            <a:lnTo>
                              <a:pt x="55413" y="106985"/>
                            </a:lnTo>
                            <a:lnTo>
                              <a:pt x="56510" y="103144"/>
                            </a:lnTo>
                            <a:lnTo>
                              <a:pt x="49378" y="108631"/>
                            </a:lnTo>
                            <a:lnTo>
                              <a:pt x="46086" y="104242"/>
                            </a:lnTo>
                            <a:lnTo>
                              <a:pt x="50475" y="95463"/>
                            </a:lnTo>
                            <a:lnTo>
                              <a:pt x="43891" y="97109"/>
                            </a:lnTo>
                            <a:lnTo>
                              <a:pt x="32918" y="86685"/>
                            </a:lnTo>
                            <a:lnTo>
                              <a:pt x="35662" y="76261"/>
                            </a:lnTo>
                            <a:lnTo>
                              <a:pt x="47183" y="65837"/>
                            </a:lnTo>
                            <a:lnTo>
                              <a:pt x="55413" y="62545"/>
                            </a:lnTo>
                            <a:lnTo>
                              <a:pt x="60350" y="65288"/>
                            </a:lnTo>
                            <a:lnTo>
                              <a:pt x="68580" y="59253"/>
                            </a:lnTo>
                            <a:lnTo>
                              <a:pt x="62545" y="59253"/>
                            </a:lnTo>
                            <a:lnTo>
                              <a:pt x="59253" y="54864"/>
                            </a:lnTo>
                            <a:lnTo>
                              <a:pt x="61448" y="51023"/>
                            </a:lnTo>
                            <a:lnTo>
                              <a:pt x="66386" y="49926"/>
                            </a:lnTo>
                            <a:lnTo>
                              <a:pt x="64740" y="45537"/>
                            </a:lnTo>
                            <a:lnTo>
                              <a:pt x="60899" y="41697"/>
                            </a:lnTo>
                            <a:lnTo>
                              <a:pt x="60350" y="36210"/>
                            </a:lnTo>
                            <a:lnTo>
                              <a:pt x="72421" y="20848"/>
                            </a:lnTo>
                            <a:lnTo>
                              <a:pt x="83393" y="14265"/>
                            </a:lnTo>
                          </a:path>
                        </a:pathLst>
                      </a:custGeom>
                      <a:grpFill/>
                      <a:ln w="1270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3" name="Graphic 7">
                        <a:extLst>
                          <a:ext uri="{FF2B5EF4-FFF2-40B4-BE49-F238E27FC236}">
                            <a16:creationId xmlns:a16="http://schemas.microsoft.com/office/drawing/2014/main" id="{57115EB4-63EC-3F02-3E80-B6546B753C7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813050" y="836901"/>
                        <a:ext cx="451359" cy="426070"/>
                      </a:xfrm>
                      <a:custGeom>
                        <a:avLst/>
                        <a:gdLst>
                          <a:gd name="connsiteX0" fmla="*/ 0 w 577717"/>
                          <a:gd name="connsiteY0" fmla="*/ 474025 h 545348"/>
                          <a:gd name="connsiteX1" fmla="*/ 0 w 577717"/>
                          <a:gd name="connsiteY1" fmla="*/ 471282 h 545348"/>
                          <a:gd name="connsiteX2" fmla="*/ 3292 w 577717"/>
                          <a:gd name="connsiteY2" fmla="*/ 474025 h 545348"/>
                          <a:gd name="connsiteX3" fmla="*/ 11521 w 577717"/>
                          <a:gd name="connsiteY3" fmla="*/ 471830 h 545348"/>
                          <a:gd name="connsiteX4" fmla="*/ 21946 w 577717"/>
                          <a:gd name="connsiteY4" fmla="*/ 458114 h 545348"/>
                          <a:gd name="connsiteX5" fmla="*/ 41148 w 577717"/>
                          <a:gd name="connsiteY5" fmla="*/ 451531 h 545348"/>
                          <a:gd name="connsiteX6" fmla="*/ 37856 w 577717"/>
                          <a:gd name="connsiteY6" fmla="*/ 447690 h 545348"/>
                          <a:gd name="connsiteX7" fmla="*/ 41697 w 577717"/>
                          <a:gd name="connsiteY7" fmla="*/ 436169 h 545348"/>
                          <a:gd name="connsiteX8" fmla="*/ 52669 w 577717"/>
                          <a:gd name="connsiteY8" fmla="*/ 425196 h 545348"/>
                          <a:gd name="connsiteX9" fmla="*/ 60899 w 577717"/>
                          <a:gd name="connsiteY9" fmla="*/ 430682 h 545348"/>
                          <a:gd name="connsiteX10" fmla="*/ 70226 w 577717"/>
                          <a:gd name="connsiteY10" fmla="*/ 432328 h 545348"/>
                          <a:gd name="connsiteX11" fmla="*/ 79553 w 577717"/>
                          <a:gd name="connsiteY11" fmla="*/ 438912 h 545348"/>
                          <a:gd name="connsiteX12" fmla="*/ 91623 w 577717"/>
                          <a:gd name="connsiteY12" fmla="*/ 442204 h 545348"/>
                          <a:gd name="connsiteX13" fmla="*/ 85039 w 577717"/>
                          <a:gd name="connsiteY13" fmla="*/ 432328 h 545348"/>
                          <a:gd name="connsiteX14" fmla="*/ 58156 w 577717"/>
                          <a:gd name="connsiteY14" fmla="*/ 421904 h 545348"/>
                          <a:gd name="connsiteX15" fmla="*/ 53218 w 577717"/>
                          <a:gd name="connsiteY15" fmla="*/ 413675 h 545348"/>
                          <a:gd name="connsiteX16" fmla="*/ 58705 w 577717"/>
                          <a:gd name="connsiteY16" fmla="*/ 415869 h 545348"/>
                          <a:gd name="connsiteX17" fmla="*/ 70774 w 577717"/>
                          <a:gd name="connsiteY17" fmla="*/ 413675 h 545348"/>
                          <a:gd name="connsiteX18" fmla="*/ 74066 w 577717"/>
                          <a:gd name="connsiteY18" fmla="*/ 406542 h 545348"/>
                          <a:gd name="connsiteX19" fmla="*/ 57607 w 577717"/>
                          <a:gd name="connsiteY19" fmla="*/ 396667 h 545348"/>
                          <a:gd name="connsiteX20" fmla="*/ 58705 w 577717"/>
                          <a:gd name="connsiteY20" fmla="*/ 392278 h 545348"/>
                          <a:gd name="connsiteX21" fmla="*/ 82296 w 577717"/>
                          <a:gd name="connsiteY21" fmla="*/ 390083 h 545348"/>
                          <a:gd name="connsiteX22" fmla="*/ 87782 w 577717"/>
                          <a:gd name="connsiteY22" fmla="*/ 387340 h 545348"/>
                          <a:gd name="connsiteX23" fmla="*/ 83393 w 577717"/>
                          <a:gd name="connsiteY23" fmla="*/ 381305 h 545348"/>
                          <a:gd name="connsiteX24" fmla="*/ 75164 w 577717"/>
                          <a:gd name="connsiteY24" fmla="*/ 379659 h 545348"/>
                          <a:gd name="connsiteX25" fmla="*/ 68031 w 577717"/>
                          <a:gd name="connsiteY25" fmla="*/ 367589 h 545348"/>
                          <a:gd name="connsiteX26" fmla="*/ 67483 w 577717"/>
                          <a:gd name="connsiteY26" fmla="*/ 358262 h 545348"/>
                          <a:gd name="connsiteX27" fmla="*/ 69677 w 577717"/>
                          <a:gd name="connsiteY27" fmla="*/ 356067 h 545348"/>
                          <a:gd name="connsiteX28" fmla="*/ 72969 w 577717"/>
                          <a:gd name="connsiteY28" fmla="*/ 361005 h 545348"/>
                          <a:gd name="connsiteX29" fmla="*/ 88331 w 577717"/>
                          <a:gd name="connsiteY29" fmla="*/ 352227 h 545348"/>
                          <a:gd name="connsiteX30" fmla="*/ 103144 w 577717"/>
                          <a:gd name="connsiteY30" fmla="*/ 355519 h 545348"/>
                          <a:gd name="connsiteX31" fmla="*/ 111922 w 577717"/>
                          <a:gd name="connsiteY31" fmla="*/ 350032 h 545348"/>
                          <a:gd name="connsiteX32" fmla="*/ 104242 w 577717"/>
                          <a:gd name="connsiteY32" fmla="*/ 351678 h 545348"/>
                          <a:gd name="connsiteX33" fmla="*/ 99853 w 577717"/>
                          <a:gd name="connsiteY33" fmla="*/ 348935 h 545348"/>
                          <a:gd name="connsiteX34" fmla="*/ 95463 w 577717"/>
                          <a:gd name="connsiteY34" fmla="*/ 340157 h 545348"/>
                          <a:gd name="connsiteX35" fmla="*/ 87782 w 577717"/>
                          <a:gd name="connsiteY35" fmla="*/ 337962 h 545348"/>
                          <a:gd name="connsiteX36" fmla="*/ 74615 w 577717"/>
                          <a:gd name="connsiteY36" fmla="*/ 341254 h 545348"/>
                          <a:gd name="connsiteX37" fmla="*/ 72421 w 577717"/>
                          <a:gd name="connsiteY37" fmla="*/ 335219 h 545348"/>
                          <a:gd name="connsiteX38" fmla="*/ 77907 w 577717"/>
                          <a:gd name="connsiteY38" fmla="*/ 329184 h 545348"/>
                          <a:gd name="connsiteX39" fmla="*/ 84490 w 577717"/>
                          <a:gd name="connsiteY39" fmla="*/ 312725 h 545348"/>
                          <a:gd name="connsiteX40" fmla="*/ 80650 w 577717"/>
                          <a:gd name="connsiteY40" fmla="*/ 312725 h 545348"/>
                          <a:gd name="connsiteX41" fmla="*/ 80101 w 577717"/>
                          <a:gd name="connsiteY41" fmla="*/ 309982 h 545348"/>
                          <a:gd name="connsiteX42" fmla="*/ 77358 w 577717"/>
                          <a:gd name="connsiteY42" fmla="*/ 303947 h 545348"/>
                          <a:gd name="connsiteX43" fmla="*/ 70774 w 577717"/>
                          <a:gd name="connsiteY43" fmla="*/ 312725 h 545348"/>
                          <a:gd name="connsiteX44" fmla="*/ 70774 w 577717"/>
                          <a:gd name="connsiteY44" fmla="*/ 302849 h 545348"/>
                          <a:gd name="connsiteX45" fmla="*/ 66385 w 577717"/>
                          <a:gd name="connsiteY45" fmla="*/ 299009 h 545348"/>
                          <a:gd name="connsiteX46" fmla="*/ 70774 w 577717"/>
                          <a:gd name="connsiteY46" fmla="*/ 291876 h 545348"/>
                          <a:gd name="connsiteX47" fmla="*/ 69129 w 577717"/>
                          <a:gd name="connsiteY47" fmla="*/ 288585 h 545348"/>
                          <a:gd name="connsiteX48" fmla="*/ 72969 w 577717"/>
                          <a:gd name="connsiteY48" fmla="*/ 280355 h 545348"/>
                          <a:gd name="connsiteX49" fmla="*/ 84490 w 577717"/>
                          <a:gd name="connsiteY49" fmla="*/ 281452 h 545348"/>
                          <a:gd name="connsiteX50" fmla="*/ 85039 w 577717"/>
                          <a:gd name="connsiteY50" fmla="*/ 292425 h 545348"/>
                          <a:gd name="connsiteX51" fmla="*/ 90526 w 577717"/>
                          <a:gd name="connsiteY51" fmla="*/ 295717 h 545348"/>
                          <a:gd name="connsiteX52" fmla="*/ 105339 w 577717"/>
                          <a:gd name="connsiteY52" fmla="*/ 287487 h 545348"/>
                          <a:gd name="connsiteX53" fmla="*/ 111922 w 577717"/>
                          <a:gd name="connsiteY53" fmla="*/ 277063 h 545348"/>
                          <a:gd name="connsiteX54" fmla="*/ 114117 w 577717"/>
                          <a:gd name="connsiteY54" fmla="*/ 265542 h 545348"/>
                          <a:gd name="connsiteX55" fmla="*/ 126187 w 577717"/>
                          <a:gd name="connsiteY55" fmla="*/ 258958 h 545348"/>
                          <a:gd name="connsiteX56" fmla="*/ 143744 w 577717"/>
                          <a:gd name="connsiteY56" fmla="*/ 262799 h 545348"/>
                          <a:gd name="connsiteX57" fmla="*/ 157460 w 577717"/>
                          <a:gd name="connsiteY57" fmla="*/ 248534 h 545348"/>
                          <a:gd name="connsiteX58" fmla="*/ 158008 w 577717"/>
                          <a:gd name="connsiteY58" fmla="*/ 240304 h 545348"/>
                          <a:gd name="connsiteX59" fmla="*/ 155265 w 577717"/>
                          <a:gd name="connsiteY59" fmla="*/ 232623 h 545348"/>
                          <a:gd name="connsiteX60" fmla="*/ 162397 w 577717"/>
                          <a:gd name="connsiteY60" fmla="*/ 228234 h 545348"/>
                          <a:gd name="connsiteX61" fmla="*/ 160751 w 577717"/>
                          <a:gd name="connsiteY61" fmla="*/ 220005 h 545348"/>
                          <a:gd name="connsiteX62" fmla="*/ 171176 w 577717"/>
                          <a:gd name="connsiteY62" fmla="*/ 210678 h 545348"/>
                          <a:gd name="connsiteX63" fmla="*/ 177759 w 577717"/>
                          <a:gd name="connsiteY63" fmla="*/ 212872 h 545348"/>
                          <a:gd name="connsiteX64" fmla="*/ 184343 w 577717"/>
                          <a:gd name="connsiteY64" fmla="*/ 208483 h 545348"/>
                          <a:gd name="connsiteX65" fmla="*/ 181600 w 577717"/>
                          <a:gd name="connsiteY65" fmla="*/ 204643 h 545348"/>
                          <a:gd name="connsiteX66" fmla="*/ 185989 w 577717"/>
                          <a:gd name="connsiteY66" fmla="*/ 189829 h 545348"/>
                          <a:gd name="connsiteX67" fmla="*/ 190927 w 577717"/>
                          <a:gd name="connsiteY67" fmla="*/ 184343 h 545348"/>
                          <a:gd name="connsiteX68" fmla="*/ 228783 w 577717"/>
                          <a:gd name="connsiteY68" fmla="*/ 165141 h 545348"/>
                          <a:gd name="connsiteX69" fmla="*/ 233721 w 577717"/>
                          <a:gd name="connsiteY69" fmla="*/ 160203 h 545348"/>
                          <a:gd name="connsiteX70" fmla="*/ 238658 w 577717"/>
                          <a:gd name="connsiteY70" fmla="*/ 144841 h 545348"/>
                          <a:gd name="connsiteX71" fmla="*/ 255118 w 577717"/>
                          <a:gd name="connsiteY71" fmla="*/ 134965 h 545348"/>
                          <a:gd name="connsiteX72" fmla="*/ 262798 w 577717"/>
                          <a:gd name="connsiteY72" fmla="*/ 137709 h 545348"/>
                          <a:gd name="connsiteX73" fmla="*/ 254569 w 577717"/>
                          <a:gd name="connsiteY73" fmla="*/ 157460 h 545348"/>
                          <a:gd name="connsiteX74" fmla="*/ 261153 w 577717"/>
                          <a:gd name="connsiteY74" fmla="*/ 159106 h 545348"/>
                          <a:gd name="connsiteX75" fmla="*/ 264445 w 577717"/>
                          <a:gd name="connsiteY75" fmla="*/ 150876 h 545348"/>
                          <a:gd name="connsiteX76" fmla="*/ 277063 w 577717"/>
                          <a:gd name="connsiteY76" fmla="*/ 145938 h 545348"/>
                          <a:gd name="connsiteX77" fmla="*/ 280355 w 577717"/>
                          <a:gd name="connsiteY77" fmla="*/ 137709 h 545348"/>
                          <a:gd name="connsiteX78" fmla="*/ 275417 w 577717"/>
                          <a:gd name="connsiteY78" fmla="*/ 133868 h 545348"/>
                          <a:gd name="connsiteX79" fmla="*/ 272674 w 577717"/>
                          <a:gd name="connsiteY79" fmla="*/ 126187 h 545348"/>
                          <a:gd name="connsiteX80" fmla="*/ 272674 w 577717"/>
                          <a:gd name="connsiteY80" fmla="*/ 116312 h 545348"/>
                          <a:gd name="connsiteX81" fmla="*/ 277063 w 577717"/>
                          <a:gd name="connsiteY81" fmla="*/ 117409 h 545348"/>
                          <a:gd name="connsiteX82" fmla="*/ 279806 w 577717"/>
                          <a:gd name="connsiteY82" fmla="*/ 111374 h 545348"/>
                          <a:gd name="connsiteX83" fmla="*/ 276514 w 577717"/>
                          <a:gd name="connsiteY83" fmla="*/ 108082 h 545348"/>
                          <a:gd name="connsiteX84" fmla="*/ 290230 w 577717"/>
                          <a:gd name="connsiteY84" fmla="*/ 104242 h 545348"/>
                          <a:gd name="connsiteX85" fmla="*/ 291877 w 577717"/>
                          <a:gd name="connsiteY85" fmla="*/ 110277 h 545348"/>
                          <a:gd name="connsiteX86" fmla="*/ 322600 w 577717"/>
                          <a:gd name="connsiteY86" fmla="*/ 113568 h 545348"/>
                          <a:gd name="connsiteX87" fmla="*/ 322600 w 577717"/>
                          <a:gd name="connsiteY87" fmla="*/ 127284 h 545348"/>
                          <a:gd name="connsiteX88" fmla="*/ 329733 w 577717"/>
                          <a:gd name="connsiteY88" fmla="*/ 130576 h 545348"/>
                          <a:gd name="connsiteX89" fmla="*/ 335219 w 577717"/>
                          <a:gd name="connsiteY89" fmla="*/ 122347 h 545348"/>
                          <a:gd name="connsiteX90" fmla="*/ 343997 w 577717"/>
                          <a:gd name="connsiteY90" fmla="*/ 125639 h 545348"/>
                          <a:gd name="connsiteX91" fmla="*/ 374721 w 577717"/>
                          <a:gd name="connsiteY91" fmla="*/ 104790 h 545348"/>
                          <a:gd name="connsiteX92" fmla="*/ 382402 w 577717"/>
                          <a:gd name="connsiteY92" fmla="*/ 104790 h 545348"/>
                          <a:gd name="connsiteX93" fmla="*/ 383499 w 577717"/>
                          <a:gd name="connsiteY93" fmla="*/ 109728 h 545348"/>
                          <a:gd name="connsiteX94" fmla="*/ 385694 w 577717"/>
                          <a:gd name="connsiteY94" fmla="*/ 111374 h 545348"/>
                          <a:gd name="connsiteX95" fmla="*/ 392278 w 577717"/>
                          <a:gd name="connsiteY95" fmla="*/ 109728 h 545348"/>
                          <a:gd name="connsiteX96" fmla="*/ 395569 w 577717"/>
                          <a:gd name="connsiteY96" fmla="*/ 105888 h 545348"/>
                          <a:gd name="connsiteX97" fmla="*/ 399958 w 577717"/>
                          <a:gd name="connsiteY97" fmla="*/ 106985 h 545348"/>
                          <a:gd name="connsiteX98" fmla="*/ 402702 w 577717"/>
                          <a:gd name="connsiteY98" fmla="*/ 101498 h 545348"/>
                          <a:gd name="connsiteX99" fmla="*/ 408737 w 577717"/>
                          <a:gd name="connsiteY99" fmla="*/ 100401 h 545348"/>
                          <a:gd name="connsiteX100" fmla="*/ 421904 w 577717"/>
                          <a:gd name="connsiteY100" fmla="*/ 84491 h 545348"/>
                          <a:gd name="connsiteX101" fmla="*/ 434523 w 577717"/>
                          <a:gd name="connsiteY101" fmla="*/ 85039 h 545348"/>
                          <a:gd name="connsiteX102" fmla="*/ 441106 w 577717"/>
                          <a:gd name="connsiteY102" fmla="*/ 69677 h 545348"/>
                          <a:gd name="connsiteX103" fmla="*/ 447690 w 577717"/>
                          <a:gd name="connsiteY103" fmla="*/ 74615 h 545348"/>
                          <a:gd name="connsiteX104" fmla="*/ 452628 w 577717"/>
                          <a:gd name="connsiteY104" fmla="*/ 72420 h 545348"/>
                          <a:gd name="connsiteX105" fmla="*/ 457566 w 577717"/>
                          <a:gd name="connsiteY105" fmla="*/ 66934 h 545348"/>
                          <a:gd name="connsiteX106" fmla="*/ 454822 w 577717"/>
                          <a:gd name="connsiteY106" fmla="*/ 47732 h 545348"/>
                          <a:gd name="connsiteX107" fmla="*/ 457566 w 577717"/>
                          <a:gd name="connsiteY107" fmla="*/ 38953 h 545348"/>
                          <a:gd name="connsiteX108" fmla="*/ 465795 w 577717"/>
                          <a:gd name="connsiteY108" fmla="*/ 35113 h 545348"/>
                          <a:gd name="connsiteX109" fmla="*/ 472379 w 577717"/>
                          <a:gd name="connsiteY109" fmla="*/ 26883 h 545348"/>
                          <a:gd name="connsiteX110" fmla="*/ 477865 w 577717"/>
                          <a:gd name="connsiteY110" fmla="*/ 26883 h 545348"/>
                          <a:gd name="connsiteX111" fmla="*/ 485546 w 577717"/>
                          <a:gd name="connsiteY111" fmla="*/ 18105 h 545348"/>
                          <a:gd name="connsiteX112" fmla="*/ 488290 w 577717"/>
                          <a:gd name="connsiteY112" fmla="*/ 10424 h 545348"/>
                          <a:gd name="connsiteX113" fmla="*/ 497068 w 577717"/>
                          <a:gd name="connsiteY113" fmla="*/ 14265 h 545348"/>
                          <a:gd name="connsiteX114" fmla="*/ 514076 w 577717"/>
                          <a:gd name="connsiteY114" fmla="*/ 0 h 545348"/>
                          <a:gd name="connsiteX115" fmla="*/ 536021 w 577717"/>
                          <a:gd name="connsiteY115" fmla="*/ 549 h 545348"/>
                          <a:gd name="connsiteX116" fmla="*/ 556321 w 577717"/>
                          <a:gd name="connsiteY116" fmla="*/ 8230 h 545348"/>
                          <a:gd name="connsiteX117" fmla="*/ 562356 w 577717"/>
                          <a:gd name="connsiteY117" fmla="*/ 14265 h 545348"/>
                          <a:gd name="connsiteX118" fmla="*/ 565099 w 577717"/>
                          <a:gd name="connsiteY118" fmla="*/ 20300 h 545348"/>
                          <a:gd name="connsiteX119" fmla="*/ 570586 w 577717"/>
                          <a:gd name="connsiteY119" fmla="*/ 25237 h 545348"/>
                          <a:gd name="connsiteX120" fmla="*/ 570037 w 577717"/>
                          <a:gd name="connsiteY120" fmla="*/ 32370 h 545348"/>
                          <a:gd name="connsiteX121" fmla="*/ 577718 w 577717"/>
                          <a:gd name="connsiteY121" fmla="*/ 52121 h 545348"/>
                          <a:gd name="connsiteX122" fmla="*/ 577169 w 577717"/>
                          <a:gd name="connsiteY122" fmla="*/ 60350 h 545348"/>
                          <a:gd name="connsiteX123" fmla="*/ 571134 w 577717"/>
                          <a:gd name="connsiteY123" fmla="*/ 64191 h 545348"/>
                          <a:gd name="connsiteX124" fmla="*/ 568391 w 577717"/>
                          <a:gd name="connsiteY124" fmla="*/ 76261 h 545348"/>
                          <a:gd name="connsiteX125" fmla="*/ 577718 w 577717"/>
                          <a:gd name="connsiteY125" fmla="*/ 76810 h 545348"/>
                          <a:gd name="connsiteX126" fmla="*/ 576072 w 577717"/>
                          <a:gd name="connsiteY126" fmla="*/ 81747 h 545348"/>
                          <a:gd name="connsiteX127" fmla="*/ 568391 w 577717"/>
                          <a:gd name="connsiteY127" fmla="*/ 87234 h 545348"/>
                          <a:gd name="connsiteX128" fmla="*/ 547543 w 577717"/>
                          <a:gd name="connsiteY128" fmla="*/ 120701 h 545348"/>
                          <a:gd name="connsiteX129" fmla="*/ 552481 w 577717"/>
                          <a:gd name="connsiteY129" fmla="*/ 129479 h 545348"/>
                          <a:gd name="connsiteX130" fmla="*/ 540959 w 577717"/>
                          <a:gd name="connsiteY130" fmla="*/ 123444 h 545348"/>
                          <a:gd name="connsiteX131" fmla="*/ 535473 w 577717"/>
                          <a:gd name="connsiteY131" fmla="*/ 123444 h 545348"/>
                          <a:gd name="connsiteX132" fmla="*/ 529438 w 577717"/>
                          <a:gd name="connsiteY132" fmla="*/ 125639 h 545348"/>
                          <a:gd name="connsiteX133" fmla="*/ 502006 w 577717"/>
                          <a:gd name="connsiteY133" fmla="*/ 150876 h 545348"/>
                          <a:gd name="connsiteX134" fmla="*/ 487741 w 577717"/>
                          <a:gd name="connsiteY134" fmla="*/ 156911 h 545348"/>
                          <a:gd name="connsiteX135" fmla="*/ 481157 w 577717"/>
                          <a:gd name="connsiteY135" fmla="*/ 156911 h 545348"/>
                          <a:gd name="connsiteX136" fmla="*/ 466893 w 577717"/>
                          <a:gd name="connsiteY136" fmla="*/ 165141 h 545348"/>
                          <a:gd name="connsiteX137" fmla="*/ 458114 w 577717"/>
                          <a:gd name="connsiteY137" fmla="*/ 163495 h 545348"/>
                          <a:gd name="connsiteX138" fmla="*/ 444398 w 577717"/>
                          <a:gd name="connsiteY138" fmla="*/ 167884 h 545348"/>
                          <a:gd name="connsiteX139" fmla="*/ 439461 w 577717"/>
                          <a:gd name="connsiteY139" fmla="*/ 172273 h 545348"/>
                          <a:gd name="connsiteX140" fmla="*/ 437815 w 577717"/>
                          <a:gd name="connsiteY140" fmla="*/ 179405 h 545348"/>
                          <a:gd name="connsiteX141" fmla="*/ 430682 w 577717"/>
                          <a:gd name="connsiteY141" fmla="*/ 186538 h 545348"/>
                          <a:gd name="connsiteX142" fmla="*/ 426842 w 577717"/>
                          <a:gd name="connsiteY142" fmla="*/ 178308 h 545348"/>
                          <a:gd name="connsiteX143" fmla="*/ 420807 w 577717"/>
                          <a:gd name="connsiteY143" fmla="*/ 189281 h 545348"/>
                          <a:gd name="connsiteX144" fmla="*/ 382951 w 577717"/>
                          <a:gd name="connsiteY144" fmla="*/ 213421 h 545348"/>
                          <a:gd name="connsiteX145" fmla="*/ 379110 w 577717"/>
                          <a:gd name="connsiteY145" fmla="*/ 211775 h 545348"/>
                          <a:gd name="connsiteX146" fmla="*/ 373624 w 577717"/>
                          <a:gd name="connsiteY146" fmla="*/ 198608 h 545348"/>
                          <a:gd name="connsiteX147" fmla="*/ 369235 w 577717"/>
                          <a:gd name="connsiteY147" fmla="*/ 201900 h 545348"/>
                          <a:gd name="connsiteX148" fmla="*/ 370332 w 577717"/>
                          <a:gd name="connsiteY148" fmla="*/ 209032 h 545348"/>
                          <a:gd name="connsiteX149" fmla="*/ 368686 w 577717"/>
                          <a:gd name="connsiteY149" fmla="*/ 211226 h 545348"/>
                          <a:gd name="connsiteX150" fmla="*/ 366491 w 577717"/>
                          <a:gd name="connsiteY150" fmla="*/ 217810 h 545348"/>
                          <a:gd name="connsiteX151" fmla="*/ 346741 w 577717"/>
                          <a:gd name="connsiteY151" fmla="*/ 239756 h 545348"/>
                          <a:gd name="connsiteX152" fmla="*/ 329733 w 577717"/>
                          <a:gd name="connsiteY152" fmla="*/ 243596 h 545348"/>
                          <a:gd name="connsiteX153" fmla="*/ 324246 w 577717"/>
                          <a:gd name="connsiteY153" fmla="*/ 255118 h 545348"/>
                          <a:gd name="connsiteX154" fmla="*/ 321503 w 577717"/>
                          <a:gd name="connsiteY154" fmla="*/ 249083 h 545348"/>
                          <a:gd name="connsiteX155" fmla="*/ 289682 w 577717"/>
                          <a:gd name="connsiteY155" fmla="*/ 295168 h 545348"/>
                          <a:gd name="connsiteX156" fmla="*/ 271577 w 577717"/>
                          <a:gd name="connsiteY156" fmla="*/ 299009 h 545348"/>
                          <a:gd name="connsiteX157" fmla="*/ 268285 w 577717"/>
                          <a:gd name="connsiteY157" fmla="*/ 302849 h 545348"/>
                          <a:gd name="connsiteX158" fmla="*/ 266639 w 577717"/>
                          <a:gd name="connsiteY158" fmla="*/ 297912 h 545348"/>
                          <a:gd name="connsiteX159" fmla="*/ 258958 w 577717"/>
                          <a:gd name="connsiteY159" fmla="*/ 299009 h 545348"/>
                          <a:gd name="connsiteX160" fmla="*/ 256215 w 577717"/>
                          <a:gd name="connsiteY160" fmla="*/ 294620 h 545348"/>
                          <a:gd name="connsiteX161" fmla="*/ 251826 w 577717"/>
                          <a:gd name="connsiteY161" fmla="*/ 305044 h 545348"/>
                          <a:gd name="connsiteX162" fmla="*/ 257312 w 577717"/>
                          <a:gd name="connsiteY162" fmla="*/ 309982 h 545348"/>
                          <a:gd name="connsiteX163" fmla="*/ 262250 w 577717"/>
                          <a:gd name="connsiteY163" fmla="*/ 311079 h 545348"/>
                          <a:gd name="connsiteX164" fmla="*/ 264445 w 577717"/>
                          <a:gd name="connsiteY164" fmla="*/ 318211 h 545348"/>
                          <a:gd name="connsiteX165" fmla="*/ 246888 w 577717"/>
                          <a:gd name="connsiteY165" fmla="*/ 336865 h 545348"/>
                          <a:gd name="connsiteX166" fmla="*/ 249082 w 577717"/>
                          <a:gd name="connsiteY166" fmla="*/ 342900 h 545348"/>
                          <a:gd name="connsiteX167" fmla="*/ 245791 w 577717"/>
                          <a:gd name="connsiteY167" fmla="*/ 350032 h 545348"/>
                          <a:gd name="connsiteX168" fmla="*/ 233721 w 577717"/>
                          <a:gd name="connsiteY168" fmla="*/ 352227 h 545348"/>
                          <a:gd name="connsiteX169" fmla="*/ 227137 w 577717"/>
                          <a:gd name="connsiteY169" fmla="*/ 345643 h 545348"/>
                          <a:gd name="connsiteX170" fmla="*/ 217261 w 577717"/>
                          <a:gd name="connsiteY170" fmla="*/ 341803 h 545348"/>
                          <a:gd name="connsiteX171" fmla="*/ 218907 w 577717"/>
                          <a:gd name="connsiteY171" fmla="*/ 346740 h 545348"/>
                          <a:gd name="connsiteX172" fmla="*/ 227137 w 577717"/>
                          <a:gd name="connsiteY172" fmla="*/ 356616 h 545348"/>
                          <a:gd name="connsiteX173" fmla="*/ 233721 w 577717"/>
                          <a:gd name="connsiteY173" fmla="*/ 371978 h 545348"/>
                          <a:gd name="connsiteX174" fmla="*/ 208483 w 577717"/>
                          <a:gd name="connsiteY174" fmla="*/ 353873 h 545348"/>
                          <a:gd name="connsiteX175" fmla="*/ 201899 w 577717"/>
                          <a:gd name="connsiteY175" fmla="*/ 356616 h 545348"/>
                          <a:gd name="connsiteX176" fmla="*/ 202448 w 577717"/>
                          <a:gd name="connsiteY176" fmla="*/ 359908 h 545348"/>
                          <a:gd name="connsiteX177" fmla="*/ 201899 w 577717"/>
                          <a:gd name="connsiteY177" fmla="*/ 363748 h 545348"/>
                          <a:gd name="connsiteX178" fmla="*/ 205191 w 577717"/>
                          <a:gd name="connsiteY178" fmla="*/ 372527 h 545348"/>
                          <a:gd name="connsiteX179" fmla="*/ 208483 w 577717"/>
                          <a:gd name="connsiteY179" fmla="*/ 375818 h 545348"/>
                          <a:gd name="connsiteX180" fmla="*/ 200802 w 577717"/>
                          <a:gd name="connsiteY180" fmla="*/ 371429 h 545348"/>
                          <a:gd name="connsiteX181" fmla="*/ 199705 w 577717"/>
                          <a:gd name="connsiteY181" fmla="*/ 375270 h 545348"/>
                          <a:gd name="connsiteX182" fmla="*/ 204094 w 577717"/>
                          <a:gd name="connsiteY182" fmla="*/ 385694 h 545348"/>
                          <a:gd name="connsiteX183" fmla="*/ 200802 w 577717"/>
                          <a:gd name="connsiteY183" fmla="*/ 390083 h 545348"/>
                          <a:gd name="connsiteX184" fmla="*/ 195316 w 577717"/>
                          <a:gd name="connsiteY184" fmla="*/ 391180 h 545348"/>
                          <a:gd name="connsiteX185" fmla="*/ 192024 w 577717"/>
                          <a:gd name="connsiteY185" fmla="*/ 384048 h 545348"/>
                          <a:gd name="connsiteX186" fmla="*/ 172822 w 577717"/>
                          <a:gd name="connsiteY186" fmla="*/ 368686 h 545348"/>
                          <a:gd name="connsiteX187" fmla="*/ 171176 w 577717"/>
                          <a:gd name="connsiteY187" fmla="*/ 375270 h 545348"/>
                          <a:gd name="connsiteX188" fmla="*/ 180502 w 577717"/>
                          <a:gd name="connsiteY188" fmla="*/ 384048 h 545348"/>
                          <a:gd name="connsiteX189" fmla="*/ 190927 w 577717"/>
                          <a:gd name="connsiteY189" fmla="*/ 406542 h 545348"/>
                          <a:gd name="connsiteX190" fmla="*/ 191475 w 577717"/>
                          <a:gd name="connsiteY190" fmla="*/ 414223 h 545348"/>
                          <a:gd name="connsiteX191" fmla="*/ 187635 w 577717"/>
                          <a:gd name="connsiteY191" fmla="*/ 413126 h 545348"/>
                          <a:gd name="connsiteX192" fmla="*/ 185440 w 577717"/>
                          <a:gd name="connsiteY192" fmla="*/ 425196 h 545348"/>
                          <a:gd name="connsiteX193" fmla="*/ 181600 w 577717"/>
                          <a:gd name="connsiteY193" fmla="*/ 419161 h 545348"/>
                          <a:gd name="connsiteX194" fmla="*/ 179405 w 577717"/>
                          <a:gd name="connsiteY194" fmla="*/ 419710 h 545348"/>
                          <a:gd name="connsiteX195" fmla="*/ 179954 w 577717"/>
                          <a:gd name="connsiteY195" fmla="*/ 427939 h 545348"/>
                          <a:gd name="connsiteX196" fmla="*/ 181600 w 577717"/>
                          <a:gd name="connsiteY196" fmla="*/ 431231 h 545348"/>
                          <a:gd name="connsiteX197" fmla="*/ 178857 w 577717"/>
                          <a:gd name="connsiteY197" fmla="*/ 433974 h 545348"/>
                          <a:gd name="connsiteX198" fmla="*/ 172822 w 577717"/>
                          <a:gd name="connsiteY198" fmla="*/ 427939 h 545348"/>
                          <a:gd name="connsiteX199" fmla="*/ 171176 w 577717"/>
                          <a:gd name="connsiteY199" fmla="*/ 436169 h 545348"/>
                          <a:gd name="connsiteX200" fmla="*/ 172822 w 577717"/>
                          <a:gd name="connsiteY200" fmla="*/ 446044 h 545348"/>
                          <a:gd name="connsiteX201" fmla="*/ 167884 w 577717"/>
                          <a:gd name="connsiteY201" fmla="*/ 447690 h 545348"/>
                          <a:gd name="connsiteX202" fmla="*/ 164043 w 577717"/>
                          <a:gd name="connsiteY202" fmla="*/ 442204 h 545348"/>
                          <a:gd name="connsiteX203" fmla="*/ 159106 w 577717"/>
                          <a:gd name="connsiteY203" fmla="*/ 440558 h 545348"/>
                          <a:gd name="connsiteX204" fmla="*/ 146487 w 577717"/>
                          <a:gd name="connsiteY204" fmla="*/ 412577 h 545348"/>
                          <a:gd name="connsiteX205" fmla="*/ 142098 w 577717"/>
                          <a:gd name="connsiteY205" fmla="*/ 425196 h 545348"/>
                          <a:gd name="connsiteX206" fmla="*/ 144292 w 577717"/>
                          <a:gd name="connsiteY206" fmla="*/ 433974 h 545348"/>
                          <a:gd name="connsiteX207" fmla="*/ 135514 w 577717"/>
                          <a:gd name="connsiteY207" fmla="*/ 437815 h 545348"/>
                          <a:gd name="connsiteX208" fmla="*/ 147035 w 577717"/>
                          <a:gd name="connsiteY208" fmla="*/ 442204 h 545348"/>
                          <a:gd name="connsiteX209" fmla="*/ 151425 w 577717"/>
                          <a:gd name="connsiteY209" fmla="*/ 446593 h 545348"/>
                          <a:gd name="connsiteX210" fmla="*/ 151973 w 577717"/>
                          <a:gd name="connsiteY210" fmla="*/ 454274 h 545348"/>
                          <a:gd name="connsiteX211" fmla="*/ 158557 w 577717"/>
                          <a:gd name="connsiteY211" fmla="*/ 457566 h 545348"/>
                          <a:gd name="connsiteX212" fmla="*/ 154717 w 577717"/>
                          <a:gd name="connsiteY212" fmla="*/ 460309 h 545348"/>
                          <a:gd name="connsiteX213" fmla="*/ 156362 w 577717"/>
                          <a:gd name="connsiteY213" fmla="*/ 464698 h 545348"/>
                          <a:gd name="connsiteX214" fmla="*/ 155265 w 577717"/>
                          <a:gd name="connsiteY214" fmla="*/ 479511 h 545348"/>
                          <a:gd name="connsiteX215" fmla="*/ 148681 w 577717"/>
                          <a:gd name="connsiteY215" fmla="*/ 480060 h 545348"/>
                          <a:gd name="connsiteX216" fmla="*/ 145390 w 577717"/>
                          <a:gd name="connsiteY216" fmla="*/ 470184 h 545348"/>
                          <a:gd name="connsiteX217" fmla="*/ 123444 w 577717"/>
                          <a:gd name="connsiteY217" fmla="*/ 465247 h 545348"/>
                          <a:gd name="connsiteX218" fmla="*/ 116860 w 577717"/>
                          <a:gd name="connsiteY218" fmla="*/ 466893 h 545348"/>
                          <a:gd name="connsiteX219" fmla="*/ 123444 w 577717"/>
                          <a:gd name="connsiteY219" fmla="*/ 471830 h 545348"/>
                          <a:gd name="connsiteX220" fmla="*/ 132771 w 577717"/>
                          <a:gd name="connsiteY220" fmla="*/ 473476 h 545348"/>
                          <a:gd name="connsiteX221" fmla="*/ 142646 w 577717"/>
                          <a:gd name="connsiteY221" fmla="*/ 488290 h 545348"/>
                          <a:gd name="connsiteX222" fmla="*/ 144841 w 577717"/>
                          <a:gd name="connsiteY222" fmla="*/ 495971 h 545348"/>
                          <a:gd name="connsiteX223" fmla="*/ 142646 w 577717"/>
                          <a:gd name="connsiteY223" fmla="*/ 500360 h 545348"/>
                          <a:gd name="connsiteX224" fmla="*/ 138806 w 577717"/>
                          <a:gd name="connsiteY224" fmla="*/ 502006 h 545348"/>
                          <a:gd name="connsiteX225" fmla="*/ 137709 w 577717"/>
                          <a:gd name="connsiteY225" fmla="*/ 506395 h 545348"/>
                          <a:gd name="connsiteX226" fmla="*/ 130028 w 577717"/>
                          <a:gd name="connsiteY226" fmla="*/ 500908 h 545348"/>
                          <a:gd name="connsiteX227" fmla="*/ 126736 w 577717"/>
                          <a:gd name="connsiteY227" fmla="*/ 492679 h 545348"/>
                          <a:gd name="connsiteX228" fmla="*/ 119603 w 577717"/>
                          <a:gd name="connsiteY228" fmla="*/ 489936 h 545348"/>
                          <a:gd name="connsiteX229" fmla="*/ 126187 w 577717"/>
                          <a:gd name="connsiteY229" fmla="*/ 509687 h 545348"/>
                          <a:gd name="connsiteX230" fmla="*/ 131125 w 577717"/>
                          <a:gd name="connsiteY230" fmla="*/ 514624 h 545348"/>
                          <a:gd name="connsiteX231" fmla="*/ 132222 w 577717"/>
                          <a:gd name="connsiteY231" fmla="*/ 520659 h 545348"/>
                          <a:gd name="connsiteX232" fmla="*/ 126736 w 577717"/>
                          <a:gd name="connsiteY232" fmla="*/ 526146 h 545348"/>
                          <a:gd name="connsiteX233" fmla="*/ 123444 w 577717"/>
                          <a:gd name="connsiteY233" fmla="*/ 534924 h 545348"/>
                          <a:gd name="connsiteX234" fmla="*/ 119603 w 577717"/>
                          <a:gd name="connsiteY234" fmla="*/ 536021 h 545348"/>
                          <a:gd name="connsiteX235" fmla="*/ 114666 w 577717"/>
                          <a:gd name="connsiteY235" fmla="*/ 545348 h 545348"/>
                          <a:gd name="connsiteX236" fmla="*/ 109179 w 577717"/>
                          <a:gd name="connsiteY236" fmla="*/ 544800 h 545348"/>
                          <a:gd name="connsiteX237" fmla="*/ 104242 w 577717"/>
                          <a:gd name="connsiteY237" fmla="*/ 539862 h 545348"/>
                          <a:gd name="connsiteX238" fmla="*/ 91623 w 577717"/>
                          <a:gd name="connsiteY238" fmla="*/ 540959 h 545348"/>
                          <a:gd name="connsiteX239" fmla="*/ 79004 w 577717"/>
                          <a:gd name="connsiteY239" fmla="*/ 532729 h 545348"/>
                          <a:gd name="connsiteX240" fmla="*/ 66934 w 577717"/>
                          <a:gd name="connsiteY240" fmla="*/ 531632 h 545348"/>
                          <a:gd name="connsiteX241" fmla="*/ 55961 w 577717"/>
                          <a:gd name="connsiteY241" fmla="*/ 521208 h 545348"/>
                          <a:gd name="connsiteX242" fmla="*/ 42245 w 577717"/>
                          <a:gd name="connsiteY242" fmla="*/ 523403 h 545348"/>
                          <a:gd name="connsiteX243" fmla="*/ 26883 w 577717"/>
                          <a:gd name="connsiteY243" fmla="*/ 532729 h 545348"/>
                          <a:gd name="connsiteX244" fmla="*/ 17008 w 577717"/>
                          <a:gd name="connsiteY244" fmla="*/ 531632 h 545348"/>
                          <a:gd name="connsiteX245" fmla="*/ 24689 w 577717"/>
                          <a:gd name="connsiteY245" fmla="*/ 525049 h 545348"/>
                          <a:gd name="connsiteX246" fmla="*/ 27432 w 577717"/>
                          <a:gd name="connsiteY246" fmla="*/ 519562 h 545348"/>
                          <a:gd name="connsiteX247" fmla="*/ 23043 w 577717"/>
                          <a:gd name="connsiteY247" fmla="*/ 519013 h 545348"/>
                          <a:gd name="connsiteX248" fmla="*/ 23591 w 577717"/>
                          <a:gd name="connsiteY248" fmla="*/ 510784 h 545348"/>
                          <a:gd name="connsiteX249" fmla="*/ 26883 w 577717"/>
                          <a:gd name="connsiteY249" fmla="*/ 505846 h 545348"/>
                          <a:gd name="connsiteX250" fmla="*/ 39502 w 577717"/>
                          <a:gd name="connsiteY250" fmla="*/ 495422 h 545348"/>
                          <a:gd name="connsiteX251" fmla="*/ 44440 w 577717"/>
                          <a:gd name="connsiteY251" fmla="*/ 495971 h 545348"/>
                          <a:gd name="connsiteX252" fmla="*/ 53767 w 577717"/>
                          <a:gd name="connsiteY252" fmla="*/ 488838 h 545348"/>
                          <a:gd name="connsiteX253" fmla="*/ 53218 w 577717"/>
                          <a:gd name="connsiteY253" fmla="*/ 486644 h 545348"/>
                          <a:gd name="connsiteX254" fmla="*/ 47732 w 577717"/>
                          <a:gd name="connsiteY254" fmla="*/ 482255 h 545348"/>
                          <a:gd name="connsiteX255" fmla="*/ 44440 w 577717"/>
                          <a:gd name="connsiteY255" fmla="*/ 487192 h 545348"/>
                          <a:gd name="connsiteX256" fmla="*/ 36759 w 577717"/>
                          <a:gd name="connsiteY256" fmla="*/ 488838 h 545348"/>
                          <a:gd name="connsiteX257" fmla="*/ 28529 w 577717"/>
                          <a:gd name="connsiteY257" fmla="*/ 497616 h 545348"/>
                          <a:gd name="connsiteX258" fmla="*/ 13167 w 577717"/>
                          <a:gd name="connsiteY258" fmla="*/ 495971 h 545348"/>
                          <a:gd name="connsiteX259" fmla="*/ 11521 w 577717"/>
                          <a:gd name="connsiteY259" fmla="*/ 489936 h 545348"/>
                          <a:gd name="connsiteX260" fmla="*/ 3292 w 577717"/>
                          <a:gd name="connsiteY260" fmla="*/ 483900 h 545348"/>
                          <a:gd name="connsiteX261" fmla="*/ 0 w 577717"/>
                          <a:gd name="connsiteY261" fmla="*/ 474025 h 54534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  <a:cxn ang="0">
                            <a:pos x="connsiteX43" y="connsiteY43"/>
                          </a:cxn>
                          <a:cxn ang="0">
                            <a:pos x="connsiteX44" y="connsiteY44"/>
                          </a:cxn>
                          <a:cxn ang="0">
                            <a:pos x="connsiteX45" y="connsiteY45"/>
                          </a:cxn>
                          <a:cxn ang="0">
                            <a:pos x="connsiteX46" y="connsiteY46"/>
                          </a:cxn>
                          <a:cxn ang="0">
                            <a:pos x="connsiteX47" y="connsiteY47"/>
                          </a:cxn>
                          <a:cxn ang="0">
                            <a:pos x="connsiteX48" y="connsiteY48"/>
                          </a:cxn>
                          <a:cxn ang="0">
                            <a:pos x="connsiteX49" y="connsiteY49"/>
                          </a:cxn>
                          <a:cxn ang="0">
                            <a:pos x="connsiteX50" y="connsiteY50"/>
                          </a:cxn>
                          <a:cxn ang="0">
                            <a:pos x="connsiteX51" y="connsiteY51"/>
                          </a:cxn>
                          <a:cxn ang="0">
                            <a:pos x="connsiteX52" y="connsiteY52"/>
                          </a:cxn>
                          <a:cxn ang="0">
                            <a:pos x="connsiteX53" y="connsiteY53"/>
                          </a:cxn>
                          <a:cxn ang="0">
                            <a:pos x="connsiteX54" y="connsiteY54"/>
                          </a:cxn>
                          <a:cxn ang="0">
                            <a:pos x="connsiteX55" y="connsiteY55"/>
                          </a:cxn>
                          <a:cxn ang="0">
                            <a:pos x="connsiteX56" y="connsiteY56"/>
                          </a:cxn>
                          <a:cxn ang="0">
                            <a:pos x="connsiteX57" y="connsiteY57"/>
                          </a:cxn>
                          <a:cxn ang="0">
                            <a:pos x="connsiteX58" y="connsiteY58"/>
                          </a:cxn>
                          <a:cxn ang="0">
                            <a:pos x="connsiteX59" y="connsiteY59"/>
                          </a:cxn>
                          <a:cxn ang="0">
                            <a:pos x="connsiteX60" y="connsiteY60"/>
                          </a:cxn>
                          <a:cxn ang="0">
                            <a:pos x="connsiteX61" y="connsiteY61"/>
                          </a:cxn>
                          <a:cxn ang="0">
                            <a:pos x="connsiteX62" y="connsiteY62"/>
                          </a:cxn>
                          <a:cxn ang="0">
                            <a:pos x="connsiteX63" y="connsiteY63"/>
                          </a:cxn>
                          <a:cxn ang="0">
                            <a:pos x="connsiteX64" y="connsiteY64"/>
                          </a:cxn>
                          <a:cxn ang="0">
                            <a:pos x="connsiteX65" y="connsiteY65"/>
                          </a:cxn>
                          <a:cxn ang="0">
                            <a:pos x="connsiteX66" y="connsiteY66"/>
                          </a:cxn>
                          <a:cxn ang="0">
                            <a:pos x="connsiteX67" y="connsiteY67"/>
                          </a:cxn>
                          <a:cxn ang="0">
                            <a:pos x="connsiteX68" y="connsiteY68"/>
                          </a:cxn>
                          <a:cxn ang="0">
                            <a:pos x="connsiteX69" y="connsiteY69"/>
                          </a:cxn>
                          <a:cxn ang="0">
                            <a:pos x="connsiteX70" y="connsiteY70"/>
                          </a:cxn>
                          <a:cxn ang="0">
                            <a:pos x="connsiteX71" y="connsiteY71"/>
                          </a:cxn>
                          <a:cxn ang="0">
                            <a:pos x="connsiteX72" y="connsiteY72"/>
                          </a:cxn>
                          <a:cxn ang="0">
                            <a:pos x="connsiteX73" y="connsiteY73"/>
                          </a:cxn>
                          <a:cxn ang="0">
                            <a:pos x="connsiteX74" y="connsiteY74"/>
                          </a:cxn>
                          <a:cxn ang="0">
                            <a:pos x="connsiteX75" y="connsiteY75"/>
                          </a:cxn>
                          <a:cxn ang="0">
                            <a:pos x="connsiteX76" y="connsiteY76"/>
                          </a:cxn>
                          <a:cxn ang="0">
                            <a:pos x="connsiteX77" y="connsiteY77"/>
                          </a:cxn>
                          <a:cxn ang="0">
                            <a:pos x="connsiteX78" y="connsiteY78"/>
                          </a:cxn>
                          <a:cxn ang="0">
                            <a:pos x="connsiteX79" y="connsiteY79"/>
                          </a:cxn>
                          <a:cxn ang="0">
                            <a:pos x="connsiteX80" y="connsiteY80"/>
                          </a:cxn>
                          <a:cxn ang="0">
                            <a:pos x="connsiteX81" y="connsiteY81"/>
                          </a:cxn>
                          <a:cxn ang="0">
                            <a:pos x="connsiteX82" y="connsiteY82"/>
                          </a:cxn>
                          <a:cxn ang="0">
                            <a:pos x="connsiteX83" y="connsiteY83"/>
                          </a:cxn>
                          <a:cxn ang="0">
                            <a:pos x="connsiteX84" y="connsiteY84"/>
                          </a:cxn>
                          <a:cxn ang="0">
                            <a:pos x="connsiteX85" y="connsiteY85"/>
                          </a:cxn>
                          <a:cxn ang="0">
                            <a:pos x="connsiteX86" y="connsiteY86"/>
                          </a:cxn>
                          <a:cxn ang="0">
                            <a:pos x="connsiteX87" y="connsiteY87"/>
                          </a:cxn>
                          <a:cxn ang="0">
                            <a:pos x="connsiteX88" y="connsiteY88"/>
                          </a:cxn>
                          <a:cxn ang="0">
                            <a:pos x="connsiteX89" y="connsiteY89"/>
                          </a:cxn>
                          <a:cxn ang="0">
                            <a:pos x="connsiteX90" y="connsiteY90"/>
                          </a:cxn>
                          <a:cxn ang="0">
                            <a:pos x="connsiteX91" y="connsiteY91"/>
                          </a:cxn>
                          <a:cxn ang="0">
                            <a:pos x="connsiteX92" y="connsiteY92"/>
                          </a:cxn>
                          <a:cxn ang="0">
                            <a:pos x="connsiteX93" y="connsiteY93"/>
                          </a:cxn>
                          <a:cxn ang="0">
                            <a:pos x="connsiteX94" y="connsiteY94"/>
                          </a:cxn>
                          <a:cxn ang="0">
                            <a:pos x="connsiteX95" y="connsiteY95"/>
                          </a:cxn>
                          <a:cxn ang="0">
                            <a:pos x="connsiteX96" y="connsiteY96"/>
                          </a:cxn>
                          <a:cxn ang="0">
                            <a:pos x="connsiteX97" y="connsiteY97"/>
                          </a:cxn>
                          <a:cxn ang="0">
                            <a:pos x="connsiteX98" y="connsiteY98"/>
                          </a:cxn>
                          <a:cxn ang="0">
                            <a:pos x="connsiteX99" y="connsiteY99"/>
                          </a:cxn>
                          <a:cxn ang="0">
                            <a:pos x="connsiteX100" y="connsiteY100"/>
                          </a:cxn>
                          <a:cxn ang="0">
                            <a:pos x="connsiteX101" y="connsiteY101"/>
                          </a:cxn>
                          <a:cxn ang="0">
                            <a:pos x="connsiteX102" y="connsiteY102"/>
                          </a:cxn>
                          <a:cxn ang="0">
                            <a:pos x="connsiteX103" y="connsiteY103"/>
                          </a:cxn>
                          <a:cxn ang="0">
                            <a:pos x="connsiteX104" y="connsiteY104"/>
                          </a:cxn>
                          <a:cxn ang="0">
                            <a:pos x="connsiteX105" y="connsiteY105"/>
                          </a:cxn>
                          <a:cxn ang="0">
                            <a:pos x="connsiteX106" y="connsiteY106"/>
                          </a:cxn>
                          <a:cxn ang="0">
                            <a:pos x="connsiteX107" y="connsiteY107"/>
                          </a:cxn>
                          <a:cxn ang="0">
                            <a:pos x="connsiteX108" y="connsiteY108"/>
                          </a:cxn>
                          <a:cxn ang="0">
                            <a:pos x="connsiteX109" y="connsiteY109"/>
                          </a:cxn>
                          <a:cxn ang="0">
                            <a:pos x="connsiteX110" y="connsiteY110"/>
                          </a:cxn>
                          <a:cxn ang="0">
                            <a:pos x="connsiteX111" y="connsiteY111"/>
                          </a:cxn>
                          <a:cxn ang="0">
                            <a:pos x="connsiteX112" y="connsiteY112"/>
                          </a:cxn>
                          <a:cxn ang="0">
                            <a:pos x="connsiteX113" y="connsiteY113"/>
                          </a:cxn>
                          <a:cxn ang="0">
                            <a:pos x="connsiteX114" y="connsiteY114"/>
                          </a:cxn>
                          <a:cxn ang="0">
                            <a:pos x="connsiteX115" y="connsiteY115"/>
                          </a:cxn>
                          <a:cxn ang="0">
                            <a:pos x="connsiteX116" y="connsiteY116"/>
                          </a:cxn>
                          <a:cxn ang="0">
                            <a:pos x="connsiteX117" y="connsiteY117"/>
                          </a:cxn>
                          <a:cxn ang="0">
                            <a:pos x="connsiteX118" y="connsiteY118"/>
                          </a:cxn>
                          <a:cxn ang="0">
                            <a:pos x="connsiteX119" y="connsiteY119"/>
                          </a:cxn>
                          <a:cxn ang="0">
                            <a:pos x="connsiteX120" y="connsiteY120"/>
                          </a:cxn>
                          <a:cxn ang="0">
                            <a:pos x="connsiteX121" y="connsiteY121"/>
                          </a:cxn>
                          <a:cxn ang="0">
                            <a:pos x="connsiteX122" y="connsiteY122"/>
                          </a:cxn>
                          <a:cxn ang="0">
                            <a:pos x="connsiteX123" y="connsiteY123"/>
                          </a:cxn>
                          <a:cxn ang="0">
                            <a:pos x="connsiteX124" y="connsiteY124"/>
                          </a:cxn>
                          <a:cxn ang="0">
                            <a:pos x="connsiteX125" y="connsiteY125"/>
                          </a:cxn>
                          <a:cxn ang="0">
                            <a:pos x="connsiteX126" y="connsiteY126"/>
                          </a:cxn>
                          <a:cxn ang="0">
                            <a:pos x="connsiteX127" y="connsiteY127"/>
                          </a:cxn>
                          <a:cxn ang="0">
                            <a:pos x="connsiteX128" y="connsiteY128"/>
                          </a:cxn>
                          <a:cxn ang="0">
                            <a:pos x="connsiteX129" y="connsiteY129"/>
                          </a:cxn>
                          <a:cxn ang="0">
                            <a:pos x="connsiteX130" y="connsiteY130"/>
                          </a:cxn>
                          <a:cxn ang="0">
                            <a:pos x="connsiteX131" y="connsiteY131"/>
                          </a:cxn>
                          <a:cxn ang="0">
                            <a:pos x="connsiteX132" y="connsiteY132"/>
                          </a:cxn>
                          <a:cxn ang="0">
                            <a:pos x="connsiteX133" y="connsiteY133"/>
                          </a:cxn>
                          <a:cxn ang="0">
                            <a:pos x="connsiteX134" y="connsiteY134"/>
                          </a:cxn>
                          <a:cxn ang="0">
                            <a:pos x="connsiteX135" y="connsiteY135"/>
                          </a:cxn>
                          <a:cxn ang="0">
                            <a:pos x="connsiteX136" y="connsiteY136"/>
                          </a:cxn>
                          <a:cxn ang="0">
                            <a:pos x="connsiteX137" y="connsiteY137"/>
                          </a:cxn>
                          <a:cxn ang="0">
                            <a:pos x="connsiteX138" y="connsiteY138"/>
                          </a:cxn>
                          <a:cxn ang="0">
                            <a:pos x="connsiteX139" y="connsiteY139"/>
                          </a:cxn>
                          <a:cxn ang="0">
                            <a:pos x="connsiteX140" y="connsiteY140"/>
                          </a:cxn>
                          <a:cxn ang="0">
                            <a:pos x="connsiteX141" y="connsiteY141"/>
                          </a:cxn>
                          <a:cxn ang="0">
                            <a:pos x="connsiteX142" y="connsiteY142"/>
                          </a:cxn>
                          <a:cxn ang="0">
                            <a:pos x="connsiteX143" y="connsiteY143"/>
                          </a:cxn>
                          <a:cxn ang="0">
                            <a:pos x="connsiteX144" y="connsiteY144"/>
                          </a:cxn>
                          <a:cxn ang="0">
                            <a:pos x="connsiteX145" y="connsiteY145"/>
                          </a:cxn>
                          <a:cxn ang="0">
                            <a:pos x="connsiteX146" y="connsiteY146"/>
                          </a:cxn>
                          <a:cxn ang="0">
                            <a:pos x="connsiteX147" y="connsiteY147"/>
                          </a:cxn>
                          <a:cxn ang="0">
                            <a:pos x="connsiteX148" y="connsiteY148"/>
                          </a:cxn>
                          <a:cxn ang="0">
                            <a:pos x="connsiteX149" y="connsiteY149"/>
                          </a:cxn>
                          <a:cxn ang="0">
                            <a:pos x="connsiteX150" y="connsiteY150"/>
                          </a:cxn>
                          <a:cxn ang="0">
                            <a:pos x="connsiteX151" y="connsiteY151"/>
                          </a:cxn>
                          <a:cxn ang="0">
                            <a:pos x="connsiteX152" y="connsiteY152"/>
                          </a:cxn>
                          <a:cxn ang="0">
                            <a:pos x="connsiteX153" y="connsiteY153"/>
                          </a:cxn>
                          <a:cxn ang="0">
                            <a:pos x="connsiteX154" y="connsiteY154"/>
                          </a:cxn>
                          <a:cxn ang="0">
                            <a:pos x="connsiteX155" y="connsiteY155"/>
                          </a:cxn>
                          <a:cxn ang="0">
                            <a:pos x="connsiteX156" y="connsiteY156"/>
                          </a:cxn>
                          <a:cxn ang="0">
                            <a:pos x="connsiteX157" y="connsiteY157"/>
                          </a:cxn>
                          <a:cxn ang="0">
                            <a:pos x="connsiteX158" y="connsiteY158"/>
                          </a:cxn>
                          <a:cxn ang="0">
                            <a:pos x="connsiteX159" y="connsiteY159"/>
                          </a:cxn>
                          <a:cxn ang="0">
                            <a:pos x="connsiteX160" y="connsiteY160"/>
                          </a:cxn>
                          <a:cxn ang="0">
                            <a:pos x="connsiteX161" y="connsiteY161"/>
                          </a:cxn>
                          <a:cxn ang="0">
                            <a:pos x="connsiteX162" y="connsiteY162"/>
                          </a:cxn>
                          <a:cxn ang="0">
                            <a:pos x="connsiteX163" y="connsiteY163"/>
                          </a:cxn>
                          <a:cxn ang="0">
                            <a:pos x="connsiteX164" y="connsiteY164"/>
                          </a:cxn>
                          <a:cxn ang="0">
                            <a:pos x="connsiteX165" y="connsiteY165"/>
                          </a:cxn>
                          <a:cxn ang="0">
                            <a:pos x="connsiteX166" y="connsiteY166"/>
                          </a:cxn>
                          <a:cxn ang="0">
                            <a:pos x="connsiteX167" y="connsiteY167"/>
                          </a:cxn>
                          <a:cxn ang="0">
                            <a:pos x="connsiteX168" y="connsiteY168"/>
                          </a:cxn>
                          <a:cxn ang="0">
                            <a:pos x="connsiteX169" y="connsiteY169"/>
                          </a:cxn>
                          <a:cxn ang="0">
                            <a:pos x="connsiteX170" y="connsiteY170"/>
                          </a:cxn>
                          <a:cxn ang="0">
                            <a:pos x="connsiteX171" y="connsiteY171"/>
                          </a:cxn>
                          <a:cxn ang="0">
                            <a:pos x="connsiteX172" y="connsiteY172"/>
                          </a:cxn>
                          <a:cxn ang="0">
                            <a:pos x="connsiteX173" y="connsiteY173"/>
                          </a:cxn>
                          <a:cxn ang="0">
                            <a:pos x="connsiteX174" y="connsiteY174"/>
                          </a:cxn>
                          <a:cxn ang="0">
                            <a:pos x="connsiteX175" y="connsiteY175"/>
                          </a:cxn>
                          <a:cxn ang="0">
                            <a:pos x="connsiteX176" y="connsiteY176"/>
                          </a:cxn>
                          <a:cxn ang="0">
                            <a:pos x="connsiteX177" y="connsiteY177"/>
                          </a:cxn>
                          <a:cxn ang="0">
                            <a:pos x="connsiteX178" y="connsiteY178"/>
                          </a:cxn>
                          <a:cxn ang="0">
                            <a:pos x="connsiteX179" y="connsiteY179"/>
                          </a:cxn>
                          <a:cxn ang="0">
                            <a:pos x="connsiteX180" y="connsiteY180"/>
                          </a:cxn>
                          <a:cxn ang="0">
                            <a:pos x="connsiteX181" y="connsiteY181"/>
                          </a:cxn>
                          <a:cxn ang="0">
                            <a:pos x="connsiteX182" y="connsiteY182"/>
                          </a:cxn>
                          <a:cxn ang="0">
                            <a:pos x="connsiteX183" y="connsiteY183"/>
                          </a:cxn>
                          <a:cxn ang="0">
                            <a:pos x="connsiteX184" y="connsiteY184"/>
                          </a:cxn>
                          <a:cxn ang="0">
                            <a:pos x="connsiteX185" y="connsiteY185"/>
                          </a:cxn>
                          <a:cxn ang="0">
                            <a:pos x="connsiteX186" y="connsiteY186"/>
                          </a:cxn>
                          <a:cxn ang="0">
                            <a:pos x="connsiteX187" y="connsiteY187"/>
                          </a:cxn>
                          <a:cxn ang="0">
                            <a:pos x="connsiteX188" y="connsiteY188"/>
                          </a:cxn>
                          <a:cxn ang="0">
                            <a:pos x="connsiteX189" y="connsiteY189"/>
                          </a:cxn>
                          <a:cxn ang="0">
                            <a:pos x="connsiteX190" y="connsiteY190"/>
                          </a:cxn>
                          <a:cxn ang="0">
                            <a:pos x="connsiteX191" y="connsiteY191"/>
                          </a:cxn>
                          <a:cxn ang="0">
                            <a:pos x="connsiteX192" y="connsiteY192"/>
                          </a:cxn>
                          <a:cxn ang="0">
                            <a:pos x="connsiteX193" y="connsiteY193"/>
                          </a:cxn>
                          <a:cxn ang="0">
                            <a:pos x="connsiteX194" y="connsiteY194"/>
                          </a:cxn>
                          <a:cxn ang="0">
                            <a:pos x="connsiteX195" y="connsiteY195"/>
                          </a:cxn>
                          <a:cxn ang="0">
                            <a:pos x="connsiteX196" y="connsiteY196"/>
                          </a:cxn>
                          <a:cxn ang="0">
                            <a:pos x="connsiteX197" y="connsiteY197"/>
                          </a:cxn>
                          <a:cxn ang="0">
                            <a:pos x="connsiteX198" y="connsiteY198"/>
                          </a:cxn>
                          <a:cxn ang="0">
                            <a:pos x="connsiteX199" y="connsiteY199"/>
                          </a:cxn>
                          <a:cxn ang="0">
                            <a:pos x="connsiteX200" y="connsiteY200"/>
                          </a:cxn>
                          <a:cxn ang="0">
                            <a:pos x="connsiteX201" y="connsiteY201"/>
                          </a:cxn>
                          <a:cxn ang="0">
                            <a:pos x="connsiteX202" y="connsiteY202"/>
                          </a:cxn>
                          <a:cxn ang="0">
                            <a:pos x="connsiteX203" y="connsiteY203"/>
                          </a:cxn>
                          <a:cxn ang="0">
                            <a:pos x="connsiteX204" y="connsiteY204"/>
                          </a:cxn>
                          <a:cxn ang="0">
                            <a:pos x="connsiteX205" y="connsiteY205"/>
                          </a:cxn>
                          <a:cxn ang="0">
                            <a:pos x="connsiteX206" y="connsiteY206"/>
                          </a:cxn>
                          <a:cxn ang="0">
                            <a:pos x="connsiteX207" y="connsiteY207"/>
                          </a:cxn>
                          <a:cxn ang="0">
                            <a:pos x="connsiteX208" y="connsiteY208"/>
                          </a:cxn>
                          <a:cxn ang="0">
                            <a:pos x="connsiteX209" y="connsiteY209"/>
                          </a:cxn>
                          <a:cxn ang="0">
                            <a:pos x="connsiteX210" y="connsiteY210"/>
                          </a:cxn>
                          <a:cxn ang="0">
                            <a:pos x="connsiteX211" y="connsiteY211"/>
                          </a:cxn>
                          <a:cxn ang="0">
                            <a:pos x="connsiteX212" y="connsiteY212"/>
                          </a:cxn>
                          <a:cxn ang="0">
                            <a:pos x="connsiteX213" y="connsiteY213"/>
                          </a:cxn>
                          <a:cxn ang="0">
                            <a:pos x="connsiteX214" y="connsiteY214"/>
                          </a:cxn>
                          <a:cxn ang="0">
                            <a:pos x="connsiteX215" y="connsiteY215"/>
                          </a:cxn>
                          <a:cxn ang="0">
                            <a:pos x="connsiteX216" y="connsiteY216"/>
                          </a:cxn>
                          <a:cxn ang="0">
                            <a:pos x="connsiteX217" y="connsiteY217"/>
                          </a:cxn>
                          <a:cxn ang="0">
                            <a:pos x="connsiteX218" y="connsiteY218"/>
                          </a:cxn>
                          <a:cxn ang="0">
                            <a:pos x="connsiteX219" y="connsiteY219"/>
                          </a:cxn>
                          <a:cxn ang="0">
                            <a:pos x="connsiteX220" y="connsiteY220"/>
                          </a:cxn>
                          <a:cxn ang="0">
                            <a:pos x="connsiteX221" y="connsiteY221"/>
                          </a:cxn>
                          <a:cxn ang="0">
                            <a:pos x="connsiteX222" y="connsiteY222"/>
                          </a:cxn>
                          <a:cxn ang="0">
                            <a:pos x="connsiteX223" y="connsiteY223"/>
                          </a:cxn>
                          <a:cxn ang="0">
                            <a:pos x="connsiteX224" y="connsiteY224"/>
                          </a:cxn>
                          <a:cxn ang="0">
                            <a:pos x="connsiteX225" y="connsiteY225"/>
                          </a:cxn>
                          <a:cxn ang="0">
                            <a:pos x="connsiteX226" y="connsiteY226"/>
                          </a:cxn>
                          <a:cxn ang="0">
                            <a:pos x="connsiteX227" y="connsiteY227"/>
                          </a:cxn>
                          <a:cxn ang="0">
                            <a:pos x="connsiteX228" y="connsiteY228"/>
                          </a:cxn>
                          <a:cxn ang="0">
                            <a:pos x="connsiteX229" y="connsiteY229"/>
                          </a:cxn>
                          <a:cxn ang="0">
                            <a:pos x="connsiteX230" y="connsiteY230"/>
                          </a:cxn>
                          <a:cxn ang="0">
                            <a:pos x="connsiteX231" y="connsiteY231"/>
                          </a:cxn>
                          <a:cxn ang="0">
                            <a:pos x="connsiteX232" y="connsiteY232"/>
                          </a:cxn>
                          <a:cxn ang="0">
                            <a:pos x="connsiteX233" y="connsiteY233"/>
                          </a:cxn>
                          <a:cxn ang="0">
                            <a:pos x="connsiteX234" y="connsiteY234"/>
                          </a:cxn>
                          <a:cxn ang="0">
                            <a:pos x="connsiteX235" y="connsiteY235"/>
                          </a:cxn>
                          <a:cxn ang="0">
                            <a:pos x="connsiteX236" y="connsiteY236"/>
                          </a:cxn>
                          <a:cxn ang="0">
                            <a:pos x="connsiteX237" y="connsiteY237"/>
                          </a:cxn>
                          <a:cxn ang="0">
                            <a:pos x="connsiteX238" y="connsiteY238"/>
                          </a:cxn>
                          <a:cxn ang="0">
                            <a:pos x="connsiteX239" y="connsiteY239"/>
                          </a:cxn>
                          <a:cxn ang="0">
                            <a:pos x="connsiteX240" y="connsiteY240"/>
                          </a:cxn>
                          <a:cxn ang="0">
                            <a:pos x="connsiteX241" y="connsiteY241"/>
                          </a:cxn>
                          <a:cxn ang="0">
                            <a:pos x="connsiteX242" y="connsiteY242"/>
                          </a:cxn>
                          <a:cxn ang="0">
                            <a:pos x="connsiteX243" y="connsiteY243"/>
                          </a:cxn>
                          <a:cxn ang="0">
                            <a:pos x="connsiteX244" y="connsiteY244"/>
                          </a:cxn>
                          <a:cxn ang="0">
                            <a:pos x="connsiteX245" y="connsiteY245"/>
                          </a:cxn>
                          <a:cxn ang="0">
                            <a:pos x="connsiteX246" y="connsiteY246"/>
                          </a:cxn>
                          <a:cxn ang="0">
                            <a:pos x="connsiteX247" y="connsiteY247"/>
                          </a:cxn>
                          <a:cxn ang="0">
                            <a:pos x="connsiteX248" y="connsiteY248"/>
                          </a:cxn>
                          <a:cxn ang="0">
                            <a:pos x="connsiteX249" y="connsiteY249"/>
                          </a:cxn>
                          <a:cxn ang="0">
                            <a:pos x="connsiteX250" y="connsiteY250"/>
                          </a:cxn>
                          <a:cxn ang="0">
                            <a:pos x="connsiteX251" y="connsiteY251"/>
                          </a:cxn>
                          <a:cxn ang="0">
                            <a:pos x="connsiteX252" y="connsiteY252"/>
                          </a:cxn>
                          <a:cxn ang="0">
                            <a:pos x="connsiteX253" y="connsiteY253"/>
                          </a:cxn>
                          <a:cxn ang="0">
                            <a:pos x="connsiteX254" y="connsiteY254"/>
                          </a:cxn>
                          <a:cxn ang="0">
                            <a:pos x="connsiteX255" y="connsiteY255"/>
                          </a:cxn>
                          <a:cxn ang="0">
                            <a:pos x="connsiteX256" y="connsiteY256"/>
                          </a:cxn>
                          <a:cxn ang="0">
                            <a:pos x="connsiteX257" y="connsiteY257"/>
                          </a:cxn>
                          <a:cxn ang="0">
                            <a:pos x="connsiteX258" y="connsiteY258"/>
                          </a:cxn>
                          <a:cxn ang="0">
                            <a:pos x="connsiteX259" y="connsiteY259"/>
                          </a:cxn>
                          <a:cxn ang="0">
                            <a:pos x="connsiteX260" y="connsiteY260"/>
                          </a:cxn>
                          <a:cxn ang="0">
                            <a:pos x="connsiteX261" y="connsiteY261"/>
                          </a:cxn>
                        </a:cxnLst>
                        <a:rect l="l" t="t" r="r" b="b"/>
                        <a:pathLst>
                          <a:path w="577717" h="545348">
                            <a:moveTo>
                              <a:pt x="0" y="474025"/>
                            </a:moveTo>
                            <a:lnTo>
                              <a:pt x="0" y="471282"/>
                            </a:lnTo>
                            <a:lnTo>
                              <a:pt x="3292" y="474025"/>
                            </a:lnTo>
                            <a:lnTo>
                              <a:pt x="11521" y="471830"/>
                            </a:lnTo>
                            <a:lnTo>
                              <a:pt x="21946" y="458114"/>
                            </a:lnTo>
                            <a:lnTo>
                              <a:pt x="41148" y="451531"/>
                            </a:lnTo>
                            <a:lnTo>
                              <a:pt x="37856" y="447690"/>
                            </a:lnTo>
                            <a:lnTo>
                              <a:pt x="41697" y="436169"/>
                            </a:lnTo>
                            <a:lnTo>
                              <a:pt x="52669" y="425196"/>
                            </a:lnTo>
                            <a:lnTo>
                              <a:pt x="60899" y="430682"/>
                            </a:lnTo>
                            <a:lnTo>
                              <a:pt x="70226" y="432328"/>
                            </a:lnTo>
                            <a:lnTo>
                              <a:pt x="79553" y="438912"/>
                            </a:lnTo>
                            <a:lnTo>
                              <a:pt x="91623" y="442204"/>
                            </a:lnTo>
                            <a:lnTo>
                              <a:pt x="85039" y="432328"/>
                            </a:lnTo>
                            <a:lnTo>
                              <a:pt x="58156" y="421904"/>
                            </a:lnTo>
                            <a:lnTo>
                              <a:pt x="53218" y="413675"/>
                            </a:lnTo>
                            <a:lnTo>
                              <a:pt x="58705" y="415869"/>
                            </a:lnTo>
                            <a:lnTo>
                              <a:pt x="70774" y="413675"/>
                            </a:lnTo>
                            <a:lnTo>
                              <a:pt x="74066" y="406542"/>
                            </a:lnTo>
                            <a:lnTo>
                              <a:pt x="57607" y="396667"/>
                            </a:lnTo>
                            <a:lnTo>
                              <a:pt x="58705" y="392278"/>
                            </a:lnTo>
                            <a:lnTo>
                              <a:pt x="82296" y="390083"/>
                            </a:lnTo>
                            <a:lnTo>
                              <a:pt x="87782" y="387340"/>
                            </a:lnTo>
                            <a:lnTo>
                              <a:pt x="83393" y="381305"/>
                            </a:lnTo>
                            <a:lnTo>
                              <a:pt x="75164" y="379659"/>
                            </a:lnTo>
                            <a:lnTo>
                              <a:pt x="68031" y="367589"/>
                            </a:lnTo>
                            <a:lnTo>
                              <a:pt x="67483" y="358262"/>
                            </a:lnTo>
                            <a:lnTo>
                              <a:pt x="69677" y="356067"/>
                            </a:lnTo>
                            <a:lnTo>
                              <a:pt x="72969" y="361005"/>
                            </a:lnTo>
                            <a:lnTo>
                              <a:pt x="88331" y="352227"/>
                            </a:lnTo>
                            <a:lnTo>
                              <a:pt x="103144" y="355519"/>
                            </a:lnTo>
                            <a:lnTo>
                              <a:pt x="111922" y="350032"/>
                            </a:lnTo>
                            <a:lnTo>
                              <a:pt x="104242" y="351678"/>
                            </a:lnTo>
                            <a:lnTo>
                              <a:pt x="99853" y="348935"/>
                            </a:lnTo>
                            <a:lnTo>
                              <a:pt x="95463" y="340157"/>
                            </a:lnTo>
                            <a:lnTo>
                              <a:pt x="87782" y="337962"/>
                            </a:lnTo>
                            <a:lnTo>
                              <a:pt x="74615" y="341254"/>
                            </a:lnTo>
                            <a:lnTo>
                              <a:pt x="72421" y="335219"/>
                            </a:lnTo>
                            <a:lnTo>
                              <a:pt x="77907" y="329184"/>
                            </a:lnTo>
                            <a:lnTo>
                              <a:pt x="84490" y="312725"/>
                            </a:lnTo>
                            <a:lnTo>
                              <a:pt x="80650" y="312725"/>
                            </a:lnTo>
                            <a:lnTo>
                              <a:pt x="80101" y="309982"/>
                            </a:lnTo>
                            <a:lnTo>
                              <a:pt x="77358" y="303947"/>
                            </a:lnTo>
                            <a:lnTo>
                              <a:pt x="70774" y="312725"/>
                            </a:lnTo>
                            <a:lnTo>
                              <a:pt x="70774" y="302849"/>
                            </a:lnTo>
                            <a:lnTo>
                              <a:pt x="66385" y="299009"/>
                            </a:lnTo>
                            <a:lnTo>
                              <a:pt x="70774" y="291876"/>
                            </a:lnTo>
                            <a:lnTo>
                              <a:pt x="69129" y="288585"/>
                            </a:lnTo>
                            <a:lnTo>
                              <a:pt x="72969" y="280355"/>
                            </a:lnTo>
                            <a:lnTo>
                              <a:pt x="84490" y="281452"/>
                            </a:lnTo>
                            <a:lnTo>
                              <a:pt x="85039" y="292425"/>
                            </a:lnTo>
                            <a:lnTo>
                              <a:pt x="90526" y="295717"/>
                            </a:lnTo>
                            <a:lnTo>
                              <a:pt x="105339" y="287487"/>
                            </a:lnTo>
                            <a:lnTo>
                              <a:pt x="111922" y="277063"/>
                            </a:lnTo>
                            <a:lnTo>
                              <a:pt x="114117" y="265542"/>
                            </a:lnTo>
                            <a:lnTo>
                              <a:pt x="126187" y="258958"/>
                            </a:lnTo>
                            <a:lnTo>
                              <a:pt x="143744" y="262799"/>
                            </a:lnTo>
                            <a:lnTo>
                              <a:pt x="157460" y="248534"/>
                            </a:lnTo>
                            <a:lnTo>
                              <a:pt x="158008" y="240304"/>
                            </a:lnTo>
                            <a:lnTo>
                              <a:pt x="155265" y="232623"/>
                            </a:lnTo>
                            <a:lnTo>
                              <a:pt x="162397" y="228234"/>
                            </a:lnTo>
                            <a:lnTo>
                              <a:pt x="160751" y="220005"/>
                            </a:lnTo>
                            <a:lnTo>
                              <a:pt x="171176" y="210678"/>
                            </a:lnTo>
                            <a:lnTo>
                              <a:pt x="177759" y="212872"/>
                            </a:lnTo>
                            <a:lnTo>
                              <a:pt x="184343" y="208483"/>
                            </a:lnTo>
                            <a:lnTo>
                              <a:pt x="181600" y="204643"/>
                            </a:lnTo>
                            <a:lnTo>
                              <a:pt x="185989" y="189829"/>
                            </a:lnTo>
                            <a:lnTo>
                              <a:pt x="190927" y="184343"/>
                            </a:lnTo>
                            <a:lnTo>
                              <a:pt x="228783" y="165141"/>
                            </a:lnTo>
                            <a:lnTo>
                              <a:pt x="233721" y="160203"/>
                            </a:lnTo>
                            <a:lnTo>
                              <a:pt x="238658" y="144841"/>
                            </a:lnTo>
                            <a:lnTo>
                              <a:pt x="255118" y="134965"/>
                            </a:lnTo>
                            <a:lnTo>
                              <a:pt x="262798" y="137709"/>
                            </a:lnTo>
                            <a:lnTo>
                              <a:pt x="254569" y="157460"/>
                            </a:lnTo>
                            <a:lnTo>
                              <a:pt x="261153" y="159106"/>
                            </a:lnTo>
                            <a:lnTo>
                              <a:pt x="264445" y="150876"/>
                            </a:lnTo>
                            <a:lnTo>
                              <a:pt x="277063" y="145938"/>
                            </a:lnTo>
                            <a:lnTo>
                              <a:pt x="280355" y="137709"/>
                            </a:lnTo>
                            <a:lnTo>
                              <a:pt x="275417" y="133868"/>
                            </a:lnTo>
                            <a:lnTo>
                              <a:pt x="272674" y="126187"/>
                            </a:lnTo>
                            <a:lnTo>
                              <a:pt x="272674" y="116312"/>
                            </a:lnTo>
                            <a:lnTo>
                              <a:pt x="277063" y="117409"/>
                            </a:lnTo>
                            <a:lnTo>
                              <a:pt x="279806" y="111374"/>
                            </a:lnTo>
                            <a:lnTo>
                              <a:pt x="276514" y="108082"/>
                            </a:lnTo>
                            <a:lnTo>
                              <a:pt x="290230" y="104242"/>
                            </a:lnTo>
                            <a:lnTo>
                              <a:pt x="291877" y="110277"/>
                            </a:lnTo>
                            <a:lnTo>
                              <a:pt x="322600" y="113568"/>
                            </a:lnTo>
                            <a:lnTo>
                              <a:pt x="322600" y="127284"/>
                            </a:lnTo>
                            <a:lnTo>
                              <a:pt x="329733" y="130576"/>
                            </a:lnTo>
                            <a:lnTo>
                              <a:pt x="335219" y="122347"/>
                            </a:lnTo>
                            <a:lnTo>
                              <a:pt x="343997" y="125639"/>
                            </a:lnTo>
                            <a:lnTo>
                              <a:pt x="374721" y="104790"/>
                            </a:lnTo>
                            <a:lnTo>
                              <a:pt x="382402" y="104790"/>
                            </a:lnTo>
                            <a:lnTo>
                              <a:pt x="383499" y="109728"/>
                            </a:lnTo>
                            <a:lnTo>
                              <a:pt x="385694" y="111374"/>
                            </a:lnTo>
                            <a:lnTo>
                              <a:pt x="392278" y="109728"/>
                            </a:lnTo>
                            <a:lnTo>
                              <a:pt x="395569" y="105888"/>
                            </a:lnTo>
                            <a:lnTo>
                              <a:pt x="399958" y="106985"/>
                            </a:lnTo>
                            <a:lnTo>
                              <a:pt x="402702" y="101498"/>
                            </a:lnTo>
                            <a:lnTo>
                              <a:pt x="408737" y="100401"/>
                            </a:lnTo>
                            <a:lnTo>
                              <a:pt x="421904" y="84491"/>
                            </a:lnTo>
                            <a:lnTo>
                              <a:pt x="434523" y="85039"/>
                            </a:lnTo>
                            <a:lnTo>
                              <a:pt x="441106" y="69677"/>
                            </a:lnTo>
                            <a:lnTo>
                              <a:pt x="447690" y="74615"/>
                            </a:lnTo>
                            <a:lnTo>
                              <a:pt x="452628" y="72420"/>
                            </a:lnTo>
                            <a:lnTo>
                              <a:pt x="457566" y="66934"/>
                            </a:lnTo>
                            <a:lnTo>
                              <a:pt x="454822" y="47732"/>
                            </a:lnTo>
                            <a:lnTo>
                              <a:pt x="457566" y="38953"/>
                            </a:lnTo>
                            <a:lnTo>
                              <a:pt x="465795" y="35113"/>
                            </a:lnTo>
                            <a:lnTo>
                              <a:pt x="472379" y="26883"/>
                            </a:lnTo>
                            <a:lnTo>
                              <a:pt x="477865" y="26883"/>
                            </a:lnTo>
                            <a:lnTo>
                              <a:pt x="485546" y="18105"/>
                            </a:lnTo>
                            <a:lnTo>
                              <a:pt x="488290" y="10424"/>
                            </a:lnTo>
                            <a:lnTo>
                              <a:pt x="497068" y="14265"/>
                            </a:lnTo>
                            <a:lnTo>
                              <a:pt x="514076" y="0"/>
                            </a:lnTo>
                            <a:lnTo>
                              <a:pt x="536021" y="549"/>
                            </a:lnTo>
                            <a:lnTo>
                              <a:pt x="556321" y="8230"/>
                            </a:lnTo>
                            <a:lnTo>
                              <a:pt x="562356" y="14265"/>
                            </a:lnTo>
                            <a:lnTo>
                              <a:pt x="565099" y="20300"/>
                            </a:lnTo>
                            <a:lnTo>
                              <a:pt x="570586" y="25237"/>
                            </a:lnTo>
                            <a:lnTo>
                              <a:pt x="570037" y="32370"/>
                            </a:lnTo>
                            <a:lnTo>
                              <a:pt x="577718" y="52121"/>
                            </a:lnTo>
                            <a:lnTo>
                              <a:pt x="577169" y="60350"/>
                            </a:lnTo>
                            <a:lnTo>
                              <a:pt x="571134" y="64191"/>
                            </a:lnTo>
                            <a:lnTo>
                              <a:pt x="568391" y="76261"/>
                            </a:lnTo>
                            <a:lnTo>
                              <a:pt x="577718" y="76810"/>
                            </a:lnTo>
                            <a:lnTo>
                              <a:pt x="576072" y="81747"/>
                            </a:lnTo>
                            <a:lnTo>
                              <a:pt x="568391" y="87234"/>
                            </a:lnTo>
                            <a:lnTo>
                              <a:pt x="547543" y="120701"/>
                            </a:lnTo>
                            <a:lnTo>
                              <a:pt x="552481" y="129479"/>
                            </a:lnTo>
                            <a:lnTo>
                              <a:pt x="540959" y="123444"/>
                            </a:lnTo>
                            <a:lnTo>
                              <a:pt x="535473" y="123444"/>
                            </a:lnTo>
                            <a:lnTo>
                              <a:pt x="529438" y="125639"/>
                            </a:lnTo>
                            <a:lnTo>
                              <a:pt x="502006" y="150876"/>
                            </a:lnTo>
                            <a:lnTo>
                              <a:pt x="487741" y="156911"/>
                            </a:lnTo>
                            <a:lnTo>
                              <a:pt x="481157" y="156911"/>
                            </a:lnTo>
                            <a:lnTo>
                              <a:pt x="466893" y="165141"/>
                            </a:lnTo>
                            <a:lnTo>
                              <a:pt x="458114" y="163495"/>
                            </a:lnTo>
                            <a:lnTo>
                              <a:pt x="444398" y="167884"/>
                            </a:lnTo>
                            <a:lnTo>
                              <a:pt x="439461" y="172273"/>
                            </a:lnTo>
                            <a:lnTo>
                              <a:pt x="437815" y="179405"/>
                            </a:lnTo>
                            <a:lnTo>
                              <a:pt x="430682" y="186538"/>
                            </a:lnTo>
                            <a:lnTo>
                              <a:pt x="426842" y="178308"/>
                            </a:lnTo>
                            <a:lnTo>
                              <a:pt x="420807" y="189281"/>
                            </a:lnTo>
                            <a:lnTo>
                              <a:pt x="382951" y="213421"/>
                            </a:lnTo>
                            <a:lnTo>
                              <a:pt x="379110" y="211775"/>
                            </a:lnTo>
                            <a:lnTo>
                              <a:pt x="373624" y="198608"/>
                            </a:lnTo>
                            <a:lnTo>
                              <a:pt x="369235" y="201900"/>
                            </a:lnTo>
                            <a:lnTo>
                              <a:pt x="370332" y="209032"/>
                            </a:lnTo>
                            <a:lnTo>
                              <a:pt x="368686" y="211226"/>
                            </a:lnTo>
                            <a:lnTo>
                              <a:pt x="366491" y="217810"/>
                            </a:lnTo>
                            <a:lnTo>
                              <a:pt x="346741" y="239756"/>
                            </a:lnTo>
                            <a:lnTo>
                              <a:pt x="329733" y="243596"/>
                            </a:lnTo>
                            <a:lnTo>
                              <a:pt x="324246" y="255118"/>
                            </a:lnTo>
                            <a:lnTo>
                              <a:pt x="321503" y="249083"/>
                            </a:lnTo>
                            <a:lnTo>
                              <a:pt x="289682" y="295168"/>
                            </a:lnTo>
                            <a:lnTo>
                              <a:pt x="271577" y="299009"/>
                            </a:lnTo>
                            <a:lnTo>
                              <a:pt x="268285" y="302849"/>
                            </a:lnTo>
                            <a:lnTo>
                              <a:pt x="266639" y="297912"/>
                            </a:lnTo>
                            <a:lnTo>
                              <a:pt x="258958" y="299009"/>
                            </a:lnTo>
                            <a:lnTo>
                              <a:pt x="256215" y="294620"/>
                            </a:lnTo>
                            <a:lnTo>
                              <a:pt x="251826" y="305044"/>
                            </a:lnTo>
                            <a:lnTo>
                              <a:pt x="257312" y="309982"/>
                            </a:lnTo>
                            <a:lnTo>
                              <a:pt x="262250" y="311079"/>
                            </a:lnTo>
                            <a:lnTo>
                              <a:pt x="264445" y="318211"/>
                            </a:lnTo>
                            <a:lnTo>
                              <a:pt x="246888" y="336865"/>
                            </a:lnTo>
                            <a:lnTo>
                              <a:pt x="249082" y="342900"/>
                            </a:lnTo>
                            <a:lnTo>
                              <a:pt x="245791" y="350032"/>
                            </a:lnTo>
                            <a:lnTo>
                              <a:pt x="233721" y="352227"/>
                            </a:lnTo>
                            <a:lnTo>
                              <a:pt x="227137" y="345643"/>
                            </a:lnTo>
                            <a:lnTo>
                              <a:pt x="217261" y="341803"/>
                            </a:lnTo>
                            <a:lnTo>
                              <a:pt x="218907" y="346740"/>
                            </a:lnTo>
                            <a:lnTo>
                              <a:pt x="227137" y="356616"/>
                            </a:lnTo>
                            <a:lnTo>
                              <a:pt x="233721" y="371978"/>
                            </a:lnTo>
                            <a:lnTo>
                              <a:pt x="208483" y="353873"/>
                            </a:lnTo>
                            <a:lnTo>
                              <a:pt x="201899" y="356616"/>
                            </a:lnTo>
                            <a:lnTo>
                              <a:pt x="202448" y="359908"/>
                            </a:lnTo>
                            <a:lnTo>
                              <a:pt x="201899" y="363748"/>
                            </a:lnTo>
                            <a:lnTo>
                              <a:pt x="205191" y="372527"/>
                            </a:lnTo>
                            <a:lnTo>
                              <a:pt x="208483" y="375818"/>
                            </a:lnTo>
                            <a:lnTo>
                              <a:pt x="200802" y="371429"/>
                            </a:lnTo>
                            <a:lnTo>
                              <a:pt x="199705" y="375270"/>
                            </a:lnTo>
                            <a:lnTo>
                              <a:pt x="204094" y="385694"/>
                            </a:lnTo>
                            <a:lnTo>
                              <a:pt x="200802" y="390083"/>
                            </a:lnTo>
                            <a:lnTo>
                              <a:pt x="195316" y="391180"/>
                            </a:lnTo>
                            <a:lnTo>
                              <a:pt x="192024" y="384048"/>
                            </a:lnTo>
                            <a:lnTo>
                              <a:pt x="172822" y="368686"/>
                            </a:lnTo>
                            <a:lnTo>
                              <a:pt x="171176" y="375270"/>
                            </a:lnTo>
                            <a:lnTo>
                              <a:pt x="180502" y="384048"/>
                            </a:lnTo>
                            <a:lnTo>
                              <a:pt x="190927" y="406542"/>
                            </a:lnTo>
                            <a:lnTo>
                              <a:pt x="191475" y="414223"/>
                            </a:lnTo>
                            <a:lnTo>
                              <a:pt x="187635" y="413126"/>
                            </a:lnTo>
                            <a:lnTo>
                              <a:pt x="185440" y="425196"/>
                            </a:lnTo>
                            <a:lnTo>
                              <a:pt x="181600" y="419161"/>
                            </a:lnTo>
                            <a:lnTo>
                              <a:pt x="179405" y="419710"/>
                            </a:lnTo>
                            <a:lnTo>
                              <a:pt x="179954" y="427939"/>
                            </a:lnTo>
                            <a:lnTo>
                              <a:pt x="181600" y="431231"/>
                            </a:lnTo>
                            <a:lnTo>
                              <a:pt x="178857" y="433974"/>
                            </a:lnTo>
                            <a:lnTo>
                              <a:pt x="172822" y="427939"/>
                            </a:lnTo>
                            <a:lnTo>
                              <a:pt x="171176" y="436169"/>
                            </a:lnTo>
                            <a:lnTo>
                              <a:pt x="172822" y="446044"/>
                            </a:lnTo>
                            <a:lnTo>
                              <a:pt x="167884" y="447690"/>
                            </a:lnTo>
                            <a:lnTo>
                              <a:pt x="164043" y="442204"/>
                            </a:lnTo>
                            <a:lnTo>
                              <a:pt x="159106" y="440558"/>
                            </a:lnTo>
                            <a:lnTo>
                              <a:pt x="146487" y="412577"/>
                            </a:lnTo>
                            <a:lnTo>
                              <a:pt x="142098" y="425196"/>
                            </a:lnTo>
                            <a:lnTo>
                              <a:pt x="144292" y="433974"/>
                            </a:lnTo>
                            <a:lnTo>
                              <a:pt x="135514" y="437815"/>
                            </a:lnTo>
                            <a:lnTo>
                              <a:pt x="147035" y="442204"/>
                            </a:lnTo>
                            <a:lnTo>
                              <a:pt x="151425" y="446593"/>
                            </a:lnTo>
                            <a:lnTo>
                              <a:pt x="151973" y="454274"/>
                            </a:lnTo>
                            <a:lnTo>
                              <a:pt x="158557" y="457566"/>
                            </a:lnTo>
                            <a:lnTo>
                              <a:pt x="154717" y="460309"/>
                            </a:lnTo>
                            <a:lnTo>
                              <a:pt x="156362" y="464698"/>
                            </a:lnTo>
                            <a:lnTo>
                              <a:pt x="155265" y="479511"/>
                            </a:lnTo>
                            <a:lnTo>
                              <a:pt x="148681" y="480060"/>
                            </a:lnTo>
                            <a:lnTo>
                              <a:pt x="145390" y="470184"/>
                            </a:lnTo>
                            <a:lnTo>
                              <a:pt x="123444" y="465247"/>
                            </a:lnTo>
                            <a:lnTo>
                              <a:pt x="116860" y="466893"/>
                            </a:lnTo>
                            <a:lnTo>
                              <a:pt x="123444" y="471830"/>
                            </a:lnTo>
                            <a:lnTo>
                              <a:pt x="132771" y="473476"/>
                            </a:lnTo>
                            <a:lnTo>
                              <a:pt x="142646" y="488290"/>
                            </a:lnTo>
                            <a:lnTo>
                              <a:pt x="144841" y="495971"/>
                            </a:lnTo>
                            <a:lnTo>
                              <a:pt x="142646" y="500360"/>
                            </a:lnTo>
                            <a:lnTo>
                              <a:pt x="138806" y="502006"/>
                            </a:lnTo>
                            <a:lnTo>
                              <a:pt x="137709" y="506395"/>
                            </a:lnTo>
                            <a:lnTo>
                              <a:pt x="130028" y="500908"/>
                            </a:lnTo>
                            <a:lnTo>
                              <a:pt x="126736" y="492679"/>
                            </a:lnTo>
                            <a:lnTo>
                              <a:pt x="119603" y="489936"/>
                            </a:lnTo>
                            <a:lnTo>
                              <a:pt x="126187" y="509687"/>
                            </a:lnTo>
                            <a:lnTo>
                              <a:pt x="131125" y="514624"/>
                            </a:lnTo>
                            <a:lnTo>
                              <a:pt x="132222" y="520659"/>
                            </a:lnTo>
                            <a:lnTo>
                              <a:pt x="126736" y="526146"/>
                            </a:lnTo>
                            <a:lnTo>
                              <a:pt x="123444" y="534924"/>
                            </a:lnTo>
                            <a:lnTo>
                              <a:pt x="119603" y="536021"/>
                            </a:lnTo>
                            <a:lnTo>
                              <a:pt x="114666" y="545348"/>
                            </a:lnTo>
                            <a:lnTo>
                              <a:pt x="109179" y="544800"/>
                            </a:lnTo>
                            <a:lnTo>
                              <a:pt x="104242" y="539862"/>
                            </a:lnTo>
                            <a:lnTo>
                              <a:pt x="91623" y="540959"/>
                            </a:lnTo>
                            <a:lnTo>
                              <a:pt x="79004" y="532729"/>
                            </a:lnTo>
                            <a:lnTo>
                              <a:pt x="66934" y="531632"/>
                            </a:lnTo>
                            <a:lnTo>
                              <a:pt x="55961" y="521208"/>
                            </a:lnTo>
                            <a:lnTo>
                              <a:pt x="42245" y="523403"/>
                            </a:lnTo>
                            <a:lnTo>
                              <a:pt x="26883" y="532729"/>
                            </a:lnTo>
                            <a:lnTo>
                              <a:pt x="17008" y="531632"/>
                            </a:lnTo>
                            <a:lnTo>
                              <a:pt x="24689" y="525049"/>
                            </a:lnTo>
                            <a:lnTo>
                              <a:pt x="27432" y="519562"/>
                            </a:lnTo>
                            <a:lnTo>
                              <a:pt x="23043" y="519013"/>
                            </a:lnTo>
                            <a:lnTo>
                              <a:pt x="23591" y="510784"/>
                            </a:lnTo>
                            <a:lnTo>
                              <a:pt x="26883" y="505846"/>
                            </a:lnTo>
                            <a:lnTo>
                              <a:pt x="39502" y="495422"/>
                            </a:lnTo>
                            <a:lnTo>
                              <a:pt x="44440" y="495971"/>
                            </a:lnTo>
                            <a:lnTo>
                              <a:pt x="53767" y="488838"/>
                            </a:lnTo>
                            <a:lnTo>
                              <a:pt x="53218" y="486644"/>
                            </a:lnTo>
                            <a:lnTo>
                              <a:pt x="47732" y="482255"/>
                            </a:lnTo>
                            <a:lnTo>
                              <a:pt x="44440" y="487192"/>
                            </a:lnTo>
                            <a:lnTo>
                              <a:pt x="36759" y="488838"/>
                            </a:lnTo>
                            <a:lnTo>
                              <a:pt x="28529" y="497616"/>
                            </a:lnTo>
                            <a:lnTo>
                              <a:pt x="13167" y="495971"/>
                            </a:lnTo>
                            <a:lnTo>
                              <a:pt x="11521" y="489936"/>
                            </a:lnTo>
                            <a:lnTo>
                              <a:pt x="3292" y="483900"/>
                            </a:lnTo>
                            <a:lnTo>
                              <a:pt x="0" y="474025"/>
                            </a:lnTo>
                          </a:path>
                        </a:pathLst>
                      </a:custGeom>
                      <a:grpFill/>
                      <a:ln w="1270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4" name="Graphic 7">
                        <a:extLst>
                          <a:ext uri="{FF2B5EF4-FFF2-40B4-BE49-F238E27FC236}">
                            <a16:creationId xmlns:a16="http://schemas.microsoft.com/office/drawing/2014/main" id="{0685A478-EF06-8476-2679-4AAA93DAC90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773615" y="1443430"/>
                        <a:ext cx="26146" cy="43292"/>
                      </a:xfrm>
                      <a:custGeom>
                        <a:avLst/>
                        <a:gdLst>
                          <a:gd name="connsiteX0" fmla="*/ 0 w 33466"/>
                          <a:gd name="connsiteY0" fmla="*/ 8230 h 55412"/>
                          <a:gd name="connsiteX1" fmla="*/ 0 w 33466"/>
                          <a:gd name="connsiteY1" fmla="*/ 5486 h 55412"/>
                          <a:gd name="connsiteX2" fmla="*/ 9875 w 33466"/>
                          <a:gd name="connsiteY2" fmla="*/ 0 h 55412"/>
                          <a:gd name="connsiteX3" fmla="*/ 16459 w 33466"/>
                          <a:gd name="connsiteY3" fmla="*/ 3841 h 55412"/>
                          <a:gd name="connsiteX4" fmla="*/ 22494 w 33466"/>
                          <a:gd name="connsiteY4" fmla="*/ 10973 h 55412"/>
                          <a:gd name="connsiteX5" fmla="*/ 24140 w 33466"/>
                          <a:gd name="connsiteY5" fmla="*/ 6584 h 55412"/>
                          <a:gd name="connsiteX6" fmla="*/ 32370 w 33466"/>
                          <a:gd name="connsiteY6" fmla="*/ 20300 h 55412"/>
                          <a:gd name="connsiteX7" fmla="*/ 31821 w 33466"/>
                          <a:gd name="connsiteY7" fmla="*/ 36210 h 55412"/>
                          <a:gd name="connsiteX8" fmla="*/ 30724 w 33466"/>
                          <a:gd name="connsiteY8" fmla="*/ 38953 h 55412"/>
                          <a:gd name="connsiteX9" fmla="*/ 33467 w 33466"/>
                          <a:gd name="connsiteY9" fmla="*/ 53218 h 55412"/>
                          <a:gd name="connsiteX10" fmla="*/ 30724 w 33466"/>
                          <a:gd name="connsiteY10" fmla="*/ 55413 h 55412"/>
                          <a:gd name="connsiteX11" fmla="*/ 16459 w 33466"/>
                          <a:gd name="connsiteY11" fmla="*/ 18654 h 55412"/>
                          <a:gd name="connsiteX12" fmla="*/ 2195 w 33466"/>
                          <a:gd name="connsiteY12" fmla="*/ 12619 h 55412"/>
                          <a:gd name="connsiteX13" fmla="*/ 0 w 33466"/>
                          <a:gd name="connsiteY13" fmla="*/ 8230 h 5541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</a:cxnLst>
                        <a:rect l="l" t="t" r="r" b="b"/>
                        <a:pathLst>
                          <a:path w="33466" h="55412">
                            <a:moveTo>
                              <a:pt x="0" y="8230"/>
                            </a:moveTo>
                            <a:lnTo>
                              <a:pt x="0" y="5486"/>
                            </a:lnTo>
                            <a:lnTo>
                              <a:pt x="9875" y="0"/>
                            </a:lnTo>
                            <a:lnTo>
                              <a:pt x="16459" y="3841"/>
                            </a:lnTo>
                            <a:lnTo>
                              <a:pt x="22494" y="10973"/>
                            </a:lnTo>
                            <a:lnTo>
                              <a:pt x="24140" y="6584"/>
                            </a:lnTo>
                            <a:lnTo>
                              <a:pt x="32370" y="20300"/>
                            </a:lnTo>
                            <a:lnTo>
                              <a:pt x="31821" y="36210"/>
                            </a:lnTo>
                            <a:lnTo>
                              <a:pt x="30724" y="38953"/>
                            </a:lnTo>
                            <a:lnTo>
                              <a:pt x="33467" y="53218"/>
                            </a:lnTo>
                            <a:lnTo>
                              <a:pt x="30724" y="55413"/>
                            </a:lnTo>
                            <a:lnTo>
                              <a:pt x="16459" y="18654"/>
                            </a:lnTo>
                            <a:lnTo>
                              <a:pt x="2195" y="12619"/>
                            </a:lnTo>
                            <a:lnTo>
                              <a:pt x="0" y="8230"/>
                            </a:lnTo>
                          </a:path>
                        </a:pathLst>
                      </a:custGeom>
                      <a:grpFill/>
                      <a:ln w="1270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5" name="Graphic 7">
                        <a:extLst>
                          <a:ext uri="{FF2B5EF4-FFF2-40B4-BE49-F238E27FC236}">
                            <a16:creationId xmlns:a16="http://schemas.microsoft.com/office/drawing/2014/main" id="{69D45094-F1D7-C214-0B18-60CC6284E59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651881" y="1605885"/>
                        <a:ext cx="63010" cy="67296"/>
                      </a:xfrm>
                      <a:custGeom>
                        <a:avLst/>
                        <a:gdLst>
                          <a:gd name="connsiteX0" fmla="*/ 18654 w 80649"/>
                          <a:gd name="connsiteY0" fmla="*/ 6035 h 86136"/>
                          <a:gd name="connsiteX1" fmla="*/ 20848 w 80649"/>
                          <a:gd name="connsiteY1" fmla="*/ 2743 h 86136"/>
                          <a:gd name="connsiteX2" fmla="*/ 23591 w 80649"/>
                          <a:gd name="connsiteY2" fmla="*/ 2743 h 86136"/>
                          <a:gd name="connsiteX3" fmla="*/ 26883 w 80649"/>
                          <a:gd name="connsiteY3" fmla="*/ 5486 h 86136"/>
                          <a:gd name="connsiteX4" fmla="*/ 34564 w 80649"/>
                          <a:gd name="connsiteY4" fmla="*/ 0 h 86136"/>
                          <a:gd name="connsiteX5" fmla="*/ 37856 w 80649"/>
                          <a:gd name="connsiteY5" fmla="*/ 0 h 86136"/>
                          <a:gd name="connsiteX6" fmla="*/ 64739 w 80649"/>
                          <a:gd name="connsiteY6" fmla="*/ 25786 h 86136"/>
                          <a:gd name="connsiteX7" fmla="*/ 69677 w 80649"/>
                          <a:gd name="connsiteY7" fmla="*/ 35113 h 86136"/>
                          <a:gd name="connsiteX8" fmla="*/ 72420 w 80649"/>
                          <a:gd name="connsiteY8" fmla="*/ 36210 h 86136"/>
                          <a:gd name="connsiteX9" fmla="*/ 72420 w 80649"/>
                          <a:gd name="connsiteY9" fmla="*/ 23592 h 86136"/>
                          <a:gd name="connsiteX10" fmla="*/ 80650 w 80649"/>
                          <a:gd name="connsiteY10" fmla="*/ 44440 h 86136"/>
                          <a:gd name="connsiteX11" fmla="*/ 79553 w 80649"/>
                          <a:gd name="connsiteY11" fmla="*/ 53767 h 86136"/>
                          <a:gd name="connsiteX12" fmla="*/ 74615 w 80649"/>
                          <a:gd name="connsiteY12" fmla="*/ 43891 h 86136"/>
                          <a:gd name="connsiteX13" fmla="*/ 53218 w 80649"/>
                          <a:gd name="connsiteY13" fmla="*/ 71872 h 86136"/>
                          <a:gd name="connsiteX14" fmla="*/ 43891 w 80649"/>
                          <a:gd name="connsiteY14" fmla="*/ 77358 h 86136"/>
                          <a:gd name="connsiteX15" fmla="*/ 37856 w 80649"/>
                          <a:gd name="connsiteY15" fmla="*/ 77358 h 86136"/>
                          <a:gd name="connsiteX16" fmla="*/ 31821 w 80649"/>
                          <a:gd name="connsiteY16" fmla="*/ 84491 h 86136"/>
                          <a:gd name="connsiteX17" fmla="*/ 24689 w 80649"/>
                          <a:gd name="connsiteY17" fmla="*/ 86136 h 86136"/>
                          <a:gd name="connsiteX18" fmla="*/ 21397 w 80649"/>
                          <a:gd name="connsiteY18" fmla="*/ 80650 h 86136"/>
                          <a:gd name="connsiteX19" fmla="*/ 19202 w 80649"/>
                          <a:gd name="connsiteY19" fmla="*/ 86136 h 86136"/>
                          <a:gd name="connsiteX20" fmla="*/ 14265 w 80649"/>
                          <a:gd name="connsiteY20" fmla="*/ 81199 h 86136"/>
                          <a:gd name="connsiteX21" fmla="*/ 9327 w 80649"/>
                          <a:gd name="connsiteY21" fmla="*/ 72420 h 86136"/>
                          <a:gd name="connsiteX22" fmla="*/ 4938 w 80649"/>
                          <a:gd name="connsiteY22" fmla="*/ 71872 h 86136"/>
                          <a:gd name="connsiteX23" fmla="*/ 3840 w 80649"/>
                          <a:gd name="connsiteY23" fmla="*/ 81199 h 86136"/>
                          <a:gd name="connsiteX24" fmla="*/ 6035 w 80649"/>
                          <a:gd name="connsiteY24" fmla="*/ 86136 h 86136"/>
                          <a:gd name="connsiteX25" fmla="*/ 0 w 80649"/>
                          <a:gd name="connsiteY25" fmla="*/ 71323 h 86136"/>
                          <a:gd name="connsiteX26" fmla="*/ 2743 w 80649"/>
                          <a:gd name="connsiteY26" fmla="*/ 38405 h 86136"/>
                          <a:gd name="connsiteX27" fmla="*/ 18654 w 80649"/>
                          <a:gd name="connsiteY27" fmla="*/ 6035 h 8613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</a:cxnLst>
                        <a:rect l="l" t="t" r="r" b="b"/>
                        <a:pathLst>
                          <a:path w="80649" h="86136">
                            <a:moveTo>
                              <a:pt x="18654" y="6035"/>
                            </a:moveTo>
                            <a:lnTo>
                              <a:pt x="20848" y="2743"/>
                            </a:lnTo>
                            <a:lnTo>
                              <a:pt x="23591" y="2743"/>
                            </a:lnTo>
                            <a:lnTo>
                              <a:pt x="26883" y="5486"/>
                            </a:lnTo>
                            <a:lnTo>
                              <a:pt x="34564" y="0"/>
                            </a:lnTo>
                            <a:lnTo>
                              <a:pt x="37856" y="0"/>
                            </a:lnTo>
                            <a:lnTo>
                              <a:pt x="64739" y="25786"/>
                            </a:lnTo>
                            <a:lnTo>
                              <a:pt x="69677" y="35113"/>
                            </a:lnTo>
                            <a:lnTo>
                              <a:pt x="72420" y="36210"/>
                            </a:lnTo>
                            <a:lnTo>
                              <a:pt x="72420" y="23592"/>
                            </a:lnTo>
                            <a:lnTo>
                              <a:pt x="80650" y="44440"/>
                            </a:lnTo>
                            <a:lnTo>
                              <a:pt x="79553" y="53767"/>
                            </a:lnTo>
                            <a:lnTo>
                              <a:pt x="74615" y="43891"/>
                            </a:lnTo>
                            <a:lnTo>
                              <a:pt x="53218" y="71872"/>
                            </a:lnTo>
                            <a:lnTo>
                              <a:pt x="43891" y="77358"/>
                            </a:lnTo>
                            <a:lnTo>
                              <a:pt x="37856" y="77358"/>
                            </a:lnTo>
                            <a:lnTo>
                              <a:pt x="31821" y="84491"/>
                            </a:lnTo>
                            <a:lnTo>
                              <a:pt x="24689" y="86136"/>
                            </a:lnTo>
                            <a:lnTo>
                              <a:pt x="21397" y="80650"/>
                            </a:lnTo>
                            <a:lnTo>
                              <a:pt x="19202" y="86136"/>
                            </a:lnTo>
                            <a:lnTo>
                              <a:pt x="14265" y="81199"/>
                            </a:lnTo>
                            <a:lnTo>
                              <a:pt x="9327" y="72420"/>
                            </a:lnTo>
                            <a:lnTo>
                              <a:pt x="4938" y="71872"/>
                            </a:lnTo>
                            <a:lnTo>
                              <a:pt x="3840" y="81199"/>
                            </a:lnTo>
                            <a:lnTo>
                              <a:pt x="6035" y="86136"/>
                            </a:lnTo>
                            <a:lnTo>
                              <a:pt x="0" y="71323"/>
                            </a:lnTo>
                            <a:lnTo>
                              <a:pt x="2743" y="38405"/>
                            </a:lnTo>
                            <a:lnTo>
                              <a:pt x="18654" y="6035"/>
                            </a:lnTo>
                          </a:path>
                        </a:pathLst>
                      </a:custGeom>
                      <a:grpFill/>
                      <a:ln w="1270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6" name="Graphic 7">
                        <a:extLst>
                          <a:ext uri="{FF2B5EF4-FFF2-40B4-BE49-F238E27FC236}">
                            <a16:creationId xmlns:a16="http://schemas.microsoft.com/office/drawing/2014/main" id="{2B059128-4351-15CF-434C-D498638E380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955788" y="1526586"/>
                        <a:ext cx="60009" cy="65582"/>
                      </a:xfrm>
                      <a:custGeom>
                        <a:avLst/>
                        <a:gdLst>
                          <a:gd name="connsiteX0" fmla="*/ 10424 w 76809"/>
                          <a:gd name="connsiteY0" fmla="*/ 51024 h 83941"/>
                          <a:gd name="connsiteX1" fmla="*/ 8778 w 76809"/>
                          <a:gd name="connsiteY1" fmla="*/ 51024 h 83941"/>
                          <a:gd name="connsiteX2" fmla="*/ 4938 w 76809"/>
                          <a:gd name="connsiteY2" fmla="*/ 37856 h 83941"/>
                          <a:gd name="connsiteX3" fmla="*/ 4938 w 76809"/>
                          <a:gd name="connsiteY3" fmla="*/ 33467 h 83941"/>
                          <a:gd name="connsiteX4" fmla="*/ 1646 w 76809"/>
                          <a:gd name="connsiteY4" fmla="*/ 31272 h 83941"/>
                          <a:gd name="connsiteX5" fmla="*/ 0 w 76809"/>
                          <a:gd name="connsiteY5" fmla="*/ 24140 h 83941"/>
                          <a:gd name="connsiteX6" fmla="*/ 6584 w 76809"/>
                          <a:gd name="connsiteY6" fmla="*/ 26883 h 83941"/>
                          <a:gd name="connsiteX7" fmla="*/ 13167 w 76809"/>
                          <a:gd name="connsiteY7" fmla="*/ 25786 h 83941"/>
                          <a:gd name="connsiteX8" fmla="*/ 3841 w 76809"/>
                          <a:gd name="connsiteY8" fmla="*/ 17008 h 83941"/>
                          <a:gd name="connsiteX9" fmla="*/ 6584 w 76809"/>
                          <a:gd name="connsiteY9" fmla="*/ 15911 h 83941"/>
                          <a:gd name="connsiteX10" fmla="*/ 12619 w 76809"/>
                          <a:gd name="connsiteY10" fmla="*/ 1646 h 83941"/>
                          <a:gd name="connsiteX11" fmla="*/ 18654 w 76809"/>
                          <a:gd name="connsiteY11" fmla="*/ 0 h 83941"/>
                          <a:gd name="connsiteX12" fmla="*/ 24689 w 76809"/>
                          <a:gd name="connsiteY12" fmla="*/ 10973 h 83941"/>
                          <a:gd name="connsiteX13" fmla="*/ 31273 w 76809"/>
                          <a:gd name="connsiteY13" fmla="*/ 15362 h 83941"/>
                          <a:gd name="connsiteX14" fmla="*/ 35662 w 76809"/>
                          <a:gd name="connsiteY14" fmla="*/ 25237 h 83941"/>
                          <a:gd name="connsiteX15" fmla="*/ 46634 w 76809"/>
                          <a:gd name="connsiteY15" fmla="*/ 31272 h 83941"/>
                          <a:gd name="connsiteX16" fmla="*/ 74615 w 76809"/>
                          <a:gd name="connsiteY16" fmla="*/ 66934 h 83941"/>
                          <a:gd name="connsiteX17" fmla="*/ 76810 w 76809"/>
                          <a:gd name="connsiteY17" fmla="*/ 74066 h 83941"/>
                          <a:gd name="connsiteX18" fmla="*/ 71323 w 76809"/>
                          <a:gd name="connsiteY18" fmla="*/ 83942 h 83941"/>
                          <a:gd name="connsiteX19" fmla="*/ 66385 w 76809"/>
                          <a:gd name="connsiteY19" fmla="*/ 80101 h 83941"/>
                          <a:gd name="connsiteX20" fmla="*/ 60899 w 76809"/>
                          <a:gd name="connsiteY20" fmla="*/ 79553 h 83941"/>
                          <a:gd name="connsiteX21" fmla="*/ 57607 w 76809"/>
                          <a:gd name="connsiteY21" fmla="*/ 82845 h 83941"/>
                          <a:gd name="connsiteX22" fmla="*/ 50475 w 76809"/>
                          <a:gd name="connsiteY22" fmla="*/ 82845 h 83941"/>
                          <a:gd name="connsiteX23" fmla="*/ 41697 w 76809"/>
                          <a:gd name="connsiteY23" fmla="*/ 76810 h 83941"/>
                          <a:gd name="connsiteX24" fmla="*/ 43343 w 76809"/>
                          <a:gd name="connsiteY24" fmla="*/ 70226 h 83941"/>
                          <a:gd name="connsiteX25" fmla="*/ 37307 w 76809"/>
                          <a:gd name="connsiteY25" fmla="*/ 65288 h 83941"/>
                          <a:gd name="connsiteX26" fmla="*/ 30175 w 76809"/>
                          <a:gd name="connsiteY26" fmla="*/ 64740 h 83941"/>
                          <a:gd name="connsiteX27" fmla="*/ 18105 w 76809"/>
                          <a:gd name="connsiteY27" fmla="*/ 56510 h 83941"/>
                          <a:gd name="connsiteX28" fmla="*/ 26883 w 76809"/>
                          <a:gd name="connsiteY28" fmla="*/ 72420 h 83941"/>
                          <a:gd name="connsiteX29" fmla="*/ 25237 w 76809"/>
                          <a:gd name="connsiteY29" fmla="*/ 76810 h 83941"/>
                          <a:gd name="connsiteX30" fmla="*/ 10424 w 76809"/>
                          <a:gd name="connsiteY30" fmla="*/ 51024 h 8394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</a:cxnLst>
                        <a:rect l="l" t="t" r="r" b="b"/>
                        <a:pathLst>
                          <a:path w="76809" h="83941">
                            <a:moveTo>
                              <a:pt x="10424" y="51024"/>
                            </a:moveTo>
                            <a:lnTo>
                              <a:pt x="8778" y="51024"/>
                            </a:lnTo>
                            <a:lnTo>
                              <a:pt x="4938" y="37856"/>
                            </a:lnTo>
                            <a:lnTo>
                              <a:pt x="4938" y="33467"/>
                            </a:lnTo>
                            <a:lnTo>
                              <a:pt x="1646" y="31272"/>
                            </a:lnTo>
                            <a:lnTo>
                              <a:pt x="0" y="24140"/>
                            </a:lnTo>
                            <a:lnTo>
                              <a:pt x="6584" y="26883"/>
                            </a:lnTo>
                            <a:lnTo>
                              <a:pt x="13167" y="25786"/>
                            </a:lnTo>
                            <a:lnTo>
                              <a:pt x="3841" y="17008"/>
                            </a:lnTo>
                            <a:lnTo>
                              <a:pt x="6584" y="15911"/>
                            </a:lnTo>
                            <a:lnTo>
                              <a:pt x="12619" y="1646"/>
                            </a:lnTo>
                            <a:lnTo>
                              <a:pt x="18654" y="0"/>
                            </a:lnTo>
                            <a:lnTo>
                              <a:pt x="24689" y="10973"/>
                            </a:lnTo>
                            <a:lnTo>
                              <a:pt x="31273" y="15362"/>
                            </a:lnTo>
                            <a:lnTo>
                              <a:pt x="35662" y="25237"/>
                            </a:lnTo>
                            <a:lnTo>
                              <a:pt x="46634" y="31272"/>
                            </a:lnTo>
                            <a:lnTo>
                              <a:pt x="74615" y="66934"/>
                            </a:lnTo>
                            <a:lnTo>
                              <a:pt x="76810" y="74066"/>
                            </a:lnTo>
                            <a:lnTo>
                              <a:pt x="71323" y="83942"/>
                            </a:lnTo>
                            <a:lnTo>
                              <a:pt x="66385" y="80101"/>
                            </a:lnTo>
                            <a:lnTo>
                              <a:pt x="60899" y="79553"/>
                            </a:lnTo>
                            <a:lnTo>
                              <a:pt x="57607" y="82845"/>
                            </a:lnTo>
                            <a:lnTo>
                              <a:pt x="50475" y="82845"/>
                            </a:lnTo>
                            <a:lnTo>
                              <a:pt x="41697" y="76810"/>
                            </a:lnTo>
                            <a:lnTo>
                              <a:pt x="43343" y="70226"/>
                            </a:lnTo>
                            <a:lnTo>
                              <a:pt x="37307" y="65288"/>
                            </a:lnTo>
                            <a:lnTo>
                              <a:pt x="30175" y="64740"/>
                            </a:lnTo>
                            <a:lnTo>
                              <a:pt x="18105" y="56510"/>
                            </a:lnTo>
                            <a:lnTo>
                              <a:pt x="26883" y="72420"/>
                            </a:lnTo>
                            <a:lnTo>
                              <a:pt x="25237" y="76810"/>
                            </a:lnTo>
                            <a:lnTo>
                              <a:pt x="10424" y="51024"/>
                            </a:lnTo>
                          </a:path>
                        </a:pathLst>
                      </a:custGeom>
                      <a:grpFill/>
                      <a:ln w="1270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7" name="Graphic 7">
                        <a:extLst>
                          <a:ext uri="{FF2B5EF4-FFF2-40B4-BE49-F238E27FC236}">
                            <a16:creationId xmlns:a16="http://schemas.microsoft.com/office/drawing/2014/main" id="{875228C7-3238-669D-8EBB-A8D0EC07C1C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415722" y="1277117"/>
                        <a:ext cx="19717" cy="24432"/>
                      </a:xfrm>
                      <a:custGeom>
                        <a:avLst/>
                        <a:gdLst>
                          <a:gd name="connsiteX0" fmla="*/ 0 w 25237"/>
                          <a:gd name="connsiteY0" fmla="*/ 8778 h 31272"/>
                          <a:gd name="connsiteX1" fmla="*/ 2195 w 25237"/>
                          <a:gd name="connsiteY1" fmla="*/ 2195 h 31272"/>
                          <a:gd name="connsiteX2" fmla="*/ 7681 w 25237"/>
                          <a:gd name="connsiteY2" fmla="*/ 0 h 31272"/>
                          <a:gd name="connsiteX3" fmla="*/ 24140 w 25237"/>
                          <a:gd name="connsiteY3" fmla="*/ 6035 h 31272"/>
                          <a:gd name="connsiteX4" fmla="*/ 25238 w 25237"/>
                          <a:gd name="connsiteY4" fmla="*/ 8778 h 31272"/>
                          <a:gd name="connsiteX5" fmla="*/ 19751 w 25237"/>
                          <a:gd name="connsiteY5" fmla="*/ 9876 h 31272"/>
                          <a:gd name="connsiteX6" fmla="*/ 17008 w 25237"/>
                          <a:gd name="connsiteY6" fmla="*/ 31273 h 31272"/>
                          <a:gd name="connsiteX7" fmla="*/ 549 w 25237"/>
                          <a:gd name="connsiteY7" fmla="*/ 15362 h 31272"/>
                          <a:gd name="connsiteX8" fmla="*/ 0 w 25237"/>
                          <a:gd name="connsiteY8" fmla="*/ 8778 h 3127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25237" h="31272">
                            <a:moveTo>
                              <a:pt x="0" y="8778"/>
                            </a:moveTo>
                            <a:lnTo>
                              <a:pt x="2195" y="2195"/>
                            </a:lnTo>
                            <a:lnTo>
                              <a:pt x="7681" y="0"/>
                            </a:lnTo>
                            <a:lnTo>
                              <a:pt x="24140" y="6035"/>
                            </a:lnTo>
                            <a:lnTo>
                              <a:pt x="25238" y="8778"/>
                            </a:lnTo>
                            <a:lnTo>
                              <a:pt x="19751" y="9876"/>
                            </a:lnTo>
                            <a:lnTo>
                              <a:pt x="17008" y="31273"/>
                            </a:lnTo>
                            <a:lnTo>
                              <a:pt x="549" y="15362"/>
                            </a:lnTo>
                            <a:lnTo>
                              <a:pt x="0" y="8778"/>
                            </a:lnTo>
                          </a:path>
                        </a:pathLst>
                      </a:custGeom>
                      <a:grpFill/>
                      <a:ln w="1270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8" name="Graphic 7">
                        <a:extLst>
                          <a:ext uri="{FF2B5EF4-FFF2-40B4-BE49-F238E27FC236}">
                            <a16:creationId xmlns:a16="http://schemas.microsoft.com/office/drawing/2014/main" id="{0E28BE4E-5F09-2962-ABF7-7BD65042020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301703" y="1815063"/>
                        <a:ext cx="37291" cy="26147"/>
                      </a:xfrm>
                      <a:custGeom>
                        <a:avLst/>
                        <a:gdLst>
                          <a:gd name="connsiteX0" fmla="*/ 0 w 47731"/>
                          <a:gd name="connsiteY0" fmla="*/ 20300 h 33467"/>
                          <a:gd name="connsiteX1" fmla="*/ 13167 w 47731"/>
                          <a:gd name="connsiteY1" fmla="*/ 17556 h 33467"/>
                          <a:gd name="connsiteX2" fmla="*/ 27981 w 47731"/>
                          <a:gd name="connsiteY2" fmla="*/ 4938 h 33467"/>
                          <a:gd name="connsiteX3" fmla="*/ 41697 w 47731"/>
                          <a:gd name="connsiteY3" fmla="*/ 0 h 33467"/>
                          <a:gd name="connsiteX4" fmla="*/ 43891 w 47731"/>
                          <a:gd name="connsiteY4" fmla="*/ 3292 h 33467"/>
                          <a:gd name="connsiteX5" fmla="*/ 47732 w 47731"/>
                          <a:gd name="connsiteY5" fmla="*/ 18654 h 33467"/>
                          <a:gd name="connsiteX6" fmla="*/ 38405 w 47731"/>
                          <a:gd name="connsiteY6" fmla="*/ 17556 h 33467"/>
                          <a:gd name="connsiteX7" fmla="*/ 17557 w 47731"/>
                          <a:gd name="connsiteY7" fmla="*/ 33467 h 33467"/>
                          <a:gd name="connsiteX8" fmla="*/ 11521 w 47731"/>
                          <a:gd name="connsiteY8" fmla="*/ 33467 h 33467"/>
                          <a:gd name="connsiteX9" fmla="*/ 5486 w 47731"/>
                          <a:gd name="connsiteY9" fmla="*/ 27981 h 33467"/>
                          <a:gd name="connsiteX10" fmla="*/ 0 w 47731"/>
                          <a:gd name="connsiteY10" fmla="*/ 20300 h 3346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</a:cxnLst>
                        <a:rect l="l" t="t" r="r" b="b"/>
                        <a:pathLst>
                          <a:path w="47731" h="33467">
                            <a:moveTo>
                              <a:pt x="0" y="20300"/>
                            </a:moveTo>
                            <a:lnTo>
                              <a:pt x="13167" y="17556"/>
                            </a:lnTo>
                            <a:lnTo>
                              <a:pt x="27981" y="4938"/>
                            </a:lnTo>
                            <a:lnTo>
                              <a:pt x="41697" y="0"/>
                            </a:lnTo>
                            <a:lnTo>
                              <a:pt x="43891" y="3292"/>
                            </a:lnTo>
                            <a:lnTo>
                              <a:pt x="47732" y="18654"/>
                            </a:lnTo>
                            <a:lnTo>
                              <a:pt x="38405" y="17556"/>
                            </a:lnTo>
                            <a:lnTo>
                              <a:pt x="17557" y="33467"/>
                            </a:lnTo>
                            <a:lnTo>
                              <a:pt x="11521" y="33467"/>
                            </a:lnTo>
                            <a:lnTo>
                              <a:pt x="5486" y="27981"/>
                            </a:lnTo>
                            <a:lnTo>
                              <a:pt x="0" y="20300"/>
                            </a:lnTo>
                          </a:path>
                        </a:pathLst>
                      </a:custGeom>
                      <a:grpFill/>
                      <a:ln w="1270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9" name="Graphic 7">
                        <a:extLst>
                          <a:ext uri="{FF2B5EF4-FFF2-40B4-BE49-F238E27FC236}">
                            <a16:creationId xmlns:a16="http://schemas.microsoft.com/office/drawing/2014/main" id="{83949867-4A68-7D91-F261-808C4014516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044066" y="736599"/>
                        <a:ext cx="4778932" cy="2409398"/>
                      </a:xfrm>
                      <a:custGeom>
                        <a:avLst/>
                        <a:gdLst>
                          <a:gd name="connsiteX0" fmla="*/ 5727802 w 6116787"/>
                          <a:gd name="connsiteY0" fmla="*/ 1543873 h 3083905"/>
                          <a:gd name="connsiteX1" fmla="*/ 5748650 w 6116787"/>
                          <a:gd name="connsiteY1" fmla="*/ 1520282 h 3083905"/>
                          <a:gd name="connsiteX2" fmla="*/ 5749748 w 6116787"/>
                          <a:gd name="connsiteY2" fmla="*/ 1510406 h 3083905"/>
                          <a:gd name="connsiteX3" fmla="*/ 5755783 w 6116787"/>
                          <a:gd name="connsiteY3" fmla="*/ 1502725 h 3083905"/>
                          <a:gd name="connsiteX4" fmla="*/ 5754685 w 6116787"/>
                          <a:gd name="connsiteY4" fmla="*/ 1492301 h 3083905"/>
                          <a:gd name="connsiteX5" fmla="*/ 5734386 w 6116787"/>
                          <a:gd name="connsiteY5" fmla="*/ 1472001 h 3083905"/>
                          <a:gd name="connsiteX6" fmla="*/ 5732191 w 6116787"/>
                          <a:gd name="connsiteY6" fmla="*/ 1448958 h 3083905"/>
                          <a:gd name="connsiteX7" fmla="*/ 5737677 w 6116787"/>
                          <a:gd name="connsiteY7" fmla="*/ 1448958 h 3083905"/>
                          <a:gd name="connsiteX8" fmla="*/ 5742067 w 6116787"/>
                          <a:gd name="connsiteY8" fmla="*/ 1446215 h 3083905"/>
                          <a:gd name="connsiteX9" fmla="*/ 5745907 w 6116787"/>
                          <a:gd name="connsiteY9" fmla="*/ 1451702 h 3083905"/>
                          <a:gd name="connsiteX10" fmla="*/ 5754137 w 6116787"/>
                          <a:gd name="connsiteY10" fmla="*/ 1446764 h 3083905"/>
                          <a:gd name="connsiteX11" fmla="*/ 5753040 w 6116787"/>
                          <a:gd name="connsiteY11" fmla="*/ 1430305 h 3083905"/>
                          <a:gd name="connsiteX12" fmla="*/ 5758526 w 6116787"/>
                          <a:gd name="connsiteY12" fmla="*/ 1435242 h 3083905"/>
                          <a:gd name="connsiteX13" fmla="*/ 5760172 w 6116787"/>
                          <a:gd name="connsiteY13" fmla="*/ 1428659 h 3083905"/>
                          <a:gd name="connsiteX14" fmla="*/ 5761818 w 6116787"/>
                          <a:gd name="connsiteY14" fmla="*/ 1436340 h 3083905"/>
                          <a:gd name="connsiteX15" fmla="*/ 5769499 w 6116787"/>
                          <a:gd name="connsiteY15" fmla="*/ 1445666 h 3083905"/>
                          <a:gd name="connsiteX16" fmla="*/ 5774437 w 6116787"/>
                          <a:gd name="connsiteY16" fmla="*/ 1443472 h 3083905"/>
                          <a:gd name="connsiteX17" fmla="*/ 5779923 w 6116787"/>
                          <a:gd name="connsiteY17" fmla="*/ 1428110 h 3083905"/>
                          <a:gd name="connsiteX18" fmla="*/ 5784312 w 6116787"/>
                          <a:gd name="connsiteY18" fmla="*/ 1427561 h 3083905"/>
                          <a:gd name="connsiteX19" fmla="*/ 5785410 w 6116787"/>
                          <a:gd name="connsiteY19" fmla="*/ 1429207 h 3083905"/>
                          <a:gd name="connsiteX20" fmla="*/ 5783215 w 6116787"/>
                          <a:gd name="connsiteY20" fmla="*/ 1451702 h 3083905"/>
                          <a:gd name="connsiteX21" fmla="*/ 5777728 w 6116787"/>
                          <a:gd name="connsiteY21" fmla="*/ 1456639 h 3083905"/>
                          <a:gd name="connsiteX22" fmla="*/ 5772791 w 6116787"/>
                          <a:gd name="connsiteY22" fmla="*/ 1456639 h 3083905"/>
                          <a:gd name="connsiteX23" fmla="*/ 5768401 w 6116787"/>
                          <a:gd name="connsiteY23" fmla="*/ 1454445 h 3083905"/>
                          <a:gd name="connsiteX24" fmla="*/ 5778277 w 6116787"/>
                          <a:gd name="connsiteY24" fmla="*/ 1478585 h 3083905"/>
                          <a:gd name="connsiteX25" fmla="*/ 5783215 w 6116787"/>
                          <a:gd name="connsiteY25" fmla="*/ 1478585 h 3083905"/>
                          <a:gd name="connsiteX26" fmla="*/ 5786507 w 6116787"/>
                          <a:gd name="connsiteY26" fmla="*/ 1488460 h 3083905"/>
                          <a:gd name="connsiteX27" fmla="*/ 5786507 w 6116787"/>
                          <a:gd name="connsiteY27" fmla="*/ 1499982 h 3083905"/>
                          <a:gd name="connsiteX28" fmla="*/ 5793090 w 6116787"/>
                          <a:gd name="connsiteY28" fmla="*/ 1503822 h 3083905"/>
                          <a:gd name="connsiteX29" fmla="*/ 5802417 w 6116787"/>
                          <a:gd name="connsiteY29" fmla="*/ 1503822 h 3083905"/>
                          <a:gd name="connsiteX30" fmla="*/ 5815585 w 6116787"/>
                          <a:gd name="connsiteY30" fmla="*/ 1507114 h 3083905"/>
                          <a:gd name="connsiteX31" fmla="*/ 5828752 w 6116787"/>
                          <a:gd name="connsiteY31" fmla="*/ 1502725 h 3083905"/>
                          <a:gd name="connsiteX32" fmla="*/ 5832044 w 6116787"/>
                          <a:gd name="connsiteY32" fmla="*/ 1497239 h 3083905"/>
                          <a:gd name="connsiteX33" fmla="*/ 5839176 w 6116787"/>
                          <a:gd name="connsiteY33" fmla="*/ 1496141 h 3083905"/>
                          <a:gd name="connsiteX34" fmla="*/ 5853440 w 6116787"/>
                          <a:gd name="connsiteY34" fmla="*/ 1498336 h 3083905"/>
                          <a:gd name="connsiteX35" fmla="*/ 5860573 w 6116787"/>
                          <a:gd name="connsiteY35" fmla="*/ 1497239 h 3083905"/>
                          <a:gd name="connsiteX36" fmla="*/ 5868254 w 6116787"/>
                          <a:gd name="connsiteY36" fmla="*/ 1506566 h 3083905"/>
                          <a:gd name="connsiteX37" fmla="*/ 5875386 w 6116787"/>
                          <a:gd name="connsiteY37" fmla="*/ 1507114 h 3083905"/>
                          <a:gd name="connsiteX38" fmla="*/ 5882519 w 6116787"/>
                          <a:gd name="connsiteY38" fmla="*/ 1510406 h 3083905"/>
                          <a:gd name="connsiteX39" fmla="*/ 5881422 w 6116787"/>
                          <a:gd name="connsiteY39" fmla="*/ 1522476 h 3083905"/>
                          <a:gd name="connsiteX40" fmla="*/ 5885262 w 6116787"/>
                          <a:gd name="connsiteY40" fmla="*/ 1529608 h 3083905"/>
                          <a:gd name="connsiteX41" fmla="*/ 5883067 w 6116787"/>
                          <a:gd name="connsiteY41" fmla="*/ 1547165 h 3083905"/>
                          <a:gd name="connsiteX42" fmla="*/ 5898978 w 6116787"/>
                          <a:gd name="connsiteY42" fmla="*/ 1560881 h 3083905"/>
                          <a:gd name="connsiteX43" fmla="*/ 5902269 w 6116787"/>
                          <a:gd name="connsiteY43" fmla="*/ 1566367 h 3083905"/>
                          <a:gd name="connsiteX44" fmla="*/ 5903367 w 6116787"/>
                          <a:gd name="connsiteY44" fmla="*/ 1570756 h 3083905"/>
                          <a:gd name="connsiteX45" fmla="*/ 5910499 w 6116787"/>
                          <a:gd name="connsiteY45" fmla="*/ 1571305 h 3083905"/>
                          <a:gd name="connsiteX46" fmla="*/ 5917083 w 6116787"/>
                          <a:gd name="connsiteY46" fmla="*/ 1574597 h 3083905"/>
                          <a:gd name="connsiteX47" fmla="*/ 5920375 w 6116787"/>
                          <a:gd name="connsiteY47" fmla="*/ 1574048 h 3083905"/>
                          <a:gd name="connsiteX48" fmla="*/ 5915437 w 6116787"/>
                          <a:gd name="connsiteY48" fmla="*/ 1569659 h 3083905"/>
                          <a:gd name="connsiteX49" fmla="*/ 5919826 w 6116787"/>
                          <a:gd name="connsiteY49" fmla="*/ 1562527 h 3083905"/>
                          <a:gd name="connsiteX50" fmla="*/ 5921472 w 6116787"/>
                          <a:gd name="connsiteY50" fmla="*/ 1566367 h 3083905"/>
                          <a:gd name="connsiteX51" fmla="*/ 5928604 w 6116787"/>
                          <a:gd name="connsiteY51" fmla="*/ 1568013 h 3083905"/>
                          <a:gd name="connsiteX52" fmla="*/ 5928604 w 6116787"/>
                          <a:gd name="connsiteY52" fmla="*/ 1556492 h 3083905"/>
                          <a:gd name="connsiteX53" fmla="*/ 5930799 w 6116787"/>
                          <a:gd name="connsiteY53" fmla="*/ 1552103 h 3083905"/>
                          <a:gd name="connsiteX54" fmla="*/ 5931896 w 6116787"/>
                          <a:gd name="connsiteY54" fmla="*/ 1554846 h 3083905"/>
                          <a:gd name="connsiteX55" fmla="*/ 5930799 w 6116787"/>
                          <a:gd name="connsiteY55" fmla="*/ 1565819 h 3083905"/>
                          <a:gd name="connsiteX56" fmla="*/ 5925313 w 6116787"/>
                          <a:gd name="connsiteY56" fmla="*/ 1572951 h 3083905"/>
                          <a:gd name="connsiteX57" fmla="*/ 5936286 w 6116787"/>
                          <a:gd name="connsiteY57" fmla="*/ 1581729 h 3083905"/>
                          <a:gd name="connsiteX58" fmla="*/ 5943417 w 6116787"/>
                          <a:gd name="connsiteY58" fmla="*/ 1581729 h 3083905"/>
                          <a:gd name="connsiteX59" fmla="*/ 5947807 w 6116787"/>
                          <a:gd name="connsiteY59" fmla="*/ 1584472 h 3083905"/>
                          <a:gd name="connsiteX60" fmla="*/ 5945612 w 6116787"/>
                          <a:gd name="connsiteY60" fmla="*/ 1588313 h 3083905"/>
                          <a:gd name="connsiteX61" fmla="*/ 5953293 w 6116787"/>
                          <a:gd name="connsiteY61" fmla="*/ 1594897 h 3083905"/>
                          <a:gd name="connsiteX62" fmla="*/ 5953293 w 6116787"/>
                          <a:gd name="connsiteY62" fmla="*/ 1602578 h 3083905"/>
                          <a:gd name="connsiteX63" fmla="*/ 5961523 w 6116787"/>
                          <a:gd name="connsiteY63" fmla="*/ 1602578 h 3083905"/>
                          <a:gd name="connsiteX64" fmla="*/ 5964815 w 6116787"/>
                          <a:gd name="connsiteY64" fmla="*/ 1595994 h 3083905"/>
                          <a:gd name="connsiteX65" fmla="*/ 5963718 w 6116787"/>
                          <a:gd name="connsiteY65" fmla="*/ 1605869 h 3083905"/>
                          <a:gd name="connsiteX66" fmla="*/ 5970849 w 6116787"/>
                          <a:gd name="connsiteY66" fmla="*/ 1608613 h 3083905"/>
                          <a:gd name="connsiteX67" fmla="*/ 5976884 w 6116787"/>
                          <a:gd name="connsiteY67" fmla="*/ 1604772 h 3083905"/>
                          <a:gd name="connsiteX68" fmla="*/ 5979628 w 6116787"/>
                          <a:gd name="connsiteY68" fmla="*/ 1597091 h 3083905"/>
                          <a:gd name="connsiteX69" fmla="*/ 5980177 w 6116787"/>
                          <a:gd name="connsiteY69" fmla="*/ 1587764 h 3083905"/>
                          <a:gd name="connsiteX70" fmla="*/ 5983468 w 6116787"/>
                          <a:gd name="connsiteY70" fmla="*/ 1592153 h 3083905"/>
                          <a:gd name="connsiteX71" fmla="*/ 5977434 w 6116787"/>
                          <a:gd name="connsiteY71" fmla="*/ 1610258 h 3083905"/>
                          <a:gd name="connsiteX72" fmla="*/ 5982920 w 6116787"/>
                          <a:gd name="connsiteY72" fmla="*/ 1615745 h 3083905"/>
                          <a:gd name="connsiteX73" fmla="*/ 5988406 w 6116787"/>
                          <a:gd name="connsiteY73" fmla="*/ 1617391 h 3083905"/>
                          <a:gd name="connsiteX74" fmla="*/ 5992247 w 6116787"/>
                          <a:gd name="connsiteY74" fmla="*/ 1615745 h 3083905"/>
                          <a:gd name="connsiteX75" fmla="*/ 5997184 w 6116787"/>
                          <a:gd name="connsiteY75" fmla="*/ 1610807 h 3083905"/>
                          <a:gd name="connsiteX76" fmla="*/ 5997184 w 6116787"/>
                          <a:gd name="connsiteY76" fmla="*/ 1599834 h 3083905"/>
                          <a:gd name="connsiteX77" fmla="*/ 5990600 w 6116787"/>
                          <a:gd name="connsiteY77" fmla="*/ 1598737 h 3083905"/>
                          <a:gd name="connsiteX78" fmla="*/ 5990052 w 6116787"/>
                          <a:gd name="connsiteY78" fmla="*/ 1595445 h 3083905"/>
                          <a:gd name="connsiteX79" fmla="*/ 5996087 w 6116787"/>
                          <a:gd name="connsiteY79" fmla="*/ 1593799 h 3083905"/>
                          <a:gd name="connsiteX80" fmla="*/ 6002671 w 6116787"/>
                          <a:gd name="connsiteY80" fmla="*/ 1596542 h 3083905"/>
                          <a:gd name="connsiteX81" fmla="*/ 6008157 w 6116787"/>
                          <a:gd name="connsiteY81" fmla="*/ 1603675 h 3083905"/>
                          <a:gd name="connsiteX82" fmla="*/ 6016935 w 6116787"/>
                          <a:gd name="connsiteY82" fmla="*/ 1600932 h 3083905"/>
                          <a:gd name="connsiteX83" fmla="*/ 6010352 w 6116787"/>
                          <a:gd name="connsiteY83" fmla="*/ 1588313 h 3083905"/>
                          <a:gd name="connsiteX84" fmla="*/ 6010352 w 6116787"/>
                          <a:gd name="connsiteY84" fmla="*/ 1586118 h 3083905"/>
                          <a:gd name="connsiteX85" fmla="*/ 6006511 w 6116787"/>
                          <a:gd name="connsiteY85" fmla="*/ 1581729 h 3083905"/>
                          <a:gd name="connsiteX86" fmla="*/ 5998281 w 6116787"/>
                          <a:gd name="connsiteY86" fmla="*/ 1583375 h 3083905"/>
                          <a:gd name="connsiteX87" fmla="*/ 5997733 w 6116787"/>
                          <a:gd name="connsiteY87" fmla="*/ 1581729 h 3083905"/>
                          <a:gd name="connsiteX88" fmla="*/ 5993893 w 6116787"/>
                          <a:gd name="connsiteY88" fmla="*/ 1579535 h 3083905"/>
                          <a:gd name="connsiteX89" fmla="*/ 5993344 w 6116787"/>
                          <a:gd name="connsiteY89" fmla="*/ 1575694 h 3083905"/>
                          <a:gd name="connsiteX90" fmla="*/ 6000476 w 6116787"/>
                          <a:gd name="connsiteY90" fmla="*/ 1575146 h 3083905"/>
                          <a:gd name="connsiteX91" fmla="*/ 6002671 w 6116787"/>
                          <a:gd name="connsiteY91" fmla="*/ 1571305 h 3083905"/>
                          <a:gd name="connsiteX92" fmla="*/ 5998281 w 6116787"/>
                          <a:gd name="connsiteY92" fmla="*/ 1566367 h 3083905"/>
                          <a:gd name="connsiteX93" fmla="*/ 5988955 w 6116787"/>
                          <a:gd name="connsiteY93" fmla="*/ 1569110 h 3083905"/>
                          <a:gd name="connsiteX94" fmla="*/ 5994441 w 6116787"/>
                          <a:gd name="connsiteY94" fmla="*/ 1563624 h 3083905"/>
                          <a:gd name="connsiteX95" fmla="*/ 6003219 w 6116787"/>
                          <a:gd name="connsiteY95" fmla="*/ 1564173 h 3083905"/>
                          <a:gd name="connsiteX96" fmla="*/ 6005963 w 6116787"/>
                          <a:gd name="connsiteY96" fmla="*/ 1560881 h 3083905"/>
                          <a:gd name="connsiteX97" fmla="*/ 6005963 w 6116787"/>
                          <a:gd name="connsiteY97" fmla="*/ 1554846 h 3083905"/>
                          <a:gd name="connsiteX98" fmla="*/ 6011997 w 6116787"/>
                          <a:gd name="connsiteY98" fmla="*/ 1559235 h 3083905"/>
                          <a:gd name="connsiteX99" fmla="*/ 6027360 w 6116787"/>
                          <a:gd name="connsiteY99" fmla="*/ 1546068 h 3083905"/>
                          <a:gd name="connsiteX100" fmla="*/ 6019679 w 6116787"/>
                          <a:gd name="connsiteY100" fmla="*/ 1531803 h 3083905"/>
                          <a:gd name="connsiteX101" fmla="*/ 6012546 w 6116787"/>
                          <a:gd name="connsiteY101" fmla="*/ 1532352 h 3083905"/>
                          <a:gd name="connsiteX102" fmla="*/ 6005414 w 6116787"/>
                          <a:gd name="connsiteY102" fmla="*/ 1529608 h 3083905"/>
                          <a:gd name="connsiteX103" fmla="*/ 6022970 w 6116787"/>
                          <a:gd name="connsiteY103" fmla="*/ 1528511 h 3083905"/>
                          <a:gd name="connsiteX104" fmla="*/ 6021325 w 6116787"/>
                          <a:gd name="connsiteY104" fmla="*/ 1521379 h 3083905"/>
                          <a:gd name="connsiteX105" fmla="*/ 6024068 w 6116787"/>
                          <a:gd name="connsiteY105" fmla="*/ 1513149 h 3083905"/>
                          <a:gd name="connsiteX106" fmla="*/ 6034492 w 6116787"/>
                          <a:gd name="connsiteY106" fmla="*/ 1505468 h 3083905"/>
                          <a:gd name="connsiteX107" fmla="*/ 6043819 w 6116787"/>
                          <a:gd name="connsiteY107" fmla="*/ 1503822 h 3083905"/>
                          <a:gd name="connsiteX108" fmla="*/ 6063021 w 6116787"/>
                          <a:gd name="connsiteY108" fmla="*/ 1508211 h 3083905"/>
                          <a:gd name="connsiteX109" fmla="*/ 6065764 w 6116787"/>
                          <a:gd name="connsiteY109" fmla="*/ 1503822 h 3083905"/>
                          <a:gd name="connsiteX110" fmla="*/ 6063570 w 6116787"/>
                          <a:gd name="connsiteY110" fmla="*/ 1497787 h 3083905"/>
                          <a:gd name="connsiteX111" fmla="*/ 6053145 w 6116787"/>
                          <a:gd name="connsiteY111" fmla="*/ 1491204 h 3083905"/>
                          <a:gd name="connsiteX112" fmla="*/ 6050951 w 6116787"/>
                          <a:gd name="connsiteY112" fmla="*/ 1480231 h 3083905"/>
                          <a:gd name="connsiteX113" fmla="*/ 6054243 w 6116787"/>
                          <a:gd name="connsiteY113" fmla="*/ 1474744 h 3083905"/>
                          <a:gd name="connsiteX114" fmla="*/ 6060827 w 6116787"/>
                          <a:gd name="connsiteY114" fmla="*/ 1484071 h 3083905"/>
                          <a:gd name="connsiteX115" fmla="*/ 6068508 w 6116787"/>
                          <a:gd name="connsiteY115" fmla="*/ 1488460 h 3083905"/>
                          <a:gd name="connsiteX116" fmla="*/ 6073446 w 6116787"/>
                          <a:gd name="connsiteY116" fmla="*/ 1495044 h 3083905"/>
                          <a:gd name="connsiteX117" fmla="*/ 6081675 w 6116787"/>
                          <a:gd name="connsiteY117" fmla="*/ 1496141 h 3083905"/>
                          <a:gd name="connsiteX118" fmla="*/ 6083869 w 6116787"/>
                          <a:gd name="connsiteY118" fmla="*/ 1489558 h 3083905"/>
                          <a:gd name="connsiteX119" fmla="*/ 6082772 w 6116787"/>
                          <a:gd name="connsiteY119" fmla="*/ 1482974 h 3083905"/>
                          <a:gd name="connsiteX120" fmla="*/ 6084967 w 6116787"/>
                          <a:gd name="connsiteY120" fmla="*/ 1467612 h 3083905"/>
                          <a:gd name="connsiteX121" fmla="*/ 6093745 w 6116787"/>
                          <a:gd name="connsiteY121" fmla="*/ 1463772 h 3083905"/>
                          <a:gd name="connsiteX122" fmla="*/ 6100328 w 6116787"/>
                          <a:gd name="connsiteY122" fmla="*/ 1456639 h 3083905"/>
                          <a:gd name="connsiteX123" fmla="*/ 6106912 w 6116787"/>
                          <a:gd name="connsiteY123" fmla="*/ 1456091 h 3083905"/>
                          <a:gd name="connsiteX124" fmla="*/ 6113496 w 6116787"/>
                          <a:gd name="connsiteY124" fmla="*/ 1457737 h 3083905"/>
                          <a:gd name="connsiteX125" fmla="*/ 6116788 w 6116787"/>
                          <a:gd name="connsiteY125" fmla="*/ 1449507 h 3083905"/>
                          <a:gd name="connsiteX126" fmla="*/ 6110204 w 6116787"/>
                          <a:gd name="connsiteY126" fmla="*/ 1447861 h 3083905"/>
                          <a:gd name="connsiteX127" fmla="*/ 6107461 w 6116787"/>
                          <a:gd name="connsiteY127" fmla="*/ 1450056 h 3083905"/>
                          <a:gd name="connsiteX128" fmla="*/ 6101426 w 6116787"/>
                          <a:gd name="connsiteY128" fmla="*/ 1445666 h 3083905"/>
                          <a:gd name="connsiteX129" fmla="*/ 6096488 w 6116787"/>
                          <a:gd name="connsiteY129" fmla="*/ 1444569 h 3083905"/>
                          <a:gd name="connsiteX130" fmla="*/ 6098134 w 6116787"/>
                          <a:gd name="connsiteY130" fmla="*/ 1439631 h 3083905"/>
                          <a:gd name="connsiteX131" fmla="*/ 6092099 w 6116787"/>
                          <a:gd name="connsiteY131" fmla="*/ 1433596 h 3083905"/>
                          <a:gd name="connsiteX132" fmla="*/ 6083869 w 6116787"/>
                          <a:gd name="connsiteY132" fmla="*/ 1441826 h 3083905"/>
                          <a:gd name="connsiteX133" fmla="*/ 6080577 w 6116787"/>
                          <a:gd name="connsiteY133" fmla="*/ 1437437 h 3083905"/>
                          <a:gd name="connsiteX134" fmla="*/ 6084967 w 6116787"/>
                          <a:gd name="connsiteY134" fmla="*/ 1434145 h 3083905"/>
                          <a:gd name="connsiteX135" fmla="*/ 6086064 w 6116787"/>
                          <a:gd name="connsiteY135" fmla="*/ 1430853 h 3083905"/>
                          <a:gd name="connsiteX136" fmla="*/ 6069605 w 6116787"/>
                          <a:gd name="connsiteY136" fmla="*/ 1418234 h 3083905"/>
                          <a:gd name="connsiteX137" fmla="*/ 6065764 w 6116787"/>
                          <a:gd name="connsiteY137" fmla="*/ 1410005 h 3083905"/>
                          <a:gd name="connsiteX138" fmla="*/ 6054792 w 6116787"/>
                          <a:gd name="connsiteY138" fmla="*/ 1401775 h 3083905"/>
                          <a:gd name="connsiteX139" fmla="*/ 6050402 w 6116787"/>
                          <a:gd name="connsiteY139" fmla="*/ 1394094 h 3083905"/>
                          <a:gd name="connsiteX140" fmla="*/ 6049854 w 6116787"/>
                          <a:gd name="connsiteY140" fmla="*/ 1388608 h 3083905"/>
                          <a:gd name="connsiteX141" fmla="*/ 6042721 w 6116787"/>
                          <a:gd name="connsiteY141" fmla="*/ 1384219 h 3083905"/>
                          <a:gd name="connsiteX142" fmla="*/ 6039978 w 6116787"/>
                          <a:gd name="connsiteY142" fmla="*/ 1378732 h 3083905"/>
                          <a:gd name="connsiteX143" fmla="*/ 6038881 w 6116787"/>
                          <a:gd name="connsiteY143" fmla="*/ 1371600 h 3083905"/>
                          <a:gd name="connsiteX144" fmla="*/ 6005414 w 6116787"/>
                          <a:gd name="connsiteY144" fmla="*/ 1365016 h 3083905"/>
                          <a:gd name="connsiteX145" fmla="*/ 5998830 w 6116787"/>
                          <a:gd name="connsiteY145" fmla="*/ 1367211 h 3083905"/>
                          <a:gd name="connsiteX146" fmla="*/ 6014192 w 6116787"/>
                          <a:gd name="connsiteY146" fmla="*/ 1371600 h 3083905"/>
                          <a:gd name="connsiteX147" fmla="*/ 6010900 w 6116787"/>
                          <a:gd name="connsiteY147" fmla="*/ 1376538 h 3083905"/>
                          <a:gd name="connsiteX148" fmla="*/ 6003768 w 6116787"/>
                          <a:gd name="connsiteY148" fmla="*/ 1377635 h 3083905"/>
                          <a:gd name="connsiteX149" fmla="*/ 5983468 w 6116787"/>
                          <a:gd name="connsiteY149" fmla="*/ 1367760 h 3083905"/>
                          <a:gd name="connsiteX150" fmla="*/ 5985663 w 6116787"/>
                          <a:gd name="connsiteY150" fmla="*/ 1377635 h 3083905"/>
                          <a:gd name="connsiteX151" fmla="*/ 5983468 w 6116787"/>
                          <a:gd name="connsiteY151" fmla="*/ 1383122 h 3083905"/>
                          <a:gd name="connsiteX152" fmla="*/ 5980725 w 6116787"/>
                          <a:gd name="connsiteY152" fmla="*/ 1383122 h 3083905"/>
                          <a:gd name="connsiteX153" fmla="*/ 5977982 w 6116787"/>
                          <a:gd name="connsiteY153" fmla="*/ 1376538 h 3083905"/>
                          <a:gd name="connsiteX154" fmla="*/ 5974141 w 6116787"/>
                          <a:gd name="connsiteY154" fmla="*/ 1371600 h 3083905"/>
                          <a:gd name="connsiteX155" fmla="*/ 5976336 w 6116787"/>
                          <a:gd name="connsiteY155" fmla="*/ 1365016 h 3083905"/>
                          <a:gd name="connsiteX156" fmla="*/ 5982371 w 6116787"/>
                          <a:gd name="connsiteY156" fmla="*/ 1362822 h 3083905"/>
                          <a:gd name="connsiteX157" fmla="*/ 5974141 w 6116787"/>
                          <a:gd name="connsiteY157" fmla="*/ 1358981 h 3083905"/>
                          <a:gd name="connsiteX158" fmla="*/ 5970301 w 6116787"/>
                          <a:gd name="connsiteY158" fmla="*/ 1358981 h 3083905"/>
                          <a:gd name="connsiteX159" fmla="*/ 5968655 w 6116787"/>
                          <a:gd name="connsiteY159" fmla="*/ 1354592 h 3083905"/>
                          <a:gd name="connsiteX160" fmla="*/ 5963718 w 6116787"/>
                          <a:gd name="connsiteY160" fmla="*/ 1352946 h 3083905"/>
                          <a:gd name="connsiteX161" fmla="*/ 5964266 w 6116787"/>
                          <a:gd name="connsiteY161" fmla="*/ 1357884 h 3083905"/>
                          <a:gd name="connsiteX162" fmla="*/ 5961523 w 6116787"/>
                          <a:gd name="connsiteY162" fmla="*/ 1365565 h 3083905"/>
                          <a:gd name="connsiteX163" fmla="*/ 5958780 w 6116787"/>
                          <a:gd name="connsiteY163" fmla="*/ 1363919 h 3083905"/>
                          <a:gd name="connsiteX164" fmla="*/ 5957133 w 6116787"/>
                          <a:gd name="connsiteY164" fmla="*/ 1360079 h 3083905"/>
                          <a:gd name="connsiteX165" fmla="*/ 5948355 w 6116787"/>
                          <a:gd name="connsiteY165" fmla="*/ 1356787 h 3083905"/>
                          <a:gd name="connsiteX166" fmla="*/ 5940674 w 6116787"/>
                          <a:gd name="connsiteY166" fmla="*/ 1357884 h 3083905"/>
                          <a:gd name="connsiteX167" fmla="*/ 5933542 w 6116787"/>
                          <a:gd name="connsiteY167" fmla="*/ 1361176 h 3083905"/>
                          <a:gd name="connsiteX168" fmla="*/ 5936286 w 6116787"/>
                          <a:gd name="connsiteY168" fmla="*/ 1366114 h 3083905"/>
                          <a:gd name="connsiteX169" fmla="*/ 5937931 w 6116787"/>
                          <a:gd name="connsiteY169" fmla="*/ 1361725 h 3083905"/>
                          <a:gd name="connsiteX170" fmla="*/ 5946709 w 6116787"/>
                          <a:gd name="connsiteY170" fmla="*/ 1358981 h 3083905"/>
                          <a:gd name="connsiteX171" fmla="*/ 5947258 w 6116787"/>
                          <a:gd name="connsiteY171" fmla="*/ 1362273 h 3083905"/>
                          <a:gd name="connsiteX172" fmla="*/ 5942320 w 6116787"/>
                          <a:gd name="connsiteY172" fmla="*/ 1364468 h 3083905"/>
                          <a:gd name="connsiteX173" fmla="*/ 5952196 w 6116787"/>
                          <a:gd name="connsiteY173" fmla="*/ 1368308 h 3083905"/>
                          <a:gd name="connsiteX174" fmla="*/ 5948355 w 6116787"/>
                          <a:gd name="connsiteY174" fmla="*/ 1401775 h 3083905"/>
                          <a:gd name="connsiteX175" fmla="*/ 5953293 w 6116787"/>
                          <a:gd name="connsiteY175" fmla="*/ 1403421 h 3083905"/>
                          <a:gd name="connsiteX176" fmla="*/ 5956036 w 6116787"/>
                          <a:gd name="connsiteY176" fmla="*/ 1400129 h 3083905"/>
                          <a:gd name="connsiteX177" fmla="*/ 5958780 w 6116787"/>
                          <a:gd name="connsiteY177" fmla="*/ 1402873 h 3083905"/>
                          <a:gd name="connsiteX178" fmla="*/ 5962620 w 6116787"/>
                          <a:gd name="connsiteY178" fmla="*/ 1411102 h 3083905"/>
                          <a:gd name="connsiteX179" fmla="*/ 5961523 w 6116787"/>
                          <a:gd name="connsiteY179" fmla="*/ 1424818 h 3083905"/>
                          <a:gd name="connsiteX180" fmla="*/ 5956585 w 6116787"/>
                          <a:gd name="connsiteY180" fmla="*/ 1424818 h 3083905"/>
                          <a:gd name="connsiteX181" fmla="*/ 5953293 w 6116787"/>
                          <a:gd name="connsiteY181" fmla="*/ 1430305 h 3083905"/>
                          <a:gd name="connsiteX182" fmla="*/ 5953842 w 6116787"/>
                          <a:gd name="connsiteY182" fmla="*/ 1424818 h 3083905"/>
                          <a:gd name="connsiteX183" fmla="*/ 5955488 w 6116787"/>
                          <a:gd name="connsiteY183" fmla="*/ 1422075 h 3083905"/>
                          <a:gd name="connsiteX184" fmla="*/ 5955488 w 6116787"/>
                          <a:gd name="connsiteY184" fmla="*/ 1412199 h 3083905"/>
                          <a:gd name="connsiteX185" fmla="*/ 5946709 w 6116787"/>
                          <a:gd name="connsiteY185" fmla="*/ 1408359 h 3083905"/>
                          <a:gd name="connsiteX186" fmla="*/ 5940126 w 6116787"/>
                          <a:gd name="connsiteY186" fmla="*/ 1410005 h 3083905"/>
                          <a:gd name="connsiteX187" fmla="*/ 5938480 w 6116787"/>
                          <a:gd name="connsiteY187" fmla="*/ 1402873 h 3083905"/>
                          <a:gd name="connsiteX188" fmla="*/ 5939029 w 6116787"/>
                          <a:gd name="connsiteY188" fmla="*/ 1398483 h 3083905"/>
                          <a:gd name="connsiteX189" fmla="*/ 5930799 w 6116787"/>
                          <a:gd name="connsiteY189" fmla="*/ 1392997 h 3083905"/>
                          <a:gd name="connsiteX190" fmla="*/ 5927507 w 6116787"/>
                          <a:gd name="connsiteY190" fmla="*/ 1387511 h 3083905"/>
                          <a:gd name="connsiteX191" fmla="*/ 5929153 w 6116787"/>
                          <a:gd name="connsiteY191" fmla="*/ 1379281 h 3083905"/>
                          <a:gd name="connsiteX192" fmla="*/ 5915985 w 6116787"/>
                          <a:gd name="connsiteY192" fmla="*/ 1329355 h 3083905"/>
                          <a:gd name="connsiteX193" fmla="*/ 5917632 w 6116787"/>
                          <a:gd name="connsiteY193" fmla="*/ 1323868 h 3083905"/>
                          <a:gd name="connsiteX194" fmla="*/ 5922020 w 6116787"/>
                          <a:gd name="connsiteY194" fmla="*/ 1329355 h 3083905"/>
                          <a:gd name="connsiteX195" fmla="*/ 5923118 w 6116787"/>
                          <a:gd name="connsiteY195" fmla="*/ 1337036 h 3083905"/>
                          <a:gd name="connsiteX196" fmla="*/ 5924215 w 6116787"/>
                          <a:gd name="connsiteY196" fmla="*/ 1333744 h 3083905"/>
                          <a:gd name="connsiteX197" fmla="*/ 5922570 w 6116787"/>
                          <a:gd name="connsiteY197" fmla="*/ 1327709 h 3083905"/>
                          <a:gd name="connsiteX198" fmla="*/ 5905561 w 6116787"/>
                          <a:gd name="connsiteY198" fmla="*/ 1314542 h 3083905"/>
                          <a:gd name="connsiteX199" fmla="*/ 5902818 w 6116787"/>
                          <a:gd name="connsiteY199" fmla="*/ 1306312 h 3083905"/>
                          <a:gd name="connsiteX200" fmla="*/ 5902269 w 6116787"/>
                          <a:gd name="connsiteY200" fmla="*/ 1299728 h 3083905"/>
                          <a:gd name="connsiteX201" fmla="*/ 5884713 w 6116787"/>
                          <a:gd name="connsiteY201" fmla="*/ 1290950 h 3083905"/>
                          <a:gd name="connsiteX202" fmla="*/ 5881422 w 6116787"/>
                          <a:gd name="connsiteY202" fmla="*/ 1292596 h 3083905"/>
                          <a:gd name="connsiteX203" fmla="*/ 5884165 w 6116787"/>
                          <a:gd name="connsiteY203" fmla="*/ 1299728 h 3083905"/>
                          <a:gd name="connsiteX204" fmla="*/ 5894040 w 6116787"/>
                          <a:gd name="connsiteY204" fmla="*/ 1312896 h 3083905"/>
                          <a:gd name="connsiteX205" fmla="*/ 5896783 w 6116787"/>
                          <a:gd name="connsiteY205" fmla="*/ 1312347 h 3083905"/>
                          <a:gd name="connsiteX206" fmla="*/ 5900075 w 6116787"/>
                          <a:gd name="connsiteY206" fmla="*/ 1317833 h 3083905"/>
                          <a:gd name="connsiteX207" fmla="*/ 5901172 w 6116787"/>
                          <a:gd name="connsiteY207" fmla="*/ 1323868 h 3083905"/>
                          <a:gd name="connsiteX208" fmla="*/ 5874837 w 6116787"/>
                          <a:gd name="connsiteY208" fmla="*/ 1305763 h 3083905"/>
                          <a:gd name="connsiteX209" fmla="*/ 5868803 w 6116787"/>
                          <a:gd name="connsiteY209" fmla="*/ 1304117 h 3083905"/>
                          <a:gd name="connsiteX210" fmla="*/ 5861670 w 6116787"/>
                          <a:gd name="connsiteY210" fmla="*/ 1299728 h 3083905"/>
                          <a:gd name="connsiteX211" fmla="*/ 5865511 w 6116787"/>
                          <a:gd name="connsiteY211" fmla="*/ 1295888 h 3083905"/>
                          <a:gd name="connsiteX212" fmla="*/ 5872094 w 6116787"/>
                          <a:gd name="connsiteY212" fmla="*/ 1293693 h 3083905"/>
                          <a:gd name="connsiteX213" fmla="*/ 5872643 w 6116787"/>
                          <a:gd name="connsiteY213" fmla="*/ 1287110 h 3083905"/>
                          <a:gd name="connsiteX214" fmla="*/ 5874289 w 6116787"/>
                          <a:gd name="connsiteY214" fmla="*/ 1283269 h 3083905"/>
                          <a:gd name="connsiteX215" fmla="*/ 5860024 w 6116787"/>
                          <a:gd name="connsiteY215" fmla="*/ 1280526 h 3083905"/>
                          <a:gd name="connsiteX216" fmla="*/ 5851795 w 6116787"/>
                          <a:gd name="connsiteY216" fmla="*/ 1280526 h 3083905"/>
                          <a:gd name="connsiteX217" fmla="*/ 5846857 w 6116787"/>
                          <a:gd name="connsiteY217" fmla="*/ 1276685 h 3083905"/>
                          <a:gd name="connsiteX218" fmla="*/ 5839724 w 6116787"/>
                          <a:gd name="connsiteY218" fmla="*/ 1273942 h 3083905"/>
                          <a:gd name="connsiteX219" fmla="*/ 5843017 w 6116787"/>
                          <a:gd name="connsiteY219" fmla="*/ 1269004 h 3083905"/>
                          <a:gd name="connsiteX220" fmla="*/ 5846857 w 6116787"/>
                          <a:gd name="connsiteY220" fmla="*/ 1267907 h 3083905"/>
                          <a:gd name="connsiteX221" fmla="*/ 5844662 w 6116787"/>
                          <a:gd name="connsiteY221" fmla="*/ 1264067 h 3083905"/>
                          <a:gd name="connsiteX222" fmla="*/ 5843017 w 6116787"/>
                          <a:gd name="connsiteY222" fmla="*/ 1257483 h 3083905"/>
                          <a:gd name="connsiteX223" fmla="*/ 5832044 w 6116787"/>
                          <a:gd name="connsiteY223" fmla="*/ 1257483 h 3083905"/>
                          <a:gd name="connsiteX224" fmla="*/ 5833141 w 6116787"/>
                          <a:gd name="connsiteY224" fmla="*/ 1253094 h 3083905"/>
                          <a:gd name="connsiteX225" fmla="*/ 5827655 w 6116787"/>
                          <a:gd name="connsiteY225" fmla="*/ 1245962 h 3083905"/>
                          <a:gd name="connsiteX226" fmla="*/ 5822168 w 6116787"/>
                          <a:gd name="connsiteY226" fmla="*/ 1247059 h 3083905"/>
                          <a:gd name="connsiteX227" fmla="*/ 5821620 w 6116787"/>
                          <a:gd name="connsiteY227" fmla="*/ 1243767 h 3083905"/>
                          <a:gd name="connsiteX228" fmla="*/ 5813939 w 6116787"/>
                          <a:gd name="connsiteY228" fmla="*/ 1238281 h 3083905"/>
                          <a:gd name="connsiteX229" fmla="*/ 5800771 w 6116787"/>
                          <a:gd name="connsiteY229" fmla="*/ 1243767 h 3083905"/>
                          <a:gd name="connsiteX230" fmla="*/ 5800223 w 6116787"/>
                          <a:gd name="connsiteY230" fmla="*/ 1240475 h 3083905"/>
                          <a:gd name="connsiteX231" fmla="*/ 5801869 w 6116787"/>
                          <a:gd name="connsiteY231" fmla="*/ 1234440 h 3083905"/>
                          <a:gd name="connsiteX232" fmla="*/ 5800771 w 6116787"/>
                          <a:gd name="connsiteY232" fmla="*/ 1230600 h 3083905"/>
                          <a:gd name="connsiteX233" fmla="*/ 5797479 w 6116787"/>
                          <a:gd name="connsiteY233" fmla="*/ 1224016 h 3083905"/>
                          <a:gd name="connsiteX234" fmla="*/ 5789798 w 6116787"/>
                          <a:gd name="connsiteY234" fmla="*/ 1216335 h 3083905"/>
                          <a:gd name="connsiteX235" fmla="*/ 5795833 w 6116787"/>
                          <a:gd name="connsiteY235" fmla="*/ 1226210 h 3083905"/>
                          <a:gd name="connsiteX236" fmla="*/ 5786507 w 6116787"/>
                          <a:gd name="connsiteY236" fmla="*/ 1221273 h 3083905"/>
                          <a:gd name="connsiteX237" fmla="*/ 5782117 w 6116787"/>
                          <a:gd name="connsiteY237" fmla="*/ 1221273 h 3083905"/>
                          <a:gd name="connsiteX238" fmla="*/ 5776082 w 6116787"/>
                          <a:gd name="connsiteY238" fmla="*/ 1214689 h 3083905"/>
                          <a:gd name="connsiteX239" fmla="*/ 5770047 w 6116787"/>
                          <a:gd name="connsiteY239" fmla="*/ 1192195 h 3083905"/>
                          <a:gd name="connsiteX240" fmla="*/ 5765658 w 6116787"/>
                          <a:gd name="connsiteY240" fmla="*/ 1192195 h 3083905"/>
                          <a:gd name="connsiteX241" fmla="*/ 5749199 w 6116787"/>
                          <a:gd name="connsiteY241" fmla="*/ 1185062 h 3083905"/>
                          <a:gd name="connsiteX242" fmla="*/ 5744262 w 6116787"/>
                          <a:gd name="connsiteY242" fmla="*/ 1179027 h 3083905"/>
                          <a:gd name="connsiteX243" fmla="*/ 5735483 w 6116787"/>
                          <a:gd name="connsiteY243" fmla="*/ 1179027 h 3083905"/>
                          <a:gd name="connsiteX244" fmla="*/ 5727802 w 6116787"/>
                          <a:gd name="connsiteY244" fmla="*/ 1175736 h 3083905"/>
                          <a:gd name="connsiteX245" fmla="*/ 5727802 w 6116787"/>
                          <a:gd name="connsiteY245" fmla="*/ 1175736 h 3083905"/>
                          <a:gd name="connsiteX246" fmla="*/ 5727253 w 6116787"/>
                          <a:gd name="connsiteY246" fmla="*/ 1175187 h 3083905"/>
                          <a:gd name="connsiteX247" fmla="*/ 5680070 w 6116787"/>
                          <a:gd name="connsiteY247" fmla="*/ 1131296 h 3083905"/>
                          <a:gd name="connsiteX248" fmla="*/ 5672389 w 6116787"/>
                          <a:gd name="connsiteY248" fmla="*/ 1128553 h 3083905"/>
                          <a:gd name="connsiteX249" fmla="*/ 5667452 w 6116787"/>
                          <a:gd name="connsiteY249" fmla="*/ 1121420 h 3083905"/>
                          <a:gd name="connsiteX250" fmla="*/ 5664160 w 6116787"/>
                          <a:gd name="connsiteY250" fmla="*/ 1123615 h 3083905"/>
                          <a:gd name="connsiteX251" fmla="*/ 5639471 w 6116787"/>
                          <a:gd name="connsiteY251" fmla="*/ 1111545 h 3083905"/>
                          <a:gd name="connsiteX252" fmla="*/ 5629047 w 6116787"/>
                          <a:gd name="connsiteY252" fmla="*/ 1100572 h 3083905"/>
                          <a:gd name="connsiteX253" fmla="*/ 5624109 w 6116787"/>
                          <a:gd name="connsiteY253" fmla="*/ 1101121 h 3083905"/>
                          <a:gd name="connsiteX254" fmla="*/ 5609845 w 6116787"/>
                          <a:gd name="connsiteY254" fmla="*/ 1095086 h 3083905"/>
                          <a:gd name="connsiteX255" fmla="*/ 5601066 w 6116787"/>
                          <a:gd name="connsiteY255" fmla="*/ 1093988 h 3083905"/>
                          <a:gd name="connsiteX256" fmla="*/ 5580767 w 6116787"/>
                          <a:gd name="connsiteY256" fmla="*/ 1074786 h 3083905"/>
                          <a:gd name="connsiteX257" fmla="*/ 5536875 w 6116787"/>
                          <a:gd name="connsiteY257" fmla="*/ 1072591 h 3083905"/>
                          <a:gd name="connsiteX258" fmla="*/ 5533584 w 6116787"/>
                          <a:gd name="connsiteY258" fmla="*/ 1075883 h 3083905"/>
                          <a:gd name="connsiteX259" fmla="*/ 5523708 w 6116787"/>
                          <a:gd name="connsiteY259" fmla="*/ 1078078 h 3083905"/>
                          <a:gd name="connsiteX260" fmla="*/ 5517124 w 6116787"/>
                          <a:gd name="connsiteY260" fmla="*/ 1073689 h 3083905"/>
                          <a:gd name="connsiteX261" fmla="*/ 5507249 w 6116787"/>
                          <a:gd name="connsiteY261" fmla="*/ 1070945 h 3083905"/>
                          <a:gd name="connsiteX262" fmla="*/ 5497374 w 6116787"/>
                          <a:gd name="connsiteY262" fmla="*/ 1073140 h 3083905"/>
                          <a:gd name="connsiteX263" fmla="*/ 5482011 w 6116787"/>
                          <a:gd name="connsiteY263" fmla="*/ 1070945 h 3083905"/>
                          <a:gd name="connsiteX264" fmla="*/ 5473782 w 6116787"/>
                          <a:gd name="connsiteY264" fmla="*/ 1075883 h 3083905"/>
                          <a:gd name="connsiteX265" fmla="*/ 5463357 w 6116787"/>
                          <a:gd name="connsiteY265" fmla="*/ 1073689 h 3083905"/>
                          <a:gd name="connsiteX266" fmla="*/ 5445801 w 6116787"/>
                          <a:gd name="connsiteY266" fmla="*/ 1063813 h 3083905"/>
                          <a:gd name="connsiteX267" fmla="*/ 5440315 w 6116787"/>
                          <a:gd name="connsiteY267" fmla="*/ 1064910 h 3083905"/>
                          <a:gd name="connsiteX268" fmla="*/ 5375575 w 6116787"/>
                          <a:gd name="connsiteY268" fmla="*/ 1053389 h 3083905"/>
                          <a:gd name="connsiteX269" fmla="*/ 5369540 w 6116787"/>
                          <a:gd name="connsiteY269" fmla="*/ 1057778 h 3083905"/>
                          <a:gd name="connsiteX270" fmla="*/ 5367894 w 6116787"/>
                          <a:gd name="connsiteY270" fmla="*/ 1066008 h 3083905"/>
                          <a:gd name="connsiteX271" fmla="*/ 5370637 w 6116787"/>
                          <a:gd name="connsiteY271" fmla="*/ 1073140 h 3083905"/>
                          <a:gd name="connsiteX272" fmla="*/ 5370089 w 6116787"/>
                          <a:gd name="connsiteY272" fmla="*/ 1087953 h 3083905"/>
                          <a:gd name="connsiteX273" fmla="*/ 5357470 w 6116787"/>
                          <a:gd name="connsiteY273" fmla="*/ 1092342 h 3083905"/>
                          <a:gd name="connsiteX274" fmla="*/ 5354727 w 6116787"/>
                          <a:gd name="connsiteY274" fmla="*/ 1100572 h 3083905"/>
                          <a:gd name="connsiteX275" fmla="*/ 5374478 w 6116787"/>
                          <a:gd name="connsiteY275" fmla="*/ 1106058 h 3083905"/>
                          <a:gd name="connsiteX276" fmla="*/ 5382159 w 6116787"/>
                          <a:gd name="connsiteY276" fmla="*/ 1130198 h 3083905"/>
                          <a:gd name="connsiteX277" fmla="*/ 5386548 w 6116787"/>
                          <a:gd name="connsiteY277" fmla="*/ 1134588 h 3083905"/>
                          <a:gd name="connsiteX278" fmla="*/ 5386548 w 6116787"/>
                          <a:gd name="connsiteY278" fmla="*/ 1141171 h 3083905"/>
                          <a:gd name="connsiteX279" fmla="*/ 5390389 w 6116787"/>
                          <a:gd name="connsiteY279" fmla="*/ 1155985 h 3083905"/>
                          <a:gd name="connsiteX280" fmla="*/ 5369540 w 6116787"/>
                          <a:gd name="connsiteY280" fmla="*/ 1181771 h 3083905"/>
                          <a:gd name="connsiteX281" fmla="*/ 5355276 w 6116787"/>
                          <a:gd name="connsiteY281" fmla="*/ 1190549 h 3083905"/>
                          <a:gd name="connsiteX282" fmla="*/ 5339913 w 6116787"/>
                          <a:gd name="connsiteY282" fmla="*/ 1190000 h 3083905"/>
                          <a:gd name="connsiteX283" fmla="*/ 5334427 w 6116787"/>
                          <a:gd name="connsiteY283" fmla="*/ 1186708 h 3083905"/>
                          <a:gd name="connsiteX284" fmla="*/ 5325649 w 6116787"/>
                          <a:gd name="connsiteY284" fmla="*/ 1163666 h 3083905"/>
                          <a:gd name="connsiteX285" fmla="*/ 5315225 w 6116787"/>
                          <a:gd name="connsiteY285" fmla="*/ 1157082 h 3083905"/>
                          <a:gd name="connsiteX286" fmla="*/ 5314128 w 6116787"/>
                          <a:gd name="connsiteY286" fmla="*/ 1153241 h 3083905"/>
                          <a:gd name="connsiteX287" fmla="*/ 5307544 w 6116787"/>
                          <a:gd name="connsiteY287" fmla="*/ 1148852 h 3083905"/>
                          <a:gd name="connsiteX288" fmla="*/ 5291634 w 6116787"/>
                          <a:gd name="connsiteY288" fmla="*/ 1147206 h 3083905"/>
                          <a:gd name="connsiteX289" fmla="*/ 5287244 w 6116787"/>
                          <a:gd name="connsiteY289" fmla="*/ 1143366 h 3083905"/>
                          <a:gd name="connsiteX290" fmla="*/ 5283952 w 6116787"/>
                          <a:gd name="connsiteY290" fmla="*/ 1104412 h 3083905"/>
                          <a:gd name="connsiteX291" fmla="*/ 5271333 w 6116787"/>
                          <a:gd name="connsiteY291" fmla="*/ 1100572 h 3083905"/>
                          <a:gd name="connsiteX292" fmla="*/ 5272980 w 6116787"/>
                          <a:gd name="connsiteY292" fmla="*/ 1094537 h 3083905"/>
                          <a:gd name="connsiteX293" fmla="*/ 5277918 w 6116787"/>
                          <a:gd name="connsiteY293" fmla="*/ 1091794 h 3083905"/>
                          <a:gd name="connsiteX294" fmla="*/ 5276820 w 6116787"/>
                          <a:gd name="connsiteY294" fmla="*/ 1089050 h 3083905"/>
                          <a:gd name="connsiteX295" fmla="*/ 5268042 w 6116787"/>
                          <a:gd name="connsiteY295" fmla="*/ 1083564 h 3083905"/>
                          <a:gd name="connsiteX296" fmla="*/ 5263104 w 6116787"/>
                          <a:gd name="connsiteY296" fmla="*/ 1085210 h 3083905"/>
                          <a:gd name="connsiteX297" fmla="*/ 5238415 w 6116787"/>
                          <a:gd name="connsiteY297" fmla="*/ 1113739 h 3083905"/>
                          <a:gd name="connsiteX298" fmla="*/ 5232929 w 6116787"/>
                          <a:gd name="connsiteY298" fmla="*/ 1115385 h 3083905"/>
                          <a:gd name="connsiteX299" fmla="*/ 5228540 w 6116787"/>
                          <a:gd name="connsiteY299" fmla="*/ 1113191 h 3083905"/>
                          <a:gd name="connsiteX300" fmla="*/ 5213178 w 6116787"/>
                          <a:gd name="connsiteY300" fmla="*/ 1113739 h 3083905"/>
                          <a:gd name="connsiteX301" fmla="*/ 5197816 w 6116787"/>
                          <a:gd name="connsiteY301" fmla="*/ 1104412 h 3083905"/>
                          <a:gd name="connsiteX302" fmla="*/ 5176968 w 6116787"/>
                          <a:gd name="connsiteY302" fmla="*/ 1102218 h 3083905"/>
                          <a:gd name="connsiteX303" fmla="*/ 5168190 w 6116787"/>
                          <a:gd name="connsiteY303" fmla="*/ 1104412 h 3083905"/>
                          <a:gd name="connsiteX304" fmla="*/ 5166543 w 6116787"/>
                          <a:gd name="connsiteY304" fmla="*/ 1107156 h 3083905"/>
                          <a:gd name="connsiteX305" fmla="*/ 5164897 w 6116787"/>
                          <a:gd name="connsiteY305" fmla="*/ 1105510 h 3083905"/>
                          <a:gd name="connsiteX306" fmla="*/ 5148438 w 6116787"/>
                          <a:gd name="connsiteY306" fmla="*/ 1106607 h 3083905"/>
                          <a:gd name="connsiteX307" fmla="*/ 5138014 w 6116787"/>
                          <a:gd name="connsiteY307" fmla="*/ 1100572 h 3083905"/>
                          <a:gd name="connsiteX308" fmla="*/ 5128687 w 6116787"/>
                          <a:gd name="connsiteY308" fmla="*/ 1083015 h 3083905"/>
                          <a:gd name="connsiteX309" fmla="*/ 5114423 w 6116787"/>
                          <a:gd name="connsiteY309" fmla="*/ 1091245 h 3083905"/>
                          <a:gd name="connsiteX310" fmla="*/ 5093574 w 6116787"/>
                          <a:gd name="connsiteY310" fmla="*/ 1089050 h 3083905"/>
                          <a:gd name="connsiteX311" fmla="*/ 5081504 w 6116787"/>
                          <a:gd name="connsiteY311" fmla="*/ 1095634 h 3083905"/>
                          <a:gd name="connsiteX312" fmla="*/ 5071080 w 6116787"/>
                          <a:gd name="connsiteY312" fmla="*/ 1091245 h 3083905"/>
                          <a:gd name="connsiteX313" fmla="*/ 5066691 w 6116787"/>
                          <a:gd name="connsiteY313" fmla="*/ 1091794 h 3083905"/>
                          <a:gd name="connsiteX314" fmla="*/ 5062850 w 6116787"/>
                          <a:gd name="connsiteY314" fmla="*/ 1094537 h 3083905"/>
                          <a:gd name="connsiteX315" fmla="*/ 5060107 w 6116787"/>
                          <a:gd name="connsiteY315" fmla="*/ 1100572 h 3083905"/>
                          <a:gd name="connsiteX316" fmla="*/ 5054621 w 6116787"/>
                          <a:gd name="connsiteY316" fmla="*/ 1099475 h 3083905"/>
                          <a:gd name="connsiteX317" fmla="*/ 5052975 w 6116787"/>
                          <a:gd name="connsiteY317" fmla="*/ 1111545 h 3083905"/>
                          <a:gd name="connsiteX318" fmla="*/ 5041453 w 6116787"/>
                          <a:gd name="connsiteY318" fmla="*/ 1110996 h 3083905"/>
                          <a:gd name="connsiteX319" fmla="*/ 5037613 w 6116787"/>
                          <a:gd name="connsiteY319" fmla="*/ 1119226 h 3083905"/>
                          <a:gd name="connsiteX320" fmla="*/ 5030480 w 6116787"/>
                          <a:gd name="connsiteY320" fmla="*/ 1126907 h 3083905"/>
                          <a:gd name="connsiteX321" fmla="*/ 5024994 w 6116787"/>
                          <a:gd name="connsiteY321" fmla="*/ 1125261 h 3083905"/>
                          <a:gd name="connsiteX322" fmla="*/ 5026092 w 6116787"/>
                          <a:gd name="connsiteY322" fmla="*/ 1113739 h 3083905"/>
                          <a:gd name="connsiteX323" fmla="*/ 5023897 w 6116787"/>
                          <a:gd name="connsiteY323" fmla="*/ 1106607 h 3083905"/>
                          <a:gd name="connsiteX324" fmla="*/ 5017862 w 6116787"/>
                          <a:gd name="connsiteY324" fmla="*/ 1108802 h 3083905"/>
                          <a:gd name="connsiteX325" fmla="*/ 5014021 w 6116787"/>
                          <a:gd name="connsiteY325" fmla="*/ 1107156 h 3083905"/>
                          <a:gd name="connsiteX326" fmla="*/ 5002500 w 6116787"/>
                          <a:gd name="connsiteY326" fmla="*/ 1093440 h 3083905"/>
                          <a:gd name="connsiteX327" fmla="*/ 4994819 w 6116787"/>
                          <a:gd name="connsiteY327" fmla="*/ 1089050 h 3083905"/>
                          <a:gd name="connsiteX328" fmla="*/ 4980006 w 6116787"/>
                          <a:gd name="connsiteY328" fmla="*/ 1089050 h 3083905"/>
                          <a:gd name="connsiteX329" fmla="*/ 4976714 w 6116787"/>
                          <a:gd name="connsiteY329" fmla="*/ 1083015 h 3083905"/>
                          <a:gd name="connsiteX330" fmla="*/ 4965193 w 6116787"/>
                          <a:gd name="connsiteY330" fmla="*/ 1080272 h 3083905"/>
                          <a:gd name="connsiteX331" fmla="*/ 4965193 w 6116787"/>
                          <a:gd name="connsiteY331" fmla="*/ 1074786 h 3083905"/>
                          <a:gd name="connsiteX332" fmla="*/ 4978909 w 6116787"/>
                          <a:gd name="connsiteY332" fmla="*/ 1033638 h 3083905"/>
                          <a:gd name="connsiteX333" fmla="*/ 4977263 w 6116787"/>
                          <a:gd name="connsiteY333" fmla="*/ 1013338 h 3083905"/>
                          <a:gd name="connsiteX334" fmla="*/ 4970130 w 6116787"/>
                          <a:gd name="connsiteY334" fmla="*/ 999622 h 3083905"/>
                          <a:gd name="connsiteX335" fmla="*/ 4970130 w 6116787"/>
                          <a:gd name="connsiteY335" fmla="*/ 996330 h 3083905"/>
                          <a:gd name="connsiteX336" fmla="*/ 4945441 w 6116787"/>
                          <a:gd name="connsiteY336" fmla="*/ 964509 h 3083905"/>
                          <a:gd name="connsiteX337" fmla="*/ 4939406 w 6116787"/>
                          <a:gd name="connsiteY337" fmla="*/ 960669 h 3083905"/>
                          <a:gd name="connsiteX338" fmla="*/ 4933371 w 6116787"/>
                          <a:gd name="connsiteY338" fmla="*/ 952988 h 3083905"/>
                          <a:gd name="connsiteX339" fmla="*/ 4925142 w 6116787"/>
                          <a:gd name="connsiteY339" fmla="*/ 950244 h 3083905"/>
                          <a:gd name="connsiteX340" fmla="*/ 4897161 w 6116787"/>
                          <a:gd name="connsiteY340" fmla="*/ 948050 h 3083905"/>
                          <a:gd name="connsiteX341" fmla="*/ 4888932 w 6116787"/>
                          <a:gd name="connsiteY341" fmla="*/ 944210 h 3083905"/>
                          <a:gd name="connsiteX342" fmla="*/ 4829130 w 6116787"/>
                          <a:gd name="connsiteY342" fmla="*/ 947501 h 3083905"/>
                          <a:gd name="connsiteX343" fmla="*/ 4825290 w 6116787"/>
                          <a:gd name="connsiteY343" fmla="*/ 950244 h 3083905"/>
                          <a:gd name="connsiteX344" fmla="*/ 4810476 w 6116787"/>
                          <a:gd name="connsiteY344" fmla="*/ 948599 h 3083905"/>
                          <a:gd name="connsiteX345" fmla="*/ 4804989 w 6116787"/>
                          <a:gd name="connsiteY345" fmla="*/ 952988 h 3083905"/>
                          <a:gd name="connsiteX346" fmla="*/ 4797858 w 6116787"/>
                          <a:gd name="connsiteY346" fmla="*/ 953536 h 3083905"/>
                          <a:gd name="connsiteX347" fmla="*/ 4779752 w 6116787"/>
                          <a:gd name="connsiteY347" fmla="*/ 949147 h 3083905"/>
                          <a:gd name="connsiteX348" fmla="*/ 4775363 w 6116787"/>
                          <a:gd name="connsiteY348" fmla="*/ 950244 h 3083905"/>
                          <a:gd name="connsiteX349" fmla="*/ 4768779 w 6116787"/>
                          <a:gd name="connsiteY349" fmla="*/ 956280 h 3083905"/>
                          <a:gd name="connsiteX350" fmla="*/ 4759453 w 6116787"/>
                          <a:gd name="connsiteY350" fmla="*/ 958474 h 3083905"/>
                          <a:gd name="connsiteX351" fmla="*/ 4753417 w 6116787"/>
                          <a:gd name="connsiteY351" fmla="*/ 955731 h 3083905"/>
                          <a:gd name="connsiteX352" fmla="*/ 4739153 w 6116787"/>
                          <a:gd name="connsiteY352" fmla="*/ 956280 h 3083905"/>
                          <a:gd name="connsiteX353" fmla="*/ 4734215 w 6116787"/>
                          <a:gd name="connsiteY353" fmla="*/ 958474 h 3083905"/>
                          <a:gd name="connsiteX354" fmla="*/ 4728728 w 6116787"/>
                          <a:gd name="connsiteY354" fmla="*/ 956828 h 3083905"/>
                          <a:gd name="connsiteX355" fmla="*/ 4712269 w 6116787"/>
                          <a:gd name="connsiteY355" fmla="*/ 965606 h 3083905"/>
                          <a:gd name="connsiteX356" fmla="*/ 4704040 w 6116787"/>
                          <a:gd name="connsiteY356" fmla="*/ 965058 h 3083905"/>
                          <a:gd name="connsiteX357" fmla="*/ 4699102 w 6116787"/>
                          <a:gd name="connsiteY357" fmla="*/ 969996 h 3083905"/>
                          <a:gd name="connsiteX358" fmla="*/ 4681545 w 6116787"/>
                          <a:gd name="connsiteY358" fmla="*/ 952988 h 3083905"/>
                          <a:gd name="connsiteX359" fmla="*/ 4672767 w 6116787"/>
                          <a:gd name="connsiteY359" fmla="*/ 952439 h 3083905"/>
                          <a:gd name="connsiteX360" fmla="*/ 4668927 w 6116787"/>
                          <a:gd name="connsiteY360" fmla="*/ 949696 h 3083905"/>
                          <a:gd name="connsiteX361" fmla="*/ 4684289 w 6116787"/>
                          <a:gd name="connsiteY361" fmla="*/ 944210 h 3083905"/>
                          <a:gd name="connsiteX362" fmla="*/ 4689227 w 6116787"/>
                          <a:gd name="connsiteY362" fmla="*/ 937077 h 3083905"/>
                          <a:gd name="connsiteX363" fmla="*/ 4690324 w 6116787"/>
                          <a:gd name="connsiteY363" fmla="*/ 927750 h 3083905"/>
                          <a:gd name="connsiteX364" fmla="*/ 4666732 w 6116787"/>
                          <a:gd name="connsiteY364" fmla="*/ 905805 h 3083905"/>
                          <a:gd name="connsiteX365" fmla="*/ 4663441 w 6116787"/>
                          <a:gd name="connsiteY365" fmla="*/ 900318 h 3083905"/>
                          <a:gd name="connsiteX366" fmla="*/ 4662343 w 6116787"/>
                          <a:gd name="connsiteY366" fmla="*/ 894832 h 3083905"/>
                          <a:gd name="connsiteX367" fmla="*/ 4635460 w 6116787"/>
                          <a:gd name="connsiteY367" fmla="*/ 901416 h 3083905"/>
                          <a:gd name="connsiteX368" fmla="*/ 4628876 w 6116787"/>
                          <a:gd name="connsiteY368" fmla="*/ 901416 h 3083905"/>
                          <a:gd name="connsiteX369" fmla="*/ 4626133 w 6116787"/>
                          <a:gd name="connsiteY369" fmla="*/ 894832 h 3083905"/>
                          <a:gd name="connsiteX370" fmla="*/ 4626133 w 6116787"/>
                          <a:gd name="connsiteY370" fmla="*/ 889346 h 3083905"/>
                          <a:gd name="connsiteX371" fmla="*/ 4614063 w 6116787"/>
                          <a:gd name="connsiteY371" fmla="*/ 882213 h 3083905"/>
                          <a:gd name="connsiteX372" fmla="*/ 4610771 w 6116787"/>
                          <a:gd name="connsiteY372" fmla="*/ 873435 h 3083905"/>
                          <a:gd name="connsiteX373" fmla="*/ 4605284 w 6116787"/>
                          <a:gd name="connsiteY373" fmla="*/ 872886 h 3083905"/>
                          <a:gd name="connsiteX374" fmla="*/ 4592666 w 6116787"/>
                          <a:gd name="connsiteY374" fmla="*/ 865205 h 3083905"/>
                          <a:gd name="connsiteX375" fmla="*/ 4588825 w 6116787"/>
                          <a:gd name="connsiteY375" fmla="*/ 870692 h 3083905"/>
                          <a:gd name="connsiteX376" fmla="*/ 4582242 w 6116787"/>
                          <a:gd name="connsiteY376" fmla="*/ 871240 h 3083905"/>
                          <a:gd name="connsiteX377" fmla="*/ 4578401 w 6116787"/>
                          <a:gd name="connsiteY377" fmla="*/ 867948 h 3083905"/>
                          <a:gd name="connsiteX378" fmla="*/ 4567977 w 6116787"/>
                          <a:gd name="connsiteY378" fmla="*/ 865205 h 3083905"/>
                          <a:gd name="connsiteX379" fmla="*/ 4564136 w 6116787"/>
                          <a:gd name="connsiteY379" fmla="*/ 867400 h 3083905"/>
                          <a:gd name="connsiteX380" fmla="*/ 4564136 w 6116787"/>
                          <a:gd name="connsiteY380" fmla="*/ 863011 h 3083905"/>
                          <a:gd name="connsiteX381" fmla="*/ 4577304 w 6116787"/>
                          <a:gd name="connsiteY381" fmla="*/ 843260 h 3083905"/>
                          <a:gd name="connsiteX382" fmla="*/ 4581693 w 6116787"/>
                          <a:gd name="connsiteY382" fmla="*/ 839968 h 3083905"/>
                          <a:gd name="connsiteX383" fmla="*/ 4589923 w 6116787"/>
                          <a:gd name="connsiteY383" fmla="*/ 846552 h 3083905"/>
                          <a:gd name="connsiteX384" fmla="*/ 4593763 w 6116787"/>
                          <a:gd name="connsiteY384" fmla="*/ 852587 h 3083905"/>
                          <a:gd name="connsiteX385" fmla="*/ 4603090 w 6116787"/>
                          <a:gd name="connsiteY385" fmla="*/ 847100 h 3083905"/>
                          <a:gd name="connsiteX386" fmla="*/ 4602541 w 6116787"/>
                          <a:gd name="connsiteY386" fmla="*/ 832836 h 3083905"/>
                          <a:gd name="connsiteX387" fmla="*/ 4593763 w 6116787"/>
                          <a:gd name="connsiteY387" fmla="*/ 809244 h 3083905"/>
                          <a:gd name="connsiteX388" fmla="*/ 4572915 w 6116787"/>
                          <a:gd name="connsiteY388" fmla="*/ 795528 h 3083905"/>
                          <a:gd name="connsiteX389" fmla="*/ 4562491 w 6116787"/>
                          <a:gd name="connsiteY389" fmla="*/ 793882 h 3083905"/>
                          <a:gd name="connsiteX390" fmla="*/ 4558650 w 6116787"/>
                          <a:gd name="connsiteY390" fmla="*/ 789493 h 3083905"/>
                          <a:gd name="connsiteX391" fmla="*/ 4544385 w 6116787"/>
                          <a:gd name="connsiteY391" fmla="*/ 783458 h 3083905"/>
                          <a:gd name="connsiteX392" fmla="*/ 4531218 w 6116787"/>
                          <a:gd name="connsiteY392" fmla="*/ 785652 h 3083905"/>
                          <a:gd name="connsiteX393" fmla="*/ 4530669 w 6116787"/>
                          <a:gd name="connsiteY393" fmla="*/ 787298 h 3083905"/>
                          <a:gd name="connsiteX394" fmla="*/ 4527926 w 6116787"/>
                          <a:gd name="connsiteY394" fmla="*/ 783458 h 3083905"/>
                          <a:gd name="connsiteX395" fmla="*/ 4502689 w 6116787"/>
                          <a:gd name="connsiteY395" fmla="*/ 782909 h 3083905"/>
                          <a:gd name="connsiteX396" fmla="*/ 4495556 w 6116787"/>
                          <a:gd name="connsiteY396" fmla="*/ 786201 h 3083905"/>
                          <a:gd name="connsiteX397" fmla="*/ 4479646 w 6116787"/>
                          <a:gd name="connsiteY397" fmla="*/ 781812 h 3083905"/>
                          <a:gd name="connsiteX398" fmla="*/ 4470319 w 6116787"/>
                          <a:gd name="connsiteY398" fmla="*/ 774131 h 3083905"/>
                          <a:gd name="connsiteX399" fmla="*/ 4459346 w 6116787"/>
                          <a:gd name="connsiteY399" fmla="*/ 774131 h 3083905"/>
                          <a:gd name="connsiteX400" fmla="*/ 4444533 w 6116787"/>
                          <a:gd name="connsiteY400" fmla="*/ 759318 h 3083905"/>
                          <a:gd name="connsiteX401" fmla="*/ 4440144 w 6116787"/>
                          <a:gd name="connsiteY401" fmla="*/ 760964 h 3083905"/>
                          <a:gd name="connsiteX402" fmla="*/ 4412712 w 6116787"/>
                          <a:gd name="connsiteY402" fmla="*/ 757123 h 3083905"/>
                          <a:gd name="connsiteX403" fmla="*/ 4396253 w 6116787"/>
                          <a:gd name="connsiteY403" fmla="*/ 747248 h 3083905"/>
                          <a:gd name="connsiteX404" fmla="*/ 4367724 w 6116787"/>
                          <a:gd name="connsiteY404" fmla="*/ 745602 h 3083905"/>
                          <a:gd name="connsiteX405" fmla="*/ 4358945 w 6116787"/>
                          <a:gd name="connsiteY405" fmla="*/ 742310 h 3083905"/>
                          <a:gd name="connsiteX406" fmla="*/ 4290365 w 6116787"/>
                          <a:gd name="connsiteY406" fmla="*/ 739018 h 3083905"/>
                          <a:gd name="connsiteX407" fmla="*/ 4284330 w 6116787"/>
                          <a:gd name="connsiteY407" fmla="*/ 734629 h 3083905"/>
                          <a:gd name="connsiteX408" fmla="*/ 4281587 w 6116787"/>
                          <a:gd name="connsiteY408" fmla="*/ 729691 h 3083905"/>
                          <a:gd name="connsiteX409" fmla="*/ 4274455 w 6116787"/>
                          <a:gd name="connsiteY409" fmla="*/ 725851 h 3083905"/>
                          <a:gd name="connsiteX410" fmla="*/ 4262933 w 6116787"/>
                          <a:gd name="connsiteY410" fmla="*/ 724205 h 3083905"/>
                          <a:gd name="connsiteX411" fmla="*/ 4257447 w 6116787"/>
                          <a:gd name="connsiteY411" fmla="*/ 731337 h 3083905"/>
                          <a:gd name="connsiteX412" fmla="*/ 4256349 w 6116787"/>
                          <a:gd name="connsiteY412" fmla="*/ 736275 h 3083905"/>
                          <a:gd name="connsiteX413" fmla="*/ 4263482 w 6116787"/>
                          <a:gd name="connsiteY413" fmla="*/ 742310 h 3083905"/>
                          <a:gd name="connsiteX414" fmla="*/ 4264031 w 6116787"/>
                          <a:gd name="connsiteY414" fmla="*/ 748345 h 3083905"/>
                          <a:gd name="connsiteX415" fmla="*/ 4269517 w 6116787"/>
                          <a:gd name="connsiteY415" fmla="*/ 756575 h 3083905"/>
                          <a:gd name="connsiteX416" fmla="*/ 4264031 w 6116787"/>
                          <a:gd name="connsiteY416" fmla="*/ 759318 h 3083905"/>
                          <a:gd name="connsiteX417" fmla="*/ 4253058 w 6116787"/>
                          <a:gd name="connsiteY417" fmla="*/ 772485 h 3083905"/>
                          <a:gd name="connsiteX418" fmla="*/ 4250315 w 6116787"/>
                          <a:gd name="connsiteY418" fmla="*/ 788944 h 3083905"/>
                          <a:gd name="connsiteX419" fmla="*/ 4239890 w 6116787"/>
                          <a:gd name="connsiteY419" fmla="*/ 805404 h 3083905"/>
                          <a:gd name="connsiteX420" fmla="*/ 4231661 w 6116787"/>
                          <a:gd name="connsiteY420" fmla="*/ 807050 h 3083905"/>
                          <a:gd name="connsiteX421" fmla="*/ 4222334 w 6116787"/>
                          <a:gd name="connsiteY421" fmla="*/ 815828 h 3083905"/>
                          <a:gd name="connsiteX422" fmla="*/ 4217396 w 6116787"/>
                          <a:gd name="connsiteY422" fmla="*/ 825155 h 3083905"/>
                          <a:gd name="connsiteX423" fmla="*/ 4216848 w 6116787"/>
                          <a:gd name="connsiteY423" fmla="*/ 830092 h 3083905"/>
                          <a:gd name="connsiteX424" fmla="*/ 4220688 w 6116787"/>
                          <a:gd name="connsiteY424" fmla="*/ 839419 h 3083905"/>
                          <a:gd name="connsiteX425" fmla="*/ 4221785 w 6116787"/>
                          <a:gd name="connsiteY425" fmla="*/ 845454 h 3083905"/>
                          <a:gd name="connsiteX426" fmla="*/ 4215201 w 6116787"/>
                          <a:gd name="connsiteY426" fmla="*/ 845454 h 3083905"/>
                          <a:gd name="connsiteX427" fmla="*/ 4215750 w 6116787"/>
                          <a:gd name="connsiteY427" fmla="*/ 859170 h 3083905"/>
                          <a:gd name="connsiteX428" fmla="*/ 4219042 w 6116787"/>
                          <a:gd name="connsiteY428" fmla="*/ 869046 h 3083905"/>
                          <a:gd name="connsiteX429" fmla="*/ 4225626 w 6116787"/>
                          <a:gd name="connsiteY429" fmla="*/ 876178 h 3083905"/>
                          <a:gd name="connsiteX430" fmla="*/ 4226723 w 6116787"/>
                          <a:gd name="connsiteY430" fmla="*/ 880019 h 3083905"/>
                          <a:gd name="connsiteX431" fmla="*/ 4227272 w 6116787"/>
                          <a:gd name="connsiteY431" fmla="*/ 888797 h 3083905"/>
                          <a:gd name="connsiteX432" fmla="*/ 4225626 w 6116787"/>
                          <a:gd name="connsiteY432" fmla="*/ 894283 h 3083905"/>
                          <a:gd name="connsiteX433" fmla="*/ 4219042 w 6116787"/>
                          <a:gd name="connsiteY433" fmla="*/ 894283 h 3083905"/>
                          <a:gd name="connsiteX434" fmla="*/ 4205326 w 6116787"/>
                          <a:gd name="connsiteY434" fmla="*/ 886054 h 3083905"/>
                          <a:gd name="connsiteX435" fmla="*/ 4200937 w 6116787"/>
                          <a:gd name="connsiteY435" fmla="*/ 898672 h 3083905"/>
                          <a:gd name="connsiteX436" fmla="*/ 4191061 w 6116787"/>
                          <a:gd name="connsiteY436" fmla="*/ 894832 h 3083905"/>
                          <a:gd name="connsiteX437" fmla="*/ 4187769 w 6116787"/>
                          <a:gd name="connsiteY437" fmla="*/ 899770 h 3083905"/>
                          <a:gd name="connsiteX438" fmla="*/ 4186124 w 6116787"/>
                          <a:gd name="connsiteY438" fmla="*/ 896478 h 3083905"/>
                          <a:gd name="connsiteX439" fmla="*/ 4172956 w 6116787"/>
                          <a:gd name="connsiteY439" fmla="*/ 907451 h 3083905"/>
                          <a:gd name="connsiteX440" fmla="*/ 4169665 w 6116787"/>
                          <a:gd name="connsiteY440" fmla="*/ 912937 h 3083905"/>
                          <a:gd name="connsiteX441" fmla="*/ 4163629 w 6116787"/>
                          <a:gd name="connsiteY441" fmla="*/ 917875 h 3083905"/>
                          <a:gd name="connsiteX442" fmla="*/ 4161435 w 6116787"/>
                          <a:gd name="connsiteY442" fmla="*/ 925556 h 3083905"/>
                          <a:gd name="connsiteX443" fmla="*/ 4153205 w 6116787"/>
                          <a:gd name="connsiteY443" fmla="*/ 925007 h 3083905"/>
                          <a:gd name="connsiteX444" fmla="*/ 4149364 w 6116787"/>
                          <a:gd name="connsiteY444" fmla="*/ 929396 h 3083905"/>
                          <a:gd name="connsiteX445" fmla="*/ 4145524 w 6116787"/>
                          <a:gd name="connsiteY445" fmla="*/ 924458 h 3083905"/>
                          <a:gd name="connsiteX446" fmla="*/ 4140586 w 6116787"/>
                          <a:gd name="connsiteY446" fmla="*/ 923361 h 3083905"/>
                          <a:gd name="connsiteX447" fmla="*/ 4137295 w 6116787"/>
                          <a:gd name="connsiteY447" fmla="*/ 919521 h 3083905"/>
                          <a:gd name="connsiteX448" fmla="*/ 4137295 w 6116787"/>
                          <a:gd name="connsiteY448" fmla="*/ 912937 h 3083905"/>
                          <a:gd name="connsiteX449" fmla="*/ 4131808 w 6116787"/>
                          <a:gd name="connsiteY449" fmla="*/ 911291 h 3083905"/>
                          <a:gd name="connsiteX450" fmla="*/ 4129065 w 6116787"/>
                          <a:gd name="connsiteY450" fmla="*/ 903610 h 3083905"/>
                          <a:gd name="connsiteX451" fmla="*/ 4123030 w 6116787"/>
                          <a:gd name="connsiteY451" fmla="*/ 900318 h 3083905"/>
                          <a:gd name="connsiteX452" fmla="*/ 4118092 w 6116787"/>
                          <a:gd name="connsiteY452" fmla="*/ 899770 h 3083905"/>
                          <a:gd name="connsiteX453" fmla="*/ 4098341 w 6116787"/>
                          <a:gd name="connsiteY453" fmla="*/ 886054 h 3083905"/>
                          <a:gd name="connsiteX454" fmla="*/ 4089563 w 6116787"/>
                          <a:gd name="connsiteY454" fmla="*/ 886602 h 3083905"/>
                          <a:gd name="connsiteX455" fmla="*/ 4078041 w 6116787"/>
                          <a:gd name="connsiteY455" fmla="*/ 882762 h 3083905"/>
                          <a:gd name="connsiteX456" fmla="*/ 4074201 w 6116787"/>
                          <a:gd name="connsiteY456" fmla="*/ 876727 h 3083905"/>
                          <a:gd name="connsiteX457" fmla="*/ 4068166 w 6116787"/>
                          <a:gd name="connsiteY457" fmla="*/ 876727 h 3083905"/>
                          <a:gd name="connsiteX458" fmla="*/ 4060485 w 6116787"/>
                          <a:gd name="connsiteY458" fmla="*/ 871240 h 3083905"/>
                          <a:gd name="connsiteX459" fmla="*/ 4039088 w 6116787"/>
                          <a:gd name="connsiteY459" fmla="*/ 873435 h 3083905"/>
                          <a:gd name="connsiteX460" fmla="*/ 4031955 w 6116787"/>
                          <a:gd name="connsiteY460" fmla="*/ 886602 h 3083905"/>
                          <a:gd name="connsiteX461" fmla="*/ 4030310 w 6116787"/>
                          <a:gd name="connsiteY461" fmla="*/ 893186 h 3083905"/>
                          <a:gd name="connsiteX462" fmla="*/ 4031955 w 6116787"/>
                          <a:gd name="connsiteY462" fmla="*/ 902513 h 3083905"/>
                          <a:gd name="connsiteX463" fmla="*/ 4031955 w 6116787"/>
                          <a:gd name="connsiteY463" fmla="*/ 906902 h 3083905"/>
                          <a:gd name="connsiteX464" fmla="*/ 4024823 w 6116787"/>
                          <a:gd name="connsiteY464" fmla="*/ 896478 h 3083905"/>
                          <a:gd name="connsiteX465" fmla="*/ 4021532 w 6116787"/>
                          <a:gd name="connsiteY465" fmla="*/ 899770 h 3083905"/>
                          <a:gd name="connsiteX466" fmla="*/ 4002878 w 6116787"/>
                          <a:gd name="connsiteY466" fmla="*/ 896478 h 3083905"/>
                          <a:gd name="connsiteX467" fmla="*/ 3994648 w 6116787"/>
                          <a:gd name="connsiteY467" fmla="*/ 899770 h 3083905"/>
                          <a:gd name="connsiteX468" fmla="*/ 3988613 w 6116787"/>
                          <a:gd name="connsiteY468" fmla="*/ 898124 h 3083905"/>
                          <a:gd name="connsiteX469" fmla="*/ 3979286 w 6116787"/>
                          <a:gd name="connsiteY469" fmla="*/ 884956 h 3083905"/>
                          <a:gd name="connsiteX470" fmla="*/ 3973251 w 6116787"/>
                          <a:gd name="connsiteY470" fmla="*/ 881116 h 3083905"/>
                          <a:gd name="connsiteX471" fmla="*/ 3966668 w 6116787"/>
                          <a:gd name="connsiteY471" fmla="*/ 865205 h 3083905"/>
                          <a:gd name="connsiteX472" fmla="*/ 3959535 w 6116787"/>
                          <a:gd name="connsiteY472" fmla="*/ 858073 h 3083905"/>
                          <a:gd name="connsiteX473" fmla="*/ 3954597 w 6116787"/>
                          <a:gd name="connsiteY473" fmla="*/ 833933 h 3083905"/>
                          <a:gd name="connsiteX474" fmla="*/ 3952952 w 6116787"/>
                          <a:gd name="connsiteY474" fmla="*/ 831190 h 3083905"/>
                          <a:gd name="connsiteX475" fmla="*/ 3949111 w 6116787"/>
                          <a:gd name="connsiteY475" fmla="*/ 833933 h 3083905"/>
                          <a:gd name="connsiteX476" fmla="*/ 3928811 w 6116787"/>
                          <a:gd name="connsiteY476" fmla="*/ 882762 h 3083905"/>
                          <a:gd name="connsiteX477" fmla="*/ 3927165 w 6116787"/>
                          <a:gd name="connsiteY477" fmla="*/ 926653 h 3083905"/>
                          <a:gd name="connsiteX478" fmla="*/ 3922227 w 6116787"/>
                          <a:gd name="connsiteY478" fmla="*/ 929945 h 3083905"/>
                          <a:gd name="connsiteX479" fmla="*/ 3915644 w 6116787"/>
                          <a:gd name="connsiteY479" fmla="*/ 945307 h 3083905"/>
                          <a:gd name="connsiteX480" fmla="*/ 3911804 w 6116787"/>
                          <a:gd name="connsiteY480" fmla="*/ 949696 h 3083905"/>
                          <a:gd name="connsiteX481" fmla="*/ 3910158 w 6116787"/>
                          <a:gd name="connsiteY481" fmla="*/ 962863 h 3083905"/>
                          <a:gd name="connsiteX482" fmla="*/ 3903574 w 6116787"/>
                          <a:gd name="connsiteY482" fmla="*/ 971093 h 3083905"/>
                          <a:gd name="connsiteX483" fmla="*/ 3900831 w 6116787"/>
                          <a:gd name="connsiteY483" fmla="*/ 980968 h 3083905"/>
                          <a:gd name="connsiteX484" fmla="*/ 3892601 w 6116787"/>
                          <a:gd name="connsiteY484" fmla="*/ 977128 h 3083905"/>
                          <a:gd name="connsiteX485" fmla="*/ 3886017 w 6116787"/>
                          <a:gd name="connsiteY485" fmla="*/ 955182 h 3083905"/>
                          <a:gd name="connsiteX486" fmla="*/ 3882726 w 6116787"/>
                          <a:gd name="connsiteY486" fmla="*/ 952988 h 3083905"/>
                          <a:gd name="connsiteX487" fmla="*/ 3882177 w 6116787"/>
                          <a:gd name="connsiteY487" fmla="*/ 961766 h 3083905"/>
                          <a:gd name="connsiteX488" fmla="*/ 3877239 w 6116787"/>
                          <a:gd name="connsiteY488" fmla="*/ 962863 h 3083905"/>
                          <a:gd name="connsiteX489" fmla="*/ 3873399 w 6116787"/>
                          <a:gd name="connsiteY489" fmla="*/ 957377 h 3083905"/>
                          <a:gd name="connsiteX490" fmla="*/ 3867913 w 6116787"/>
                          <a:gd name="connsiteY490" fmla="*/ 957926 h 3083905"/>
                          <a:gd name="connsiteX491" fmla="*/ 3862975 w 6116787"/>
                          <a:gd name="connsiteY491" fmla="*/ 954634 h 3083905"/>
                          <a:gd name="connsiteX492" fmla="*/ 3859683 w 6116787"/>
                          <a:gd name="connsiteY492" fmla="*/ 949696 h 3083905"/>
                          <a:gd name="connsiteX493" fmla="*/ 3859683 w 6116787"/>
                          <a:gd name="connsiteY493" fmla="*/ 944210 h 3083905"/>
                          <a:gd name="connsiteX494" fmla="*/ 3853099 w 6116787"/>
                          <a:gd name="connsiteY494" fmla="*/ 937077 h 3083905"/>
                          <a:gd name="connsiteX495" fmla="*/ 3848710 w 6116787"/>
                          <a:gd name="connsiteY495" fmla="*/ 941466 h 3083905"/>
                          <a:gd name="connsiteX496" fmla="*/ 3847064 w 6116787"/>
                          <a:gd name="connsiteY496" fmla="*/ 937626 h 3083905"/>
                          <a:gd name="connsiteX497" fmla="*/ 3843772 w 6116787"/>
                          <a:gd name="connsiteY497" fmla="*/ 934334 h 3083905"/>
                          <a:gd name="connsiteX498" fmla="*/ 3839383 w 6116787"/>
                          <a:gd name="connsiteY498" fmla="*/ 917875 h 3083905"/>
                          <a:gd name="connsiteX499" fmla="*/ 3834445 w 6116787"/>
                          <a:gd name="connsiteY499" fmla="*/ 915132 h 3083905"/>
                          <a:gd name="connsiteX500" fmla="*/ 3832251 w 6116787"/>
                          <a:gd name="connsiteY500" fmla="*/ 917326 h 3083905"/>
                          <a:gd name="connsiteX501" fmla="*/ 3825118 w 6116787"/>
                          <a:gd name="connsiteY501" fmla="*/ 892637 h 3083905"/>
                          <a:gd name="connsiteX502" fmla="*/ 3822924 w 6116787"/>
                          <a:gd name="connsiteY502" fmla="*/ 889894 h 3083905"/>
                          <a:gd name="connsiteX503" fmla="*/ 3822924 w 6116787"/>
                          <a:gd name="connsiteY503" fmla="*/ 882213 h 3083905"/>
                          <a:gd name="connsiteX504" fmla="*/ 3818535 w 6116787"/>
                          <a:gd name="connsiteY504" fmla="*/ 869046 h 3083905"/>
                          <a:gd name="connsiteX505" fmla="*/ 3817437 w 6116787"/>
                          <a:gd name="connsiteY505" fmla="*/ 871789 h 3083905"/>
                          <a:gd name="connsiteX506" fmla="*/ 3811402 w 6116787"/>
                          <a:gd name="connsiteY506" fmla="*/ 876727 h 3083905"/>
                          <a:gd name="connsiteX507" fmla="*/ 3807013 w 6116787"/>
                          <a:gd name="connsiteY507" fmla="*/ 871240 h 3083905"/>
                          <a:gd name="connsiteX508" fmla="*/ 3808659 w 6116787"/>
                          <a:gd name="connsiteY508" fmla="*/ 865205 h 3083905"/>
                          <a:gd name="connsiteX509" fmla="*/ 3807013 w 6116787"/>
                          <a:gd name="connsiteY509" fmla="*/ 859170 h 3083905"/>
                          <a:gd name="connsiteX510" fmla="*/ 3804270 w 6116787"/>
                          <a:gd name="connsiteY510" fmla="*/ 856976 h 3083905"/>
                          <a:gd name="connsiteX511" fmla="*/ 3802076 w 6116787"/>
                          <a:gd name="connsiteY511" fmla="*/ 841614 h 3083905"/>
                          <a:gd name="connsiteX512" fmla="*/ 3815792 w 6116787"/>
                          <a:gd name="connsiteY512" fmla="*/ 821314 h 3083905"/>
                          <a:gd name="connsiteX513" fmla="*/ 3819632 w 6116787"/>
                          <a:gd name="connsiteY513" fmla="*/ 824606 h 3083905"/>
                          <a:gd name="connsiteX514" fmla="*/ 3822924 w 6116787"/>
                          <a:gd name="connsiteY514" fmla="*/ 823509 h 3083905"/>
                          <a:gd name="connsiteX515" fmla="*/ 3820729 w 6116787"/>
                          <a:gd name="connsiteY515" fmla="*/ 820766 h 3083905"/>
                          <a:gd name="connsiteX516" fmla="*/ 3821278 w 6116787"/>
                          <a:gd name="connsiteY516" fmla="*/ 816376 h 3083905"/>
                          <a:gd name="connsiteX517" fmla="*/ 3828959 w 6116787"/>
                          <a:gd name="connsiteY517" fmla="*/ 813084 h 3083905"/>
                          <a:gd name="connsiteX518" fmla="*/ 3832799 w 6116787"/>
                          <a:gd name="connsiteY518" fmla="*/ 808147 h 3083905"/>
                          <a:gd name="connsiteX519" fmla="*/ 3828959 w 6116787"/>
                          <a:gd name="connsiteY519" fmla="*/ 809244 h 3083905"/>
                          <a:gd name="connsiteX520" fmla="*/ 3828410 w 6116787"/>
                          <a:gd name="connsiteY520" fmla="*/ 806501 h 3083905"/>
                          <a:gd name="connsiteX521" fmla="*/ 3832251 w 6116787"/>
                          <a:gd name="connsiteY521" fmla="*/ 802660 h 3083905"/>
                          <a:gd name="connsiteX522" fmla="*/ 3830605 w 6116787"/>
                          <a:gd name="connsiteY522" fmla="*/ 801014 h 3083905"/>
                          <a:gd name="connsiteX523" fmla="*/ 3830605 w 6116787"/>
                          <a:gd name="connsiteY523" fmla="*/ 794431 h 3083905"/>
                          <a:gd name="connsiteX524" fmla="*/ 3836640 w 6116787"/>
                          <a:gd name="connsiteY524" fmla="*/ 781263 h 3083905"/>
                          <a:gd name="connsiteX525" fmla="*/ 3821827 w 6116787"/>
                          <a:gd name="connsiteY525" fmla="*/ 770839 h 3083905"/>
                          <a:gd name="connsiteX526" fmla="*/ 3822375 w 6116787"/>
                          <a:gd name="connsiteY526" fmla="*/ 766999 h 3083905"/>
                          <a:gd name="connsiteX527" fmla="*/ 3827862 w 6116787"/>
                          <a:gd name="connsiteY527" fmla="*/ 760964 h 3083905"/>
                          <a:gd name="connsiteX528" fmla="*/ 3821278 w 6116787"/>
                          <a:gd name="connsiteY528" fmla="*/ 755477 h 3083905"/>
                          <a:gd name="connsiteX529" fmla="*/ 3822375 w 6116787"/>
                          <a:gd name="connsiteY529" fmla="*/ 749442 h 3083905"/>
                          <a:gd name="connsiteX530" fmla="*/ 3827313 w 6116787"/>
                          <a:gd name="connsiteY530" fmla="*/ 746150 h 3083905"/>
                          <a:gd name="connsiteX531" fmla="*/ 3826765 w 6116787"/>
                          <a:gd name="connsiteY531" fmla="*/ 737372 h 3083905"/>
                          <a:gd name="connsiteX532" fmla="*/ 3828959 w 6116787"/>
                          <a:gd name="connsiteY532" fmla="*/ 735726 h 3083905"/>
                          <a:gd name="connsiteX533" fmla="*/ 3826215 w 6116787"/>
                          <a:gd name="connsiteY533" fmla="*/ 734629 h 3083905"/>
                          <a:gd name="connsiteX534" fmla="*/ 3825118 w 6116787"/>
                          <a:gd name="connsiteY534" fmla="*/ 729691 h 3083905"/>
                          <a:gd name="connsiteX535" fmla="*/ 3826215 w 6116787"/>
                          <a:gd name="connsiteY535" fmla="*/ 725302 h 3083905"/>
                          <a:gd name="connsiteX536" fmla="*/ 3824570 w 6116787"/>
                          <a:gd name="connsiteY536" fmla="*/ 718718 h 3083905"/>
                          <a:gd name="connsiteX537" fmla="*/ 3829508 w 6116787"/>
                          <a:gd name="connsiteY537" fmla="*/ 717621 h 3083905"/>
                          <a:gd name="connsiteX538" fmla="*/ 3830605 w 6116787"/>
                          <a:gd name="connsiteY538" fmla="*/ 715975 h 3083905"/>
                          <a:gd name="connsiteX539" fmla="*/ 3830605 w 6116787"/>
                          <a:gd name="connsiteY539" fmla="*/ 709940 h 3083905"/>
                          <a:gd name="connsiteX540" fmla="*/ 3832799 w 6116787"/>
                          <a:gd name="connsiteY540" fmla="*/ 706648 h 3083905"/>
                          <a:gd name="connsiteX541" fmla="*/ 3830605 w 6116787"/>
                          <a:gd name="connsiteY541" fmla="*/ 703905 h 3083905"/>
                          <a:gd name="connsiteX542" fmla="*/ 3830056 w 6116787"/>
                          <a:gd name="connsiteY542" fmla="*/ 700065 h 3083905"/>
                          <a:gd name="connsiteX543" fmla="*/ 3819632 w 6116787"/>
                          <a:gd name="connsiteY543" fmla="*/ 692384 h 3083905"/>
                          <a:gd name="connsiteX544" fmla="*/ 3816340 w 6116787"/>
                          <a:gd name="connsiteY544" fmla="*/ 685251 h 3083905"/>
                          <a:gd name="connsiteX545" fmla="*/ 3810854 w 6116787"/>
                          <a:gd name="connsiteY545" fmla="*/ 679216 h 3083905"/>
                          <a:gd name="connsiteX546" fmla="*/ 3810854 w 6116787"/>
                          <a:gd name="connsiteY546" fmla="*/ 674827 h 3083905"/>
                          <a:gd name="connsiteX547" fmla="*/ 3794395 w 6116787"/>
                          <a:gd name="connsiteY547" fmla="*/ 665500 h 3083905"/>
                          <a:gd name="connsiteX548" fmla="*/ 3795492 w 6116787"/>
                          <a:gd name="connsiteY548" fmla="*/ 660563 h 3083905"/>
                          <a:gd name="connsiteX549" fmla="*/ 3793846 w 6116787"/>
                          <a:gd name="connsiteY549" fmla="*/ 655076 h 3083905"/>
                          <a:gd name="connsiteX550" fmla="*/ 3786165 w 6116787"/>
                          <a:gd name="connsiteY550" fmla="*/ 654528 h 3083905"/>
                          <a:gd name="connsiteX551" fmla="*/ 3782873 w 6116787"/>
                          <a:gd name="connsiteY551" fmla="*/ 651236 h 3083905"/>
                          <a:gd name="connsiteX552" fmla="*/ 3785067 w 6116787"/>
                          <a:gd name="connsiteY552" fmla="*/ 649041 h 3083905"/>
                          <a:gd name="connsiteX553" fmla="*/ 3780679 w 6116787"/>
                          <a:gd name="connsiteY553" fmla="*/ 643555 h 3083905"/>
                          <a:gd name="connsiteX554" fmla="*/ 3769157 w 6116787"/>
                          <a:gd name="connsiteY554" fmla="*/ 638068 h 3083905"/>
                          <a:gd name="connsiteX555" fmla="*/ 3762025 w 6116787"/>
                          <a:gd name="connsiteY555" fmla="*/ 640263 h 3083905"/>
                          <a:gd name="connsiteX556" fmla="*/ 3751600 w 6116787"/>
                          <a:gd name="connsiteY556" fmla="*/ 639166 h 3083905"/>
                          <a:gd name="connsiteX557" fmla="*/ 3739531 w 6116787"/>
                          <a:gd name="connsiteY557" fmla="*/ 633131 h 3083905"/>
                          <a:gd name="connsiteX558" fmla="*/ 3736787 w 6116787"/>
                          <a:gd name="connsiteY558" fmla="*/ 636422 h 3083905"/>
                          <a:gd name="connsiteX559" fmla="*/ 3735690 w 6116787"/>
                          <a:gd name="connsiteY559" fmla="*/ 642457 h 3083905"/>
                          <a:gd name="connsiteX560" fmla="*/ 3730753 w 6116787"/>
                          <a:gd name="connsiteY560" fmla="*/ 642457 h 3083905"/>
                          <a:gd name="connsiteX561" fmla="*/ 3723620 w 6116787"/>
                          <a:gd name="connsiteY561" fmla="*/ 650687 h 3083905"/>
                          <a:gd name="connsiteX562" fmla="*/ 3721425 w 6116787"/>
                          <a:gd name="connsiteY562" fmla="*/ 647944 h 3083905"/>
                          <a:gd name="connsiteX563" fmla="*/ 3720877 w 6116787"/>
                          <a:gd name="connsiteY563" fmla="*/ 644652 h 3083905"/>
                          <a:gd name="connsiteX564" fmla="*/ 3708258 w 6116787"/>
                          <a:gd name="connsiteY564" fmla="*/ 629290 h 3083905"/>
                          <a:gd name="connsiteX565" fmla="*/ 3703321 w 6116787"/>
                          <a:gd name="connsiteY565" fmla="*/ 633131 h 3083905"/>
                          <a:gd name="connsiteX566" fmla="*/ 3697285 w 6116787"/>
                          <a:gd name="connsiteY566" fmla="*/ 629839 h 3083905"/>
                          <a:gd name="connsiteX567" fmla="*/ 3692348 w 6116787"/>
                          <a:gd name="connsiteY567" fmla="*/ 631485 h 3083905"/>
                          <a:gd name="connsiteX568" fmla="*/ 3686861 w 6116787"/>
                          <a:gd name="connsiteY568" fmla="*/ 624901 h 3083905"/>
                          <a:gd name="connsiteX569" fmla="*/ 3683569 w 6116787"/>
                          <a:gd name="connsiteY569" fmla="*/ 627644 h 3083905"/>
                          <a:gd name="connsiteX570" fmla="*/ 3680277 w 6116787"/>
                          <a:gd name="connsiteY570" fmla="*/ 623255 h 3083905"/>
                          <a:gd name="connsiteX571" fmla="*/ 3677534 w 6116787"/>
                          <a:gd name="connsiteY571" fmla="*/ 628741 h 3083905"/>
                          <a:gd name="connsiteX572" fmla="*/ 3671499 w 6116787"/>
                          <a:gd name="connsiteY572" fmla="*/ 623255 h 3083905"/>
                          <a:gd name="connsiteX573" fmla="*/ 3669304 w 6116787"/>
                          <a:gd name="connsiteY573" fmla="*/ 612831 h 3083905"/>
                          <a:gd name="connsiteX574" fmla="*/ 3666561 w 6116787"/>
                          <a:gd name="connsiteY574" fmla="*/ 610088 h 3083905"/>
                          <a:gd name="connsiteX575" fmla="*/ 3663818 w 6116787"/>
                          <a:gd name="connsiteY575" fmla="*/ 613928 h 3083905"/>
                          <a:gd name="connsiteX576" fmla="*/ 3656137 w 6116787"/>
                          <a:gd name="connsiteY576" fmla="*/ 604053 h 3083905"/>
                          <a:gd name="connsiteX577" fmla="*/ 3652297 w 6116787"/>
                          <a:gd name="connsiteY577" fmla="*/ 605699 h 3083905"/>
                          <a:gd name="connsiteX578" fmla="*/ 3645713 w 6116787"/>
                          <a:gd name="connsiteY578" fmla="*/ 601858 h 3083905"/>
                          <a:gd name="connsiteX579" fmla="*/ 3632546 w 6116787"/>
                          <a:gd name="connsiteY579" fmla="*/ 600212 h 3083905"/>
                          <a:gd name="connsiteX580" fmla="*/ 3624316 w 6116787"/>
                          <a:gd name="connsiteY580" fmla="*/ 593080 h 3083905"/>
                          <a:gd name="connsiteX581" fmla="*/ 3619927 w 6116787"/>
                          <a:gd name="connsiteY581" fmla="*/ 593080 h 3083905"/>
                          <a:gd name="connsiteX582" fmla="*/ 3618830 w 6116787"/>
                          <a:gd name="connsiteY582" fmla="*/ 602407 h 3083905"/>
                          <a:gd name="connsiteX583" fmla="*/ 3619927 w 6116787"/>
                          <a:gd name="connsiteY583" fmla="*/ 609539 h 3083905"/>
                          <a:gd name="connsiteX584" fmla="*/ 3618281 w 6116787"/>
                          <a:gd name="connsiteY584" fmla="*/ 612831 h 3083905"/>
                          <a:gd name="connsiteX585" fmla="*/ 3607857 w 6116787"/>
                          <a:gd name="connsiteY585" fmla="*/ 611185 h 3083905"/>
                          <a:gd name="connsiteX586" fmla="*/ 3601273 w 6116787"/>
                          <a:gd name="connsiteY586" fmla="*/ 600761 h 3083905"/>
                          <a:gd name="connsiteX587" fmla="*/ 3593044 w 6116787"/>
                          <a:gd name="connsiteY587" fmla="*/ 645201 h 3083905"/>
                          <a:gd name="connsiteX588" fmla="*/ 3596335 w 6116787"/>
                          <a:gd name="connsiteY588" fmla="*/ 646847 h 3083905"/>
                          <a:gd name="connsiteX589" fmla="*/ 3594141 w 6116787"/>
                          <a:gd name="connsiteY589" fmla="*/ 650687 h 3083905"/>
                          <a:gd name="connsiteX590" fmla="*/ 3594141 w 6116787"/>
                          <a:gd name="connsiteY590" fmla="*/ 654528 h 3083905"/>
                          <a:gd name="connsiteX591" fmla="*/ 3604565 w 6116787"/>
                          <a:gd name="connsiteY591" fmla="*/ 686897 h 3083905"/>
                          <a:gd name="connsiteX592" fmla="*/ 3602371 w 6116787"/>
                          <a:gd name="connsiteY592" fmla="*/ 692384 h 3083905"/>
                          <a:gd name="connsiteX593" fmla="*/ 3596884 w 6116787"/>
                          <a:gd name="connsiteY593" fmla="*/ 698419 h 3083905"/>
                          <a:gd name="connsiteX594" fmla="*/ 3577682 w 6116787"/>
                          <a:gd name="connsiteY594" fmla="*/ 701162 h 3083905"/>
                          <a:gd name="connsiteX595" fmla="*/ 3567806 w 6116787"/>
                          <a:gd name="connsiteY595" fmla="*/ 709940 h 3083905"/>
                          <a:gd name="connsiteX596" fmla="*/ 3563417 w 6116787"/>
                          <a:gd name="connsiteY596" fmla="*/ 706648 h 3083905"/>
                          <a:gd name="connsiteX597" fmla="*/ 3561223 w 6116787"/>
                          <a:gd name="connsiteY597" fmla="*/ 710489 h 3083905"/>
                          <a:gd name="connsiteX598" fmla="*/ 3557931 w 6116787"/>
                          <a:gd name="connsiteY598" fmla="*/ 707746 h 3083905"/>
                          <a:gd name="connsiteX599" fmla="*/ 3546958 w 6116787"/>
                          <a:gd name="connsiteY599" fmla="*/ 710489 h 3083905"/>
                          <a:gd name="connsiteX600" fmla="*/ 3539826 w 6116787"/>
                          <a:gd name="connsiteY600" fmla="*/ 707197 h 3083905"/>
                          <a:gd name="connsiteX601" fmla="*/ 3517331 w 6116787"/>
                          <a:gd name="connsiteY601" fmla="*/ 710489 h 3083905"/>
                          <a:gd name="connsiteX602" fmla="*/ 3514588 w 6116787"/>
                          <a:gd name="connsiteY602" fmla="*/ 713232 h 3083905"/>
                          <a:gd name="connsiteX603" fmla="*/ 3500323 w 6116787"/>
                          <a:gd name="connsiteY603" fmla="*/ 705551 h 3083905"/>
                          <a:gd name="connsiteX604" fmla="*/ 3474537 w 6116787"/>
                          <a:gd name="connsiteY604" fmla="*/ 700065 h 3083905"/>
                          <a:gd name="connsiteX605" fmla="*/ 3474537 w 6116787"/>
                          <a:gd name="connsiteY605" fmla="*/ 705551 h 3083905"/>
                          <a:gd name="connsiteX606" fmla="*/ 3472891 w 6116787"/>
                          <a:gd name="connsiteY606" fmla="*/ 708294 h 3083905"/>
                          <a:gd name="connsiteX607" fmla="*/ 3420222 w 6116787"/>
                          <a:gd name="connsiteY607" fmla="*/ 681411 h 3083905"/>
                          <a:gd name="connsiteX608" fmla="*/ 3416930 w 6116787"/>
                          <a:gd name="connsiteY608" fmla="*/ 675924 h 3083905"/>
                          <a:gd name="connsiteX609" fmla="*/ 3416382 w 6116787"/>
                          <a:gd name="connsiteY609" fmla="*/ 667146 h 3083905"/>
                          <a:gd name="connsiteX610" fmla="*/ 3417479 w 6116787"/>
                          <a:gd name="connsiteY610" fmla="*/ 663306 h 3083905"/>
                          <a:gd name="connsiteX611" fmla="*/ 3415833 w 6116787"/>
                          <a:gd name="connsiteY611" fmla="*/ 654528 h 3083905"/>
                          <a:gd name="connsiteX612" fmla="*/ 3416930 w 6116787"/>
                          <a:gd name="connsiteY612" fmla="*/ 649041 h 3083905"/>
                          <a:gd name="connsiteX613" fmla="*/ 3421868 w 6116787"/>
                          <a:gd name="connsiteY613" fmla="*/ 646298 h 3083905"/>
                          <a:gd name="connsiteX614" fmla="*/ 3429000 w 6116787"/>
                          <a:gd name="connsiteY614" fmla="*/ 646847 h 3083905"/>
                          <a:gd name="connsiteX615" fmla="*/ 3430098 w 6116787"/>
                          <a:gd name="connsiteY615" fmla="*/ 642457 h 3083905"/>
                          <a:gd name="connsiteX616" fmla="*/ 3434487 w 6116787"/>
                          <a:gd name="connsiteY616" fmla="*/ 642457 h 3083905"/>
                          <a:gd name="connsiteX617" fmla="*/ 3432292 w 6116787"/>
                          <a:gd name="connsiteY617" fmla="*/ 636971 h 3083905"/>
                          <a:gd name="connsiteX618" fmla="*/ 3427354 w 6116787"/>
                          <a:gd name="connsiteY618" fmla="*/ 633131 h 3083905"/>
                          <a:gd name="connsiteX619" fmla="*/ 3408700 w 6116787"/>
                          <a:gd name="connsiteY619" fmla="*/ 633679 h 3083905"/>
                          <a:gd name="connsiteX620" fmla="*/ 3401568 w 6116787"/>
                          <a:gd name="connsiteY620" fmla="*/ 629839 h 3083905"/>
                          <a:gd name="connsiteX621" fmla="*/ 3388950 w 6116787"/>
                          <a:gd name="connsiteY621" fmla="*/ 633131 h 3083905"/>
                          <a:gd name="connsiteX622" fmla="*/ 3371942 w 6116787"/>
                          <a:gd name="connsiteY622" fmla="*/ 629839 h 3083905"/>
                          <a:gd name="connsiteX623" fmla="*/ 3363712 w 6116787"/>
                          <a:gd name="connsiteY623" fmla="*/ 624352 h 3083905"/>
                          <a:gd name="connsiteX624" fmla="*/ 3356031 w 6116787"/>
                          <a:gd name="connsiteY624" fmla="*/ 624901 h 3083905"/>
                          <a:gd name="connsiteX625" fmla="*/ 3347802 w 6116787"/>
                          <a:gd name="connsiteY625" fmla="*/ 621060 h 3083905"/>
                          <a:gd name="connsiteX626" fmla="*/ 3338475 w 6116787"/>
                          <a:gd name="connsiteY626" fmla="*/ 621060 h 3083905"/>
                          <a:gd name="connsiteX627" fmla="*/ 3312140 w 6116787"/>
                          <a:gd name="connsiteY627" fmla="*/ 612831 h 3083905"/>
                          <a:gd name="connsiteX628" fmla="*/ 3299521 w 6116787"/>
                          <a:gd name="connsiteY628" fmla="*/ 616671 h 3083905"/>
                          <a:gd name="connsiteX629" fmla="*/ 3299521 w 6116787"/>
                          <a:gd name="connsiteY629" fmla="*/ 622158 h 3083905"/>
                          <a:gd name="connsiteX630" fmla="*/ 3272089 w 6116787"/>
                          <a:gd name="connsiteY630" fmla="*/ 630936 h 3083905"/>
                          <a:gd name="connsiteX631" fmla="*/ 3256727 w 6116787"/>
                          <a:gd name="connsiteY631" fmla="*/ 628741 h 3083905"/>
                          <a:gd name="connsiteX632" fmla="*/ 3233136 w 6116787"/>
                          <a:gd name="connsiteY632" fmla="*/ 638617 h 3083905"/>
                          <a:gd name="connsiteX633" fmla="*/ 3243011 w 6116787"/>
                          <a:gd name="connsiteY633" fmla="*/ 654528 h 3083905"/>
                          <a:gd name="connsiteX634" fmla="*/ 3245206 w 6116787"/>
                          <a:gd name="connsiteY634" fmla="*/ 663306 h 3083905"/>
                          <a:gd name="connsiteX635" fmla="*/ 3227649 w 6116787"/>
                          <a:gd name="connsiteY635" fmla="*/ 677570 h 3083905"/>
                          <a:gd name="connsiteX636" fmla="*/ 3217225 w 6116787"/>
                          <a:gd name="connsiteY636" fmla="*/ 673181 h 3083905"/>
                          <a:gd name="connsiteX637" fmla="*/ 3218871 w 6116787"/>
                          <a:gd name="connsiteY637" fmla="*/ 668792 h 3083905"/>
                          <a:gd name="connsiteX638" fmla="*/ 3228747 w 6116787"/>
                          <a:gd name="connsiteY638" fmla="*/ 670438 h 3083905"/>
                          <a:gd name="connsiteX639" fmla="*/ 3231490 w 6116787"/>
                          <a:gd name="connsiteY639" fmla="*/ 663306 h 3083905"/>
                          <a:gd name="connsiteX640" fmla="*/ 3220517 w 6116787"/>
                          <a:gd name="connsiteY640" fmla="*/ 660563 h 3083905"/>
                          <a:gd name="connsiteX641" fmla="*/ 3222712 w 6116787"/>
                          <a:gd name="connsiteY641" fmla="*/ 653979 h 3083905"/>
                          <a:gd name="connsiteX642" fmla="*/ 3218871 w 6116787"/>
                          <a:gd name="connsiteY642" fmla="*/ 647944 h 3083905"/>
                          <a:gd name="connsiteX643" fmla="*/ 3226003 w 6116787"/>
                          <a:gd name="connsiteY643" fmla="*/ 631485 h 3083905"/>
                          <a:gd name="connsiteX644" fmla="*/ 3226003 w 6116787"/>
                          <a:gd name="connsiteY644" fmla="*/ 621609 h 3083905"/>
                          <a:gd name="connsiteX645" fmla="*/ 3222712 w 6116787"/>
                          <a:gd name="connsiteY645" fmla="*/ 612282 h 3083905"/>
                          <a:gd name="connsiteX646" fmla="*/ 3218871 w 6116787"/>
                          <a:gd name="connsiteY646" fmla="*/ 608990 h 3083905"/>
                          <a:gd name="connsiteX647" fmla="*/ 3217225 w 6116787"/>
                          <a:gd name="connsiteY647" fmla="*/ 596920 h 3083905"/>
                          <a:gd name="connsiteX648" fmla="*/ 3204058 w 6116787"/>
                          <a:gd name="connsiteY648" fmla="*/ 570586 h 3083905"/>
                          <a:gd name="connsiteX649" fmla="*/ 3207350 w 6116787"/>
                          <a:gd name="connsiteY649" fmla="*/ 589239 h 3083905"/>
                          <a:gd name="connsiteX650" fmla="*/ 3206252 w 6116787"/>
                          <a:gd name="connsiteY650" fmla="*/ 601309 h 3083905"/>
                          <a:gd name="connsiteX651" fmla="*/ 3201315 w 6116787"/>
                          <a:gd name="connsiteY651" fmla="*/ 610636 h 3083905"/>
                          <a:gd name="connsiteX652" fmla="*/ 3190342 w 6116787"/>
                          <a:gd name="connsiteY652" fmla="*/ 613928 h 3083905"/>
                          <a:gd name="connsiteX653" fmla="*/ 3169494 w 6116787"/>
                          <a:gd name="connsiteY653" fmla="*/ 612282 h 3083905"/>
                          <a:gd name="connsiteX654" fmla="*/ 3162910 w 6116787"/>
                          <a:gd name="connsiteY654" fmla="*/ 613928 h 3083905"/>
                          <a:gd name="connsiteX655" fmla="*/ 3161264 w 6116787"/>
                          <a:gd name="connsiteY655" fmla="*/ 610088 h 3083905"/>
                          <a:gd name="connsiteX656" fmla="*/ 3147548 w 6116787"/>
                          <a:gd name="connsiteY656" fmla="*/ 598566 h 3083905"/>
                          <a:gd name="connsiteX657" fmla="*/ 3143707 w 6116787"/>
                          <a:gd name="connsiteY657" fmla="*/ 580461 h 3083905"/>
                          <a:gd name="connsiteX658" fmla="*/ 3146999 w 6116787"/>
                          <a:gd name="connsiteY658" fmla="*/ 573329 h 3083905"/>
                          <a:gd name="connsiteX659" fmla="*/ 3148645 w 6116787"/>
                          <a:gd name="connsiteY659" fmla="*/ 579912 h 3083905"/>
                          <a:gd name="connsiteX660" fmla="*/ 3155229 w 6116787"/>
                          <a:gd name="connsiteY660" fmla="*/ 570586 h 3083905"/>
                          <a:gd name="connsiteX661" fmla="*/ 3155778 w 6116787"/>
                          <a:gd name="connsiteY661" fmla="*/ 566196 h 3083905"/>
                          <a:gd name="connsiteX662" fmla="*/ 3138770 w 6116787"/>
                          <a:gd name="connsiteY662" fmla="*/ 570586 h 3083905"/>
                          <a:gd name="connsiteX663" fmla="*/ 3133832 w 6116787"/>
                          <a:gd name="connsiteY663" fmla="*/ 577169 h 3083905"/>
                          <a:gd name="connsiteX664" fmla="*/ 3132186 w 6116787"/>
                          <a:gd name="connsiteY664" fmla="*/ 582656 h 3083905"/>
                          <a:gd name="connsiteX665" fmla="*/ 3129443 w 6116787"/>
                          <a:gd name="connsiteY665" fmla="*/ 585399 h 3083905"/>
                          <a:gd name="connsiteX666" fmla="*/ 3126151 w 6116787"/>
                          <a:gd name="connsiteY666" fmla="*/ 578267 h 3083905"/>
                          <a:gd name="connsiteX667" fmla="*/ 3118470 w 6116787"/>
                          <a:gd name="connsiteY667" fmla="*/ 575523 h 3083905"/>
                          <a:gd name="connsiteX668" fmla="*/ 3110789 w 6116787"/>
                          <a:gd name="connsiteY668" fmla="*/ 568940 h 3083905"/>
                          <a:gd name="connsiteX669" fmla="*/ 3091587 w 6116787"/>
                          <a:gd name="connsiteY669" fmla="*/ 574426 h 3083905"/>
                          <a:gd name="connsiteX670" fmla="*/ 3089941 w 6116787"/>
                          <a:gd name="connsiteY670" fmla="*/ 583753 h 3083905"/>
                          <a:gd name="connsiteX671" fmla="*/ 3078968 w 6116787"/>
                          <a:gd name="connsiteY671" fmla="*/ 599115 h 3083905"/>
                          <a:gd name="connsiteX672" fmla="*/ 3078419 w 6116787"/>
                          <a:gd name="connsiteY672" fmla="*/ 605699 h 3083905"/>
                          <a:gd name="connsiteX673" fmla="*/ 3087198 w 6116787"/>
                          <a:gd name="connsiteY673" fmla="*/ 624352 h 3083905"/>
                          <a:gd name="connsiteX674" fmla="*/ 3091038 w 6116787"/>
                          <a:gd name="connsiteY674" fmla="*/ 621609 h 3083905"/>
                          <a:gd name="connsiteX675" fmla="*/ 3087746 w 6116787"/>
                          <a:gd name="connsiteY675" fmla="*/ 619415 h 3083905"/>
                          <a:gd name="connsiteX676" fmla="*/ 3087746 w 6116787"/>
                          <a:gd name="connsiteY676" fmla="*/ 613928 h 3083905"/>
                          <a:gd name="connsiteX677" fmla="*/ 3092135 w 6116787"/>
                          <a:gd name="connsiteY677" fmla="*/ 618317 h 3083905"/>
                          <a:gd name="connsiteX678" fmla="*/ 3105303 w 6116787"/>
                          <a:gd name="connsiteY678" fmla="*/ 617769 h 3083905"/>
                          <a:gd name="connsiteX679" fmla="*/ 3110240 w 6116787"/>
                          <a:gd name="connsiteY679" fmla="*/ 611185 h 3083905"/>
                          <a:gd name="connsiteX680" fmla="*/ 3117373 w 6116787"/>
                          <a:gd name="connsiteY680" fmla="*/ 607344 h 3083905"/>
                          <a:gd name="connsiteX681" fmla="*/ 3120664 w 6116787"/>
                          <a:gd name="connsiteY681" fmla="*/ 601858 h 3083905"/>
                          <a:gd name="connsiteX682" fmla="*/ 3126151 w 6116787"/>
                          <a:gd name="connsiteY682" fmla="*/ 605699 h 3083905"/>
                          <a:gd name="connsiteX683" fmla="*/ 3131637 w 6116787"/>
                          <a:gd name="connsiteY683" fmla="*/ 617220 h 3083905"/>
                          <a:gd name="connsiteX684" fmla="*/ 3110789 w 6116787"/>
                          <a:gd name="connsiteY684" fmla="*/ 627096 h 3083905"/>
                          <a:gd name="connsiteX685" fmla="*/ 3105851 w 6116787"/>
                          <a:gd name="connsiteY685" fmla="*/ 636422 h 3083905"/>
                          <a:gd name="connsiteX686" fmla="*/ 3103108 w 6116787"/>
                          <a:gd name="connsiteY686" fmla="*/ 634776 h 3083905"/>
                          <a:gd name="connsiteX687" fmla="*/ 3086100 w 6116787"/>
                          <a:gd name="connsiteY687" fmla="*/ 649041 h 3083905"/>
                          <a:gd name="connsiteX688" fmla="*/ 3078419 w 6116787"/>
                          <a:gd name="connsiteY688" fmla="*/ 649041 h 3083905"/>
                          <a:gd name="connsiteX689" fmla="*/ 3066349 w 6116787"/>
                          <a:gd name="connsiteY689" fmla="*/ 634228 h 3083905"/>
                          <a:gd name="connsiteX690" fmla="*/ 3074579 w 6116787"/>
                          <a:gd name="connsiteY690" fmla="*/ 650138 h 3083905"/>
                          <a:gd name="connsiteX691" fmla="*/ 3072384 w 6116787"/>
                          <a:gd name="connsiteY691" fmla="*/ 651236 h 3083905"/>
                          <a:gd name="connsiteX692" fmla="*/ 3068544 w 6116787"/>
                          <a:gd name="connsiteY692" fmla="*/ 647395 h 3083905"/>
                          <a:gd name="connsiteX693" fmla="*/ 3069641 w 6116787"/>
                          <a:gd name="connsiteY693" fmla="*/ 652333 h 3083905"/>
                          <a:gd name="connsiteX694" fmla="*/ 3066898 w 6116787"/>
                          <a:gd name="connsiteY694" fmla="*/ 657819 h 3083905"/>
                          <a:gd name="connsiteX695" fmla="*/ 3042758 w 6116787"/>
                          <a:gd name="connsiteY695" fmla="*/ 664952 h 3083905"/>
                          <a:gd name="connsiteX696" fmla="*/ 3035077 w 6116787"/>
                          <a:gd name="connsiteY696" fmla="*/ 664403 h 3083905"/>
                          <a:gd name="connsiteX697" fmla="*/ 3033979 w 6116787"/>
                          <a:gd name="connsiteY697" fmla="*/ 670438 h 3083905"/>
                          <a:gd name="connsiteX698" fmla="*/ 3035625 w 6116787"/>
                          <a:gd name="connsiteY698" fmla="*/ 674827 h 3083905"/>
                          <a:gd name="connsiteX699" fmla="*/ 3023007 w 6116787"/>
                          <a:gd name="connsiteY699" fmla="*/ 673181 h 3083905"/>
                          <a:gd name="connsiteX700" fmla="*/ 3009291 w 6116787"/>
                          <a:gd name="connsiteY700" fmla="*/ 685800 h 3083905"/>
                          <a:gd name="connsiteX701" fmla="*/ 3005999 w 6116787"/>
                          <a:gd name="connsiteY701" fmla="*/ 683605 h 3083905"/>
                          <a:gd name="connsiteX702" fmla="*/ 2986248 w 6116787"/>
                          <a:gd name="connsiteY702" fmla="*/ 681960 h 3083905"/>
                          <a:gd name="connsiteX703" fmla="*/ 2981310 w 6116787"/>
                          <a:gd name="connsiteY703" fmla="*/ 686897 h 3083905"/>
                          <a:gd name="connsiteX704" fmla="*/ 2962656 w 6116787"/>
                          <a:gd name="connsiteY704" fmla="*/ 681411 h 3083905"/>
                          <a:gd name="connsiteX705" fmla="*/ 2954975 w 6116787"/>
                          <a:gd name="connsiteY705" fmla="*/ 687995 h 3083905"/>
                          <a:gd name="connsiteX706" fmla="*/ 2956072 w 6116787"/>
                          <a:gd name="connsiteY706" fmla="*/ 697321 h 3083905"/>
                          <a:gd name="connsiteX707" fmla="*/ 2960462 w 6116787"/>
                          <a:gd name="connsiteY707" fmla="*/ 709392 h 3083905"/>
                          <a:gd name="connsiteX708" fmla="*/ 2984053 w 6116787"/>
                          <a:gd name="connsiteY708" fmla="*/ 720913 h 3083905"/>
                          <a:gd name="connsiteX709" fmla="*/ 2979115 w 6116787"/>
                          <a:gd name="connsiteY709" fmla="*/ 723108 h 3083905"/>
                          <a:gd name="connsiteX710" fmla="*/ 2956621 w 6116787"/>
                          <a:gd name="connsiteY710" fmla="*/ 714878 h 3083905"/>
                          <a:gd name="connsiteX711" fmla="*/ 2950038 w 6116787"/>
                          <a:gd name="connsiteY711" fmla="*/ 710489 h 3083905"/>
                          <a:gd name="connsiteX712" fmla="*/ 2945100 w 6116787"/>
                          <a:gd name="connsiteY712" fmla="*/ 717621 h 3083905"/>
                          <a:gd name="connsiteX713" fmla="*/ 2940711 w 6116787"/>
                          <a:gd name="connsiteY713" fmla="*/ 720913 h 3083905"/>
                          <a:gd name="connsiteX714" fmla="*/ 2936322 w 6116787"/>
                          <a:gd name="connsiteY714" fmla="*/ 728594 h 3083905"/>
                          <a:gd name="connsiteX715" fmla="*/ 2929189 w 6116787"/>
                          <a:gd name="connsiteY715" fmla="*/ 733532 h 3083905"/>
                          <a:gd name="connsiteX716" fmla="*/ 2922057 w 6116787"/>
                          <a:gd name="connsiteY716" fmla="*/ 734080 h 3083905"/>
                          <a:gd name="connsiteX717" fmla="*/ 2895174 w 6116787"/>
                          <a:gd name="connsiteY717" fmla="*/ 759318 h 3083905"/>
                          <a:gd name="connsiteX718" fmla="*/ 2897917 w 6116787"/>
                          <a:gd name="connsiteY718" fmla="*/ 756026 h 3083905"/>
                          <a:gd name="connsiteX719" fmla="*/ 2895174 w 6116787"/>
                          <a:gd name="connsiteY719" fmla="*/ 754380 h 3083905"/>
                          <a:gd name="connsiteX720" fmla="*/ 2886944 w 6116787"/>
                          <a:gd name="connsiteY720" fmla="*/ 756575 h 3083905"/>
                          <a:gd name="connsiteX721" fmla="*/ 2884749 w 6116787"/>
                          <a:gd name="connsiteY721" fmla="*/ 760964 h 3083905"/>
                          <a:gd name="connsiteX722" fmla="*/ 2880360 w 6116787"/>
                          <a:gd name="connsiteY722" fmla="*/ 759866 h 3083905"/>
                          <a:gd name="connsiteX723" fmla="*/ 2879812 w 6116787"/>
                          <a:gd name="connsiteY723" fmla="*/ 754929 h 3083905"/>
                          <a:gd name="connsiteX724" fmla="*/ 2894625 w 6116787"/>
                          <a:gd name="connsiteY724" fmla="*/ 741213 h 3083905"/>
                          <a:gd name="connsiteX725" fmla="*/ 2901208 w 6116787"/>
                          <a:gd name="connsiteY725" fmla="*/ 738470 h 3083905"/>
                          <a:gd name="connsiteX726" fmla="*/ 2903403 w 6116787"/>
                          <a:gd name="connsiteY726" fmla="*/ 734080 h 3083905"/>
                          <a:gd name="connsiteX727" fmla="*/ 2912181 w 6116787"/>
                          <a:gd name="connsiteY727" fmla="*/ 728594 h 3083905"/>
                          <a:gd name="connsiteX728" fmla="*/ 2919314 w 6116787"/>
                          <a:gd name="connsiteY728" fmla="*/ 730240 h 3083905"/>
                          <a:gd name="connsiteX729" fmla="*/ 2934127 w 6116787"/>
                          <a:gd name="connsiteY729" fmla="*/ 714329 h 3083905"/>
                          <a:gd name="connsiteX730" fmla="*/ 2945100 w 6116787"/>
                          <a:gd name="connsiteY730" fmla="*/ 690738 h 3083905"/>
                          <a:gd name="connsiteX731" fmla="*/ 2948392 w 6116787"/>
                          <a:gd name="connsiteY731" fmla="*/ 686897 h 3083905"/>
                          <a:gd name="connsiteX732" fmla="*/ 2956072 w 6116787"/>
                          <a:gd name="connsiteY732" fmla="*/ 666049 h 3083905"/>
                          <a:gd name="connsiteX733" fmla="*/ 2962108 w 6116787"/>
                          <a:gd name="connsiteY733" fmla="*/ 667146 h 3083905"/>
                          <a:gd name="connsiteX734" fmla="*/ 2978018 w 6116787"/>
                          <a:gd name="connsiteY734" fmla="*/ 661111 h 3083905"/>
                          <a:gd name="connsiteX735" fmla="*/ 2979664 w 6116787"/>
                          <a:gd name="connsiteY735" fmla="*/ 651236 h 3083905"/>
                          <a:gd name="connsiteX736" fmla="*/ 2989540 w 6116787"/>
                          <a:gd name="connsiteY736" fmla="*/ 635874 h 3083905"/>
                          <a:gd name="connsiteX737" fmla="*/ 2991186 w 6116787"/>
                          <a:gd name="connsiteY737" fmla="*/ 624352 h 3083905"/>
                          <a:gd name="connsiteX738" fmla="*/ 3025750 w 6116787"/>
                          <a:gd name="connsiteY738" fmla="*/ 621060 h 3083905"/>
                          <a:gd name="connsiteX739" fmla="*/ 3030139 w 6116787"/>
                          <a:gd name="connsiteY739" fmla="*/ 625998 h 3083905"/>
                          <a:gd name="connsiteX740" fmla="*/ 3048793 w 6116787"/>
                          <a:gd name="connsiteY740" fmla="*/ 592531 h 3083905"/>
                          <a:gd name="connsiteX741" fmla="*/ 3050987 w 6116787"/>
                          <a:gd name="connsiteY741" fmla="*/ 580461 h 3083905"/>
                          <a:gd name="connsiteX742" fmla="*/ 3070738 w 6116787"/>
                          <a:gd name="connsiteY742" fmla="*/ 561807 h 3083905"/>
                          <a:gd name="connsiteX743" fmla="*/ 3081163 w 6116787"/>
                          <a:gd name="connsiteY743" fmla="*/ 556870 h 3083905"/>
                          <a:gd name="connsiteX744" fmla="*/ 3095427 w 6116787"/>
                          <a:gd name="connsiteY744" fmla="*/ 539862 h 3083905"/>
                          <a:gd name="connsiteX745" fmla="*/ 3099816 w 6116787"/>
                          <a:gd name="connsiteY745" fmla="*/ 525597 h 3083905"/>
                          <a:gd name="connsiteX746" fmla="*/ 3113532 w 6116787"/>
                          <a:gd name="connsiteY746" fmla="*/ 511881 h 3083905"/>
                          <a:gd name="connsiteX747" fmla="*/ 3112984 w 6116787"/>
                          <a:gd name="connsiteY747" fmla="*/ 509138 h 3083905"/>
                          <a:gd name="connsiteX748" fmla="*/ 3114630 w 6116787"/>
                          <a:gd name="connsiteY748" fmla="*/ 503652 h 3083905"/>
                          <a:gd name="connsiteX749" fmla="*/ 3122311 w 6116787"/>
                          <a:gd name="connsiteY749" fmla="*/ 502554 h 3083905"/>
                          <a:gd name="connsiteX750" fmla="*/ 3127248 w 6116787"/>
                          <a:gd name="connsiteY750" fmla="*/ 497616 h 3083905"/>
                          <a:gd name="connsiteX751" fmla="*/ 3124505 w 6116787"/>
                          <a:gd name="connsiteY751" fmla="*/ 495971 h 3083905"/>
                          <a:gd name="connsiteX752" fmla="*/ 3128894 w 6116787"/>
                          <a:gd name="connsiteY752" fmla="*/ 494325 h 3083905"/>
                          <a:gd name="connsiteX753" fmla="*/ 3131637 w 6116787"/>
                          <a:gd name="connsiteY753" fmla="*/ 496519 h 3083905"/>
                          <a:gd name="connsiteX754" fmla="*/ 3138770 w 6116787"/>
                          <a:gd name="connsiteY754" fmla="*/ 493776 h 3083905"/>
                          <a:gd name="connsiteX755" fmla="*/ 3140964 w 6116787"/>
                          <a:gd name="connsiteY755" fmla="*/ 484449 h 3083905"/>
                          <a:gd name="connsiteX756" fmla="*/ 3145353 w 6116787"/>
                          <a:gd name="connsiteY756" fmla="*/ 484998 h 3083905"/>
                          <a:gd name="connsiteX757" fmla="*/ 3155229 w 6116787"/>
                          <a:gd name="connsiteY757" fmla="*/ 474574 h 3083905"/>
                          <a:gd name="connsiteX758" fmla="*/ 3167299 w 6116787"/>
                          <a:gd name="connsiteY758" fmla="*/ 481706 h 3083905"/>
                          <a:gd name="connsiteX759" fmla="*/ 3167848 w 6116787"/>
                          <a:gd name="connsiteY759" fmla="*/ 475671 h 3083905"/>
                          <a:gd name="connsiteX760" fmla="*/ 3171139 w 6116787"/>
                          <a:gd name="connsiteY760" fmla="*/ 470184 h 3083905"/>
                          <a:gd name="connsiteX761" fmla="*/ 3167848 w 6116787"/>
                          <a:gd name="connsiteY761" fmla="*/ 463601 h 3083905"/>
                          <a:gd name="connsiteX762" fmla="*/ 3188696 w 6116787"/>
                          <a:gd name="connsiteY762" fmla="*/ 455920 h 3083905"/>
                          <a:gd name="connsiteX763" fmla="*/ 3178820 w 6116787"/>
                          <a:gd name="connsiteY763" fmla="*/ 453177 h 3083905"/>
                          <a:gd name="connsiteX764" fmla="*/ 3181015 w 6116787"/>
                          <a:gd name="connsiteY764" fmla="*/ 448788 h 3083905"/>
                          <a:gd name="connsiteX765" fmla="*/ 3195828 w 6116787"/>
                          <a:gd name="connsiteY765" fmla="*/ 441107 h 3083905"/>
                          <a:gd name="connsiteX766" fmla="*/ 3194182 w 6116787"/>
                          <a:gd name="connsiteY766" fmla="*/ 448788 h 3083905"/>
                          <a:gd name="connsiteX767" fmla="*/ 3199120 w 6116787"/>
                          <a:gd name="connsiteY767" fmla="*/ 441107 h 3083905"/>
                          <a:gd name="connsiteX768" fmla="*/ 3204058 w 6116787"/>
                          <a:gd name="connsiteY768" fmla="*/ 441107 h 3083905"/>
                          <a:gd name="connsiteX769" fmla="*/ 3207898 w 6116787"/>
                          <a:gd name="connsiteY769" fmla="*/ 435620 h 3083905"/>
                          <a:gd name="connsiteX770" fmla="*/ 3204058 w 6116787"/>
                          <a:gd name="connsiteY770" fmla="*/ 432328 h 3083905"/>
                          <a:gd name="connsiteX771" fmla="*/ 3210093 w 6116787"/>
                          <a:gd name="connsiteY771" fmla="*/ 426293 h 3083905"/>
                          <a:gd name="connsiteX772" fmla="*/ 3216676 w 6116787"/>
                          <a:gd name="connsiteY772" fmla="*/ 426842 h 3083905"/>
                          <a:gd name="connsiteX773" fmla="*/ 3221614 w 6116787"/>
                          <a:gd name="connsiteY773" fmla="*/ 418612 h 3083905"/>
                          <a:gd name="connsiteX774" fmla="*/ 3223809 w 6116787"/>
                          <a:gd name="connsiteY774" fmla="*/ 407640 h 3083905"/>
                          <a:gd name="connsiteX775" fmla="*/ 3231490 w 6116787"/>
                          <a:gd name="connsiteY775" fmla="*/ 398861 h 3083905"/>
                          <a:gd name="connsiteX776" fmla="*/ 3234233 w 6116787"/>
                          <a:gd name="connsiteY776" fmla="*/ 392826 h 3083905"/>
                          <a:gd name="connsiteX777" fmla="*/ 3238074 w 6116787"/>
                          <a:gd name="connsiteY777" fmla="*/ 388437 h 3083905"/>
                          <a:gd name="connsiteX778" fmla="*/ 3238074 w 6116787"/>
                          <a:gd name="connsiteY778" fmla="*/ 375818 h 3083905"/>
                          <a:gd name="connsiteX779" fmla="*/ 3236428 w 6116787"/>
                          <a:gd name="connsiteY779" fmla="*/ 374721 h 3083905"/>
                          <a:gd name="connsiteX780" fmla="*/ 3233684 w 6116787"/>
                          <a:gd name="connsiteY780" fmla="*/ 365394 h 3083905"/>
                          <a:gd name="connsiteX781" fmla="*/ 3239719 w 6116787"/>
                          <a:gd name="connsiteY781" fmla="*/ 368137 h 3083905"/>
                          <a:gd name="connsiteX782" fmla="*/ 3238622 w 6116787"/>
                          <a:gd name="connsiteY782" fmla="*/ 354970 h 3083905"/>
                          <a:gd name="connsiteX783" fmla="*/ 3229844 w 6116787"/>
                          <a:gd name="connsiteY783" fmla="*/ 354970 h 3083905"/>
                          <a:gd name="connsiteX784" fmla="*/ 3220517 w 6116787"/>
                          <a:gd name="connsiteY784" fmla="*/ 346192 h 3083905"/>
                          <a:gd name="connsiteX785" fmla="*/ 3219968 w 6116787"/>
                          <a:gd name="connsiteY785" fmla="*/ 336316 h 3083905"/>
                          <a:gd name="connsiteX786" fmla="*/ 3212287 w 6116787"/>
                          <a:gd name="connsiteY786" fmla="*/ 337414 h 3083905"/>
                          <a:gd name="connsiteX787" fmla="*/ 3211190 w 6116787"/>
                          <a:gd name="connsiteY787" fmla="*/ 343449 h 3083905"/>
                          <a:gd name="connsiteX788" fmla="*/ 3208996 w 6116787"/>
                          <a:gd name="connsiteY788" fmla="*/ 346740 h 3083905"/>
                          <a:gd name="connsiteX789" fmla="*/ 3205155 w 6116787"/>
                          <a:gd name="connsiteY789" fmla="*/ 340705 h 3083905"/>
                          <a:gd name="connsiteX790" fmla="*/ 3205155 w 6116787"/>
                          <a:gd name="connsiteY790" fmla="*/ 337962 h 3083905"/>
                          <a:gd name="connsiteX791" fmla="*/ 3201863 w 6116787"/>
                          <a:gd name="connsiteY791" fmla="*/ 329184 h 3083905"/>
                          <a:gd name="connsiteX792" fmla="*/ 3204058 w 6116787"/>
                          <a:gd name="connsiteY792" fmla="*/ 325344 h 3083905"/>
                          <a:gd name="connsiteX793" fmla="*/ 3195280 w 6116787"/>
                          <a:gd name="connsiteY793" fmla="*/ 318211 h 3083905"/>
                          <a:gd name="connsiteX794" fmla="*/ 3190891 w 6116787"/>
                          <a:gd name="connsiteY794" fmla="*/ 310530 h 3083905"/>
                          <a:gd name="connsiteX795" fmla="*/ 3192536 w 6116787"/>
                          <a:gd name="connsiteY795" fmla="*/ 306141 h 3083905"/>
                          <a:gd name="connsiteX796" fmla="*/ 3197474 w 6116787"/>
                          <a:gd name="connsiteY796" fmla="*/ 307787 h 3083905"/>
                          <a:gd name="connsiteX797" fmla="*/ 3208996 w 6116787"/>
                          <a:gd name="connsiteY797" fmla="*/ 322052 h 3083905"/>
                          <a:gd name="connsiteX798" fmla="*/ 3230941 w 6116787"/>
                          <a:gd name="connsiteY798" fmla="*/ 335219 h 3083905"/>
                          <a:gd name="connsiteX799" fmla="*/ 3226003 w 6116787"/>
                          <a:gd name="connsiteY799" fmla="*/ 346740 h 3083905"/>
                          <a:gd name="connsiteX800" fmla="*/ 3230941 w 6116787"/>
                          <a:gd name="connsiteY800" fmla="*/ 345643 h 3083905"/>
                          <a:gd name="connsiteX801" fmla="*/ 3243011 w 6116787"/>
                          <a:gd name="connsiteY801" fmla="*/ 312176 h 3083905"/>
                          <a:gd name="connsiteX802" fmla="*/ 3243011 w 6116787"/>
                          <a:gd name="connsiteY802" fmla="*/ 301752 h 3083905"/>
                          <a:gd name="connsiteX803" fmla="*/ 3240817 w 6116787"/>
                          <a:gd name="connsiteY803" fmla="*/ 293522 h 3083905"/>
                          <a:gd name="connsiteX804" fmla="*/ 3236428 w 6116787"/>
                          <a:gd name="connsiteY804" fmla="*/ 295717 h 3083905"/>
                          <a:gd name="connsiteX805" fmla="*/ 3230941 w 6116787"/>
                          <a:gd name="connsiteY805" fmla="*/ 293522 h 3083905"/>
                          <a:gd name="connsiteX806" fmla="*/ 3227649 w 6116787"/>
                          <a:gd name="connsiteY806" fmla="*/ 274320 h 3083905"/>
                          <a:gd name="connsiteX807" fmla="*/ 3228198 w 6116787"/>
                          <a:gd name="connsiteY807" fmla="*/ 266639 h 3083905"/>
                          <a:gd name="connsiteX808" fmla="*/ 3217225 w 6116787"/>
                          <a:gd name="connsiteY808" fmla="*/ 246339 h 3083905"/>
                          <a:gd name="connsiteX809" fmla="*/ 3211190 w 6116787"/>
                          <a:gd name="connsiteY809" fmla="*/ 249631 h 3083905"/>
                          <a:gd name="connsiteX810" fmla="*/ 3215031 w 6116787"/>
                          <a:gd name="connsiteY810" fmla="*/ 258958 h 3083905"/>
                          <a:gd name="connsiteX811" fmla="*/ 3208996 w 6116787"/>
                          <a:gd name="connsiteY811" fmla="*/ 264444 h 3083905"/>
                          <a:gd name="connsiteX812" fmla="*/ 3207898 w 6116787"/>
                          <a:gd name="connsiteY812" fmla="*/ 269382 h 3083905"/>
                          <a:gd name="connsiteX813" fmla="*/ 3204607 w 6116787"/>
                          <a:gd name="connsiteY813" fmla="*/ 269931 h 3083905"/>
                          <a:gd name="connsiteX814" fmla="*/ 3199669 w 6116787"/>
                          <a:gd name="connsiteY814" fmla="*/ 256764 h 3083905"/>
                          <a:gd name="connsiteX815" fmla="*/ 3192536 w 6116787"/>
                          <a:gd name="connsiteY815" fmla="*/ 247437 h 3083905"/>
                          <a:gd name="connsiteX816" fmla="*/ 3197474 w 6116787"/>
                          <a:gd name="connsiteY816" fmla="*/ 245242 h 3083905"/>
                          <a:gd name="connsiteX817" fmla="*/ 3200217 w 6116787"/>
                          <a:gd name="connsiteY817" fmla="*/ 233721 h 3083905"/>
                          <a:gd name="connsiteX818" fmla="*/ 3182661 w 6116787"/>
                          <a:gd name="connsiteY818" fmla="*/ 215616 h 3083905"/>
                          <a:gd name="connsiteX819" fmla="*/ 3177723 w 6116787"/>
                          <a:gd name="connsiteY819" fmla="*/ 217261 h 3083905"/>
                          <a:gd name="connsiteX820" fmla="*/ 3176626 w 6116787"/>
                          <a:gd name="connsiteY820" fmla="*/ 209580 h 3083905"/>
                          <a:gd name="connsiteX821" fmla="*/ 3166202 w 6116787"/>
                          <a:gd name="connsiteY821" fmla="*/ 194219 h 3083905"/>
                          <a:gd name="connsiteX822" fmla="*/ 3152486 w 6116787"/>
                          <a:gd name="connsiteY822" fmla="*/ 185989 h 3083905"/>
                          <a:gd name="connsiteX823" fmla="*/ 3155229 w 6116787"/>
                          <a:gd name="connsiteY823" fmla="*/ 181600 h 3083905"/>
                          <a:gd name="connsiteX824" fmla="*/ 3152486 w 6116787"/>
                          <a:gd name="connsiteY824" fmla="*/ 176662 h 3083905"/>
                          <a:gd name="connsiteX825" fmla="*/ 3145902 w 6116787"/>
                          <a:gd name="connsiteY825" fmla="*/ 175016 h 3083905"/>
                          <a:gd name="connsiteX826" fmla="*/ 3142610 w 6116787"/>
                          <a:gd name="connsiteY826" fmla="*/ 178857 h 3083905"/>
                          <a:gd name="connsiteX827" fmla="*/ 3139867 w 6116787"/>
                          <a:gd name="connsiteY827" fmla="*/ 175016 h 3083905"/>
                          <a:gd name="connsiteX828" fmla="*/ 3139867 w 6116787"/>
                          <a:gd name="connsiteY828" fmla="*/ 166787 h 3083905"/>
                          <a:gd name="connsiteX829" fmla="*/ 3128894 w 6116787"/>
                          <a:gd name="connsiteY829" fmla="*/ 169530 h 3083905"/>
                          <a:gd name="connsiteX830" fmla="*/ 3109143 w 6116787"/>
                          <a:gd name="connsiteY830" fmla="*/ 165689 h 3083905"/>
                          <a:gd name="connsiteX831" fmla="*/ 3097622 w 6116787"/>
                          <a:gd name="connsiteY831" fmla="*/ 175016 h 3083905"/>
                          <a:gd name="connsiteX832" fmla="*/ 3094330 w 6116787"/>
                          <a:gd name="connsiteY832" fmla="*/ 172822 h 3083905"/>
                          <a:gd name="connsiteX833" fmla="*/ 3087746 w 6116787"/>
                          <a:gd name="connsiteY833" fmla="*/ 175016 h 3083905"/>
                          <a:gd name="connsiteX834" fmla="*/ 3074030 w 6116787"/>
                          <a:gd name="connsiteY834" fmla="*/ 163495 h 3083905"/>
                          <a:gd name="connsiteX835" fmla="*/ 3065800 w 6116787"/>
                          <a:gd name="connsiteY835" fmla="*/ 170078 h 3083905"/>
                          <a:gd name="connsiteX836" fmla="*/ 3060863 w 6116787"/>
                          <a:gd name="connsiteY836" fmla="*/ 168981 h 3083905"/>
                          <a:gd name="connsiteX837" fmla="*/ 3041660 w 6116787"/>
                          <a:gd name="connsiteY837" fmla="*/ 172822 h 3083905"/>
                          <a:gd name="connsiteX838" fmla="*/ 3037271 w 6116787"/>
                          <a:gd name="connsiteY838" fmla="*/ 168981 h 3083905"/>
                          <a:gd name="connsiteX839" fmla="*/ 3030688 w 6116787"/>
                          <a:gd name="connsiteY839" fmla="*/ 174468 h 3083905"/>
                          <a:gd name="connsiteX840" fmla="*/ 3031785 w 6116787"/>
                          <a:gd name="connsiteY840" fmla="*/ 169530 h 3083905"/>
                          <a:gd name="connsiteX841" fmla="*/ 3035077 w 6116787"/>
                          <a:gd name="connsiteY841" fmla="*/ 165689 h 3083905"/>
                          <a:gd name="connsiteX842" fmla="*/ 3033979 w 6116787"/>
                          <a:gd name="connsiteY842" fmla="*/ 162946 h 3083905"/>
                          <a:gd name="connsiteX843" fmla="*/ 3029590 w 6116787"/>
                          <a:gd name="connsiteY843" fmla="*/ 161849 h 3083905"/>
                          <a:gd name="connsiteX844" fmla="*/ 3027944 w 6116787"/>
                          <a:gd name="connsiteY844" fmla="*/ 166787 h 3083905"/>
                          <a:gd name="connsiteX845" fmla="*/ 3020263 w 6116787"/>
                          <a:gd name="connsiteY845" fmla="*/ 168981 h 3083905"/>
                          <a:gd name="connsiteX846" fmla="*/ 3016972 w 6116787"/>
                          <a:gd name="connsiteY846" fmla="*/ 181051 h 3083905"/>
                          <a:gd name="connsiteX847" fmla="*/ 3024104 w 6116787"/>
                          <a:gd name="connsiteY847" fmla="*/ 179405 h 3083905"/>
                          <a:gd name="connsiteX848" fmla="*/ 3019715 w 6116787"/>
                          <a:gd name="connsiteY848" fmla="*/ 186538 h 3083905"/>
                          <a:gd name="connsiteX849" fmla="*/ 3014777 w 6116787"/>
                          <a:gd name="connsiteY849" fmla="*/ 186538 h 3083905"/>
                          <a:gd name="connsiteX850" fmla="*/ 3014777 w 6116787"/>
                          <a:gd name="connsiteY850" fmla="*/ 194219 h 3083905"/>
                          <a:gd name="connsiteX851" fmla="*/ 3010936 w 6116787"/>
                          <a:gd name="connsiteY851" fmla="*/ 201351 h 3083905"/>
                          <a:gd name="connsiteX852" fmla="*/ 3003804 w 6116787"/>
                          <a:gd name="connsiteY852" fmla="*/ 204643 h 3083905"/>
                          <a:gd name="connsiteX853" fmla="*/ 3001061 w 6116787"/>
                          <a:gd name="connsiteY853" fmla="*/ 202997 h 3083905"/>
                          <a:gd name="connsiteX854" fmla="*/ 2998867 w 6116787"/>
                          <a:gd name="connsiteY854" fmla="*/ 210129 h 3083905"/>
                          <a:gd name="connsiteX855" fmla="*/ 2983504 w 6116787"/>
                          <a:gd name="connsiteY855" fmla="*/ 209580 h 3083905"/>
                          <a:gd name="connsiteX856" fmla="*/ 2978018 w 6116787"/>
                          <a:gd name="connsiteY856" fmla="*/ 212872 h 3083905"/>
                          <a:gd name="connsiteX857" fmla="*/ 2967594 w 6116787"/>
                          <a:gd name="connsiteY857" fmla="*/ 209580 h 3083905"/>
                          <a:gd name="connsiteX858" fmla="*/ 2953878 w 6116787"/>
                          <a:gd name="connsiteY858" fmla="*/ 209580 h 3083905"/>
                          <a:gd name="connsiteX859" fmla="*/ 2953878 w 6116787"/>
                          <a:gd name="connsiteY859" fmla="*/ 205740 h 3083905"/>
                          <a:gd name="connsiteX860" fmla="*/ 2952781 w 6116787"/>
                          <a:gd name="connsiteY860" fmla="*/ 204643 h 3083905"/>
                          <a:gd name="connsiteX861" fmla="*/ 2964302 w 6116787"/>
                          <a:gd name="connsiteY861" fmla="*/ 197510 h 3083905"/>
                          <a:gd name="connsiteX862" fmla="*/ 2967594 w 6116787"/>
                          <a:gd name="connsiteY862" fmla="*/ 199705 h 3083905"/>
                          <a:gd name="connsiteX863" fmla="*/ 2981310 w 6116787"/>
                          <a:gd name="connsiteY863" fmla="*/ 165689 h 3083905"/>
                          <a:gd name="connsiteX864" fmla="*/ 2990637 w 6116787"/>
                          <a:gd name="connsiteY864" fmla="*/ 162946 h 3083905"/>
                          <a:gd name="connsiteX865" fmla="*/ 2997769 w 6116787"/>
                          <a:gd name="connsiteY865" fmla="*/ 148133 h 3083905"/>
                          <a:gd name="connsiteX866" fmla="*/ 2995026 w 6116787"/>
                          <a:gd name="connsiteY866" fmla="*/ 145938 h 3083905"/>
                          <a:gd name="connsiteX867" fmla="*/ 2992831 w 6116787"/>
                          <a:gd name="connsiteY867" fmla="*/ 142098 h 3083905"/>
                          <a:gd name="connsiteX868" fmla="*/ 2993929 w 6116787"/>
                          <a:gd name="connsiteY868" fmla="*/ 139355 h 3083905"/>
                          <a:gd name="connsiteX869" fmla="*/ 2998867 w 6116787"/>
                          <a:gd name="connsiteY869" fmla="*/ 139903 h 3083905"/>
                          <a:gd name="connsiteX870" fmla="*/ 2998867 w 6116787"/>
                          <a:gd name="connsiteY870" fmla="*/ 135514 h 3083905"/>
                          <a:gd name="connsiteX871" fmla="*/ 2995026 w 6116787"/>
                          <a:gd name="connsiteY871" fmla="*/ 133320 h 3083905"/>
                          <a:gd name="connsiteX872" fmla="*/ 2995026 w 6116787"/>
                          <a:gd name="connsiteY872" fmla="*/ 128382 h 3083905"/>
                          <a:gd name="connsiteX873" fmla="*/ 2995575 w 6116787"/>
                          <a:gd name="connsiteY873" fmla="*/ 125639 h 3083905"/>
                          <a:gd name="connsiteX874" fmla="*/ 2978018 w 6116787"/>
                          <a:gd name="connsiteY874" fmla="*/ 119604 h 3083905"/>
                          <a:gd name="connsiteX875" fmla="*/ 2974178 w 6116787"/>
                          <a:gd name="connsiteY875" fmla="*/ 121798 h 3083905"/>
                          <a:gd name="connsiteX876" fmla="*/ 2970886 w 6116787"/>
                          <a:gd name="connsiteY876" fmla="*/ 115214 h 3083905"/>
                          <a:gd name="connsiteX877" fmla="*/ 2964302 w 6116787"/>
                          <a:gd name="connsiteY877" fmla="*/ 113020 h 3083905"/>
                          <a:gd name="connsiteX878" fmla="*/ 2958816 w 6116787"/>
                          <a:gd name="connsiteY878" fmla="*/ 113020 h 3083905"/>
                          <a:gd name="connsiteX879" fmla="*/ 2953329 w 6116787"/>
                          <a:gd name="connsiteY879" fmla="*/ 118506 h 3083905"/>
                          <a:gd name="connsiteX880" fmla="*/ 2948392 w 6116787"/>
                          <a:gd name="connsiteY880" fmla="*/ 112471 h 3083905"/>
                          <a:gd name="connsiteX881" fmla="*/ 2937419 w 6116787"/>
                          <a:gd name="connsiteY881" fmla="*/ 118506 h 3083905"/>
                          <a:gd name="connsiteX882" fmla="*/ 2940162 w 6116787"/>
                          <a:gd name="connsiteY882" fmla="*/ 107533 h 3083905"/>
                          <a:gd name="connsiteX883" fmla="*/ 2939613 w 6116787"/>
                          <a:gd name="connsiteY883" fmla="*/ 97658 h 3083905"/>
                          <a:gd name="connsiteX884" fmla="*/ 2935773 w 6116787"/>
                          <a:gd name="connsiteY884" fmla="*/ 110825 h 3083905"/>
                          <a:gd name="connsiteX885" fmla="*/ 2922606 w 6116787"/>
                          <a:gd name="connsiteY885" fmla="*/ 109728 h 3083905"/>
                          <a:gd name="connsiteX886" fmla="*/ 2884201 w 6116787"/>
                          <a:gd name="connsiteY886" fmla="*/ 128930 h 3083905"/>
                          <a:gd name="connsiteX887" fmla="*/ 2892430 w 6116787"/>
                          <a:gd name="connsiteY887" fmla="*/ 115214 h 3083905"/>
                          <a:gd name="connsiteX888" fmla="*/ 2897368 w 6116787"/>
                          <a:gd name="connsiteY888" fmla="*/ 113020 h 3083905"/>
                          <a:gd name="connsiteX889" fmla="*/ 2913827 w 6116787"/>
                          <a:gd name="connsiteY889" fmla="*/ 86685 h 3083905"/>
                          <a:gd name="connsiteX890" fmla="*/ 2922606 w 6116787"/>
                          <a:gd name="connsiteY890" fmla="*/ 79553 h 3083905"/>
                          <a:gd name="connsiteX891" fmla="*/ 2928640 w 6116787"/>
                          <a:gd name="connsiteY891" fmla="*/ 79004 h 3083905"/>
                          <a:gd name="connsiteX892" fmla="*/ 2935224 w 6116787"/>
                          <a:gd name="connsiteY892" fmla="*/ 66385 h 3083905"/>
                          <a:gd name="connsiteX893" fmla="*/ 2935224 w 6116787"/>
                          <a:gd name="connsiteY893" fmla="*/ 61996 h 3083905"/>
                          <a:gd name="connsiteX894" fmla="*/ 2945100 w 6116787"/>
                          <a:gd name="connsiteY894" fmla="*/ 60899 h 3083905"/>
                          <a:gd name="connsiteX895" fmla="*/ 2951135 w 6116787"/>
                          <a:gd name="connsiteY895" fmla="*/ 65288 h 3083905"/>
                          <a:gd name="connsiteX896" fmla="*/ 2945100 w 6116787"/>
                          <a:gd name="connsiteY896" fmla="*/ 55961 h 3083905"/>
                          <a:gd name="connsiteX897" fmla="*/ 2937967 w 6116787"/>
                          <a:gd name="connsiteY897" fmla="*/ 29627 h 3083905"/>
                          <a:gd name="connsiteX898" fmla="*/ 2931932 w 6116787"/>
                          <a:gd name="connsiteY898" fmla="*/ 26883 h 3083905"/>
                          <a:gd name="connsiteX899" fmla="*/ 2928640 w 6116787"/>
                          <a:gd name="connsiteY899" fmla="*/ 32370 h 3083905"/>
                          <a:gd name="connsiteX900" fmla="*/ 2916571 w 6116787"/>
                          <a:gd name="connsiteY900" fmla="*/ 30724 h 3083905"/>
                          <a:gd name="connsiteX901" fmla="*/ 2905049 w 6116787"/>
                          <a:gd name="connsiteY901" fmla="*/ 23043 h 3083905"/>
                          <a:gd name="connsiteX902" fmla="*/ 2894076 w 6116787"/>
                          <a:gd name="connsiteY902" fmla="*/ 4389 h 3083905"/>
                          <a:gd name="connsiteX903" fmla="*/ 2889139 w 6116787"/>
                          <a:gd name="connsiteY903" fmla="*/ 11521 h 3083905"/>
                          <a:gd name="connsiteX904" fmla="*/ 2884749 w 6116787"/>
                          <a:gd name="connsiteY904" fmla="*/ 9876 h 3083905"/>
                          <a:gd name="connsiteX905" fmla="*/ 2884201 w 6116787"/>
                          <a:gd name="connsiteY905" fmla="*/ 8230 h 3083905"/>
                          <a:gd name="connsiteX906" fmla="*/ 2884201 w 6116787"/>
                          <a:gd name="connsiteY906" fmla="*/ 3292 h 3083905"/>
                          <a:gd name="connsiteX907" fmla="*/ 2878166 w 6116787"/>
                          <a:gd name="connsiteY907" fmla="*/ 0 h 3083905"/>
                          <a:gd name="connsiteX908" fmla="*/ 2871033 w 6116787"/>
                          <a:gd name="connsiteY908" fmla="*/ 1097 h 3083905"/>
                          <a:gd name="connsiteX909" fmla="*/ 2861158 w 6116787"/>
                          <a:gd name="connsiteY909" fmla="*/ 9327 h 3083905"/>
                          <a:gd name="connsiteX910" fmla="*/ 2857317 w 6116787"/>
                          <a:gd name="connsiteY910" fmla="*/ 16459 h 3083905"/>
                          <a:gd name="connsiteX911" fmla="*/ 2852928 w 6116787"/>
                          <a:gd name="connsiteY911" fmla="*/ 18105 h 3083905"/>
                          <a:gd name="connsiteX912" fmla="*/ 2836469 w 6116787"/>
                          <a:gd name="connsiteY912" fmla="*/ 14813 h 3083905"/>
                          <a:gd name="connsiteX913" fmla="*/ 2834275 w 6116787"/>
                          <a:gd name="connsiteY913" fmla="*/ 24140 h 3083905"/>
                          <a:gd name="connsiteX914" fmla="*/ 2806294 w 6116787"/>
                          <a:gd name="connsiteY914" fmla="*/ 60899 h 3083905"/>
                          <a:gd name="connsiteX915" fmla="*/ 2803002 w 6116787"/>
                          <a:gd name="connsiteY915" fmla="*/ 69129 h 3083905"/>
                          <a:gd name="connsiteX916" fmla="*/ 2788737 w 6116787"/>
                          <a:gd name="connsiteY916" fmla="*/ 81747 h 3083905"/>
                          <a:gd name="connsiteX917" fmla="*/ 2787091 w 6116787"/>
                          <a:gd name="connsiteY917" fmla="*/ 86685 h 3083905"/>
                          <a:gd name="connsiteX918" fmla="*/ 2768986 w 6116787"/>
                          <a:gd name="connsiteY918" fmla="*/ 115214 h 3083905"/>
                          <a:gd name="connsiteX919" fmla="*/ 2767889 w 6116787"/>
                          <a:gd name="connsiteY919" fmla="*/ 121798 h 3083905"/>
                          <a:gd name="connsiteX920" fmla="*/ 2768438 w 6116787"/>
                          <a:gd name="connsiteY920" fmla="*/ 126736 h 3083905"/>
                          <a:gd name="connsiteX921" fmla="*/ 2765695 w 6116787"/>
                          <a:gd name="connsiteY921" fmla="*/ 132222 h 3083905"/>
                          <a:gd name="connsiteX922" fmla="*/ 2761854 w 6116787"/>
                          <a:gd name="connsiteY922" fmla="*/ 132222 h 3083905"/>
                          <a:gd name="connsiteX923" fmla="*/ 2761305 w 6116787"/>
                          <a:gd name="connsiteY923" fmla="*/ 137709 h 3083905"/>
                          <a:gd name="connsiteX924" fmla="*/ 2755270 w 6116787"/>
                          <a:gd name="connsiteY924" fmla="*/ 150876 h 3083905"/>
                          <a:gd name="connsiteX925" fmla="*/ 2756368 w 6116787"/>
                          <a:gd name="connsiteY925" fmla="*/ 151973 h 3083905"/>
                          <a:gd name="connsiteX926" fmla="*/ 2756368 w 6116787"/>
                          <a:gd name="connsiteY926" fmla="*/ 158557 h 3083905"/>
                          <a:gd name="connsiteX927" fmla="*/ 2759111 w 6116787"/>
                          <a:gd name="connsiteY927" fmla="*/ 163495 h 3083905"/>
                          <a:gd name="connsiteX928" fmla="*/ 2768438 w 6116787"/>
                          <a:gd name="connsiteY928" fmla="*/ 166787 h 3083905"/>
                          <a:gd name="connsiteX929" fmla="*/ 2770084 w 6116787"/>
                          <a:gd name="connsiteY929" fmla="*/ 176662 h 3083905"/>
                          <a:gd name="connsiteX930" fmla="*/ 2774473 w 6116787"/>
                          <a:gd name="connsiteY930" fmla="*/ 179954 h 3083905"/>
                          <a:gd name="connsiteX931" fmla="*/ 2773924 w 6116787"/>
                          <a:gd name="connsiteY931" fmla="*/ 182697 h 3083905"/>
                          <a:gd name="connsiteX932" fmla="*/ 2766243 w 6116787"/>
                          <a:gd name="connsiteY932" fmla="*/ 181051 h 3083905"/>
                          <a:gd name="connsiteX933" fmla="*/ 2764597 w 6116787"/>
                          <a:gd name="connsiteY933" fmla="*/ 176113 h 3083905"/>
                          <a:gd name="connsiteX934" fmla="*/ 2764597 w 6116787"/>
                          <a:gd name="connsiteY934" fmla="*/ 193121 h 3083905"/>
                          <a:gd name="connsiteX935" fmla="*/ 2766792 w 6116787"/>
                          <a:gd name="connsiteY935" fmla="*/ 195316 h 3083905"/>
                          <a:gd name="connsiteX936" fmla="*/ 2766243 w 6116787"/>
                          <a:gd name="connsiteY936" fmla="*/ 195864 h 3083905"/>
                          <a:gd name="connsiteX937" fmla="*/ 2735519 w 6116787"/>
                          <a:gd name="connsiteY937" fmla="*/ 210129 h 3083905"/>
                          <a:gd name="connsiteX938" fmla="*/ 2722352 w 6116787"/>
                          <a:gd name="connsiteY938" fmla="*/ 209032 h 3083905"/>
                          <a:gd name="connsiteX939" fmla="*/ 2713025 w 6116787"/>
                          <a:gd name="connsiteY939" fmla="*/ 213421 h 3083905"/>
                          <a:gd name="connsiteX940" fmla="*/ 2679009 w 6116787"/>
                          <a:gd name="connsiteY940" fmla="*/ 206837 h 3083905"/>
                          <a:gd name="connsiteX941" fmla="*/ 2681752 w 6116787"/>
                          <a:gd name="connsiteY941" fmla="*/ 212324 h 3083905"/>
                          <a:gd name="connsiteX942" fmla="*/ 2681204 w 6116787"/>
                          <a:gd name="connsiteY942" fmla="*/ 215616 h 3083905"/>
                          <a:gd name="connsiteX943" fmla="*/ 2685593 w 6116787"/>
                          <a:gd name="connsiteY943" fmla="*/ 220005 h 3083905"/>
                          <a:gd name="connsiteX944" fmla="*/ 2686690 w 6116787"/>
                          <a:gd name="connsiteY944" fmla="*/ 228234 h 3083905"/>
                          <a:gd name="connsiteX945" fmla="*/ 2693823 w 6116787"/>
                          <a:gd name="connsiteY945" fmla="*/ 229332 h 3083905"/>
                          <a:gd name="connsiteX946" fmla="*/ 2699309 w 6116787"/>
                          <a:gd name="connsiteY946" fmla="*/ 235367 h 3083905"/>
                          <a:gd name="connsiteX947" fmla="*/ 2698760 w 6116787"/>
                          <a:gd name="connsiteY947" fmla="*/ 240304 h 3083905"/>
                          <a:gd name="connsiteX948" fmla="*/ 2711379 w 6116787"/>
                          <a:gd name="connsiteY948" fmla="*/ 240304 h 3083905"/>
                          <a:gd name="connsiteX949" fmla="*/ 2716317 w 6116787"/>
                          <a:gd name="connsiteY949" fmla="*/ 243596 h 3083905"/>
                          <a:gd name="connsiteX950" fmla="*/ 2716866 w 6116787"/>
                          <a:gd name="connsiteY950" fmla="*/ 249083 h 3083905"/>
                          <a:gd name="connsiteX951" fmla="*/ 2714122 w 6116787"/>
                          <a:gd name="connsiteY951" fmla="*/ 257861 h 3083905"/>
                          <a:gd name="connsiteX952" fmla="*/ 2714122 w 6116787"/>
                          <a:gd name="connsiteY952" fmla="*/ 271577 h 3083905"/>
                          <a:gd name="connsiteX953" fmla="*/ 2711379 w 6116787"/>
                          <a:gd name="connsiteY953" fmla="*/ 278709 h 3083905"/>
                          <a:gd name="connsiteX954" fmla="*/ 2702601 w 6116787"/>
                          <a:gd name="connsiteY954" fmla="*/ 274320 h 3083905"/>
                          <a:gd name="connsiteX955" fmla="*/ 2702601 w 6116787"/>
                          <a:gd name="connsiteY955" fmla="*/ 266639 h 3083905"/>
                          <a:gd name="connsiteX956" fmla="*/ 2700955 w 6116787"/>
                          <a:gd name="connsiteY956" fmla="*/ 262799 h 3083905"/>
                          <a:gd name="connsiteX957" fmla="*/ 2686690 w 6116787"/>
                          <a:gd name="connsiteY957" fmla="*/ 260604 h 3083905"/>
                          <a:gd name="connsiteX958" fmla="*/ 2686690 w 6116787"/>
                          <a:gd name="connsiteY958" fmla="*/ 257861 h 3083905"/>
                          <a:gd name="connsiteX959" fmla="*/ 2688885 w 6116787"/>
                          <a:gd name="connsiteY959" fmla="*/ 250728 h 3083905"/>
                          <a:gd name="connsiteX960" fmla="*/ 2687239 w 6116787"/>
                          <a:gd name="connsiteY960" fmla="*/ 246888 h 3083905"/>
                          <a:gd name="connsiteX961" fmla="*/ 2675718 w 6116787"/>
                          <a:gd name="connsiteY961" fmla="*/ 249631 h 3083905"/>
                          <a:gd name="connsiteX962" fmla="*/ 2675718 w 6116787"/>
                          <a:gd name="connsiteY962" fmla="*/ 241950 h 3083905"/>
                          <a:gd name="connsiteX963" fmla="*/ 2671877 w 6116787"/>
                          <a:gd name="connsiteY963" fmla="*/ 241402 h 3083905"/>
                          <a:gd name="connsiteX964" fmla="*/ 2646640 w 6116787"/>
                          <a:gd name="connsiteY964" fmla="*/ 259507 h 3083905"/>
                          <a:gd name="connsiteX965" fmla="*/ 2649383 w 6116787"/>
                          <a:gd name="connsiteY965" fmla="*/ 266639 h 3083905"/>
                          <a:gd name="connsiteX966" fmla="*/ 2648834 w 6116787"/>
                          <a:gd name="connsiteY966" fmla="*/ 271028 h 3083905"/>
                          <a:gd name="connsiteX967" fmla="*/ 2645542 w 6116787"/>
                          <a:gd name="connsiteY967" fmla="*/ 271577 h 3083905"/>
                          <a:gd name="connsiteX968" fmla="*/ 2643896 w 6116787"/>
                          <a:gd name="connsiteY968" fmla="*/ 267736 h 3083905"/>
                          <a:gd name="connsiteX969" fmla="*/ 2635667 w 6116787"/>
                          <a:gd name="connsiteY969" fmla="*/ 268834 h 3083905"/>
                          <a:gd name="connsiteX970" fmla="*/ 2632375 w 6116787"/>
                          <a:gd name="connsiteY970" fmla="*/ 276515 h 3083905"/>
                          <a:gd name="connsiteX971" fmla="*/ 2637313 w 6116787"/>
                          <a:gd name="connsiteY971" fmla="*/ 277063 h 3083905"/>
                          <a:gd name="connsiteX972" fmla="*/ 2639507 w 6116787"/>
                          <a:gd name="connsiteY972" fmla="*/ 279806 h 3083905"/>
                          <a:gd name="connsiteX973" fmla="*/ 2640056 w 6116787"/>
                          <a:gd name="connsiteY973" fmla="*/ 285293 h 3083905"/>
                          <a:gd name="connsiteX974" fmla="*/ 2636764 w 6116787"/>
                          <a:gd name="connsiteY974" fmla="*/ 286939 h 3083905"/>
                          <a:gd name="connsiteX975" fmla="*/ 2627986 w 6116787"/>
                          <a:gd name="connsiteY975" fmla="*/ 284744 h 3083905"/>
                          <a:gd name="connsiteX976" fmla="*/ 2616464 w 6116787"/>
                          <a:gd name="connsiteY976" fmla="*/ 293522 h 3083905"/>
                          <a:gd name="connsiteX977" fmla="*/ 2616464 w 6116787"/>
                          <a:gd name="connsiteY977" fmla="*/ 284744 h 3083905"/>
                          <a:gd name="connsiteX978" fmla="*/ 2615916 w 6116787"/>
                          <a:gd name="connsiteY978" fmla="*/ 282001 h 3083905"/>
                          <a:gd name="connsiteX979" fmla="*/ 2612075 w 6116787"/>
                          <a:gd name="connsiteY979" fmla="*/ 284744 h 3083905"/>
                          <a:gd name="connsiteX980" fmla="*/ 2605492 w 6116787"/>
                          <a:gd name="connsiteY980" fmla="*/ 295168 h 3083905"/>
                          <a:gd name="connsiteX981" fmla="*/ 2600005 w 6116787"/>
                          <a:gd name="connsiteY981" fmla="*/ 295168 h 3083905"/>
                          <a:gd name="connsiteX982" fmla="*/ 2591227 w 6116787"/>
                          <a:gd name="connsiteY982" fmla="*/ 302849 h 3083905"/>
                          <a:gd name="connsiteX983" fmla="*/ 2589032 w 6116787"/>
                          <a:gd name="connsiteY983" fmla="*/ 301203 h 3083905"/>
                          <a:gd name="connsiteX984" fmla="*/ 2595067 w 6116787"/>
                          <a:gd name="connsiteY984" fmla="*/ 292425 h 3083905"/>
                          <a:gd name="connsiteX985" fmla="*/ 2596165 w 6116787"/>
                          <a:gd name="connsiteY985" fmla="*/ 286939 h 3083905"/>
                          <a:gd name="connsiteX986" fmla="*/ 2589032 w 6116787"/>
                          <a:gd name="connsiteY986" fmla="*/ 285841 h 3083905"/>
                          <a:gd name="connsiteX987" fmla="*/ 2587935 w 6116787"/>
                          <a:gd name="connsiteY987" fmla="*/ 282001 h 3083905"/>
                          <a:gd name="connsiteX988" fmla="*/ 2585192 w 6116787"/>
                          <a:gd name="connsiteY988" fmla="*/ 286390 h 3083905"/>
                          <a:gd name="connsiteX989" fmla="*/ 2572024 w 6116787"/>
                          <a:gd name="connsiteY989" fmla="*/ 289682 h 3083905"/>
                          <a:gd name="connsiteX990" fmla="*/ 2567087 w 6116787"/>
                          <a:gd name="connsiteY990" fmla="*/ 300106 h 3083905"/>
                          <a:gd name="connsiteX991" fmla="*/ 2561052 w 6116787"/>
                          <a:gd name="connsiteY991" fmla="*/ 302849 h 3083905"/>
                          <a:gd name="connsiteX992" fmla="*/ 2558308 w 6116787"/>
                          <a:gd name="connsiteY992" fmla="*/ 297912 h 3083905"/>
                          <a:gd name="connsiteX993" fmla="*/ 2571476 w 6116787"/>
                          <a:gd name="connsiteY993" fmla="*/ 283098 h 3083905"/>
                          <a:gd name="connsiteX994" fmla="*/ 2575316 w 6116787"/>
                          <a:gd name="connsiteY994" fmla="*/ 268834 h 3083905"/>
                          <a:gd name="connsiteX995" fmla="*/ 2564344 w 6116787"/>
                          <a:gd name="connsiteY995" fmla="*/ 260604 h 3083905"/>
                          <a:gd name="connsiteX996" fmla="*/ 2544592 w 6116787"/>
                          <a:gd name="connsiteY996" fmla="*/ 261153 h 3083905"/>
                          <a:gd name="connsiteX997" fmla="*/ 2541301 w 6116787"/>
                          <a:gd name="connsiteY997" fmla="*/ 264444 h 3083905"/>
                          <a:gd name="connsiteX998" fmla="*/ 2541301 w 6116787"/>
                          <a:gd name="connsiteY998" fmla="*/ 268834 h 3083905"/>
                          <a:gd name="connsiteX999" fmla="*/ 2518807 w 6116787"/>
                          <a:gd name="connsiteY999" fmla="*/ 262250 h 3083905"/>
                          <a:gd name="connsiteX1000" fmla="*/ 2517160 w 6116787"/>
                          <a:gd name="connsiteY1000" fmla="*/ 267188 h 3083905"/>
                          <a:gd name="connsiteX1001" fmla="*/ 2510028 w 6116787"/>
                          <a:gd name="connsiteY1001" fmla="*/ 273223 h 3083905"/>
                          <a:gd name="connsiteX1002" fmla="*/ 2503993 w 6116787"/>
                          <a:gd name="connsiteY1002" fmla="*/ 266090 h 3083905"/>
                          <a:gd name="connsiteX1003" fmla="*/ 2485339 w 6116787"/>
                          <a:gd name="connsiteY1003" fmla="*/ 267188 h 3083905"/>
                          <a:gd name="connsiteX1004" fmla="*/ 2484242 w 6116787"/>
                          <a:gd name="connsiteY1004" fmla="*/ 269931 h 3083905"/>
                          <a:gd name="connsiteX1005" fmla="*/ 2489728 w 6116787"/>
                          <a:gd name="connsiteY1005" fmla="*/ 273223 h 3083905"/>
                          <a:gd name="connsiteX1006" fmla="*/ 2489180 w 6116787"/>
                          <a:gd name="connsiteY1006" fmla="*/ 275966 h 3083905"/>
                          <a:gd name="connsiteX1007" fmla="*/ 2471623 w 6116787"/>
                          <a:gd name="connsiteY1007" fmla="*/ 279806 h 3083905"/>
                          <a:gd name="connsiteX1008" fmla="*/ 2470526 w 6116787"/>
                          <a:gd name="connsiteY1008" fmla="*/ 277612 h 3083905"/>
                          <a:gd name="connsiteX1009" fmla="*/ 2472172 w 6116787"/>
                          <a:gd name="connsiteY1009" fmla="*/ 272125 h 3083905"/>
                          <a:gd name="connsiteX1010" fmla="*/ 2467783 w 6116787"/>
                          <a:gd name="connsiteY1010" fmla="*/ 273223 h 3083905"/>
                          <a:gd name="connsiteX1011" fmla="*/ 2458456 w 6116787"/>
                          <a:gd name="connsiteY1011" fmla="*/ 282550 h 3083905"/>
                          <a:gd name="connsiteX1012" fmla="*/ 2455713 w 6116787"/>
                          <a:gd name="connsiteY1012" fmla="*/ 274320 h 3083905"/>
                          <a:gd name="connsiteX1013" fmla="*/ 2452970 w 6116787"/>
                          <a:gd name="connsiteY1013" fmla="*/ 277063 h 3083905"/>
                          <a:gd name="connsiteX1014" fmla="*/ 2452970 w 6116787"/>
                          <a:gd name="connsiteY1014" fmla="*/ 289682 h 3083905"/>
                          <a:gd name="connsiteX1015" fmla="*/ 2455164 w 6116787"/>
                          <a:gd name="connsiteY1015" fmla="*/ 292425 h 3083905"/>
                          <a:gd name="connsiteX1016" fmla="*/ 2468332 w 6116787"/>
                          <a:gd name="connsiteY1016" fmla="*/ 285293 h 3083905"/>
                          <a:gd name="connsiteX1017" fmla="*/ 2469978 w 6116787"/>
                          <a:gd name="connsiteY1017" fmla="*/ 293522 h 3083905"/>
                          <a:gd name="connsiteX1018" fmla="*/ 2472721 w 6116787"/>
                          <a:gd name="connsiteY1018" fmla="*/ 297363 h 3083905"/>
                          <a:gd name="connsiteX1019" fmla="*/ 2473269 w 6116787"/>
                          <a:gd name="connsiteY1019" fmla="*/ 295717 h 3083905"/>
                          <a:gd name="connsiteX1020" fmla="*/ 2473269 w 6116787"/>
                          <a:gd name="connsiteY1020" fmla="*/ 291328 h 3083905"/>
                          <a:gd name="connsiteX1021" fmla="*/ 2478207 w 6116787"/>
                          <a:gd name="connsiteY1021" fmla="*/ 289682 h 3083905"/>
                          <a:gd name="connsiteX1022" fmla="*/ 2478207 w 6116787"/>
                          <a:gd name="connsiteY1022" fmla="*/ 293522 h 3083905"/>
                          <a:gd name="connsiteX1023" fmla="*/ 2479304 w 6116787"/>
                          <a:gd name="connsiteY1023" fmla="*/ 297363 h 3083905"/>
                          <a:gd name="connsiteX1024" fmla="*/ 2474915 w 6116787"/>
                          <a:gd name="connsiteY1024" fmla="*/ 305044 h 3083905"/>
                          <a:gd name="connsiteX1025" fmla="*/ 2410176 w 6116787"/>
                          <a:gd name="connsiteY1025" fmla="*/ 325344 h 3083905"/>
                          <a:gd name="connsiteX1026" fmla="*/ 2407981 w 6116787"/>
                          <a:gd name="connsiteY1026" fmla="*/ 323698 h 3083905"/>
                          <a:gd name="connsiteX1027" fmla="*/ 2405787 w 6116787"/>
                          <a:gd name="connsiteY1027" fmla="*/ 329184 h 3083905"/>
                          <a:gd name="connsiteX1028" fmla="*/ 2405787 w 6116787"/>
                          <a:gd name="connsiteY1028" fmla="*/ 337414 h 3083905"/>
                          <a:gd name="connsiteX1029" fmla="*/ 2405787 w 6116787"/>
                          <a:gd name="connsiteY1029" fmla="*/ 335219 h 3083905"/>
                          <a:gd name="connsiteX1030" fmla="*/ 2397557 w 6116787"/>
                          <a:gd name="connsiteY1030" fmla="*/ 334122 h 3083905"/>
                          <a:gd name="connsiteX1031" fmla="*/ 2388230 w 6116787"/>
                          <a:gd name="connsiteY1031" fmla="*/ 339608 h 3083905"/>
                          <a:gd name="connsiteX1032" fmla="*/ 2378355 w 6116787"/>
                          <a:gd name="connsiteY1032" fmla="*/ 335219 h 3083905"/>
                          <a:gd name="connsiteX1033" fmla="*/ 2366284 w 6116787"/>
                          <a:gd name="connsiteY1033" fmla="*/ 343997 h 3083905"/>
                          <a:gd name="connsiteX1034" fmla="*/ 2353117 w 6116787"/>
                          <a:gd name="connsiteY1034" fmla="*/ 343449 h 3083905"/>
                          <a:gd name="connsiteX1035" fmla="*/ 2342693 w 6116787"/>
                          <a:gd name="connsiteY1035" fmla="*/ 353324 h 3083905"/>
                          <a:gd name="connsiteX1036" fmla="*/ 2351471 w 6116787"/>
                          <a:gd name="connsiteY1036" fmla="*/ 359359 h 3083905"/>
                          <a:gd name="connsiteX1037" fmla="*/ 2338304 w 6116787"/>
                          <a:gd name="connsiteY1037" fmla="*/ 362102 h 3083905"/>
                          <a:gd name="connsiteX1038" fmla="*/ 2328977 w 6116787"/>
                          <a:gd name="connsiteY1038" fmla="*/ 370881 h 3083905"/>
                          <a:gd name="connsiteX1039" fmla="*/ 2318004 w 6116787"/>
                          <a:gd name="connsiteY1039" fmla="*/ 361005 h 3083905"/>
                          <a:gd name="connsiteX1040" fmla="*/ 2313615 w 6116787"/>
                          <a:gd name="connsiteY1040" fmla="*/ 367589 h 3083905"/>
                          <a:gd name="connsiteX1041" fmla="*/ 2305386 w 6116787"/>
                          <a:gd name="connsiteY1041" fmla="*/ 369235 h 3083905"/>
                          <a:gd name="connsiteX1042" fmla="*/ 2304837 w 6116787"/>
                          <a:gd name="connsiteY1042" fmla="*/ 371978 h 3083905"/>
                          <a:gd name="connsiteX1043" fmla="*/ 2308129 w 6116787"/>
                          <a:gd name="connsiteY1043" fmla="*/ 371978 h 3083905"/>
                          <a:gd name="connsiteX1044" fmla="*/ 2309775 w 6116787"/>
                          <a:gd name="connsiteY1044" fmla="*/ 376367 h 3083905"/>
                          <a:gd name="connsiteX1045" fmla="*/ 2298253 w 6116787"/>
                          <a:gd name="connsiteY1045" fmla="*/ 380208 h 3083905"/>
                          <a:gd name="connsiteX1046" fmla="*/ 2296607 w 6116787"/>
                          <a:gd name="connsiteY1046" fmla="*/ 385145 h 3083905"/>
                          <a:gd name="connsiteX1047" fmla="*/ 2290024 w 6116787"/>
                          <a:gd name="connsiteY1047" fmla="*/ 387340 h 3083905"/>
                          <a:gd name="connsiteX1048" fmla="*/ 2282343 w 6116787"/>
                          <a:gd name="connsiteY1048" fmla="*/ 400507 h 3083905"/>
                          <a:gd name="connsiteX1049" fmla="*/ 2275210 w 6116787"/>
                          <a:gd name="connsiteY1049" fmla="*/ 405994 h 3083905"/>
                          <a:gd name="connsiteX1050" fmla="*/ 2274113 w 6116787"/>
                          <a:gd name="connsiteY1050" fmla="*/ 408737 h 3083905"/>
                          <a:gd name="connsiteX1051" fmla="*/ 2275210 w 6116787"/>
                          <a:gd name="connsiteY1051" fmla="*/ 413126 h 3083905"/>
                          <a:gd name="connsiteX1052" fmla="*/ 2273016 w 6116787"/>
                          <a:gd name="connsiteY1052" fmla="*/ 416418 h 3083905"/>
                          <a:gd name="connsiteX1053" fmla="*/ 2263140 w 6116787"/>
                          <a:gd name="connsiteY1053" fmla="*/ 420258 h 3083905"/>
                          <a:gd name="connsiteX1054" fmla="*/ 2260397 w 6116787"/>
                          <a:gd name="connsiteY1054" fmla="*/ 414772 h 3083905"/>
                          <a:gd name="connsiteX1055" fmla="*/ 2238451 w 6116787"/>
                          <a:gd name="connsiteY1055" fmla="*/ 412029 h 3083905"/>
                          <a:gd name="connsiteX1056" fmla="*/ 2229673 w 6116787"/>
                          <a:gd name="connsiteY1056" fmla="*/ 418612 h 3083905"/>
                          <a:gd name="connsiteX1057" fmla="*/ 2245584 w 6116787"/>
                          <a:gd name="connsiteY1057" fmla="*/ 427939 h 3083905"/>
                          <a:gd name="connsiteX1058" fmla="*/ 2260397 w 6116787"/>
                          <a:gd name="connsiteY1058" fmla="*/ 429036 h 3083905"/>
                          <a:gd name="connsiteX1059" fmla="*/ 2258203 w 6116787"/>
                          <a:gd name="connsiteY1059" fmla="*/ 433426 h 3083905"/>
                          <a:gd name="connsiteX1060" fmla="*/ 2251070 w 6116787"/>
                          <a:gd name="connsiteY1060" fmla="*/ 440009 h 3083905"/>
                          <a:gd name="connsiteX1061" fmla="*/ 2247230 w 6116787"/>
                          <a:gd name="connsiteY1061" fmla="*/ 437815 h 3083905"/>
                          <a:gd name="connsiteX1062" fmla="*/ 2245584 w 6116787"/>
                          <a:gd name="connsiteY1062" fmla="*/ 433974 h 3083905"/>
                          <a:gd name="connsiteX1063" fmla="*/ 2240097 w 6116787"/>
                          <a:gd name="connsiteY1063" fmla="*/ 437815 h 3083905"/>
                          <a:gd name="connsiteX1064" fmla="*/ 2241743 w 6116787"/>
                          <a:gd name="connsiteY1064" fmla="*/ 441107 h 3083905"/>
                          <a:gd name="connsiteX1065" fmla="*/ 2229673 w 6116787"/>
                          <a:gd name="connsiteY1065" fmla="*/ 467441 h 3083905"/>
                          <a:gd name="connsiteX1066" fmla="*/ 2225284 w 6116787"/>
                          <a:gd name="connsiteY1066" fmla="*/ 467441 h 3083905"/>
                          <a:gd name="connsiteX1067" fmla="*/ 2223090 w 6116787"/>
                          <a:gd name="connsiteY1067" fmla="*/ 475122 h 3083905"/>
                          <a:gd name="connsiteX1068" fmla="*/ 2227479 w 6116787"/>
                          <a:gd name="connsiteY1068" fmla="*/ 480609 h 3083905"/>
                          <a:gd name="connsiteX1069" fmla="*/ 2223090 w 6116787"/>
                          <a:gd name="connsiteY1069" fmla="*/ 484998 h 3083905"/>
                          <a:gd name="connsiteX1070" fmla="*/ 2216506 w 6116787"/>
                          <a:gd name="connsiteY1070" fmla="*/ 473476 h 3083905"/>
                          <a:gd name="connsiteX1071" fmla="*/ 2207179 w 6116787"/>
                          <a:gd name="connsiteY1071" fmla="*/ 468539 h 3083905"/>
                          <a:gd name="connsiteX1072" fmla="*/ 2205533 w 6116787"/>
                          <a:gd name="connsiteY1072" fmla="*/ 461955 h 3083905"/>
                          <a:gd name="connsiteX1073" fmla="*/ 2194560 w 6116787"/>
                          <a:gd name="connsiteY1073" fmla="*/ 456468 h 3083905"/>
                          <a:gd name="connsiteX1074" fmla="*/ 2193463 w 6116787"/>
                          <a:gd name="connsiteY1074" fmla="*/ 457566 h 3083905"/>
                          <a:gd name="connsiteX1075" fmla="*/ 2197303 w 6116787"/>
                          <a:gd name="connsiteY1075" fmla="*/ 466344 h 3083905"/>
                          <a:gd name="connsiteX1076" fmla="*/ 2187428 w 6116787"/>
                          <a:gd name="connsiteY1076" fmla="*/ 472379 h 3083905"/>
                          <a:gd name="connsiteX1077" fmla="*/ 2189074 w 6116787"/>
                          <a:gd name="connsiteY1077" fmla="*/ 478414 h 3083905"/>
                          <a:gd name="connsiteX1078" fmla="*/ 2186331 w 6116787"/>
                          <a:gd name="connsiteY1078" fmla="*/ 480609 h 3083905"/>
                          <a:gd name="connsiteX1079" fmla="*/ 2186879 w 6116787"/>
                          <a:gd name="connsiteY1079" fmla="*/ 483900 h 3083905"/>
                          <a:gd name="connsiteX1080" fmla="*/ 2207179 w 6116787"/>
                          <a:gd name="connsiteY1080" fmla="*/ 486644 h 3083905"/>
                          <a:gd name="connsiteX1081" fmla="*/ 2211568 w 6116787"/>
                          <a:gd name="connsiteY1081" fmla="*/ 491033 h 3083905"/>
                          <a:gd name="connsiteX1082" fmla="*/ 2220346 w 6116787"/>
                          <a:gd name="connsiteY1082" fmla="*/ 495971 h 3083905"/>
                          <a:gd name="connsiteX1083" fmla="*/ 2217603 w 6116787"/>
                          <a:gd name="connsiteY1083" fmla="*/ 498165 h 3083905"/>
                          <a:gd name="connsiteX1084" fmla="*/ 2218152 w 6116787"/>
                          <a:gd name="connsiteY1084" fmla="*/ 503652 h 3083905"/>
                          <a:gd name="connsiteX1085" fmla="*/ 2220346 w 6116787"/>
                          <a:gd name="connsiteY1085" fmla="*/ 505846 h 3083905"/>
                          <a:gd name="connsiteX1086" fmla="*/ 2218700 w 6116787"/>
                          <a:gd name="connsiteY1086" fmla="*/ 508589 h 3083905"/>
                          <a:gd name="connsiteX1087" fmla="*/ 2209922 w 6116787"/>
                          <a:gd name="connsiteY1087" fmla="*/ 506943 h 3083905"/>
                          <a:gd name="connsiteX1088" fmla="*/ 2207728 w 6116787"/>
                          <a:gd name="connsiteY1088" fmla="*/ 509687 h 3083905"/>
                          <a:gd name="connsiteX1089" fmla="*/ 2199498 w 6116787"/>
                          <a:gd name="connsiteY1089" fmla="*/ 513527 h 3083905"/>
                          <a:gd name="connsiteX1090" fmla="*/ 2201144 w 6116787"/>
                          <a:gd name="connsiteY1090" fmla="*/ 517916 h 3083905"/>
                          <a:gd name="connsiteX1091" fmla="*/ 2194560 w 6116787"/>
                          <a:gd name="connsiteY1091" fmla="*/ 518465 h 3083905"/>
                          <a:gd name="connsiteX1092" fmla="*/ 2192914 w 6116787"/>
                          <a:gd name="connsiteY1092" fmla="*/ 520659 h 3083905"/>
                          <a:gd name="connsiteX1093" fmla="*/ 2192914 w 6116787"/>
                          <a:gd name="connsiteY1093" fmla="*/ 527792 h 3083905"/>
                          <a:gd name="connsiteX1094" fmla="*/ 2197303 w 6116787"/>
                          <a:gd name="connsiteY1094" fmla="*/ 532181 h 3083905"/>
                          <a:gd name="connsiteX1095" fmla="*/ 2222541 w 6116787"/>
                          <a:gd name="connsiteY1095" fmla="*/ 539862 h 3083905"/>
                          <a:gd name="connsiteX1096" fmla="*/ 2228027 w 6116787"/>
                          <a:gd name="connsiteY1096" fmla="*/ 562905 h 3083905"/>
                          <a:gd name="connsiteX1097" fmla="*/ 2231868 w 6116787"/>
                          <a:gd name="connsiteY1097" fmla="*/ 565648 h 3083905"/>
                          <a:gd name="connsiteX1098" fmla="*/ 2228576 w 6116787"/>
                          <a:gd name="connsiteY1098" fmla="*/ 570037 h 3083905"/>
                          <a:gd name="connsiteX1099" fmla="*/ 2220346 w 6116787"/>
                          <a:gd name="connsiteY1099" fmla="*/ 566745 h 3083905"/>
                          <a:gd name="connsiteX1100" fmla="*/ 2219798 w 6116787"/>
                          <a:gd name="connsiteY1100" fmla="*/ 569488 h 3083905"/>
                          <a:gd name="connsiteX1101" fmla="*/ 2221992 w 6116787"/>
                          <a:gd name="connsiteY1101" fmla="*/ 574426 h 3083905"/>
                          <a:gd name="connsiteX1102" fmla="*/ 2218700 w 6116787"/>
                          <a:gd name="connsiteY1102" fmla="*/ 576072 h 3083905"/>
                          <a:gd name="connsiteX1103" fmla="*/ 2219798 w 6116787"/>
                          <a:gd name="connsiteY1103" fmla="*/ 579912 h 3083905"/>
                          <a:gd name="connsiteX1104" fmla="*/ 2223638 w 6116787"/>
                          <a:gd name="connsiteY1104" fmla="*/ 582107 h 3083905"/>
                          <a:gd name="connsiteX1105" fmla="*/ 2223090 w 6116787"/>
                          <a:gd name="connsiteY1105" fmla="*/ 585948 h 3083905"/>
                          <a:gd name="connsiteX1106" fmla="*/ 2216506 w 6116787"/>
                          <a:gd name="connsiteY1106" fmla="*/ 589788 h 3083905"/>
                          <a:gd name="connsiteX1107" fmla="*/ 2201144 w 6116787"/>
                          <a:gd name="connsiteY1107" fmla="*/ 590885 h 3083905"/>
                          <a:gd name="connsiteX1108" fmla="*/ 2192914 w 6116787"/>
                          <a:gd name="connsiteY1108" fmla="*/ 596920 h 3083905"/>
                          <a:gd name="connsiteX1109" fmla="*/ 2184685 w 6116787"/>
                          <a:gd name="connsiteY1109" fmla="*/ 595823 h 3083905"/>
                          <a:gd name="connsiteX1110" fmla="*/ 2179198 w 6116787"/>
                          <a:gd name="connsiteY1110" fmla="*/ 598566 h 3083905"/>
                          <a:gd name="connsiteX1111" fmla="*/ 2177004 w 6116787"/>
                          <a:gd name="connsiteY1111" fmla="*/ 604601 h 3083905"/>
                          <a:gd name="connsiteX1112" fmla="*/ 2168226 w 6116787"/>
                          <a:gd name="connsiteY1112" fmla="*/ 611734 h 3083905"/>
                          <a:gd name="connsiteX1113" fmla="*/ 2155607 w 6116787"/>
                          <a:gd name="connsiteY1113" fmla="*/ 608990 h 3083905"/>
                          <a:gd name="connsiteX1114" fmla="*/ 2153961 w 6116787"/>
                          <a:gd name="connsiteY1114" fmla="*/ 604601 h 3083905"/>
                          <a:gd name="connsiteX1115" fmla="*/ 2151766 w 6116787"/>
                          <a:gd name="connsiteY1115" fmla="*/ 604053 h 3083905"/>
                          <a:gd name="connsiteX1116" fmla="*/ 2078248 w 6116787"/>
                          <a:gd name="connsiteY1116" fmla="*/ 619963 h 3083905"/>
                          <a:gd name="connsiteX1117" fmla="*/ 2072213 w 6116787"/>
                          <a:gd name="connsiteY1117" fmla="*/ 616671 h 3083905"/>
                          <a:gd name="connsiteX1118" fmla="*/ 2059046 w 6116787"/>
                          <a:gd name="connsiteY1118" fmla="*/ 618866 h 3083905"/>
                          <a:gd name="connsiteX1119" fmla="*/ 2046976 w 6116787"/>
                          <a:gd name="connsiteY1119" fmla="*/ 616671 h 3083905"/>
                          <a:gd name="connsiteX1120" fmla="*/ 2021739 w 6116787"/>
                          <a:gd name="connsiteY1120" fmla="*/ 624901 h 3083905"/>
                          <a:gd name="connsiteX1121" fmla="*/ 2021739 w 6116787"/>
                          <a:gd name="connsiteY1121" fmla="*/ 627644 h 3083905"/>
                          <a:gd name="connsiteX1122" fmla="*/ 2020093 w 6116787"/>
                          <a:gd name="connsiteY1122" fmla="*/ 629839 h 3083905"/>
                          <a:gd name="connsiteX1123" fmla="*/ 2011863 w 6116787"/>
                          <a:gd name="connsiteY1123" fmla="*/ 625450 h 3083905"/>
                          <a:gd name="connsiteX1124" fmla="*/ 2005828 w 6116787"/>
                          <a:gd name="connsiteY1124" fmla="*/ 628741 h 3083905"/>
                          <a:gd name="connsiteX1125" fmla="*/ 2004731 w 6116787"/>
                          <a:gd name="connsiteY1125" fmla="*/ 631485 h 3083905"/>
                          <a:gd name="connsiteX1126" fmla="*/ 1993758 w 6116787"/>
                          <a:gd name="connsiteY1126" fmla="*/ 634228 h 3083905"/>
                          <a:gd name="connsiteX1127" fmla="*/ 1994855 w 6116787"/>
                          <a:gd name="connsiteY1127" fmla="*/ 640812 h 3083905"/>
                          <a:gd name="connsiteX1128" fmla="*/ 1997050 w 6116787"/>
                          <a:gd name="connsiteY1128" fmla="*/ 646847 h 3083905"/>
                          <a:gd name="connsiteX1129" fmla="*/ 1999793 w 6116787"/>
                          <a:gd name="connsiteY1129" fmla="*/ 645749 h 3083905"/>
                          <a:gd name="connsiteX1130" fmla="*/ 2000890 w 6116787"/>
                          <a:gd name="connsiteY1130" fmla="*/ 642457 h 3083905"/>
                          <a:gd name="connsiteX1131" fmla="*/ 2004182 w 6116787"/>
                          <a:gd name="connsiteY1131" fmla="*/ 643555 h 3083905"/>
                          <a:gd name="connsiteX1132" fmla="*/ 2002536 w 6116787"/>
                          <a:gd name="connsiteY1132" fmla="*/ 648492 h 3083905"/>
                          <a:gd name="connsiteX1133" fmla="*/ 1993758 w 6116787"/>
                          <a:gd name="connsiteY1133" fmla="*/ 655625 h 3083905"/>
                          <a:gd name="connsiteX1134" fmla="*/ 1993758 w 6116787"/>
                          <a:gd name="connsiteY1134" fmla="*/ 660014 h 3083905"/>
                          <a:gd name="connsiteX1135" fmla="*/ 1988820 w 6116787"/>
                          <a:gd name="connsiteY1135" fmla="*/ 657271 h 3083905"/>
                          <a:gd name="connsiteX1136" fmla="*/ 1986077 w 6116787"/>
                          <a:gd name="connsiteY1136" fmla="*/ 662208 h 3083905"/>
                          <a:gd name="connsiteX1137" fmla="*/ 1988820 w 6116787"/>
                          <a:gd name="connsiteY1137" fmla="*/ 668244 h 3083905"/>
                          <a:gd name="connsiteX1138" fmla="*/ 1995404 w 6116787"/>
                          <a:gd name="connsiteY1138" fmla="*/ 669341 h 3083905"/>
                          <a:gd name="connsiteX1139" fmla="*/ 1994307 w 6116787"/>
                          <a:gd name="connsiteY1139" fmla="*/ 675924 h 3083905"/>
                          <a:gd name="connsiteX1140" fmla="*/ 1986077 w 6116787"/>
                          <a:gd name="connsiteY1140" fmla="*/ 681411 h 3083905"/>
                          <a:gd name="connsiteX1141" fmla="*/ 1998147 w 6116787"/>
                          <a:gd name="connsiteY1141" fmla="*/ 691286 h 3083905"/>
                          <a:gd name="connsiteX1142" fmla="*/ 1997599 w 6116787"/>
                          <a:gd name="connsiteY1142" fmla="*/ 694578 h 3083905"/>
                          <a:gd name="connsiteX1143" fmla="*/ 2001439 w 6116787"/>
                          <a:gd name="connsiteY1143" fmla="*/ 697870 h 3083905"/>
                          <a:gd name="connsiteX1144" fmla="*/ 2004182 w 6116787"/>
                          <a:gd name="connsiteY1144" fmla="*/ 697321 h 3083905"/>
                          <a:gd name="connsiteX1145" fmla="*/ 2008023 w 6116787"/>
                          <a:gd name="connsiteY1145" fmla="*/ 712135 h 3083905"/>
                          <a:gd name="connsiteX1146" fmla="*/ 2011315 w 6116787"/>
                          <a:gd name="connsiteY1146" fmla="*/ 716524 h 3083905"/>
                          <a:gd name="connsiteX1147" fmla="*/ 2009120 w 6116787"/>
                          <a:gd name="connsiteY1147" fmla="*/ 720364 h 3083905"/>
                          <a:gd name="connsiteX1148" fmla="*/ 2008571 w 6116787"/>
                          <a:gd name="connsiteY1148" fmla="*/ 725302 h 3083905"/>
                          <a:gd name="connsiteX1149" fmla="*/ 2005828 w 6116787"/>
                          <a:gd name="connsiteY1149" fmla="*/ 729691 h 3083905"/>
                          <a:gd name="connsiteX1150" fmla="*/ 2002536 w 6116787"/>
                          <a:gd name="connsiteY1150" fmla="*/ 740664 h 3083905"/>
                          <a:gd name="connsiteX1151" fmla="*/ 2003633 w 6116787"/>
                          <a:gd name="connsiteY1151" fmla="*/ 751088 h 3083905"/>
                          <a:gd name="connsiteX1152" fmla="*/ 2006925 w 6116787"/>
                          <a:gd name="connsiteY1152" fmla="*/ 756575 h 3083905"/>
                          <a:gd name="connsiteX1153" fmla="*/ 2006925 w 6116787"/>
                          <a:gd name="connsiteY1153" fmla="*/ 768645 h 3083905"/>
                          <a:gd name="connsiteX1154" fmla="*/ 2009668 w 6116787"/>
                          <a:gd name="connsiteY1154" fmla="*/ 775777 h 3083905"/>
                          <a:gd name="connsiteX1155" fmla="*/ 2018995 w 6116787"/>
                          <a:gd name="connsiteY1155" fmla="*/ 786750 h 3083905"/>
                          <a:gd name="connsiteX1156" fmla="*/ 2044781 w 6116787"/>
                          <a:gd name="connsiteY1156" fmla="*/ 791688 h 3083905"/>
                          <a:gd name="connsiteX1157" fmla="*/ 2055754 w 6116787"/>
                          <a:gd name="connsiteY1157" fmla="*/ 799917 h 3083905"/>
                          <a:gd name="connsiteX1158" fmla="*/ 2060143 w 6116787"/>
                          <a:gd name="connsiteY1158" fmla="*/ 799917 h 3083905"/>
                          <a:gd name="connsiteX1159" fmla="*/ 2064532 w 6116787"/>
                          <a:gd name="connsiteY1159" fmla="*/ 810890 h 3083905"/>
                          <a:gd name="connsiteX1160" fmla="*/ 2061241 w 6116787"/>
                          <a:gd name="connsiteY1160" fmla="*/ 818571 h 3083905"/>
                          <a:gd name="connsiteX1161" fmla="*/ 2058497 w 6116787"/>
                          <a:gd name="connsiteY1161" fmla="*/ 821863 h 3083905"/>
                          <a:gd name="connsiteX1162" fmla="*/ 2066179 w 6116787"/>
                          <a:gd name="connsiteY1162" fmla="*/ 824057 h 3083905"/>
                          <a:gd name="connsiteX1163" fmla="*/ 2070019 w 6116787"/>
                          <a:gd name="connsiteY1163" fmla="*/ 828995 h 3083905"/>
                          <a:gd name="connsiteX1164" fmla="*/ 2075505 w 6116787"/>
                          <a:gd name="connsiteY1164" fmla="*/ 839968 h 3083905"/>
                          <a:gd name="connsiteX1165" fmla="*/ 2082089 w 6116787"/>
                          <a:gd name="connsiteY1165" fmla="*/ 843808 h 3083905"/>
                          <a:gd name="connsiteX1166" fmla="*/ 2095805 w 6116787"/>
                          <a:gd name="connsiteY1166" fmla="*/ 848198 h 3083905"/>
                          <a:gd name="connsiteX1167" fmla="*/ 2101840 w 6116787"/>
                          <a:gd name="connsiteY1167" fmla="*/ 853135 h 3083905"/>
                          <a:gd name="connsiteX1168" fmla="*/ 2104035 w 6116787"/>
                          <a:gd name="connsiteY1168" fmla="*/ 848198 h 3083905"/>
                          <a:gd name="connsiteX1169" fmla="*/ 2112264 w 6116787"/>
                          <a:gd name="connsiteY1169" fmla="*/ 871240 h 3083905"/>
                          <a:gd name="connsiteX1170" fmla="*/ 2108972 w 6116787"/>
                          <a:gd name="connsiteY1170" fmla="*/ 891540 h 3083905"/>
                          <a:gd name="connsiteX1171" fmla="*/ 2101840 w 6116787"/>
                          <a:gd name="connsiteY1171" fmla="*/ 898124 h 3083905"/>
                          <a:gd name="connsiteX1172" fmla="*/ 2100743 w 6116787"/>
                          <a:gd name="connsiteY1172" fmla="*/ 909645 h 3083905"/>
                          <a:gd name="connsiteX1173" fmla="*/ 2095805 w 6116787"/>
                          <a:gd name="connsiteY1173" fmla="*/ 919521 h 3083905"/>
                          <a:gd name="connsiteX1174" fmla="*/ 2098548 w 6116787"/>
                          <a:gd name="connsiteY1174" fmla="*/ 930494 h 3083905"/>
                          <a:gd name="connsiteX1175" fmla="*/ 2097451 w 6116787"/>
                          <a:gd name="connsiteY1175" fmla="*/ 939272 h 3083905"/>
                          <a:gd name="connsiteX1176" fmla="*/ 2107875 w 6116787"/>
                          <a:gd name="connsiteY1176" fmla="*/ 954634 h 3083905"/>
                          <a:gd name="connsiteX1177" fmla="*/ 2115556 w 6116787"/>
                          <a:gd name="connsiteY1177" fmla="*/ 1009498 h 3083905"/>
                          <a:gd name="connsiteX1178" fmla="*/ 2112813 w 6116787"/>
                          <a:gd name="connsiteY1178" fmla="*/ 1018276 h 3083905"/>
                          <a:gd name="connsiteX1179" fmla="*/ 2105680 w 6116787"/>
                          <a:gd name="connsiteY1179" fmla="*/ 1028151 h 3083905"/>
                          <a:gd name="connsiteX1180" fmla="*/ 2097451 w 6116787"/>
                          <a:gd name="connsiteY1180" fmla="*/ 1030346 h 3083905"/>
                          <a:gd name="connsiteX1181" fmla="*/ 2092513 w 6116787"/>
                          <a:gd name="connsiteY1181" fmla="*/ 1028151 h 3083905"/>
                          <a:gd name="connsiteX1182" fmla="*/ 2091416 w 6116787"/>
                          <a:gd name="connsiteY1182" fmla="*/ 1033638 h 3083905"/>
                          <a:gd name="connsiteX1183" fmla="*/ 2097451 w 6116787"/>
                          <a:gd name="connsiteY1183" fmla="*/ 1047354 h 3083905"/>
                          <a:gd name="connsiteX1184" fmla="*/ 2095256 w 6116787"/>
                          <a:gd name="connsiteY1184" fmla="*/ 1053389 h 3083905"/>
                          <a:gd name="connsiteX1185" fmla="*/ 2078248 w 6116787"/>
                          <a:gd name="connsiteY1185" fmla="*/ 1046805 h 3083905"/>
                          <a:gd name="connsiteX1186" fmla="*/ 2066179 w 6116787"/>
                          <a:gd name="connsiteY1186" fmla="*/ 1046256 h 3083905"/>
                          <a:gd name="connsiteX1187" fmla="*/ 2059046 w 6116787"/>
                          <a:gd name="connsiteY1187" fmla="*/ 1038027 h 3083905"/>
                          <a:gd name="connsiteX1188" fmla="*/ 2057400 w 6116787"/>
                          <a:gd name="connsiteY1188" fmla="*/ 997976 h 3083905"/>
                          <a:gd name="connsiteX1189" fmla="*/ 2062887 w 6116787"/>
                          <a:gd name="connsiteY1189" fmla="*/ 978225 h 3083905"/>
                          <a:gd name="connsiteX1190" fmla="*/ 2060143 w 6116787"/>
                          <a:gd name="connsiteY1190" fmla="*/ 973836 h 3083905"/>
                          <a:gd name="connsiteX1191" fmla="*/ 2059595 w 6116787"/>
                          <a:gd name="connsiteY1191" fmla="*/ 925556 h 3083905"/>
                          <a:gd name="connsiteX1192" fmla="*/ 2064532 w 6116787"/>
                          <a:gd name="connsiteY1192" fmla="*/ 917326 h 3083905"/>
                          <a:gd name="connsiteX1193" fmla="*/ 2086478 w 6116787"/>
                          <a:gd name="connsiteY1193" fmla="*/ 903610 h 3083905"/>
                          <a:gd name="connsiteX1194" fmla="*/ 2090319 w 6116787"/>
                          <a:gd name="connsiteY1194" fmla="*/ 882762 h 3083905"/>
                          <a:gd name="connsiteX1195" fmla="*/ 2095805 w 6116787"/>
                          <a:gd name="connsiteY1195" fmla="*/ 881116 h 3083905"/>
                          <a:gd name="connsiteX1196" fmla="*/ 2097451 w 6116787"/>
                          <a:gd name="connsiteY1196" fmla="*/ 869046 h 3083905"/>
                          <a:gd name="connsiteX1197" fmla="*/ 2081540 w 6116787"/>
                          <a:gd name="connsiteY1197" fmla="*/ 858622 h 3083905"/>
                          <a:gd name="connsiteX1198" fmla="*/ 2042038 w 6116787"/>
                          <a:gd name="connsiteY1198" fmla="*/ 867948 h 3083905"/>
                          <a:gd name="connsiteX1199" fmla="*/ 2031065 w 6116787"/>
                          <a:gd name="connsiteY1199" fmla="*/ 862462 h 3083905"/>
                          <a:gd name="connsiteX1200" fmla="*/ 2023384 w 6116787"/>
                          <a:gd name="connsiteY1200" fmla="*/ 854232 h 3083905"/>
                          <a:gd name="connsiteX1201" fmla="*/ 2021739 w 6116787"/>
                          <a:gd name="connsiteY1201" fmla="*/ 855878 h 3083905"/>
                          <a:gd name="connsiteX1202" fmla="*/ 2004731 w 6116787"/>
                          <a:gd name="connsiteY1202" fmla="*/ 829544 h 3083905"/>
                          <a:gd name="connsiteX1203" fmla="*/ 2004731 w 6116787"/>
                          <a:gd name="connsiteY1203" fmla="*/ 823509 h 3083905"/>
                          <a:gd name="connsiteX1204" fmla="*/ 1971812 w 6116787"/>
                          <a:gd name="connsiteY1204" fmla="*/ 803758 h 3083905"/>
                          <a:gd name="connsiteX1205" fmla="*/ 1966326 w 6116787"/>
                          <a:gd name="connsiteY1205" fmla="*/ 796077 h 3083905"/>
                          <a:gd name="connsiteX1206" fmla="*/ 1947672 w 6116787"/>
                          <a:gd name="connsiteY1206" fmla="*/ 787298 h 3083905"/>
                          <a:gd name="connsiteX1207" fmla="*/ 1901587 w 6116787"/>
                          <a:gd name="connsiteY1207" fmla="*/ 787847 h 3083905"/>
                          <a:gd name="connsiteX1208" fmla="*/ 1891711 w 6116787"/>
                          <a:gd name="connsiteY1208" fmla="*/ 802660 h 3083905"/>
                          <a:gd name="connsiteX1209" fmla="*/ 1876898 w 6116787"/>
                          <a:gd name="connsiteY1209" fmla="*/ 809244 h 3083905"/>
                          <a:gd name="connsiteX1210" fmla="*/ 1874155 w 6116787"/>
                          <a:gd name="connsiteY1210" fmla="*/ 822411 h 3083905"/>
                          <a:gd name="connsiteX1211" fmla="*/ 1892808 w 6116787"/>
                          <a:gd name="connsiteY1211" fmla="*/ 822960 h 3083905"/>
                          <a:gd name="connsiteX1212" fmla="*/ 1902135 w 6116787"/>
                          <a:gd name="connsiteY1212" fmla="*/ 831190 h 3083905"/>
                          <a:gd name="connsiteX1213" fmla="*/ 1899392 w 6116787"/>
                          <a:gd name="connsiteY1213" fmla="*/ 840516 h 3083905"/>
                          <a:gd name="connsiteX1214" fmla="*/ 1891711 w 6116787"/>
                          <a:gd name="connsiteY1214" fmla="*/ 849295 h 3083905"/>
                          <a:gd name="connsiteX1215" fmla="*/ 1879092 w 6116787"/>
                          <a:gd name="connsiteY1215" fmla="*/ 853684 h 3083905"/>
                          <a:gd name="connsiteX1216" fmla="*/ 1868119 w 6116787"/>
                          <a:gd name="connsiteY1216" fmla="*/ 861914 h 3083905"/>
                          <a:gd name="connsiteX1217" fmla="*/ 1854403 w 6116787"/>
                          <a:gd name="connsiteY1217" fmla="*/ 865754 h 3083905"/>
                          <a:gd name="connsiteX1218" fmla="*/ 1854403 w 6116787"/>
                          <a:gd name="connsiteY1218" fmla="*/ 855878 h 3083905"/>
                          <a:gd name="connsiteX1219" fmla="*/ 1836847 w 6116787"/>
                          <a:gd name="connsiteY1219" fmla="*/ 832836 h 3083905"/>
                          <a:gd name="connsiteX1220" fmla="*/ 1829715 w 6116787"/>
                          <a:gd name="connsiteY1220" fmla="*/ 833933 h 3083905"/>
                          <a:gd name="connsiteX1221" fmla="*/ 1823131 w 6116787"/>
                          <a:gd name="connsiteY1221" fmla="*/ 843260 h 3083905"/>
                          <a:gd name="connsiteX1222" fmla="*/ 1827520 w 6116787"/>
                          <a:gd name="connsiteY1222" fmla="*/ 848198 h 3083905"/>
                          <a:gd name="connsiteX1223" fmla="*/ 1835750 w 6116787"/>
                          <a:gd name="connsiteY1223" fmla="*/ 881664 h 3083905"/>
                          <a:gd name="connsiteX1224" fmla="*/ 1839590 w 6116787"/>
                          <a:gd name="connsiteY1224" fmla="*/ 882762 h 3083905"/>
                          <a:gd name="connsiteX1225" fmla="*/ 1855501 w 6116787"/>
                          <a:gd name="connsiteY1225" fmla="*/ 895929 h 3083905"/>
                          <a:gd name="connsiteX1226" fmla="*/ 1864828 w 6116787"/>
                          <a:gd name="connsiteY1226" fmla="*/ 900318 h 3083905"/>
                          <a:gd name="connsiteX1227" fmla="*/ 1871411 w 6116787"/>
                          <a:gd name="connsiteY1227" fmla="*/ 908548 h 3083905"/>
                          <a:gd name="connsiteX1228" fmla="*/ 1877446 w 6116787"/>
                          <a:gd name="connsiteY1228" fmla="*/ 909645 h 3083905"/>
                          <a:gd name="connsiteX1229" fmla="*/ 1881287 w 6116787"/>
                          <a:gd name="connsiteY1229" fmla="*/ 914034 h 3083905"/>
                          <a:gd name="connsiteX1230" fmla="*/ 1887871 w 6116787"/>
                          <a:gd name="connsiteY1230" fmla="*/ 910194 h 3083905"/>
                          <a:gd name="connsiteX1231" fmla="*/ 1894454 w 6116787"/>
                          <a:gd name="connsiteY1231" fmla="*/ 903062 h 3083905"/>
                          <a:gd name="connsiteX1232" fmla="*/ 1892808 w 6116787"/>
                          <a:gd name="connsiteY1232" fmla="*/ 913486 h 3083905"/>
                          <a:gd name="connsiteX1233" fmla="*/ 1896100 w 6116787"/>
                          <a:gd name="connsiteY1233" fmla="*/ 918423 h 3083905"/>
                          <a:gd name="connsiteX1234" fmla="*/ 1903781 w 6116787"/>
                          <a:gd name="connsiteY1234" fmla="*/ 915680 h 3083905"/>
                          <a:gd name="connsiteX1235" fmla="*/ 1904878 w 6116787"/>
                          <a:gd name="connsiteY1235" fmla="*/ 935980 h 3083905"/>
                          <a:gd name="connsiteX1236" fmla="*/ 1913656 w 6116787"/>
                          <a:gd name="connsiteY1236" fmla="*/ 946404 h 3083905"/>
                          <a:gd name="connsiteX1237" fmla="*/ 1913656 w 6116787"/>
                          <a:gd name="connsiteY1237" fmla="*/ 952988 h 3083905"/>
                          <a:gd name="connsiteX1238" fmla="*/ 1902684 w 6116787"/>
                          <a:gd name="connsiteY1238" fmla="*/ 951890 h 3083905"/>
                          <a:gd name="connsiteX1239" fmla="*/ 1896649 w 6116787"/>
                          <a:gd name="connsiteY1239" fmla="*/ 948050 h 3083905"/>
                          <a:gd name="connsiteX1240" fmla="*/ 1891162 w 6116787"/>
                          <a:gd name="connsiteY1240" fmla="*/ 942564 h 3083905"/>
                          <a:gd name="connsiteX1241" fmla="*/ 1888968 w 6116787"/>
                          <a:gd name="connsiteY1241" fmla="*/ 935431 h 3083905"/>
                          <a:gd name="connsiteX1242" fmla="*/ 1882384 w 6116787"/>
                          <a:gd name="connsiteY1242" fmla="*/ 929945 h 3083905"/>
                          <a:gd name="connsiteX1243" fmla="*/ 1805575 w 6116787"/>
                          <a:gd name="connsiteY1243" fmla="*/ 912937 h 3083905"/>
                          <a:gd name="connsiteX1244" fmla="*/ 1791859 w 6116787"/>
                          <a:gd name="connsiteY1244" fmla="*/ 897575 h 3083905"/>
                          <a:gd name="connsiteX1245" fmla="*/ 1793504 w 6116787"/>
                          <a:gd name="connsiteY1245" fmla="*/ 894832 h 3083905"/>
                          <a:gd name="connsiteX1246" fmla="*/ 1802831 w 6116787"/>
                          <a:gd name="connsiteY1246" fmla="*/ 893186 h 3083905"/>
                          <a:gd name="connsiteX1247" fmla="*/ 1803380 w 6116787"/>
                          <a:gd name="connsiteY1247" fmla="*/ 875630 h 3083905"/>
                          <a:gd name="connsiteX1248" fmla="*/ 1795150 w 6116787"/>
                          <a:gd name="connsiteY1248" fmla="*/ 860268 h 3083905"/>
                          <a:gd name="connsiteX1249" fmla="*/ 1795150 w 6116787"/>
                          <a:gd name="connsiteY1249" fmla="*/ 853135 h 3083905"/>
                          <a:gd name="connsiteX1250" fmla="*/ 1798991 w 6116787"/>
                          <a:gd name="connsiteY1250" fmla="*/ 836676 h 3083905"/>
                          <a:gd name="connsiteX1251" fmla="*/ 1792956 w 6116787"/>
                          <a:gd name="connsiteY1251" fmla="*/ 828995 h 3083905"/>
                          <a:gd name="connsiteX1252" fmla="*/ 1798991 w 6116787"/>
                          <a:gd name="connsiteY1252" fmla="*/ 822960 h 3083905"/>
                          <a:gd name="connsiteX1253" fmla="*/ 1808318 w 6116787"/>
                          <a:gd name="connsiteY1253" fmla="*/ 796625 h 3083905"/>
                          <a:gd name="connsiteX1254" fmla="*/ 1801734 w 6116787"/>
                          <a:gd name="connsiteY1254" fmla="*/ 766999 h 3083905"/>
                          <a:gd name="connsiteX1255" fmla="*/ 1807769 w 6116787"/>
                          <a:gd name="connsiteY1255" fmla="*/ 763158 h 3083905"/>
                          <a:gd name="connsiteX1256" fmla="*/ 1801185 w 6116787"/>
                          <a:gd name="connsiteY1256" fmla="*/ 753831 h 3083905"/>
                          <a:gd name="connsiteX1257" fmla="*/ 1799539 w 6116787"/>
                          <a:gd name="connsiteY1257" fmla="*/ 746699 h 3083905"/>
                          <a:gd name="connsiteX1258" fmla="*/ 1800637 w 6116787"/>
                          <a:gd name="connsiteY1258" fmla="*/ 740664 h 3083905"/>
                          <a:gd name="connsiteX1259" fmla="*/ 1789664 w 6116787"/>
                          <a:gd name="connsiteY1259" fmla="*/ 729691 h 3083905"/>
                          <a:gd name="connsiteX1260" fmla="*/ 1786372 w 6116787"/>
                          <a:gd name="connsiteY1260" fmla="*/ 722559 h 3083905"/>
                          <a:gd name="connsiteX1261" fmla="*/ 1775948 w 6116787"/>
                          <a:gd name="connsiteY1261" fmla="*/ 728045 h 3083905"/>
                          <a:gd name="connsiteX1262" fmla="*/ 1784726 w 6116787"/>
                          <a:gd name="connsiteY1262" fmla="*/ 794979 h 3083905"/>
                          <a:gd name="connsiteX1263" fmla="*/ 1779788 w 6116787"/>
                          <a:gd name="connsiteY1263" fmla="*/ 805404 h 3083905"/>
                          <a:gd name="connsiteX1264" fmla="*/ 1723279 w 6116787"/>
                          <a:gd name="connsiteY1264" fmla="*/ 848198 h 3083905"/>
                          <a:gd name="connsiteX1265" fmla="*/ 1723279 w 6116787"/>
                          <a:gd name="connsiteY1265" fmla="*/ 863559 h 3083905"/>
                          <a:gd name="connsiteX1266" fmla="*/ 1721084 w 6116787"/>
                          <a:gd name="connsiteY1266" fmla="*/ 871240 h 3083905"/>
                          <a:gd name="connsiteX1267" fmla="*/ 1710111 w 6116787"/>
                          <a:gd name="connsiteY1267" fmla="*/ 882762 h 3083905"/>
                          <a:gd name="connsiteX1268" fmla="*/ 1710111 w 6116787"/>
                          <a:gd name="connsiteY1268" fmla="*/ 889346 h 3083905"/>
                          <a:gd name="connsiteX1269" fmla="*/ 1740286 w 6116787"/>
                          <a:gd name="connsiteY1269" fmla="*/ 932688 h 3083905"/>
                          <a:gd name="connsiteX1270" fmla="*/ 1743578 w 6116787"/>
                          <a:gd name="connsiteY1270" fmla="*/ 955182 h 3083905"/>
                          <a:gd name="connsiteX1271" fmla="*/ 1758940 w 6116787"/>
                          <a:gd name="connsiteY1271" fmla="*/ 984809 h 3083905"/>
                          <a:gd name="connsiteX1272" fmla="*/ 1750162 w 6116787"/>
                          <a:gd name="connsiteY1272" fmla="*/ 1024860 h 3083905"/>
                          <a:gd name="connsiteX1273" fmla="*/ 1740286 w 6116787"/>
                          <a:gd name="connsiteY1273" fmla="*/ 1036930 h 3083905"/>
                          <a:gd name="connsiteX1274" fmla="*/ 1738640 w 6116787"/>
                          <a:gd name="connsiteY1274" fmla="*/ 1057778 h 3083905"/>
                          <a:gd name="connsiteX1275" fmla="*/ 1734251 w 6116787"/>
                          <a:gd name="connsiteY1275" fmla="*/ 1064910 h 3083905"/>
                          <a:gd name="connsiteX1276" fmla="*/ 1730959 w 6116787"/>
                          <a:gd name="connsiteY1276" fmla="*/ 1087405 h 3083905"/>
                          <a:gd name="connsiteX1277" fmla="*/ 1745224 w 6116787"/>
                          <a:gd name="connsiteY1277" fmla="*/ 1117580 h 3083905"/>
                          <a:gd name="connsiteX1278" fmla="*/ 1738640 w 6116787"/>
                          <a:gd name="connsiteY1278" fmla="*/ 1145012 h 3083905"/>
                          <a:gd name="connsiteX1279" fmla="*/ 1744127 w 6116787"/>
                          <a:gd name="connsiteY1279" fmla="*/ 1156533 h 3083905"/>
                          <a:gd name="connsiteX1280" fmla="*/ 1752356 w 6116787"/>
                          <a:gd name="connsiteY1280" fmla="*/ 1158179 h 3083905"/>
                          <a:gd name="connsiteX1281" fmla="*/ 1763329 w 6116787"/>
                          <a:gd name="connsiteY1281" fmla="*/ 1154339 h 3083905"/>
                          <a:gd name="connsiteX1282" fmla="*/ 1771559 w 6116787"/>
                          <a:gd name="connsiteY1282" fmla="*/ 1154339 h 3083905"/>
                          <a:gd name="connsiteX1283" fmla="*/ 1790761 w 6116787"/>
                          <a:gd name="connsiteY1283" fmla="*/ 1159825 h 3083905"/>
                          <a:gd name="connsiteX1284" fmla="*/ 1792956 w 6116787"/>
                          <a:gd name="connsiteY1284" fmla="*/ 1153790 h 3083905"/>
                          <a:gd name="connsiteX1285" fmla="*/ 1808866 w 6116787"/>
                          <a:gd name="connsiteY1285" fmla="*/ 1143366 h 3083905"/>
                          <a:gd name="connsiteX1286" fmla="*/ 1824777 w 6116787"/>
                          <a:gd name="connsiteY1286" fmla="*/ 1143914 h 3083905"/>
                          <a:gd name="connsiteX1287" fmla="*/ 1885676 w 6116787"/>
                          <a:gd name="connsiteY1287" fmla="*/ 1180673 h 3083905"/>
                          <a:gd name="connsiteX1288" fmla="*/ 1888419 w 6116787"/>
                          <a:gd name="connsiteY1288" fmla="*/ 1187806 h 3083905"/>
                          <a:gd name="connsiteX1289" fmla="*/ 1887871 w 6116787"/>
                          <a:gd name="connsiteY1289" fmla="*/ 1206459 h 3083905"/>
                          <a:gd name="connsiteX1290" fmla="*/ 1900489 w 6116787"/>
                          <a:gd name="connsiteY1290" fmla="*/ 1233343 h 3083905"/>
                          <a:gd name="connsiteX1291" fmla="*/ 1903232 w 6116787"/>
                          <a:gd name="connsiteY1291" fmla="*/ 1233891 h 3083905"/>
                          <a:gd name="connsiteX1292" fmla="*/ 1904330 w 6116787"/>
                          <a:gd name="connsiteY1292" fmla="*/ 1242121 h 3083905"/>
                          <a:gd name="connsiteX1293" fmla="*/ 1899940 w 6116787"/>
                          <a:gd name="connsiteY1293" fmla="*/ 1247607 h 3083905"/>
                          <a:gd name="connsiteX1294" fmla="*/ 1890065 w 6116787"/>
                          <a:gd name="connsiteY1294" fmla="*/ 1249253 h 3083905"/>
                          <a:gd name="connsiteX1295" fmla="*/ 1882933 w 6116787"/>
                          <a:gd name="connsiteY1295" fmla="*/ 1254740 h 3083905"/>
                          <a:gd name="connsiteX1296" fmla="*/ 1880189 w 6116787"/>
                          <a:gd name="connsiteY1296" fmla="*/ 1262969 h 3083905"/>
                          <a:gd name="connsiteX1297" fmla="*/ 1881287 w 6116787"/>
                          <a:gd name="connsiteY1297" fmla="*/ 1292047 h 3083905"/>
                          <a:gd name="connsiteX1298" fmla="*/ 1883481 w 6116787"/>
                          <a:gd name="connsiteY1298" fmla="*/ 1298082 h 3083905"/>
                          <a:gd name="connsiteX1299" fmla="*/ 1891711 w 6116787"/>
                          <a:gd name="connsiteY1299" fmla="*/ 1296985 h 3083905"/>
                          <a:gd name="connsiteX1300" fmla="*/ 1904878 w 6116787"/>
                          <a:gd name="connsiteY1300" fmla="*/ 1303020 h 3083905"/>
                          <a:gd name="connsiteX1301" fmla="*/ 1917497 w 6116787"/>
                          <a:gd name="connsiteY1301" fmla="*/ 1303020 h 3083905"/>
                          <a:gd name="connsiteX1302" fmla="*/ 1931213 w 6116787"/>
                          <a:gd name="connsiteY1302" fmla="*/ 1311250 h 3083905"/>
                          <a:gd name="connsiteX1303" fmla="*/ 1929019 w 6116787"/>
                          <a:gd name="connsiteY1303" fmla="*/ 1313993 h 3083905"/>
                          <a:gd name="connsiteX1304" fmla="*/ 1912011 w 6116787"/>
                          <a:gd name="connsiteY1304" fmla="*/ 1317285 h 3083905"/>
                          <a:gd name="connsiteX1305" fmla="*/ 1902684 w 6116787"/>
                          <a:gd name="connsiteY1305" fmla="*/ 1314542 h 3083905"/>
                          <a:gd name="connsiteX1306" fmla="*/ 1886773 w 6116787"/>
                          <a:gd name="connsiteY1306" fmla="*/ 1315090 h 3083905"/>
                          <a:gd name="connsiteX1307" fmla="*/ 1881835 w 6116787"/>
                          <a:gd name="connsiteY1307" fmla="*/ 1304117 h 3083905"/>
                          <a:gd name="connsiteX1308" fmla="*/ 1867571 w 6116787"/>
                          <a:gd name="connsiteY1308" fmla="*/ 1296985 h 3083905"/>
                          <a:gd name="connsiteX1309" fmla="*/ 1866473 w 6116787"/>
                          <a:gd name="connsiteY1309" fmla="*/ 1289304 h 3083905"/>
                          <a:gd name="connsiteX1310" fmla="*/ 1869765 w 6116787"/>
                          <a:gd name="connsiteY1310" fmla="*/ 1286012 h 3083905"/>
                          <a:gd name="connsiteX1311" fmla="*/ 1871411 w 6116787"/>
                          <a:gd name="connsiteY1311" fmla="*/ 1261872 h 3083905"/>
                          <a:gd name="connsiteX1312" fmla="*/ 1876349 w 6116787"/>
                          <a:gd name="connsiteY1312" fmla="*/ 1250351 h 3083905"/>
                          <a:gd name="connsiteX1313" fmla="*/ 1873606 w 6116787"/>
                          <a:gd name="connsiteY1313" fmla="*/ 1247059 h 3083905"/>
                          <a:gd name="connsiteX1314" fmla="*/ 1869217 w 6116787"/>
                          <a:gd name="connsiteY1314" fmla="*/ 1248705 h 3083905"/>
                          <a:gd name="connsiteX1315" fmla="*/ 1868119 w 6116787"/>
                          <a:gd name="connsiteY1315" fmla="*/ 1242121 h 3083905"/>
                          <a:gd name="connsiteX1316" fmla="*/ 1870863 w 6116787"/>
                          <a:gd name="connsiteY1316" fmla="*/ 1232794 h 3083905"/>
                          <a:gd name="connsiteX1317" fmla="*/ 1871960 w 6116787"/>
                          <a:gd name="connsiteY1317" fmla="*/ 1231697 h 3083905"/>
                          <a:gd name="connsiteX1318" fmla="*/ 1871411 w 6116787"/>
                          <a:gd name="connsiteY1318" fmla="*/ 1226210 h 3083905"/>
                          <a:gd name="connsiteX1319" fmla="*/ 1872508 w 6116787"/>
                          <a:gd name="connsiteY1319" fmla="*/ 1220724 h 3083905"/>
                          <a:gd name="connsiteX1320" fmla="*/ 1871411 w 6116787"/>
                          <a:gd name="connsiteY1320" fmla="*/ 1216335 h 3083905"/>
                          <a:gd name="connsiteX1321" fmla="*/ 1867022 w 6116787"/>
                          <a:gd name="connsiteY1321" fmla="*/ 1210300 h 3083905"/>
                          <a:gd name="connsiteX1322" fmla="*/ 1860439 w 6116787"/>
                          <a:gd name="connsiteY1322" fmla="*/ 1207008 h 3083905"/>
                          <a:gd name="connsiteX1323" fmla="*/ 1857147 w 6116787"/>
                          <a:gd name="connsiteY1323" fmla="*/ 1200973 h 3083905"/>
                          <a:gd name="connsiteX1324" fmla="*/ 1851112 w 6116787"/>
                          <a:gd name="connsiteY1324" fmla="*/ 1197133 h 3083905"/>
                          <a:gd name="connsiteX1325" fmla="*/ 1848368 w 6116787"/>
                          <a:gd name="connsiteY1325" fmla="*/ 1190549 h 3083905"/>
                          <a:gd name="connsiteX1326" fmla="*/ 1849466 w 6116787"/>
                          <a:gd name="connsiteY1326" fmla="*/ 1182319 h 3083905"/>
                          <a:gd name="connsiteX1327" fmla="*/ 1845076 w 6116787"/>
                          <a:gd name="connsiteY1327" fmla="*/ 1170249 h 3083905"/>
                          <a:gd name="connsiteX1328" fmla="*/ 1795150 w 6116787"/>
                          <a:gd name="connsiteY1328" fmla="*/ 1180673 h 3083905"/>
                          <a:gd name="connsiteX1329" fmla="*/ 1762780 w 6116787"/>
                          <a:gd name="connsiteY1329" fmla="*/ 1198778 h 3083905"/>
                          <a:gd name="connsiteX1330" fmla="*/ 1763878 w 6116787"/>
                          <a:gd name="connsiteY1330" fmla="*/ 1213592 h 3083905"/>
                          <a:gd name="connsiteX1331" fmla="*/ 1757843 w 6116787"/>
                          <a:gd name="connsiteY1331" fmla="*/ 1228405 h 3083905"/>
                          <a:gd name="connsiteX1332" fmla="*/ 1759489 w 6116787"/>
                          <a:gd name="connsiteY1332" fmla="*/ 1236086 h 3083905"/>
                          <a:gd name="connsiteX1333" fmla="*/ 1763329 w 6116787"/>
                          <a:gd name="connsiteY1333" fmla="*/ 1238281 h 3083905"/>
                          <a:gd name="connsiteX1334" fmla="*/ 1765524 w 6116787"/>
                          <a:gd name="connsiteY1334" fmla="*/ 1244864 h 3083905"/>
                          <a:gd name="connsiteX1335" fmla="*/ 1770461 w 6116787"/>
                          <a:gd name="connsiteY1335" fmla="*/ 1249802 h 3083905"/>
                          <a:gd name="connsiteX1336" fmla="*/ 1769364 w 6116787"/>
                          <a:gd name="connsiteY1336" fmla="*/ 1256386 h 3083905"/>
                          <a:gd name="connsiteX1337" fmla="*/ 1773753 w 6116787"/>
                          <a:gd name="connsiteY1337" fmla="*/ 1261872 h 3083905"/>
                          <a:gd name="connsiteX1338" fmla="*/ 1776496 w 6116787"/>
                          <a:gd name="connsiteY1338" fmla="*/ 1282720 h 3083905"/>
                          <a:gd name="connsiteX1339" fmla="*/ 1773753 w 6116787"/>
                          <a:gd name="connsiteY1339" fmla="*/ 1300826 h 3083905"/>
                          <a:gd name="connsiteX1340" fmla="*/ 1743578 w 6116787"/>
                          <a:gd name="connsiteY1340" fmla="*/ 1333744 h 3083905"/>
                          <a:gd name="connsiteX1341" fmla="*/ 1739738 w 6116787"/>
                          <a:gd name="connsiteY1341" fmla="*/ 1361725 h 3083905"/>
                          <a:gd name="connsiteX1342" fmla="*/ 1728765 w 6116787"/>
                          <a:gd name="connsiteY1342" fmla="*/ 1378732 h 3083905"/>
                          <a:gd name="connsiteX1343" fmla="*/ 1711757 w 6116787"/>
                          <a:gd name="connsiteY1343" fmla="*/ 1390802 h 3083905"/>
                          <a:gd name="connsiteX1344" fmla="*/ 1705173 w 6116787"/>
                          <a:gd name="connsiteY1344" fmla="*/ 1399032 h 3083905"/>
                          <a:gd name="connsiteX1345" fmla="*/ 1685971 w 6116787"/>
                          <a:gd name="connsiteY1345" fmla="*/ 1406713 h 3083905"/>
                          <a:gd name="connsiteX1346" fmla="*/ 1683228 w 6116787"/>
                          <a:gd name="connsiteY1346" fmla="*/ 1411651 h 3083905"/>
                          <a:gd name="connsiteX1347" fmla="*/ 1688165 w 6116787"/>
                          <a:gd name="connsiteY1347" fmla="*/ 1422624 h 3083905"/>
                          <a:gd name="connsiteX1348" fmla="*/ 1683228 w 6116787"/>
                          <a:gd name="connsiteY1348" fmla="*/ 1436340 h 3083905"/>
                          <a:gd name="connsiteX1349" fmla="*/ 1674449 w 6116787"/>
                          <a:gd name="connsiteY1349" fmla="*/ 1439631 h 3083905"/>
                          <a:gd name="connsiteX1350" fmla="*/ 1648115 w 6116787"/>
                          <a:gd name="connsiteY1350" fmla="*/ 1427561 h 3083905"/>
                          <a:gd name="connsiteX1351" fmla="*/ 1634399 w 6116787"/>
                          <a:gd name="connsiteY1351" fmla="*/ 1425915 h 3083905"/>
                          <a:gd name="connsiteX1352" fmla="*/ 1617940 w 6116787"/>
                          <a:gd name="connsiteY1352" fmla="*/ 1429756 h 3083905"/>
                          <a:gd name="connsiteX1353" fmla="*/ 1601480 w 6116787"/>
                          <a:gd name="connsiteY1353" fmla="*/ 1427013 h 3083905"/>
                          <a:gd name="connsiteX1354" fmla="*/ 1598737 w 6116787"/>
                          <a:gd name="connsiteY1354" fmla="*/ 1424270 h 3083905"/>
                          <a:gd name="connsiteX1355" fmla="*/ 1598737 w 6116787"/>
                          <a:gd name="connsiteY1355" fmla="*/ 1417686 h 3083905"/>
                          <a:gd name="connsiteX1356" fmla="*/ 1600932 w 6116787"/>
                          <a:gd name="connsiteY1356" fmla="*/ 1413845 h 3083905"/>
                          <a:gd name="connsiteX1357" fmla="*/ 1598737 w 6116787"/>
                          <a:gd name="connsiteY1357" fmla="*/ 1396838 h 3083905"/>
                          <a:gd name="connsiteX1358" fmla="*/ 1589410 w 6116787"/>
                          <a:gd name="connsiteY1358" fmla="*/ 1395192 h 3083905"/>
                          <a:gd name="connsiteX1359" fmla="*/ 1587764 w 6116787"/>
                          <a:gd name="connsiteY1359" fmla="*/ 1390254 h 3083905"/>
                          <a:gd name="connsiteX1360" fmla="*/ 1589410 w 6116787"/>
                          <a:gd name="connsiteY1360" fmla="*/ 1387511 h 3083905"/>
                          <a:gd name="connsiteX1361" fmla="*/ 1596543 w 6116787"/>
                          <a:gd name="connsiteY1361" fmla="*/ 1384219 h 3083905"/>
                          <a:gd name="connsiteX1362" fmla="*/ 1604772 w 6116787"/>
                          <a:gd name="connsiteY1362" fmla="*/ 1389705 h 3083905"/>
                          <a:gd name="connsiteX1363" fmla="*/ 1607515 w 6116787"/>
                          <a:gd name="connsiteY1363" fmla="*/ 1395740 h 3083905"/>
                          <a:gd name="connsiteX1364" fmla="*/ 1615745 w 6116787"/>
                          <a:gd name="connsiteY1364" fmla="*/ 1395192 h 3083905"/>
                          <a:gd name="connsiteX1365" fmla="*/ 1620134 w 6116787"/>
                          <a:gd name="connsiteY1365" fmla="*/ 1388608 h 3083905"/>
                          <a:gd name="connsiteX1366" fmla="*/ 1626718 w 6116787"/>
                          <a:gd name="connsiteY1366" fmla="*/ 1388608 h 3083905"/>
                          <a:gd name="connsiteX1367" fmla="*/ 1632753 w 6116787"/>
                          <a:gd name="connsiteY1367" fmla="*/ 1377086 h 3083905"/>
                          <a:gd name="connsiteX1368" fmla="*/ 1638788 w 6116787"/>
                          <a:gd name="connsiteY1368" fmla="*/ 1382024 h 3083905"/>
                          <a:gd name="connsiteX1369" fmla="*/ 1648115 w 6116787"/>
                          <a:gd name="connsiteY1369" fmla="*/ 1377635 h 3083905"/>
                          <a:gd name="connsiteX1370" fmla="*/ 1650309 w 6116787"/>
                          <a:gd name="connsiteY1370" fmla="*/ 1373795 h 3083905"/>
                          <a:gd name="connsiteX1371" fmla="*/ 1653601 w 6116787"/>
                          <a:gd name="connsiteY1371" fmla="*/ 1371600 h 3083905"/>
                          <a:gd name="connsiteX1372" fmla="*/ 1660185 w 6116787"/>
                          <a:gd name="connsiteY1372" fmla="*/ 1372697 h 3083905"/>
                          <a:gd name="connsiteX1373" fmla="*/ 1670060 w 6116787"/>
                          <a:gd name="connsiteY1373" fmla="*/ 1369406 h 3083905"/>
                          <a:gd name="connsiteX1374" fmla="*/ 1674449 w 6116787"/>
                          <a:gd name="connsiteY1374" fmla="*/ 1364468 h 3083905"/>
                          <a:gd name="connsiteX1375" fmla="*/ 1670060 w 6116787"/>
                          <a:gd name="connsiteY1375" fmla="*/ 1358981 h 3083905"/>
                          <a:gd name="connsiteX1376" fmla="*/ 1657990 w 6116787"/>
                          <a:gd name="connsiteY1376" fmla="*/ 1358981 h 3083905"/>
                          <a:gd name="connsiteX1377" fmla="*/ 1653601 w 6116787"/>
                          <a:gd name="connsiteY1377" fmla="*/ 1361725 h 3083905"/>
                          <a:gd name="connsiteX1378" fmla="*/ 1648663 w 6116787"/>
                          <a:gd name="connsiteY1378" fmla="*/ 1357335 h 3083905"/>
                          <a:gd name="connsiteX1379" fmla="*/ 1649212 w 6116787"/>
                          <a:gd name="connsiteY1379" fmla="*/ 1348009 h 3083905"/>
                          <a:gd name="connsiteX1380" fmla="*/ 1662379 w 6116787"/>
                          <a:gd name="connsiteY1380" fmla="*/ 1356238 h 3083905"/>
                          <a:gd name="connsiteX1381" fmla="*/ 1676644 w 6116787"/>
                          <a:gd name="connsiteY1381" fmla="*/ 1353495 h 3083905"/>
                          <a:gd name="connsiteX1382" fmla="*/ 1678839 w 6116787"/>
                          <a:gd name="connsiteY1382" fmla="*/ 1351300 h 3083905"/>
                          <a:gd name="connsiteX1383" fmla="*/ 1679387 w 6116787"/>
                          <a:gd name="connsiteY1383" fmla="*/ 1339230 h 3083905"/>
                          <a:gd name="connsiteX1384" fmla="*/ 1685422 w 6116787"/>
                          <a:gd name="connsiteY1384" fmla="*/ 1339230 h 3083905"/>
                          <a:gd name="connsiteX1385" fmla="*/ 1690360 w 6116787"/>
                          <a:gd name="connsiteY1385" fmla="*/ 1332647 h 3083905"/>
                          <a:gd name="connsiteX1386" fmla="*/ 1696395 w 6116787"/>
                          <a:gd name="connsiteY1386" fmla="*/ 1310701 h 3083905"/>
                          <a:gd name="connsiteX1387" fmla="*/ 1708465 w 6116787"/>
                          <a:gd name="connsiteY1387" fmla="*/ 1305763 h 3083905"/>
                          <a:gd name="connsiteX1388" fmla="*/ 1713952 w 6116787"/>
                          <a:gd name="connsiteY1388" fmla="*/ 1298082 h 3083905"/>
                          <a:gd name="connsiteX1389" fmla="*/ 1711208 w 6116787"/>
                          <a:gd name="connsiteY1389" fmla="*/ 1293145 h 3083905"/>
                          <a:gd name="connsiteX1390" fmla="*/ 1715049 w 6116787"/>
                          <a:gd name="connsiteY1390" fmla="*/ 1286012 h 3083905"/>
                          <a:gd name="connsiteX1391" fmla="*/ 1713403 w 6116787"/>
                          <a:gd name="connsiteY1391" fmla="*/ 1254740 h 3083905"/>
                          <a:gd name="connsiteX1392" fmla="*/ 1716146 w 6116787"/>
                          <a:gd name="connsiteY1392" fmla="*/ 1243218 h 3083905"/>
                          <a:gd name="connsiteX1393" fmla="*/ 1726570 w 6116787"/>
                          <a:gd name="connsiteY1393" fmla="*/ 1226759 h 3083905"/>
                          <a:gd name="connsiteX1394" fmla="*/ 1725473 w 6116787"/>
                          <a:gd name="connsiteY1394" fmla="*/ 1207008 h 3083905"/>
                          <a:gd name="connsiteX1395" fmla="*/ 1690360 w 6116787"/>
                          <a:gd name="connsiteY1395" fmla="*/ 1165311 h 3083905"/>
                          <a:gd name="connsiteX1396" fmla="*/ 1693652 w 6116787"/>
                          <a:gd name="connsiteY1396" fmla="*/ 1134039 h 3083905"/>
                          <a:gd name="connsiteX1397" fmla="*/ 1692006 w 6116787"/>
                          <a:gd name="connsiteY1397" fmla="*/ 1125261 h 3083905"/>
                          <a:gd name="connsiteX1398" fmla="*/ 1696944 w 6116787"/>
                          <a:gd name="connsiteY1398" fmla="*/ 1115934 h 3083905"/>
                          <a:gd name="connsiteX1399" fmla="*/ 1693652 w 6116787"/>
                          <a:gd name="connsiteY1399" fmla="*/ 1099475 h 3083905"/>
                          <a:gd name="connsiteX1400" fmla="*/ 1698041 w 6116787"/>
                          <a:gd name="connsiteY1400" fmla="*/ 1089599 h 3083905"/>
                          <a:gd name="connsiteX1401" fmla="*/ 1698041 w 6116787"/>
                          <a:gd name="connsiteY1401" fmla="*/ 1075883 h 3083905"/>
                          <a:gd name="connsiteX1402" fmla="*/ 1695298 w 6116787"/>
                          <a:gd name="connsiteY1402" fmla="*/ 1070945 h 3083905"/>
                          <a:gd name="connsiteX1403" fmla="*/ 1695298 w 6116787"/>
                          <a:gd name="connsiteY1403" fmla="*/ 1067654 h 3083905"/>
                          <a:gd name="connsiteX1404" fmla="*/ 1693652 w 6116787"/>
                          <a:gd name="connsiteY1404" fmla="*/ 1064362 h 3083905"/>
                          <a:gd name="connsiteX1405" fmla="*/ 1692555 w 6116787"/>
                          <a:gd name="connsiteY1405" fmla="*/ 1057778 h 3083905"/>
                          <a:gd name="connsiteX1406" fmla="*/ 1694200 w 6116787"/>
                          <a:gd name="connsiteY1406" fmla="*/ 1047902 h 3083905"/>
                          <a:gd name="connsiteX1407" fmla="*/ 1693652 w 6116787"/>
                          <a:gd name="connsiteY1407" fmla="*/ 1044062 h 3083905"/>
                          <a:gd name="connsiteX1408" fmla="*/ 1689263 w 6116787"/>
                          <a:gd name="connsiteY1408" fmla="*/ 1039124 h 3083905"/>
                          <a:gd name="connsiteX1409" fmla="*/ 1688165 w 6116787"/>
                          <a:gd name="connsiteY1409" fmla="*/ 1030346 h 3083905"/>
                          <a:gd name="connsiteX1410" fmla="*/ 1690909 w 6116787"/>
                          <a:gd name="connsiteY1410" fmla="*/ 1022116 h 3083905"/>
                          <a:gd name="connsiteX1411" fmla="*/ 1699687 w 6116787"/>
                          <a:gd name="connsiteY1411" fmla="*/ 1014435 h 3083905"/>
                          <a:gd name="connsiteX1412" fmla="*/ 1698590 w 6116787"/>
                          <a:gd name="connsiteY1412" fmla="*/ 987003 h 3083905"/>
                          <a:gd name="connsiteX1413" fmla="*/ 1701333 w 6116787"/>
                          <a:gd name="connsiteY1413" fmla="*/ 976579 h 3083905"/>
                          <a:gd name="connsiteX1414" fmla="*/ 1701333 w 6116787"/>
                          <a:gd name="connsiteY1414" fmla="*/ 962863 h 3083905"/>
                          <a:gd name="connsiteX1415" fmla="*/ 1692006 w 6116787"/>
                          <a:gd name="connsiteY1415" fmla="*/ 940369 h 3083905"/>
                          <a:gd name="connsiteX1416" fmla="*/ 1693652 w 6116787"/>
                          <a:gd name="connsiteY1416" fmla="*/ 924458 h 3083905"/>
                          <a:gd name="connsiteX1417" fmla="*/ 1672804 w 6116787"/>
                          <a:gd name="connsiteY1417" fmla="*/ 904707 h 3083905"/>
                          <a:gd name="connsiteX1418" fmla="*/ 1663477 w 6116787"/>
                          <a:gd name="connsiteY1418" fmla="*/ 887700 h 3083905"/>
                          <a:gd name="connsiteX1419" fmla="*/ 1664025 w 6116787"/>
                          <a:gd name="connsiteY1419" fmla="*/ 878921 h 3083905"/>
                          <a:gd name="connsiteX1420" fmla="*/ 1665123 w 6116787"/>
                          <a:gd name="connsiteY1420" fmla="*/ 876727 h 3083905"/>
                          <a:gd name="connsiteX1421" fmla="*/ 1676095 w 6116787"/>
                          <a:gd name="connsiteY1421" fmla="*/ 870143 h 3083905"/>
                          <a:gd name="connsiteX1422" fmla="*/ 1677193 w 6116787"/>
                          <a:gd name="connsiteY1422" fmla="*/ 863011 h 3083905"/>
                          <a:gd name="connsiteX1423" fmla="*/ 1682679 w 6116787"/>
                          <a:gd name="connsiteY1423" fmla="*/ 856427 h 3083905"/>
                          <a:gd name="connsiteX1424" fmla="*/ 1682131 w 6116787"/>
                          <a:gd name="connsiteY1424" fmla="*/ 844357 h 3083905"/>
                          <a:gd name="connsiteX1425" fmla="*/ 1696944 w 6116787"/>
                          <a:gd name="connsiteY1425" fmla="*/ 803209 h 3083905"/>
                          <a:gd name="connsiteX1426" fmla="*/ 1696395 w 6116787"/>
                          <a:gd name="connsiteY1426" fmla="*/ 747248 h 3083905"/>
                          <a:gd name="connsiteX1427" fmla="*/ 1693652 w 6116787"/>
                          <a:gd name="connsiteY1427" fmla="*/ 742859 h 3083905"/>
                          <a:gd name="connsiteX1428" fmla="*/ 1696395 w 6116787"/>
                          <a:gd name="connsiteY1428" fmla="*/ 739018 h 3083905"/>
                          <a:gd name="connsiteX1429" fmla="*/ 1666220 w 6116787"/>
                          <a:gd name="connsiteY1429" fmla="*/ 725302 h 3083905"/>
                          <a:gd name="connsiteX1430" fmla="*/ 1656344 w 6116787"/>
                          <a:gd name="connsiteY1430" fmla="*/ 716524 h 3083905"/>
                          <a:gd name="connsiteX1431" fmla="*/ 1595445 w 6116787"/>
                          <a:gd name="connsiteY1431" fmla="*/ 719816 h 3083905"/>
                          <a:gd name="connsiteX1432" fmla="*/ 1587764 w 6116787"/>
                          <a:gd name="connsiteY1432" fmla="*/ 715975 h 3083905"/>
                          <a:gd name="connsiteX1433" fmla="*/ 1592702 w 6116787"/>
                          <a:gd name="connsiteY1433" fmla="*/ 709940 h 3083905"/>
                          <a:gd name="connsiteX1434" fmla="*/ 1573500 w 6116787"/>
                          <a:gd name="connsiteY1434" fmla="*/ 712135 h 3083905"/>
                          <a:gd name="connsiteX1435" fmla="*/ 1570208 w 6116787"/>
                          <a:gd name="connsiteY1435" fmla="*/ 718718 h 3083905"/>
                          <a:gd name="connsiteX1436" fmla="*/ 1536741 w 6116787"/>
                          <a:gd name="connsiteY1436" fmla="*/ 853684 h 3083905"/>
                          <a:gd name="connsiteX1437" fmla="*/ 1496690 w 6116787"/>
                          <a:gd name="connsiteY1437" fmla="*/ 905805 h 3083905"/>
                          <a:gd name="connsiteX1438" fmla="*/ 1478036 w 6116787"/>
                          <a:gd name="connsiteY1438" fmla="*/ 915132 h 3083905"/>
                          <a:gd name="connsiteX1439" fmla="*/ 1473647 w 6116787"/>
                          <a:gd name="connsiteY1439" fmla="*/ 940918 h 3083905"/>
                          <a:gd name="connsiteX1440" fmla="*/ 1476939 w 6116787"/>
                          <a:gd name="connsiteY1440" fmla="*/ 942015 h 3083905"/>
                          <a:gd name="connsiteX1441" fmla="*/ 1484620 w 6116787"/>
                          <a:gd name="connsiteY1441" fmla="*/ 929945 h 3083905"/>
                          <a:gd name="connsiteX1442" fmla="*/ 1486266 w 6116787"/>
                          <a:gd name="connsiteY1442" fmla="*/ 931591 h 3083905"/>
                          <a:gd name="connsiteX1443" fmla="*/ 1486266 w 6116787"/>
                          <a:gd name="connsiteY1443" fmla="*/ 942015 h 3083905"/>
                          <a:gd name="connsiteX1444" fmla="*/ 1482974 w 6116787"/>
                          <a:gd name="connsiteY1444" fmla="*/ 948599 h 3083905"/>
                          <a:gd name="connsiteX1445" fmla="*/ 1470904 w 6116787"/>
                          <a:gd name="connsiteY1445" fmla="*/ 957377 h 3083905"/>
                          <a:gd name="connsiteX1446" fmla="*/ 1467612 w 6116787"/>
                          <a:gd name="connsiteY1446" fmla="*/ 969447 h 3083905"/>
                          <a:gd name="connsiteX1447" fmla="*/ 1471453 w 6116787"/>
                          <a:gd name="connsiteY1447" fmla="*/ 977676 h 3083905"/>
                          <a:gd name="connsiteX1448" fmla="*/ 1480780 w 6116787"/>
                          <a:gd name="connsiteY1448" fmla="*/ 974385 h 3083905"/>
                          <a:gd name="connsiteX1449" fmla="*/ 1486266 w 6116787"/>
                          <a:gd name="connsiteY1449" fmla="*/ 968898 h 3083905"/>
                          <a:gd name="connsiteX1450" fmla="*/ 1496141 w 6116787"/>
                          <a:gd name="connsiteY1450" fmla="*/ 969996 h 3083905"/>
                          <a:gd name="connsiteX1451" fmla="*/ 1501079 w 6116787"/>
                          <a:gd name="connsiteY1451" fmla="*/ 980968 h 3083905"/>
                          <a:gd name="connsiteX1452" fmla="*/ 1497239 w 6116787"/>
                          <a:gd name="connsiteY1452" fmla="*/ 989747 h 3083905"/>
                          <a:gd name="connsiteX1453" fmla="*/ 1497239 w 6116787"/>
                          <a:gd name="connsiteY1453" fmla="*/ 1018276 h 3083905"/>
                          <a:gd name="connsiteX1454" fmla="*/ 1491752 w 6116787"/>
                          <a:gd name="connsiteY1454" fmla="*/ 1027054 h 3083905"/>
                          <a:gd name="connsiteX1455" fmla="*/ 1493398 w 6116787"/>
                          <a:gd name="connsiteY1455" fmla="*/ 1041867 h 3083905"/>
                          <a:gd name="connsiteX1456" fmla="*/ 1497787 w 6116787"/>
                          <a:gd name="connsiteY1456" fmla="*/ 1050646 h 3083905"/>
                          <a:gd name="connsiteX1457" fmla="*/ 1492850 w 6116787"/>
                          <a:gd name="connsiteY1457" fmla="*/ 1061070 h 3083905"/>
                          <a:gd name="connsiteX1458" fmla="*/ 1485717 w 6116787"/>
                          <a:gd name="connsiteY1458" fmla="*/ 1061070 h 3083905"/>
                          <a:gd name="connsiteX1459" fmla="*/ 1481877 w 6116787"/>
                          <a:gd name="connsiteY1459" fmla="*/ 1054486 h 3083905"/>
                          <a:gd name="connsiteX1460" fmla="*/ 1480231 w 6116787"/>
                          <a:gd name="connsiteY1460" fmla="*/ 1100023 h 3083905"/>
                          <a:gd name="connsiteX1461" fmla="*/ 1484620 w 6116787"/>
                          <a:gd name="connsiteY1461" fmla="*/ 1109899 h 3083905"/>
                          <a:gd name="connsiteX1462" fmla="*/ 1484620 w 6116787"/>
                          <a:gd name="connsiteY1462" fmla="*/ 1100572 h 3083905"/>
                          <a:gd name="connsiteX1463" fmla="*/ 1494496 w 6116787"/>
                          <a:gd name="connsiteY1463" fmla="*/ 1096183 h 3083905"/>
                          <a:gd name="connsiteX1464" fmla="*/ 1518636 w 6116787"/>
                          <a:gd name="connsiteY1464" fmla="*/ 1114837 h 3083905"/>
                          <a:gd name="connsiteX1465" fmla="*/ 1523573 w 6116787"/>
                          <a:gd name="connsiteY1465" fmla="*/ 1112093 h 3083905"/>
                          <a:gd name="connsiteX1466" fmla="*/ 1527414 w 6116787"/>
                          <a:gd name="connsiteY1466" fmla="*/ 1112642 h 3083905"/>
                          <a:gd name="connsiteX1467" fmla="*/ 1525219 w 6116787"/>
                          <a:gd name="connsiteY1467" fmla="*/ 1127455 h 3083905"/>
                          <a:gd name="connsiteX1468" fmla="*/ 1541679 w 6116787"/>
                          <a:gd name="connsiteY1468" fmla="*/ 1168055 h 3083905"/>
                          <a:gd name="connsiteX1469" fmla="*/ 1552651 w 6116787"/>
                          <a:gd name="connsiteY1469" fmla="*/ 1175736 h 3083905"/>
                          <a:gd name="connsiteX1470" fmla="*/ 1560332 w 6116787"/>
                          <a:gd name="connsiteY1470" fmla="*/ 1173541 h 3083905"/>
                          <a:gd name="connsiteX1471" fmla="*/ 1560881 w 6116787"/>
                          <a:gd name="connsiteY1471" fmla="*/ 1177930 h 3083905"/>
                          <a:gd name="connsiteX1472" fmla="*/ 1564721 w 6116787"/>
                          <a:gd name="connsiteY1472" fmla="*/ 1182319 h 3083905"/>
                          <a:gd name="connsiteX1473" fmla="*/ 1557040 w 6116787"/>
                          <a:gd name="connsiteY1473" fmla="*/ 1193292 h 3083905"/>
                          <a:gd name="connsiteX1474" fmla="*/ 1542776 w 6116787"/>
                          <a:gd name="connsiteY1474" fmla="*/ 1240475 h 3083905"/>
                          <a:gd name="connsiteX1475" fmla="*/ 1532900 w 6116787"/>
                          <a:gd name="connsiteY1475" fmla="*/ 1247607 h 3083905"/>
                          <a:gd name="connsiteX1476" fmla="*/ 1529608 w 6116787"/>
                          <a:gd name="connsiteY1476" fmla="*/ 1242121 h 3083905"/>
                          <a:gd name="connsiteX1477" fmla="*/ 1530157 w 6116787"/>
                          <a:gd name="connsiteY1477" fmla="*/ 1232794 h 3083905"/>
                          <a:gd name="connsiteX1478" fmla="*/ 1523573 w 6116787"/>
                          <a:gd name="connsiteY1478" fmla="*/ 1224016 h 3083905"/>
                          <a:gd name="connsiteX1479" fmla="*/ 1510955 w 6116787"/>
                          <a:gd name="connsiteY1479" fmla="*/ 1216335 h 3083905"/>
                          <a:gd name="connsiteX1480" fmla="*/ 1479682 w 6116787"/>
                          <a:gd name="connsiteY1480" fmla="*/ 1180673 h 3083905"/>
                          <a:gd name="connsiteX1481" fmla="*/ 1468161 w 6116787"/>
                          <a:gd name="connsiteY1481" fmla="*/ 1178479 h 3083905"/>
                          <a:gd name="connsiteX1482" fmla="*/ 1451153 w 6116787"/>
                          <a:gd name="connsiteY1482" fmla="*/ 1165311 h 3083905"/>
                          <a:gd name="connsiteX1483" fmla="*/ 1433048 w 6116787"/>
                          <a:gd name="connsiteY1483" fmla="*/ 1158179 h 3083905"/>
                          <a:gd name="connsiteX1484" fmla="*/ 1433596 w 6116787"/>
                          <a:gd name="connsiteY1484" fmla="*/ 1152144 h 3083905"/>
                          <a:gd name="connsiteX1485" fmla="*/ 1439083 w 6116787"/>
                          <a:gd name="connsiteY1485" fmla="*/ 1152144 h 3083905"/>
                          <a:gd name="connsiteX1486" fmla="*/ 1435791 w 6116787"/>
                          <a:gd name="connsiteY1486" fmla="*/ 1149401 h 3083905"/>
                          <a:gd name="connsiteX1487" fmla="*/ 1423721 w 6116787"/>
                          <a:gd name="connsiteY1487" fmla="*/ 1146658 h 3083905"/>
                          <a:gd name="connsiteX1488" fmla="*/ 1408359 w 6116787"/>
                          <a:gd name="connsiteY1488" fmla="*/ 1135136 h 3083905"/>
                          <a:gd name="connsiteX1489" fmla="*/ 1399032 w 6116787"/>
                          <a:gd name="connsiteY1489" fmla="*/ 1131296 h 3083905"/>
                          <a:gd name="connsiteX1490" fmla="*/ 1377086 w 6116787"/>
                          <a:gd name="connsiteY1490" fmla="*/ 1110447 h 3083905"/>
                          <a:gd name="connsiteX1491" fmla="*/ 1345265 w 6116787"/>
                          <a:gd name="connsiteY1491" fmla="*/ 1097280 h 3083905"/>
                          <a:gd name="connsiteX1492" fmla="*/ 1339779 w 6116787"/>
                          <a:gd name="connsiteY1492" fmla="*/ 1097280 h 3083905"/>
                          <a:gd name="connsiteX1493" fmla="*/ 1326063 w 6116787"/>
                          <a:gd name="connsiteY1493" fmla="*/ 1088502 h 3083905"/>
                          <a:gd name="connsiteX1494" fmla="*/ 1279977 w 6116787"/>
                          <a:gd name="connsiteY1494" fmla="*/ 1086307 h 3083905"/>
                          <a:gd name="connsiteX1495" fmla="*/ 1277234 w 6116787"/>
                          <a:gd name="connsiteY1495" fmla="*/ 1081918 h 3083905"/>
                          <a:gd name="connsiteX1496" fmla="*/ 1265164 w 6116787"/>
                          <a:gd name="connsiteY1496" fmla="*/ 1077529 h 3083905"/>
                          <a:gd name="connsiteX1497" fmla="*/ 1256386 w 6116787"/>
                          <a:gd name="connsiteY1497" fmla="*/ 1077529 h 3083905"/>
                          <a:gd name="connsiteX1498" fmla="*/ 1252545 w 6116787"/>
                          <a:gd name="connsiteY1498" fmla="*/ 1079724 h 3083905"/>
                          <a:gd name="connsiteX1499" fmla="*/ 1251997 w 6116787"/>
                          <a:gd name="connsiteY1499" fmla="*/ 1086856 h 3083905"/>
                          <a:gd name="connsiteX1500" fmla="*/ 1248705 w 6116787"/>
                          <a:gd name="connsiteY1500" fmla="*/ 1092342 h 3083905"/>
                          <a:gd name="connsiteX1501" fmla="*/ 1234989 w 6116787"/>
                          <a:gd name="connsiteY1501" fmla="*/ 1101669 h 3083905"/>
                          <a:gd name="connsiteX1502" fmla="*/ 1234989 w 6116787"/>
                          <a:gd name="connsiteY1502" fmla="*/ 1107704 h 3083905"/>
                          <a:gd name="connsiteX1503" fmla="*/ 1254740 w 6116787"/>
                          <a:gd name="connsiteY1503" fmla="*/ 1157082 h 3083905"/>
                          <a:gd name="connsiteX1504" fmla="*/ 1254740 w 6116787"/>
                          <a:gd name="connsiteY1504" fmla="*/ 1152144 h 3083905"/>
                          <a:gd name="connsiteX1505" fmla="*/ 1258032 w 6116787"/>
                          <a:gd name="connsiteY1505" fmla="*/ 1153241 h 3083905"/>
                          <a:gd name="connsiteX1506" fmla="*/ 1252545 w 6116787"/>
                          <a:gd name="connsiteY1506" fmla="*/ 1180673 h 3083905"/>
                          <a:gd name="connsiteX1507" fmla="*/ 1239378 w 6116787"/>
                          <a:gd name="connsiteY1507" fmla="*/ 1196035 h 3083905"/>
                          <a:gd name="connsiteX1508" fmla="*/ 1217981 w 6116787"/>
                          <a:gd name="connsiteY1508" fmla="*/ 1198230 h 3083905"/>
                          <a:gd name="connsiteX1509" fmla="*/ 1217981 w 6116787"/>
                          <a:gd name="connsiteY1509" fmla="*/ 1208105 h 3083905"/>
                          <a:gd name="connsiteX1510" fmla="*/ 1220724 w 6116787"/>
                          <a:gd name="connsiteY1510" fmla="*/ 1214689 h 3083905"/>
                          <a:gd name="connsiteX1511" fmla="*/ 1221821 w 6116787"/>
                          <a:gd name="connsiteY1511" fmla="*/ 1221273 h 3083905"/>
                          <a:gd name="connsiteX1512" fmla="*/ 1214140 w 6116787"/>
                          <a:gd name="connsiteY1512" fmla="*/ 1231697 h 3083905"/>
                          <a:gd name="connsiteX1513" fmla="*/ 1205911 w 6116787"/>
                          <a:gd name="connsiteY1513" fmla="*/ 1236086 h 3083905"/>
                          <a:gd name="connsiteX1514" fmla="*/ 1196584 w 6116787"/>
                          <a:gd name="connsiteY1514" fmla="*/ 1231697 h 3083905"/>
                          <a:gd name="connsiteX1515" fmla="*/ 1188903 w 6116787"/>
                          <a:gd name="connsiteY1515" fmla="*/ 1224016 h 3083905"/>
                          <a:gd name="connsiteX1516" fmla="*/ 1188903 w 6116787"/>
                          <a:gd name="connsiteY1516" fmla="*/ 1211397 h 3083905"/>
                          <a:gd name="connsiteX1517" fmla="*/ 1191646 w 6116787"/>
                          <a:gd name="connsiteY1517" fmla="*/ 1204265 h 3083905"/>
                          <a:gd name="connsiteX1518" fmla="*/ 1196584 w 6116787"/>
                          <a:gd name="connsiteY1518" fmla="*/ 1198778 h 3083905"/>
                          <a:gd name="connsiteX1519" fmla="*/ 1201522 w 6116787"/>
                          <a:gd name="connsiteY1519" fmla="*/ 1194938 h 3083905"/>
                          <a:gd name="connsiteX1520" fmla="*/ 1186708 w 6116787"/>
                          <a:gd name="connsiteY1520" fmla="*/ 1173541 h 3083905"/>
                          <a:gd name="connsiteX1521" fmla="*/ 1187806 w 6116787"/>
                          <a:gd name="connsiteY1521" fmla="*/ 1167506 h 3083905"/>
                          <a:gd name="connsiteX1522" fmla="*/ 1180673 w 6116787"/>
                          <a:gd name="connsiteY1522" fmla="*/ 1166409 h 3083905"/>
                          <a:gd name="connsiteX1523" fmla="*/ 1153790 w 6116787"/>
                          <a:gd name="connsiteY1523" fmla="*/ 1178479 h 3083905"/>
                          <a:gd name="connsiteX1524" fmla="*/ 1146658 w 6116787"/>
                          <a:gd name="connsiteY1524" fmla="*/ 1188903 h 3083905"/>
                          <a:gd name="connsiteX1525" fmla="*/ 1136782 w 6116787"/>
                          <a:gd name="connsiteY1525" fmla="*/ 1193292 h 3083905"/>
                          <a:gd name="connsiteX1526" fmla="*/ 1123066 w 6116787"/>
                          <a:gd name="connsiteY1526" fmla="*/ 1214689 h 3083905"/>
                          <a:gd name="connsiteX1527" fmla="*/ 1114288 w 6116787"/>
                          <a:gd name="connsiteY1527" fmla="*/ 1215238 h 3083905"/>
                          <a:gd name="connsiteX1528" fmla="*/ 1110448 w 6116787"/>
                          <a:gd name="connsiteY1528" fmla="*/ 1209751 h 3083905"/>
                          <a:gd name="connsiteX1529" fmla="*/ 1100023 w 6116787"/>
                          <a:gd name="connsiteY1529" fmla="*/ 1207008 h 3083905"/>
                          <a:gd name="connsiteX1530" fmla="*/ 1087405 w 6116787"/>
                          <a:gd name="connsiteY1530" fmla="*/ 1210300 h 3083905"/>
                          <a:gd name="connsiteX1531" fmla="*/ 1075883 w 6116787"/>
                          <a:gd name="connsiteY1531" fmla="*/ 1203716 h 3083905"/>
                          <a:gd name="connsiteX1532" fmla="*/ 1059424 w 6116787"/>
                          <a:gd name="connsiteY1532" fmla="*/ 1213592 h 3083905"/>
                          <a:gd name="connsiteX1533" fmla="*/ 1051743 w 6116787"/>
                          <a:gd name="connsiteY1533" fmla="*/ 1213043 h 3083905"/>
                          <a:gd name="connsiteX1534" fmla="*/ 1035284 w 6116787"/>
                          <a:gd name="connsiteY1534" fmla="*/ 1226759 h 3083905"/>
                          <a:gd name="connsiteX1535" fmla="*/ 1032541 w 6116787"/>
                          <a:gd name="connsiteY1535" fmla="*/ 1233343 h 3083905"/>
                          <a:gd name="connsiteX1536" fmla="*/ 1030346 w 6116787"/>
                          <a:gd name="connsiteY1536" fmla="*/ 1253642 h 3083905"/>
                          <a:gd name="connsiteX1537" fmla="*/ 1023762 w 6116787"/>
                          <a:gd name="connsiteY1537" fmla="*/ 1253642 h 3083905"/>
                          <a:gd name="connsiteX1538" fmla="*/ 1018276 w 6116787"/>
                          <a:gd name="connsiteY1538" fmla="*/ 1249253 h 3083905"/>
                          <a:gd name="connsiteX1539" fmla="*/ 1012790 w 6116787"/>
                          <a:gd name="connsiteY1539" fmla="*/ 1241572 h 3083905"/>
                          <a:gd name="connsiteX1540" fmla="*/ 1005109 w 6116787"/>
                          <a:gd name="connsiteY1540" fmla="*/ 1247059 h 3083905"/>
                          <a:gd name="connsiteX1541" fmla="*/ 996879 w 6116787"/>
                          <a:gd name="connsiteY1541" fmla="*/ 1237183 h 3083905"/>
                          <a:gd name="connsiteX1542" fmla="*/ 996879 w 6116787"/>
                          <a:gd name="connsiteY1542" fmla="*/ 1219078 h 3083905"/>
                          <a:gd name="connsiteX1543" fmla="*/ 993038 w 6116787"/>
                          <a:gd name="connsiteY1543" fmla="*/ 1214689 h 3083905"/>
                          <a:gd name="connsiteX1544" fmla="*/ 993038 w 6116787"/>
                          <a:gd name="connsiteY1544" fmla="*/ 1209751 h 3083905"/>
                          <a:gd name="connsiteX1545" fmla="*/ 997976 w 6116787"/>
                          <a:gd name="connsiteY1545" fmla="*/ 1198778 h 3083905"/>
                          <a:gd name="connsiteX1546" fmla="*/ 999074 w 6116787"/>
                          <a:gd name="connsiteY1546" fmla="*/ 1188903 h 3083905"/>
                          <a:gd name="connsiteX1547" fmla="*/ 994684 w 6116787"/>
                          <a:gd name="connsiteY1547" fmla="*/ 1180673 h 3083905"/>
                          <a:gd name="connsiteX1548" fmla="*/ 991393 w 6116787"/>
                          <a:gd name="connsiteY1548" fmla="*/ 1179027 h 3083905"/>
                          <a:gd name="connsiteX1549" fmla="*/ 990844 w 6116787"/>
                          <a:gd name="connsiteY1549" fmla="*/ 1184514 h 3083905"/>
                          <a:gd name="connsiteX1550" fmla="*/ 988101 w 6116787"/>
                          <a:gd name="connsiteY1550" fmla="*/ 1185062 h 3083905"/>
                          <a:gd name="connsiteX1551" fmla="*/ 988649 w 6116787"/>
                          <a:gd name="connsiteY1551" fmla="*/ 1178479 h 3083905"/>
                          <a:gd name="connsiteX1552" fmla="*/ 994136 w 6116787"/>
                          <a:gd name="connsiteY1552" fmla="*/ 1174638 h 3083905"/>
                          <a:gd name="connsiteX1553" fmla="*/ 1011144 w 6116787"/>
                          <a:gd name="connsiteY1553" fmla="*/ 1173541 h 3083905"/>
                          <a:gd name="connsiteX1554" fmla="*/ 1018825 w 6116787"/>
                          <a:gd name="connsiteY1554" fmla="*/ 1169152 h 3083905"/>
                          <a:gd name="connsiteX1555" fmla="*/ 1020470 w 6116787"/>
                          <a:gd name="connsiteY1555" fmla="*/ 1167506 h 3083905"/>
                          <a:gd name="connsiteX1556" fmla="*/ 1004011 w 6116787"/>
                          <a:gd name="connsiteY1556" fmla="*/ 1172444 h 3083905"/>
                          <a:gd name="connsiteX1557" fmla="*/ 999622 w 6116787"/>
                          <a:gd name="connsiteY1557" fmla="*/ 1171346 h 3083905"/>
                          <a:gd name="connsiteX1558" fmla="*/ 989198 w 6116787"/>
                          <a:gd name="connsiteY1558" fmla="*/ 1172444 h 3083905"/>
                          <a:gd name="connsiteX1559" fmla="*/ 974385 w 6116787"/>
                          <a:gd name="connsiteY1559" fmla="*/ 1179576 h 3083905"/>
                          <a:gd name="connsiteX1560" fmla="*/ 975482 w 6116787"/>
                          <a:gd name="connsiteY1560" fmla="*/ 1185062 h 3083905"/>
                          <a:gd name="connsiteX1561" fmla="*/ 969447 w 6116787"/>
                          <a:gd name="connsiteY1561" fmla="*/ 1187257 h 3083905"/>
                          <a:gd name="connsiteX1562" fmla="*/ 967801 w 6116787"/>
                          <a:gd name="connsiteY1562" fmla="*/ 1190000 h 3083905"/>
                          <a:gd name="connsiteX1563" fmla="*/ 970544 w 6116787"/>
                          <a:gd name="connsiteY1563" fmla="*/ 1204265 h 3083905"/>
                          <a:gd name="connsiteX1564" fmla="*/ 962315 w 6116787"/>
                          <a:gd name="connsiteY1564" fmla="*/ 1208105 h 3083905"/>
                          <a:gd name="connsiteX1565" fmla="*/ 956828 w 6116787"/>
                          <a:gd name="connsiteY1565" fmla="*/ 1205362 h 3083905"/>
                          <a:gd name="connsiteX1566" fmla="*/ 954085 w 6116787"/>
                          <a:gd name="connsiteY1566" fmla="*/ 1198778 h 3083905"/>
                          <a:gd name="connsiteX1567" fmla="*/ 957377 w 6116787"/>
                          <a:gd name="connsiteY1567" fmla="*/ 1193292 h 3083905"/>
                          <a:gd name="connsiteX1568" fmla="*/ 952439 w 6116787"/>
                          <a:gd name="connsiteY1568" fmla="*/ 1193292 h 3083905"/>
                          <a:gd name="connsiteX1569" fmla="*/ 937077 w 6116787"/>
                          <a:gd name="connsiteY1569" fmla="*/ 1210300 h 3083905"/>
                          <a:gd name="connsiteX1570" fmla="*/ 943661 w 6116787"/>
                          <a:gd name="connsiteY1570" fmla="*/ 1209203 h 3083905"/>
                          <a:gd name="connsiteX1571" fmla="*/ 945856 w 6116787"/>
                          <a:gd name="connsiteY1571" fmla="*/ 1215238 h 3083905"/>
                          <a:gd name="connsiteX1572" fmla="*/ 944758 w 6116787"/>
                          <a:gd name="connsiteY1572" fmla="*/ 1227856 h 3083905"/>
                          <a:gd name="connsiteX1573" fmla="*/ 939272 w 6116787"/>
                          <a:gd name="connsiteY1573" fmla="*/ 1232794 h 3083905"/>
                          <a:gd name="connsiteX1574" fmla="*/ 935431 w 6116787"/>
                          <a:gd name="connsiteY1574" fmla="*/ 1234440 h 3083905"/>
                          <a:gd name="connsiteX1575" fmla="*/ 926653 w 6116787"/>
                          <a:gd name="connsiteY1575" fmla="*/ 1217432 h 3083905"/>
                          <a:gd name="connsiteX1576" fmla="*/ 908548 w 6116787"/>
                          <a:gd name="connsiteY1576" fmla="*/ 1222370 h 3083905"/>
                          <a:gd name="connsiteX1577" fmla="*/ 910194 w 6116787"/>
                          <a:gd name="connsiteY1577" fmla="*/ 1225113 h 3083905"/>
                          <a:gd name="connsiteX1578" fmla="*/ 884408 w 6116787"/>
                          <a:gd name="connsiteY1578" fmla="*/ 1237183 h 3083905"/>
                          <a:gd name="connsiteX1579" fmla="*/ 882213 w 6116787"/>
                          <a:gd name="connsiteY1579" fmla="*/ 1235537 h 3083905"/>
                          <a:gd name="connsiteX1580" fmla="*/ 808696 w 6116787"/>
                          <a:gd name="connsiteY1580" fmla="*/ 1287658 h 3083905"/>
                          <a:gd name="connsiteX1581" fmla="*/ 802660 w 6116787"/>
                          <a:gd name="connsiteY1581" fmla="*/ 1287110 h 3083905"/>
                          <a:gd name="connsiteX1582" fmla="*/ 802112 w 6116787"/>
                          <a:gd name="connsiteY1582" fmla="*/ 1298082 h 3083905"/>
                          <a:gd name="connsiteX1583" fmla="*/ 804855 w 6116787"/>
                          <a:gd name="connsiteY1583" fmla="*/ 1299728 h 3083905"/>
                          <a:gd name="connsiteX1584" fmla="*/ 798271 w 6116787"/>
                          <a:gd name="connsiteY1584" fmla="*/ 1304666 h 3083905"/>
                          <a:gd name="connsiteX1585" fmla="*/ 784007 w 6116787"/>
                          <a:gd name="connsiteY1585" fmla="*/ 1306861 h 3083905"/>
                          <a:gd name="connsiteX1586" fmla="*/ 777423 w 6116787"/>
                          <a:gd name="connsiteY1586" fmla="*/ 1312347 h 3083905"/>
                          <a:gd name="connsiteX1587" fmla="*/ 773034 w 6116787"/>
                          <a:gd name="connsiteY1587" fmla="*/ 1310152 h 3083905"/>
                          <a:gd name="connsiteX1588" fmla="*/ 760415 w 6116787"/>
                          <a:gd name="connsiteY1588" fmla="*/ 1349106 h 3083905"/>
                          <a:gd name="connsiteX1589" fmla="*/ 762061 w 6116787"/>
                          <a:gd name="connsiteY1589" fmla="*/ 1366114 h 3083905"/>
                          <a:gd name="connsiteX1590" fmla="*/ 757123 w 6116787"/>
                          <a:gd name="connsiteY1590" fmla="*/ 1374892 h 3083905"/>
                          <a:gd name="connsiteX1591" fmla="*/ 746150 w 6116787"/>
                          <a:gd name="connsiteY1591" fmla="*/ 1380927 h 3083905"/>
                          <a:gd name="connsiteX1592" fmla="*/ 738470 w 6116787"/>
                          <a:gd name="connsiteY1592" fmla="*/ 1379830 h 3083905"/>
                          <a:gd name="connsiteX1593" fmla="*/ 724754 w 6116787"/>
                          <a:gd name="connsiteY1593" fmla="*/ 1385865 h 3083905"/>
                          <a:gd name="connsiteX1594" fmla="*/ 721462 w 6116787"/>
                          <a:gd name="connsiteY1594" fmla="*/ 1400129 h 3083905"/>
                          <a:gd name="connsiteX1595" fmla="*/ 716524 w 6116787"/>
                          <a:gd name="connsiteY1595" fmla="*/ 1379830 h 3083905"/>
                          <a:gd name="connsiteX1596" fmla="*/ 707746 w 6116787"/>
                          <a:gd name="connsiteY1596" fmla="*/ 1385316 h 3083905"/>
                          <a:gd name="connsiteX1597" fmla="*/ 701162 w 6116787"/>
                          <a:gd name="connsiteY1597" fmla="*/ 1385316 h 3083905"/>
                          <a:gd name="connsiteX1598" fmla="*/ 695676 w 6116787"/>
                          <a:gd name="connsiteY1598" fmla="*/ 1380927 h 3083905"/>
                          <a:gd name="connsiteX1599" fmla="*/ 684703 w 6116787"/>
                          <a:gd name="connsiteY1599" fmla="*/ 1358981 h 3083905"/>
                          <a:gd name="connsiteX1600" fmla="*/ 662757 w 6116787"/>
                          <a:gd name="connsiteY1600" fmla="*/ 1335938 h 3083905"/>
                          <a:gd name="connsiteX1601" fmla="*/ 659465 w 6116787"/>
                          <a:gd name="connsiteY1601" fmla="*/ 1326063 h 3083905"/>
                          <a:gd name="connsiteX1602" fmla="*/ 658917 w 6116787"/>
                          <a:gd name="connsiteY1602" fmla="*/ 1315090 h 3083905"/>
                          <a:gd name="connsiteX1603" fmla="*/ 666598 w 6116787"/>
                          <a:gd name="connsiteY1603" fmla="*/ 1314542 h 3083905"/>
                          <a:gd name="connsiteX1604" fmla="*/ 671536 w 6116787"/>
                          <a:gd name="connsiteY1604" fmla="*/ 1307958 h 3083905"/>
                          <a:gd name="connsiteX1605" fmla="*/ 674279 w 6116787"/>
                          <a:gd name="connsiteY1605" fmla="*/ 1298631 h 3083905"/>
                          <a:gd name="connsiteX1606" fmla="*/ 722010 w 6116787"/>
                          <a:gd name="connsiteY1606" fmla="*/ 1287110 h 3083905"/>
                          <a:gd name="connsiteX1607" fmla="*/ 716524 w 6116787"/>
                          <a:gd name="connsiteY1607" fmla="*/ 1276137 h 3083905"/>
                          <a:gd name="connsiteX1608" fmla="*/ 712684 w 6116787"/>
                          <a:gd name="connsiteY1608" fmla="*/ 1250899 h 3083905"/>
                          <a:gd name="connsiteX1609" fmla="*/ 705551 w 6116787"/>
                          <a:gd name="connsiteY1609" fmla="*/ 1254740 h 3083905"/>
                          <a:gd name="connsiteX1610" fmla="*/ 699516 w 6116787"/>
                          <a:gd name="connsiteY1610" fmla="*/ 1241572 h 3083905"/>
                          <a:gd name="connsiteX1611" fmla="*/ 695127 w 6116787"/>
                          <a:gd name="connsiteY1611" fmla="*/ 1238281 h 3083905"/>
                          <a:gd name="connsiteX1612" fmla="*/ 694578 w 6116787"/>
                          <a:gd name="connsiteY1612" fmla="*/ 1227308 h 3083905"/>
                          <a:gd name="connsiteX1613" fmla="*/ 687446 w 6116787"/>
                          <a:gd name="connsiteY1613" fmla="*/ 1221273 h 3083905"/>
                          <a:gd name="connsiteX1614" fmla="*/ 669890 w 6116787"/>
                          <a:gd name="connsiteY1614" fmla="*/ 1215786 h 3083905"/>
                          <a:gd name="connsiteX1615" fmla="*/ 636971 w 6116787"/>
                          <a:gd name="connsiteY1615" fmla="*/ 1214689 h 3083905"/>
                          <a:gd name="connsiteX1616" fmla="*/ 629290 w 6116787"/>
                          <a:gd name="connsiteY1616" fmla="*/ 1217432 h 3083905"/>
                          <a:gd name="connsiteX1617" fmla="*/ 594177 w 6116787"/>
                          <a:gd name="connsiteY1617" fmla="*/ 1200973 h 3083905"/>
                          <a:gd name="connsiteX1618" fmla="*/ 595823 w 6116787"/>
                          <a:gd name="connsiteY1618" fmla="*/ 1207557 h 3083905"/>
                          <a:gd name="connsiteX1619" fmla="*/ 628193 w 6116787"/>
                          <a:gd name="connsiteY1619" fmla="*/ 1236086 h 3083905"/>
                          <a:gd name="connsiteX1620" fmla="*/ 629290 w 6116787"/>
                          <a:gd name="connsiteY1620" fmla="*/ 1269004 h 3083905"/>
                          <a:gd name="connsiteX1621" fmla="*/ 625998 w 6116787"/>
                          <a:gd name="connsiteY1621" fmla="*/ 1282720 h 3083905"/>
                          <a:gd name="connsiteX1622" fmla="*/ 627096 w 6116787"/>
                          <a:gd name="connsiteY1622" fmla="*/ 1294242 h 3083905"/>
                          <a:gd name="connsiteX1623" fmla="*/ 616672 w 6116787"/>
                          <a:gd name="connsiteY1623" fmla="*/ 1337584 h 3083905"/>
                          <a:gd name="connsiteX1624" fmla="*/ 617769 w 6116787"/>
                          <a:gd name="connsiteY1624" fmla="*/ 1349106 h 3083905"/>
                          <a:gd name="connsiteX1625" fmla="*/ 621061 w 6116787"/>
                          <a:gd name="connsiteY1625" fmla="*/ 1351849 h 3083905"/>
                          <a:gd name="connsiteX1626" fmla="*/ 629839 w 6116787"/>
                          <a:gd name="connsiteY1626" fmla="*/ 1351849 h 3083905"/>
                          <a:gd name="connsiteX1627" fmla="*/ 635874 w 6116787"/>
                          <a:gd name="connsiteY1627" fmla="*/ 1357335 h 3083905"/>
                          <a:gd name="connsiteX1628" fmla="*/ 642458 w 6116787"/>
                          <a:gd name="connsiteY1628" fmla="*/ 1370503 h 3083905"/>
                          <a:gd name="connsiteX1629" fmla="*/ 641909 w 6116787"/>
                          <a:gd name="connsiteY1629" fmla="*/ 1378732 h 3083905"/>
                          <a:gd name="connsiteX1630" fmla="*/ 638617 w 6116787"/>
                          <a:gd name="connsiteY1630" fmla="*/ 1387511 h 3083905"/>
                          <a:gd name="connsiteX1631" fmla="*/ 640812 w 6116787"/>
                          <a:gd name="connsiteY1631" fmla="*/ 1395192 h 3083905"/>
                          <a:gd name="connsiteX1632" fmla="*/ 638068 w 6116787"/>
                          <a:gd name="connsiteY1632" fmla="*/ 1407810 h 3083905"/>
                          <a:gd name="connsiteX1633" fmla="*/ 631485 w 6116787"/>
                          <a:gd name="connsiteY1633" fmla="*/ 1418783 h 3083905"/>
                          <a:gd name="connsiteX1634" fmla="*/ 627096 w 6116787"/>
                          <a:gd name="connsiteY1634" fmla="*/ 1435242 h 3083905"/>
                          <a:gd name="connsiteX1635" fmla="*/ 630936 w 6116787"/>
                          <a:gd name="connsiteY1635" fmla="*/ 1447312 h 3083905"/>
                          <a:gd name="connsiteX1636" fmla="*/ 628742 w 6116787"/>
                          <a:gd name="connsiteY1636" fmla="*/ 1472001 h 3083905"/>
                          <a:gd name="connsiteX1637" fmla="*/ 622158 w 6116787"/>
                          <a:gd name="connsiteY1637" fmla="*/ 1461577 h 3083905"/>
                          <a:gd name="connsiteX1638" fmla="*/ 619963 w 6116787"/>
                          <a:gd name="connsiteY1638" fmla="*/ 1453896 h 3083905"/>
                          <a:gd name="connsiteX1639" fmla="*/ 615026 w 6116787"/>
                          <a:gd name="connsiteY1639" fmla="*/ 1447312 h 3083905"/>
                          <a:gd name="connsiteX1640" fmla="*/ 609539 w 6116787"/>
                          <a:gd name="connsiteY1640" fmla="*/ 1447861 h 3083905"/>
                          <a:gd name="connsiteX1641" fmla="*/ 600761 w 6116787"/>
                          <a:gd name="connsiteY1641" fmla="*/ 1456091 h 3083905"/>
                          <a:gd name="connsiteX1642" fmla="*/ 605699 w 6116787"/>
                          <a:gd name="connsiteY1642" fmla="*/ 1445666 h 3083905"/>
                          <a:gd name="connsiteX1643" fmla="*/ 606247 w 6116787"/>
                          <a:gd name="connsiteY1643" fmla="*/ 1437437 h 3083905"/>
                          <a:gd name="connsiteX1644" fmla="*/ 589240 w 6116787"/>
                          <a:gd name="connsiteY1644" fmla="*/ 1424818 h 3083905"/>
                          <a:gd name="connsiteX1645" fmla="*/ 572780 w 6116787"/>
                          <a:gd name="connsiteY1645" fmla="*/ 1424818 h 3083905"/>
                          <a:gd name="connsiteX1646" fmla="*/ 559064 w 6116787"/>
                          <a:gd name="connsiteY1646" fmla="*/ 1412199 h 3083905"/>
                          <a:gd name="connsiteX1647" fmla="*/ 553029 w 6116787"/>
                          <a:gd name="connsiteY1647" fmla="*/ 1418783 h 3083905"/>
                          <a:gd name="connsiteX1648" fmla="*/ 550286 w 6116787"/>
                          <a:gd name="connsiteY1648" fmla="*/ 1425915 h 3083905"/>
                          <a:gd name="connsiteX1649" fmla="*/ 526146 w 6116787"/>
                          <a:gd name="connsiteY1649" fmla="*/ 1455542 h 3083905"/>
                          <a:gd name="connsiteX1650" fmla="*/ 509687 w 6116787"/>
                          <a:gd name="connsiteY1650" fmla="*/ 1462674 h 3083905"/>
                          <a:gd name="connsiteX1651" fmla="*/ 503652 w 6116787"/>
                          <a:gd name="connsiteY1651" fmla="*/ 1462674 h 3083905"/>
                          <a:gd name="connsiteX1652" fmla="*/ 494873 w 6116787"/>
                          <a:gd name="connsiteY1652" fmla="*/ 1468709 h 3083905"/>
                          <a:gd name="connsiteX1653" fmla="*/ 490484 w 6116787"/>
                          <a:gd name="connsiteY1653" fmla="*/ 1478585 h 3083905"/>
                          <a:gd name="connsiteX1654" fmla="*/ 474574 w 6116787"/>
                          <a:gd name="connsiteY1654" fmla="*/ 1492850 h 3083905"/>
                          <a:gd name="connsiteX1655" fmla="*/ 465796 w 6116787"/>
                          <a:gd name="connsiteY1655" fmla="*/ 1495593 h 3083905"/>
                          <a:gd name="connsiteX1656" fmla="*/ 467990 w 6116787"/>
                          <a:gd name="connsiteY1656" fmla="*/ 1522476 h 3083905"/>
                          <a:gd name="connsiteX1657" fmla="*/ 505298 w 6116787"/>
                          <a:gd name="connsiteY1657" fmla="*/ 1594897 h 3083905"/>
                          <a:gd name="connsiteX1658" fmla="*/ 505298 w 6116787"/>
                          <a:gd name="connsiteY1658" fmla="*/ 1599286 h 3083905"/>
                          <a:gd name="connsiteX1659" fmla="*/ 493228 w 6116787"/>
                          <a:gd name="connsiteY1659" fmla="*/ 1591056 h 3083905"/>
                          <a:gd name="connsiteX1660" fmla="*/ 489387 w 6116787"/>
                          <a:gd name="connsiteY1660" fmla="*/ 1592702 h 3083905"/>
                          <a:gd name="connsiteX1661" fmla="*/ 469636 w 6116787"/>
                          <a:gd name="connsiteY1661" fmla="*/ 1585570 h 3083905"/>
                          <a:gd name="connsiteX1662" fmla="*/ 470185 w 6116787"/>
                          <a:gd name="connsiteY1662" fmla="*/ 1589410 h 3083905"/>
                          <a:gd name="connsiteX1663" fmla="*/ 468539 w 6116787"/>
                          <a:gd name="connsiteY1663" fmla="*/ 1591605 h 3083905"/>
                          <a:gd name="connsiteX1664" fmla="*/ 446593 w 6116787"/>
                          <a:gd name="connsiteY1664" fmla="*/ 1584472 h 3083905"/>
                          <a:gd name="connsiteX1665" fmla="*/ 433974 w 6116787"/>
                          <a:gd name="connsiteY1665" fmla="*/ 1574597 h 3083905"/>
                          <a:gd name="connsiteX1666" fmla="*/ 424099 w 6116787"/>
                          <a:gd name="connsiteY1666" fmla="*/ 1572951 h 3083905"/>
                          <a:gd name="connsiteX1667" fmla="*/ 417515 w 6116787"/>
                          <a:gd name="connsiteY1667" fmla="*/ 1569110 h 3083905"/>
                          <a:gd name="connsiteX1668" fmla="*/ 407091 w 6116787"/>
                          <a:gd name="connsiteY1668" fmla="*/ 1577889 h 3083905"/>
                          <a:gd name="connsiteX1669" fmla="*/ 402153 w 6116787"/>
                          <a:gd name="connsiteY1669" fmla="*/ 1586667 h 3083905"/>
                          <a:gd name="connsiteX1670" fmla="*/ 399410 w 6116787"/>
                          <a:gd name="connsiteY1670" fmla="*/ 1572951 h 3083905"/>
                          <a:gd name="connsiteX1671" fmla="*/ 410383 w 6116787"/>
                          <a:gd name="connsiteY1671" fmla="*/ 1566916 h 3083905"/>
                          <a:gd name="connsiteX1672" fmla="*/ 390632 w 6116787"/>
                          <a:gd name="connsiteY1672" fmla="*/ 1560881 h 3083905"/>
                          <a:gd name="connsiteX1673" fmla="*/ 387889 w 6116787"/>
                          <a:gd name="connsiteY1673" fmla="*/ 1552103 h 3083905"/>
                          <a:gd name="connsiteX1674" fmla="*/ 363748 w 6116787"/>
                          <a:gd name="connsiteY1674" fmla="*/ 1537838 h 3083905"/>
                          <a:gd name="connsiteX1675" fmla="*/ 356616 w 6116787"/>
                          <a:gd name="connsiteY1675" fmla="*/ 1536192 h 3083905"/>
                          <a:gd name="connsiteX1676" fmla="*/ 354421 w 6116787"/>
                          <a:gd name="connsiteY1676" fmla="*/ 1550457 h 3083905"/>
                          <a:gd name="connsiteX1677" fmla="*/ 348386 w 6116787"/>
                          <a:gd name="connsiteY1677" fmla="*/ 1558138 h 3083905"/>
                          <a:gd name="connsiteX1678" fmla="*/ 341803 w 6116787"/>
                          <a:gd name="connsiteY1678" fmla="*/ 1560881 h 3083905"/>
                          <a:gd name="connsiteX1679" fmla="*/ 347838 w 6116787"/>
                          <a:gd name="connsiteY1679" fmla="*/ 1577889 h 3083905"/>
                          <a:gd name="connsiteX1680" fmla="*/ 353324 w 6116787"/>
                          <a:gd name="connsiteY1680" fmla="*/ 1581181 h 3083905"/>
                          <a:gd name="connsiteX1681" fmla="*/ 361005 w 6116787"/>
                          <a:gd name="connsiteY1681" fmla="*/ 1597091 h 3083905"/>
                          <a:gd name="connsiteX1682" fmla="*/ 371978 w 6116787"/>
                          <a:gd name="connsiteY1682" fmla="*/ 1608613 h 3083905"/>
                          <a:gd name="connsiteX1683" fmla="*/ 392826 w 6116787"/>
                          <a:gd name="connsiteY1683" fmla="*/ 1599834 h 3083905"/>
                          <a:gd name="connsiteX1684" fmla="*/ 402153 w 6116787"/>
                          <a:gd name="connsiteY1684" fmla="*/ 1643177 h 3083905"/>
                          <a:gd name="connsiteX1685" fmla="*/ 405994 w 6116787"/>
                          <a:gd name="connsiteY1685" fmla="*/ 1648115 h 3083905"/>
                          <a:gd name="connsiteX1686" fmla="*/ 393375 w 6116787"/>
                          <a:gd name="connsiteY1686" fmla="*/ 1643177 h 3083905"/>
                          <a:gd name="connsiteX1687" fmla="*/ 383500 w 6116787"/>
                          <a:gd name="connsiteY1687" fmla="*/ 1650309 h 3083905"/>
                          <a:gd name="connsiteX1688" fmla="*/ 381305 w 6116787"/>
                          <a:gd name="connsiteY1688" fmla="*/ 1655247 h 3083905"/>
                          <a:gd name="connsiteX1689" fmla="*/ 381305 w 6116787"/>
                          <a:gd name="connsiteY1689" fmla="*/ 1657990 h 3083905"/>
                          <a:gd name="connsiteX1690" fmla="*/ 331927 w 6116787"/>
                          <a:gd name="connsiteY1690" fmla="*/ 1636593 h 3083905"/>
                          <a:gd name="connsiteX1691" fmla="*/ 325344 w 6116787"/>
                          <a:gd name="connsiteY1691" fmla="*/ 1623974 h 3083905"/>
                          <a:gd name="connsiteX1692" fmla="*/ 319309 w 6116787"/>
                          <a:gd name="connsiteY1692" fmla="*/ 1619037 h 3083905"/>
                          <a:gd name="connsiteX1693" fmla="*/ 314371 w 6116787"/>
                          <a:gd name="connsiteY1693" fmla="*/ 1611904 h 3083905"/>
                          <a:gd name="connsiteX1694" fmla="*/ 307787 w 6116787"/>
                          <a:gd name="connsiteY1694" fmla="*/ 1608613 h 3083905"/>
                          <a:gd name="connsiteX1695" fmla="*/ 303947 w 6116787"/>
                          <a:gd name="connsiteY1695" fmla="*/ 1612453 h 3083905"/>
                          <a:gd name="connsiteX1696" fmla="*/ 296814 w 6116787"/>
                          <a:gd name="connsiteY1696" fmla="*/ 1613002 h 3083905"/>
                          <a:gd name="connsiteX1697" fmla="*/ 284744 w 6116787"/>
                          <a:gd name="connsiteY1697" fmla="*/ 1603675 h 3083905"/>
                          <a:gd name="connsiteX1698" fmla="*/ 280355 w 6116787"/>
                          <a:gd name="connsiteY1698" fmla="*/ 1594897 h 3083905"/>
                          <a:gd name="connsiteX1699" fmla="*/ 271577 w 6116787"/>
                          <a:gd name="connsiteY1699" fmla="*/ 1600383 h 3083905"/>
                          <a:gd name="connsiteX1700" fmla="*/ 273223 w 6116787"/>
                          <a:gd name="connsiteY1700" fmla="*/ 1594348 h 3083905"/>
                          <a:gd name="connsiteX1701" fmla="*/ 279806 w 6116787"/>
                          <a:gd name="connsiteY1701" fmla="*/ 1587764 h 3083905"/>
                          <a:gd name="connsiteX1702" fmla="*/ 279258 w 6116787"/>
                          <a:gd name="connsiteY1702" fmla="*/ 1562527 h 3083905"/>
                          <a:gd name="connsiteX1703" fmla="*/ 272125 w 6116787"/>
                          <a:gd name="connsiteY1703" fmla="*/ 1556492 h 3083905"/>
                          <a:gd name="connsiteX1704" fmla="*/ 272674 w 6116787"/>
                          <a:gd name="connsiteY1704" fmla="*/ 1546068 h 3083905"/>
                          <a:gd name="connsiteX1705" fmla="*/ 260056 w 6116787"/>
                          <a:gd name="connsiteY1705" fmla="*/ 1521379 h 3083905"/>
                          <a:gd name="connsiteX1706" fmla="*/ 263347 w 6116787"/>
                          <a:gd name="connsiteY1706" fmla="*/ 1515892 h 3083905"/>
                          <a:gd name="connsiteX1707" fmla="*/ 272674 w 6116787"/>
                          <a:gd name="connsiteY1707" fmla="*/ 1513149 h 3083905"/>
                          <a:gd name="connsiteX1708" fmla="*/ 276515 w 6116787"/>
                          <a:gd name="connsiteY1708" fmla="*/ 1479682 h 3083905"/>
                          <a:gd name="connsiteX1709" fmla="*/ 275417 w 6116787"/>
                          <a:gd name="connsiteY1709" fmla="*/ 1472550 h 3083905"/>
                          <a:gd name="connsiteX1710" fmla="*/ 270480 w 6116787"/>
                          <a:gd name="connsiteY1710" fmla="*/ 1467063 h 3083905"/>
                          <a:gd name="connsiteX1711" fmla="*/ 265542 w 6116787"/>
                          <a:gd name="connsiteY1711" fmla="*/ 1452799 h 3083905"/>
                          <a:gd name="connsiteX1712" fmla="*/ 262250 w 6116787"/>
                          <a:gd name="connsiteY1712" fmla="*/ 1449507 h 3083905"/>
                          <a:gd name="connsiteX1713" fmla="*/ 251826 w 6116787"/>
                          <a:gd name="connsiteY1713" fmla="*/ 1447861 h 3083905"/>
                          <a:gd name="connsiteX1714" fmla="*/ 248534 w 6116787"/>
                          <a:gd name="connsiteY1714" fmla="*/ 1438534 h 3083905"/>
                          <a:gd name="connsiteX1715" fmla="*/ 241402 w 6116787"/>
                          <a:gd name="connsiteY1715" fmla="*/ 1437986 h 3083905"/>
                          <a:gd name="connsiteX1716" fmla="*/ 229880 w 6116787"/>
                          <a:gd name="connsiteY1716" fmla="*/ 1433596 h 3083905"/>
                          <a:gd name="connsiteX1717" fmla="*/ 230977 w 6116787"/>
                          <a:gd name="connsiteY1717" fmla="*/ 1422624 h 3083905"/>
                          <a:gd name="connsiteX1718" fmla="*/ 229332 w 6116787"/>
                          <a:gd name="connsiteY1718" fmla="*/ 1419332 h 3083905"/>
                          <a:gd name="connsiteX1719" fmla="*/ 217810 w 6116787"/>
                          <a:gd name="connsiteY1719" fmla="*/ 1418234 h 3083905"/>
                          <a:gd name="connsiteX1720" fmla="*/ 195316 w 6116787"/>
                          <a:gd name="connsiteY1720" fmla="*/ 1397386 h 3083905"/>
                          <a:gd name="connsiteX1721" fmla="*/ 199156 w 6116787"/>
                          <a:gd name="connsiteY1721" fmla="*/ 1393546 h 3083905"/>
                          <a:gd name="connsiteX1722" fmla="*/ 189281 w 6116787"/>
                          <a:gd name="connsiteY1722" fmla="*/ 1383122 h 3083905"/>
                          <a:gd name="connsiteX1723" fmla="*/ 185989 w 6116787"/>
                          <a:gd name="connsiteY1723" fmla="*/ 1372697 h 3083905"/>
                          <a:gd name="connsiteX1724" fmla="*/ 181051 w 6116787"/>
                          <a:gd name="connsiteY1724" fmla="*/ 1364468 h 3083905"/>
                          <a:gd name="connsiteX1725" fmla="*/ 170627 w 6116787"/>
                          <a:gd name="connsiteY1725" fmla="*/ 1361176 h 3083905"/>
                          <a:gd name="connsiteX1726" fmla="*/ 175016 w 6116787"/>
                          <a:gd name="connsiteY1726" fmla="*/ 1355141 h 3083905"/>
                          <a:gd name="connsiteX1727" fmla="*/ 189281 w 6116787"/>
                          <a:gd name="connsiteY1727" fmla="*/ 1352946 h 3083905"/>
                          <a:gd name="connsiteX1728" fmla="*/ 201900 w 6116787"/>
                          <a:gd name="connsiteY1728" fmla="*/ 1361176 h 3083905"/>
                          <a:gd name="connsiteX1729" fmla="*/ 202997 w 6116787"/>
                          <a:gd name="connsiteY1729" fmla="*/ 1368857 h 3083905"/>
                          <a:gd name="connsiteX1730" fmla="*/ 210129 w 6116787"/>
                          <a:gd name="connsiteY1730" fmla="*/ 1378732 h 3083905"/>
                          <a:gd name="connsiteX1731" fmla="*/ 229332 w 6116787"/>
                          <a:gd name="connsiteY1731" fmla="*/ 1391900 h 3083905"/>
                          <a:gd name="connsiteX1732" fmla="*/ 231526 w 6116787"/>
                          <a:gd name="connsiteY1732" fmla="*/ 1389705 h 3083905"/>
                          <a:gd name="connsiteX1733" fmla="*/ 234269 w 6116787"/>
                          <a:gd name="connsiteY1733" fmla="*/ 1383670 h 3083905"/>
                          <a:gd name="connsiteX1734" fmla="*/ 239756 w 6116787"/>
                          <a:gd name="connsiteY1734" fmla="*/ 1393546 h 3083905"/>
                          <a:gd name="connsiteX1735" fmla="*/ 245791 w 6116787"/>
                          <a:gd name="connsiteY1735" fmla="*/ 1398483 h 3083905"/>
                          <a:gd name="connsiteX1736" fmla="*/ 250180 w 6116787"/>
                          <a:gd name="connsiteY1736" fmla="*/ 1394094 h 3083905"/>
                          <a:gd name="connsiteX1737" fmla="*/ 253472 w 6116787"/>
                          <a:gd name="connsiteY1737" fmla="*/ 1396289 h 3083905"/>
                          <a:gd name="connsiteX1738" fmla="*/ 256764 w 6116787"/>
                          <a:gd name="connsiteY1738" fmla="*/ 1391900 h 3083905"/>
                          <a:gd name="connsiteX1739" fmla="*/ 260604 w 6116787"/>
                          <a:gd name="connsiteY1739" fmla="*/ 1392997 h 3083905"/>
                          <a:gd name="connsiteX1740" fmla="*/ 264993 w 6116787"/>
                          <a:gd name="connsiteY1740" fmla="*/ 1410005 h 3083905"/>
                          <a:gd name="connsiteX1741" fmla="*/ 275417 w 6116787"/>
                          <a:gd name="connsiteY1741" fmla="*/ 1406164 h 3083905"/>
                          <a:gd name="connsiteX1742" fmla="*/ 288036 w 6116787"/>
                          <a:gd name="connsiteY1742" fmla="*/ 1410005 h 3083905"/>
                          <a:gd name="connsiteX1743" fmla="*/ 291877 w 6116787"/>
                          <a:gd name="connsiteY1743" fmla="*/ 1416589 h 3083905"/>
                          <a:gd name="connsiteX1744" fmla="*/ 300655 w 6116787"/>
                          <a:gd name="connsiteY1744" fmla="*/ 1416589 h 3083905"/>
                          <a:gd name="connsiteX1745" fmla="*/ 306141 w 6116787"/>
                          <a:gd name="connsiteY1745" fmla="*/ 1422624 h 3083905"/>
                          <a:gd name="connsiteX1746" fmla="*/ 338511 w 6116787"/>
                          <a:gd name="connsiteY1746" fmla="*/ 1434145 h 3083905"/>
                          <a:gd name="connsiteX1747" fmla="*/ 357713 w 6116787"/>
                          <a:gd name="connsiteY1747" fmla="*/ 1435242 h 3083905"/>
                          <a:gd name="connsiteX1748" fmla="*/ 375270 w 6116787"/>
                          <a:gd name="connsiteY1748" fmla="*/ 1442375 h 3083905"/>
                          <a:gd name="connsiteX1749" fmla="*/ 381305 w 6116787"/>
                          <a:gd name="connsiteY1749" fmla="*/ 1448958 h 3083905"/>
                          <a:gd name="connsiteX1750" fmla="*/ 427391 w 6116787"/>
                          <a:gd name="connsiteY1750" fmla="*/ 1453896 h 3083905"/>
                          <a:gd name="connsiteX1751" fmla="*/ 436169 w 6116787"/>
                          <a:gd name="connsiteY1751" fmla="*/ 1449507 h 3083905"/>
                          <a:gd name="connsiteX1752" fmla="*/ 444947 w 6116787"/>
                          <a:gd name="connsiteY1752" fmla="*/ 1448410 h 3083905"/>
                          <a:gd name="connsiteX1753" fmla="*/ 474574 w 6116787"/>
                          <a:gd name="connsiteY1753" fmla="*/ 1435242 h 3083905"/>
                          <a:gd name="connsiteX1754" fmla="*/ 515173 w 6116787"/>
                          <a:gd name="connsiteY1754" fmla="*/ 1385316 h 3083905"/>
                          <a:gd name="connsiteX1755" fmla="*/ 523403 w 6116787"/>
                          <a:gd name="connsiteY1755" fmla="*/ 1352398 h 3083905"/>
                          <a:gd name="connsiteX1756" fmla="*/ 516819 w 6116787"/>
                          <a:gd name="connsiteY1756" fmla="*/ 1349106 h 3083905"/>
                          <a:gd name="connsiteX1757" fmla="*/ 515173 w 6116787"/>
                          <a:gd name="connsiteY1757" fmla="*/ 1346363 h 3083905"/>
                          <a:gd name="connsiteX1758" fmla="*/ 510235 w 6116787"/>
                          <a:gd name="connsiteY1758" fmla="*/ 1305763 h 3083905"/>
                          <a:gd name="connsiteX1759" fmla="*/ 503652 w 6116787"/>
                          <a:gd name="connsiteY1759" fmla="*/ 1296436 h 3083905"/>
                          <a:gd name="connsiteX1760" fmla="*/ 495422 w 6116787"/>
                          <a:gd name="connsiteY1760" fmla="*/ 1291499 h 3083905"/>
                          <a:gd name="connsiteX1761" fmla="*/ 491582 w 6116787"/>
                          <a:gd name="connsiteY1761" fmla="*/ 1294242 h 3083905"/>
                          <a:gd name="connsiteX1762" fmla="*/ 486095 w 6116787"/>
                          <a:gd name="connsiteY1762" fmla="*/ 1288755 h 3083905"/>
                          <a:gd name="connsiteX1763" fmla="*/ 486095 w 6116787"/>
                          <a:gd name="connsiteY1763" fmla="*/ 1282720 h 3083905"/>
                          <a:gd name="connsiteX1764" fmla="*/ 474574 w 6116787"/>
                          <a:gd name="connsiteY1764" fmla="*/ 1269553 h 3083905"/>
                          <a:gd name="connsiteX1765" fmla="*/ 471830 w 6116787"/>
                          <a:gd name="connsiteY1765" fmla="*/ 1263518 h 3083905"/>
                          <a:gd name="connsiteX1766" fmla="*/ 463052 w 6116787"/>
                          <a:gd name="connsiteY1766" fmla="*/ 1256386 h 3083905"/>
                          <a:gd name="connsiteX1767" fmla="*/ 465796 w 6116787"/>
                          <a:gd name="connsiteY1767" fmla="*/ 1265713 h 3083905"/>
                          <a:gd name="connsiteX1768" fmla="*/ 460858 w 6116787"/>
                          <a:gd name="connsiteY1768" fmla="*/ 1267907 h 3083905"/>
                          <a:gd name="connsiteX1769" fmla="*/ 438912 w 6116787"/>
                          <a:gd name="connsiteY1769" fmla="*/ 1249802 h 3083905"/>
                          <a:gd name="connsiteX1770" fmla="*/ 437815 w 6116787"/>
                          <a:gd name="connsiteY1770" fmla="*/ 1255288 h 3083905"/>
                          <a:gd name="connsiteX1771" fmla="*/ 435072 w 6116787"/>
                          <a:gd name="connsiteY1771" fmla="*/ 1251997 h 3083905"/>
                          <a:gd name="connsiteX1772" fmla="*/ 432877 w 6116787"/>
                          <a:gd name="connsiteY1772" fmla="*/ 1243218 h 3083905"/>
                          <a:gd name="connsiteX1773" fmla="*/ 424099 w 6116787"/>
                          <a:gd name="connsiteY1773" fmla="*/ 1232794 h 3083905"/>
                          <a:gd name="connsiteX1774" fmla="*/ 429585 w 6116787"/>
                          <a:gd name="connsiteY1774" fmla="*/ 1244864 h 3083905"/>
                          <a:gd name="connsiteX1775" fmla="*/ 414772 w 6116787"/>
                          <a:gd name="connsiteY1775" fmla="*/ 1240475 h 3083905"/>
                          <a:gd name="connsiteX1776" fmla="*/ 409834 w 6116787"/>
                          <a:gd name="connsiteY1776" fmla="*/ 1232794 h 3083905"/>
                          <a:gd name="connsiteX1777" fmla="*/ 408737 w 6116787"/>
                          <a:gd name="connsiteY1777" fmla="*/ 1227856 h 3083905"/>
                          <a:gd name="connsiteX1778" fmla="*/ 315468 w 6116787"/>
                          <a:gd name="connsiteY1778" fmla="*/ 1148304 h 3083905"/>
                          <a:gd name="connsiteX1779" fmla="*/ 291877 w 6116787"/>
                          <a:gd name="connsiteY1779" fmla="*/ 1142817 h 3083905"/>
                          <a:gd name="connsiteX1780" fmla="*/ 294071 w 6116787"/>
                          <a:gd name="connsiteY1780" fmla="*/ 1146658 h 3083905"/>
                          <a:gd name="connsiteX1781" fmla="*/ 291877 w 6116787"/>
                          <a:gd name="connsiteY1781" fmla="*/ 1149950 h 3083905"/>
                          <a:gd name="connsiteX1782" fmla="*/ 288036 w 6116787"/>
                          <a:gd name="connsiteY1782" fmla="*/ 1149950 h 3083905"/>
                          <a:gd name="connsiteX1783" fmla="*/ 242499 w 6116787"/>
                          <a:gd name="connsiteY1783" fmla="*/ 1133490 h 3083905"/>
                          <a:gd name="connsiteX1784" fmla="*/ 239756 w 6116787"/>
                          <a:gd name="connsiteY1784" fmla="*/ 1138428 h 3083905"/>
                          <a:gd name="connsiteX1785" fmla="*/ 227686 w 6116787"/>
                          <a:gd name="connsiteY1785" fmla="*/ 1139525 h 3083905"/>
                          <a:gd name="connsiteX1786" fmla="*/ 222748 w 6116787"/>
                          <a:gd name="connsiteY1786" fmla="*/ 1143366 h 3083905"/>
                          <a:gd name="connsiteX1787" fmla="*/ 220553 w 6116787"/>
                          <a:gd name="connsiteY1787" fmla="*/ 1137331 h 3083905"/>
                          <a:gd name="connsiteX1788" fmla="*/ 217810 w 6116787"/>
                          <a:gd name="connsiteY1788" fmla="*/ 1134588 h 3083905"/>
                          <a:gd name="connsiteX1789" fmla="*/ 218908 w 6116787"/>
                          <a:gd name="connsiteY1789" fmla="*/ 1125809 h 3083905"/>
                          <a:gd name="connsiteX1790" fmla="*/ 217810 w 6116787"/>
                          <a:gd name="connsiteY1790" fmla="*/ 1123615 h 3083905"/>
                          <a:gd name="connsiteX1791" fmla="*/ 204094 w 6116787"/>
                          <a:gd name="connsiteY1791" fmla="*/ 1134588 h 3083905"/>
                          <a:gd name="connsiteX1792" fmla="*/ 207386 w 6116787"/>
                          <a:gd name="connsiteY1792" fmla="*/ 1121420 h 3083905"/>
                          <a:gd name="connsiteX1793" fmla="*/ 200254 w 6116787"/>
                          <a:gd name="connsiteY1793" fmla="*/ 1125809 h 3083905"/>
                          <a:gd name="connsiteX1794" fmla="*/ 201351 w 6116787"/>
                          <a:gd name="connsiteY1794" fmla="*/ 1118677 h 3083905"/>
                          <a:gd name="connsiteX1795" fmla="*/ 199156 w 6116787"/>
                          <a:gd name="connsiteY1795" fmla="*/ 1117580 h 3083905"/>
                          <a:gd name="connsiteX1796" fmla="*/ 193670 w 6116787"/>
                          <a:gd name="connsiteY1796" fmla="*/ 1117580 h 3083905"/>
                          <a:gd name="connsiteX1797" fmla="*/ 183794 w 6116787"/>
                          <a:gd name="connsiteY1797" fmla="*/ 1121420 h 3083905"/>
                          <a:gd name="connsiteX1798" fmla="*/ 185440 w 6116787"/>
                          <a:gd name="connsiteY1798" fmla="*/ 1117031 h 3083905"/>
                          <a:gd name="connsiteX1799" fmla="*/ 184892 w 6116787"/>
                          <a:gd name="connsiteY1799" fmla="*/ 1112093 h 3083905"/>
                          <a:gd name="connsiteX1800" fmla="*/ 182697 w 6116787"/>
                          <a:gd name="connsiteY1800" fmla="*/ 1107704 h 3083905"/>
                          <a:gd name="connsiteX1801" fmla="*/ 171724 w 6116787"/>
                          <a:gd name="connsiteY1801" fmla="*/ 1108802 h 3083905"/>
                          <a:gd name="connsiteX1802" fmla="*/ 176113 w 6116787"/>
                          <a:gd name="connsiteY1802" fmla="*/ 1088502 h 3083905"/>
                          <a:gd name="connsiteX1803" fmla="*/ 178857 w 6116787"/>
                          <a:gd name="connsiteY1803" fmla="*/ 1097280 h 3083905"/>
                          <a:gd name="connsiteX1804" fmla="*/ 183246 w 6116787"/>
                          <a:gd name="connsiteY1804" fmla="*/ 1100572 h 3083905"/>
                          <a:gd name="connsiteX1805" fmla="*/ 186538 w 6116787"/>
                          <a:gd name="connsiteY1805" fmla="*/ 1100023 h 3083905"/>
                          <a:gd name="connsiteX1806" fmla="*/ 190927 w 6116787"/>
                          <a:gd name="connsiteY1806" fmla="*/ 1104961 h 3083905"/>
                          <a:gd name="connsiteX1807" fmla="*/ 199156 w 6116787"/>
                          <a:gd name="connsiteY1807" fmla="*/ 1104412 h 3083905"/>
                          <a:gd name="connsiteX1808" fmla="*/ 204094 w 6116787"/>
                          <a:gd name="connsiteY1808" fmla="*/ 1106607 h 3083905"/>
                          <a:gd name="connsiteX1809" fmla="*/ 210129 w 6116787"/>
                          <a:gd name="connsiteY1809" fmla="*/ 1095634 h 3083905"/>
                          <a:gd name="connsiteX1810" fmla="*/ 211226 w 6116787"/>
                          <a:gd name="connsiteY1810" fmla="*/ 1088502 h 3083905"/>
                          <a:gd name="connsiteX1811" fmla="*/ 199156 w 6116787"/>
                          <a:gd name="connsiteY1811" fmla="*/ 1083564 h 3083905"/>
                          <a:gd name="connsiteX1812" fmla="*/ 193670 w 6116787"/>
                          <a:gd name="connsiteY1812" fmla="*/ 1085759 h 3083905"/>
                          <a:gd name="connsiteX1813" fmla="*/ 188732 w 6116787"/>
                          <a:gd name="connsiteY1813" fmla="*/ 1081370 h 3083905"/>
                          <a:gd name="connsiteX1814" fmla="*/ 187635 w 6116787"/>
                          <a:gd name="connsiteY1814" fmla="*/ 1077529 h 3083905"/>
                          <a:gd name="connsiteX1815" fmla="*/ 166238 w 6116787"/>
                          <a:gd name="connsiteY1815" fmla="*/ 1067105 h 3083905"/>
                          <a:gd name="connsiteX1816" fmla="*/ 170078 w 6116787"/>
                          <a:gd name="connsiteY1816" fmla="*/ 1073140 h 3083905"/>
                          <a:gd name="connsiteX1817" fmla="*/ 169530 w 6116787"/>
                          <a:gd name="connsiteY1817" fmla="*/ 1083564 h 3083905"/>
                          <a:gd name="connsiteX1818" fmla="*/ 163495 w 6116787"/>
                          <a:gd name="connsiteY1818" fmla="*/ 1084113 h 3083905"/>
                          <a:gd name="connsiteX1819" fmla="*/ 160752 w 6116787"/>
                          <a:gd name="connsiteY1819" fmla="*/ 1081370 h 3083905"/>
                          <a:gd name="connsiteX1820" fmla="*/ 159654 w 6116787"/>
                          <a:gd name="connsiteY1820" fmla="*/ 1086307 h 3083905"/>
                          <a:gd name="connsiteX1821" fmla="*/ 160752 w 6116787"/>
                          <a:gd name="connsiteY1821" fmla="*/ 1093988 h 3083905"/>
                          <a:gd name="connsiteX1822" fmla="*/ 158008 w 6116787"/>
                          <a:gd name="connsiteY1822" fmla="*/ 1098377 h 3083905"/>
                          <a:gd name="connsiteX1823" fmla="*/ 151425 w 6116787"/>
                          <a:gd name="connsiteY1823" fmla="*/ 1098377 h 3083905"/>
                          <a:gd name="connsiteX1824" fmla="*/ 144292 w 6116787"/>
                          <a:gd name="connsiteY1824" fmla="*/ 1090696 h 3083905"/>
                          <a:gd name="connsiteX1825" fmla="*/ 130576 w 6116787"/>
                          <a:gd name="connsiteY1825" fmla="*/ 1084113 h 3083905"/>
                          <a:gd name="connsiteX1826" fmla="*/ 129479 w 6116787"/>
                          <a:gd name="connsiteY1826" fmla="*/ 1085210 h 3083905"/>
                          <a:gd name="connsiteX1827" fmla="*/ 129479 w 6116787"/>
                          <a:gd name="connsiteY1827" fmla="*/ 1085210 h 3083905"/>
                          <a:gd name="connsiteX1828" fmla="*/ 131125 w 6116787"/>
                          <a:gd name="connsiteY1828" fmla="*/ 1087953 h 3083905"/>
                          <a:gd name="connsiteX1829" fmla="*/ 130576 w 6116787"/>
                          <a:gd name="connsiteY1829" fmla="*/ 1095634 h 3083905"/>
                          <a:gd name="connsiteX1830" fmla="*/ 126187 w 6116787"/>
                          <a:gd name="connsiteY1830" fmla="*/ 1107704 h 3083905"/>
                          <a:gd name="connsiteX1831" fmla="*/ 117958 w 6116787"/>
                          <a:gd name="connsiteY1831" fmla="*/ 1109899 h 3083905"/>
                          <a:gd name="connsiteX1832" fmla="*/ 103144 w 6116787"/>
                          <a:gd name="connsiteY1832" fmla="*/ 1100572 h 3083905"/>
                          <a:gd name="connsiteX1833" fmla="*/ 98755 w 6116787"/>
                          <a:gd name="connsiteY1833" fmla="*/ 1121420 h 3083905"/>
                          <a:gd name="connsiteX1834" fmla="*/ 93817 w 6116787"/>
                          <a:gd name="connsiteY1834" fmla="*/ 1126358 h 3083905"/>
                          <a:gd name="connsiteX1835" fmla="*/ 72421 w 6116787"/>
                          <a:gd name="connsiteY1835" fmla="*/ 1139525 h 3083905"/>
                          <a:gd name="connsiteX1836" fmla="*/ 70775 w 6116787"/>
                          <a:gd name="connsiteY1836" fmla="*/ 1142817 h 3083905"/>
                          <a:gd name="connsiteX1837" fmla="*/ 70226 w 6116787"/>
                          <a:gd name="connsiteY1837" fmla="*/ 1150498 h 3083905"/>
                          <a:gd name="connsiteX1838" fmla="*/ 69129 w 6116787"/>
                          <a:gd name="connsiteY1838" fmla="*/ 1152693 h 3083905"/>
                          <a:gd name="connsiteX1839" fmla="*/ 63094 w 6116787"/>
                          <a:gd name="connsiteY1839" fmla="*/ 1158728 h 3083905"/>
                          <a:gd name="connsiteX1840" fmla="*/ 60899 w 6116787"/>
                          <a:gd name="connsiteY1840" fmla="*/ 1159276 h 3083905"/>
                          <a:gd name="connsiteX1841" fmla="*/ 60899 w 6116787"/>
                          <a:gd name="connsiteY1841" fmla="*/ 1159276 h 3083905"/>
                          <a:gd name="connsiteX1842" fmla="*/ 40599 w 6116787"/>
                          <a:gd name="connsiteY1842" fmla="*/ 1178479 h 3083905"/>
                          <a:gd name="connsiteX1843" fmla="*/ 47183 w 6116787"/>
                          <a:gd name="connsiteY1843" fmla="*/ 1181771 h 3083905"/>
                          <a:gd name="connsiteX1844" fmla="*/ 47183 w 6116787"/>
                          <a:gd name="connsiteY1844" fmla="*/ 1184514 h 3083905"/>
                          <a:gd name="connsiteX1845" fmla="*/ 38953 w 6116787"/>
                          <a:gd name="connsiteY1845" fmla="*/ 1210849 h 3083905"/>
                          <a:gd name="connsiteX1846" fmla="*/ 43891 w 6116787"/>
                          <a:gd name="connsiteY1846" fmla="*/ 1241572 h 3083905"/>
                          <a:gd name="connsiteX1847" fmla="*/ 47183 w 6116787"/>
                          <a:gd name="connsiteY1847" fmla="*/ 1247059 h 3083905"/>
                          <a:gd name="connsiteX1848" fmla="*/ 53767 w 6116787"/>
                          <a:gd name="connsiteY1848" fmla="*/ 1251997 h 3083905"/>
                          <a:gd name="connsiteX1849" fmla="*/ 63642 w 6116787"/>
                          <a:gd name="connsiteY1849" fmla="*/ 1253094 h 3083905"/>
                          <a:gd name="connsiteX1850" fmla="*/ 73518 w 6116787"/>
                          <a:gd name="connsiteY1850" fmla="*/ 1258580 h 3083905"/>
                          <a:gd name="connsiteX1851" fmla="*/ 93817 w 6116787"/>
                          <a:gd name="connsiteY1851" fmla="*/ 1294242 h 3083905"/>
                          <a:gd name="connsiteX1852" fmla="*/ 96012 w 6116787"/>
                          <a:gd name="connsiteY1852" fmla="*/ 1309604 h 3083905"/>
                          <a:gd name="connsiteX1853" fmla="*/ 66385 w 6116787"/>
                          <a:gd name="connsiteY1853" fmla="*/ 1373246 h 3083905"/>
                          <a:gd name="connsiteX1854" fmla="*/ 67483 w 6116787"/>
                          <a:gd name="connsiteY1854" fmla="*/ 1387511 h 3083905"/>
                          <a:gd name="connsiteX1855" fmla="*/ 101498 w 6116787"/>
                          <a:gd name="connsiteY1855" fmla="*/ 1489009 h 3083905"/>
                          <a:gd name="connsiteX1856" fmla="*/ 91623 w 6116787"/>
                          <a:gd name="connsiteY1856" fmla="*/ 1497787 h 3083905"/>
                          <a:gd name="connsiteX1857" fmla="*/ 87234 w 6116787"/>
                          <a:gd name="connsiteY1857" fmla="*/ 1524122 h 3083905"/>
                          <a:gd name="connsiteX1858" fmla="*/ 89428 w 6116787"/>
                          <a:gd name="connsiteY1858" fmla="*/ 1530706 h 3083905"/>
                          <a:gd name="connsiteX1859" fmla="*/ 90526 w 6116787"/>
                          <a:gd name="connsiteY1859" fmla="*/ 1543324 h 3083905"/>
                          <a:gd name="connsiteX1860" fmla="*/ 86137 w 6116787"/>
                          <a:gd name="connsiteY1860" fmla="*/ 1551005 h 3083905"/>
                          <a:gd name="connsiteX1861" fmla="*/ 86685 w 6116787"/>
                          <a:gd name="connsiteY1861" fmla="*/ 1564721 h 3083905"/>
                          <a:gd name="connsiteX1862" fmla="*/ 97658 w 6116787"/>
                          <a:gd name="connsiteY1862" fmla="*/ 1568013 h 3083905"/>
                          <a:gd name="connsiteX1863" fmla="*/ 103144 w 6116787"/>
                          <a:gd name="connsiteY1863" fmla="*/ 1580083 h 3083905"/>
                          <a:gd name="connsiteX1864" fmla="*/ 102047 w 6116787"/>
                          <a:gd name="connsiteY1864" fmla="*/ 1593251 h 3083905"/>
                          <a:gd name="connsiteX1865" fmla="*/ 106985 w 6116787"/>
                          <a:gd name="connsiteY1865" fmla="*/ 1604772 h 3083905"/>
                          <a:gd name="connsiteX1866" fmla="*/ 117958 w 6116787"/>
                          <a:gd name="connsiteY1866" fmla="*/ 1615196 h 3083905"/>
                          <a:gd name="connsiteX1867" fmla="*/ 119055 w 6116787"/>
                          <a:gd name="connsiteY1867" fmla="*/ 1627815 h 3083905"/>
                          <a:gd name="connsiteX1868" fmla="*/ 104790 w 6116787"/>
                          <a:gd name="connsiteY1868" fmla="*/ 1661831 h 3083905"/>
                          <a:gd name="connsiteX1869" fmla="*/ 109180 w 6116787"/>
                          <a:gd name="connsiteY1869" fmla="*/ 1674449 h 3083905"/>
                          <a:gd name="connsiteX1870" fmla="*/ 114666 w 6116787"/>
                          <a:gd name="connsiteY1870" fmla="*/ 1683228 h 3083905"/>
                          <a:gd name="connsiteX1871" fmla="*/ 135514 w 6116787"/>
                          <a:gd name="connsiteY1871" fmla="*/ 1698590 h 3083905"/>
                          <a:gd name="connsiteX1872" fmla="*/ 138257 w 6116787"/>
                          <a:gd name="connsiteY1872" fmla="*/ 1710111 h 3083905"/>
                          <a:gd name="connsiteX1873" fmla="*/ 145390 w 6116787"/>
                          <a:gd name="connsiteY1873" fmla="*/ 1722181 h 3083905"/>
                          <a:gd name="connsiteX1874" fmla="*/ 148133 w 6116787"/>
                          <a:gd name="connsiteY1874" fmla="*/ 1718889 h 3083905"/>
                          <a:gd name="connsiteX1875" fmla="*/ 147584 w 6116787"/>
                          <a:gd name="connsiteY1875" fmla="*/ 1745224 h 3083905"/>
                          <a:gd name="connsiteX1876" fmla="*/ 6584 w 6116787"/>
                          <a:gd name="connsiteY1876" fmla="*/ 1913656 h 3083905"/>
                          <a:gd name="connsiteX1877" fmla="*/ 6584 w 6116787"/>
                          <a:gd name="connsiteY1877" fmla="*/ 1913656 h 3083905"/>
                          <a:gd name="connsiteX1878" fmla="*/ 23043 w 6116787"/>
                          <a:gd name="connsiteY1878" fmla="*/ 1916400 h 3083905"/>
                          <a:gd name="connsiteX1879" fmla="*/ 30724 w 6116787"/>
                          <a:gd name="connsiteY1879" fmla="*/ 1907621 h 3083905"/>
                          <a:gd name="connsiteX1880" fmla="*/ 43343 w 6116787"/>
                          <a:gd name="connsiteY1880" fmla="*/ 1900489 h 3083905"/>
                          <a:gd name="connsiteX1881" fmla="*/ 44440 w 6116787"/>
                          <a:gd name="connsiteY1881" fmla="*/ 1905427 h 3083905"/>
                          <a:gd name="connsiteX1882" fmla="*/ 42794 w 6116787"/>
                          <a:gd name="connsiteY1882" fmla="*/ 1909267 h 3083905"/>
                          <a:gd name="connsiteX1883" fmla="*/ 42794 w 6116787"/>
                          <a:gd name="connsiteY1883" fmla="*/ 1921337 h 3083905"/>
                          <a:gd name="connsiteX1884" fmla="*/ 40051 w 6116787"/>
                          <a:gd name="connsiteY1884" fmla="*/ 1916400 h 3083905"/>
                          <a:gd name="connsiteX1885" fmla="*/ 36759 w 6116787"/>
                          <a:gd name="connsiteY1885" fmla="*/ 1914754 h 3083905"/>
                          <a:gd name="connsiteX1886" fmla="*/ 36759 w 6116787"/>
                          <a:gd name="connsiteY1886" fmla="*/ 1925178 h 3083905"/>
                          <a:gd name="connsiteX1887" fmla="*/ 40051 w 6116787"/>
                          <a:gd name="connsiteY1887" fmla="*/ 1931213 h 3083905"/>
                          <a:gd name="connsiteX1888" fmla="*/ 43891 w 6116787"/>
                          <a:gd name="connsiteY1888" fmla="*/ 1931213 h 3083905"/>
                          <a:gd name="connsiteX1889" fmla="*/ 59802 w 6116787"/>
                          <a:gd name="connsiteY1889" fmla="*/ 1943832 h 3083905"/>
                          <a:gd name="connsiteX1890" fmla="*/ 80650 w 6116787"/>
                          <a:gd name="connsiteY1890" fmla="*/ 1940540 h 3083905"/>
                          <a:gd name="connsiteX1891" fmla="*/ 87234 w 6116787"/>
                          <a:gd name="connsiteY1891" fmla="*/ 1943283 h 3083905"/>
                          <a:gd name="connsiteX1892" fmla="*/ 93817 w 6116787"/>
                          <a:gd name="connsiteY1892" fmla="*/ 1948221 h 3083905"/>
                          <a:gd name="connsiteX1893" fmla="*/ 93269 w 6116787"/>
                          <a:gd name="connsiteY1893" fmla="*/ 1954256 h 3083905"/>
                          <a:gd name="connsiteX1894" fmla="*/ 97658 w 6116787"/>
                          <a:gd name="connsiteY1894" fmla="*/ 1956999 h 3083905"/>
                          <a:gd name="connsiteX1895" fmla="*/ 102596 w 6116787"/>
                          <a:gd name="connsiteY1895" fmla="*/ 1957548 h 3083905"/>
                          <a:gd name="connsiteX1896" fmla="*/ 103693 w 6116787"/>
                          <a:gd name="connsiteY1896" fmla="*/ 1960839 h 3083905"/>
                          <a:gd name="connsiteX1897" fmla="*/ 99304 w 6116787"/>
                          <a:gd name="connsiteY1897" fmla="*/ 1963583 h 3083905"/>
                          <a:gd name="connsiteX1898" fmla="*/ 61996 w 6116787"/>
                          <a:gd name="connsiteY1898" fmla="*/ 1957548 h 3083905"/>
                          <a:gd name="connsiteX1899" fmla="*/ 58156 w 6116787"/>
                          <a:gd name="connsiteY1899" fmla="*/ 1961937 h 3083905"/>
                          <a:gd name="connsiteX1900" fmla="*/ 56510 w 6116787"/>
                          <a:gd name="connsiteY1900" fmla="*/ 1966874 h 3083905"/>
                          <a:gd name="connsiteX1901" fmla="*/ 46634 w 6116787"/>
                          <a:gd name="connsiteY1901" fmla="*/ 1972910 h 3083905"/>
                          <a:gd name="connsiteX1902" fmla="*/ 41697 w 6116787"/>
                          <a:gd name="connsiteY1902" fmla="*/ 1969618 h 3083905"/>
                          <a:gd name="connsiteX1903" fmla="*/ 37308 w 6116787"/>
                          <a:gd name="connsiteY1903" fmla="*/ 1971264 h 3083905"/>
                          <a:gd name="connsiteX1904" fmla="*/ 34564 w 6116787"/>
                          <a:gd name="connsiteY1904" fmla="*/ 1978396 h 3083905"/>
                          <a:gd name="connsiteX1905" fmla="*/ 30175 w 6116787"/>
                          <a:gd name="connsiteY1905" fmla="*/ 1980590 h 3083905"/>
                          <a:gd name="connsiteX1906" fmla="*/ 26335 w 6116787"/>
                          <a:gd name="connsiteY1906" fmla="*/ 1976201 h 3083905"/>
                          <a:gd name="connsiteX1907" fmla="*/ 21397 w 6116787"/>
                          <a:gd name="connsiteY1907" fmla="*/ 1973458 h 3083905"/>
                          <a:gd name="connsiteX1908" fmla="*/ 19202 w 6116787"/>
                          <a:gd name="connsiteY1908" fmla="*/ 1980042 h 3083905"/>
                          <a:gd name="connsiteX1909" fmla="*/ 20848 w 6116787"/>
                          <a:gd name="connsiteY1909" fmla="*/ 1990466 h 3083905"/>
                          <a:gd name="connsiteX1910" fmla="*/ 25237 w 6116787"/>
                          <a:gd name="connsiteY1910" fmla="*/ 1991563 h 3083905"/>
                          <a:gd name="connsiteX1911" fmla="*/ 29078 w 6116787"/>
                          <a:gd name="connsiteY1911" fmla="*/ 1995952 h 3083905"/>
                          <a:gd name="connsiteX1912" fmla="*/ 30724 w 6116787"/>
                          <a:gd name="connsiteY1912" fmla="*/ 2001439 h 3083905"/>
                          <a:gd name="connsiteX1913" fmla="*/ 28529 w 6116787"/>
                          <a:gd name="connsiteY1913" fmla="*/ 2006377 h 3083905"/>
                          <a:gd name="connsiteX1914" fmla="*/ 20848 w 6116787"/>
                          <a:gd name="connsiteY1914" fmla="*/ 2014058 h 3083905"/>
                          <a:gd name="connsiteX1915" fmla="*/ 10424 w 6116787"/>
                          <a:gd name="connsiteY1915" fmla="*/ 2033809 h 3083905"/>
                          <a:gd name="connsiteX1916" fmla="*/ 12619 w 6116787"/>
                          <a:gd name="connsiteY1916" fmla="*/ 2043135 h 3083905"/>
                          <a:gd name="connsiteX1917" fmla="*/ 10973 w 6116787"/>
                          <a:gd name="connsiteY1917" fmla="*/ 2055206 h 3083905"/>
                          <a:gd name="connsiteX1918" fmla="*/ 14265 w 6116787"/>
                          <a:gd name="connsiteY1918" fmla="*/ 2062886 h 3083905"/>
                          <a:gd name="connsiteX1919" fmla="*/ 14265 w 6116787"/>
                          <a:gd name="connsiteY1919" fmla="*/ 2067276 h 3083905"/>
                          <a:gd name="connsiteX1920" fmla="*/ 12070 w 6116787"/>
                          <a:gd name="connsiteY1920" fmla="*/ 2072762 h 3083905"/>
                          <a:gd name="connsiteX1921" fmla="*/ 2743 w 6116787"/>
                          <a:gd name="connsiteY1921" fmla="*/ 2080992 h 3083905"/>
                          <a:gd name="connsiteX1922" fmla="*/ 1097 w 6116787"/>
                          <a:gd name="connsiteY1922" fmla="*/ 2085929 h 3083905"/>
                          <a:gd name="connsiteX1923" fmla="*/ 3292 w 6116787"/>
                          <a:gd name="connsiteY1923" fmla="*/ 2090867 h 3083905"/>
                          <a:gd name="connsiteX1924" fmla="*/ 18654 w 6116787"/>
                          <a:gd name="connsiteY1924" fmla="*/ 2090867 h 3083905"/>
                          <a:gd name="connsiteX1925" fmla="*/ 25786 w 6116787"/>
                          <a:gd name="connsiteY1925" fmla="*/ 2102937 h 3083905"/>
                          <a:gd name="connsiteX1926" fmla="*/ 25237 w 6116787"/>
                          <a:gd name="connsiteY1926" fmla="*/ 2113361 h 3083905"/>
                          <a:gd name="connsiteX1927" fmla="*/ 18654 w 6116787"/>
                          <a:gd name="connsiteY1927" fmla="*/ 2113361 h 3083905"/>
                          <a:gd name="connsiteX1928" fmla="*/ 7132 w 6116787"/>
                          <a:gd name="connsiteY1928" fmla="*/ 2100743 h 3083905"/>
                          <a:gd name="connsiteX1929" fmla="*/ 7132 w 6116787"/>
                          <a:gd name="connsiteY1929" fmla="*/ 2110618 h 3083905"/>
                          <a:gd name="connsiteX1930" fmla="*/ 0 w 6116787"/>
                          <a:gd name="connsiteY1930" fmla="*/ 2125980 h 3083905"/>
                          <a:gd name="connsiteX1931" fmla="*/ 1097 w 6116787"/>
                          <a:gd name="connsiteY1931" fmla="*/ 2131467 h 3083905"/>
                          <a:gd name="connsiteX1932" fmla="*/ 4389 w 6116787"/>
                          <a:gd name="connsiteY1932" fmla="*/ 2135307 h 3083905"/>
                          <a:gd name="connsiteX1933" fmla="*/ 7132 w 6116787"/>
                          <a:gd name="connsiteY1933" fmla="*/ 2140245 h 3083905"/>
                          <a:gd name="connsiteX1934" fmla="*/ 11521 w 6116787"/>
                          <a:gd name="connsiteY1934" fmla="*/ 2143537 h 3083905"/>
                          <a:gd name="connsiteX1935" fmla="*/ 14813 w 6116787"/>
                          <a:gd name="connsiteY1935" fmla="*/ 2148474 h 3083905"/>
                          <a:gd name="connsiteX1936" fmla="*/ 15911 w 6116787"/>
                          <a:gd name="connsiteY1936" fmla="*/ 2153412 h 3083905"/>
                          <a:gd name="connsiteX1937" fmla="*/ 9876 w 6116787"/>
                          <a:gd name="connsiteY1937" fmla="*/ 2174809 h 3083905"/>
                          <a:gd name="connsiteX1938" fmla="*/ 15362 w 6116787"/>
                          <a:gd name="connsiteY1938" fmla="*/ 2177004 h 3083905"/>
                          <a:gd name="connsiteX1939" fmla="*/ 19751 w 6116787"/>
                          <a:gd name="connsiteY1939" fmla="*/ 2180295 h 3083905"/>
                          <a:gd name="connsiteX1940" fmla="*/ 19751 w 6116787"/>
                          <a:gd name="connsiteY1940" fmla="*/ 2185782 h 3083905"/>
                          <a:gd name="connsiteX1941" fmla="*/ 32370 w 6116787"/>
                          <a:gd name="connsiteY1941" fmla="*/ 2211019 h 3083905"/>
                          <a:gd name="connsiteX1942" fmla="*/ 31821 w 6116787"/>
                          <a:gd name="connsiteY1942" fmla="*/ 2227479 h 3083905"/>
                          <a:gd name="connsiteX1943" fmla="*/ 33467 w 6116787"/>
                          <a:gd name="connsiteY1943" fmla="*/ 2232416 h 3083905"/>
                          <a:gd name="connsiteX1944" fmla="*/ 44989 w 6116787"/>
                          <a:gd name="connsiteY1944" fmla="*/ 2230770 h 3083905"/>
                          <a:gd name="connsiteX1945" fmla="*/ 49378 w 6116787"/>
                          <a:gd name="connsiteY1945" fmla="*/ 2232965 h 3083905"/>
                          <a:gd name="connsiteX1946" fmla="*/ 52669 w 6116787"/>
                          <a:gd name="connsiteY1946" fmla="*/ 2237903 h 3083905"/>
                          <a:gd name="connsiteX1947" fmla="*/ 63642 w 6116787"/>
                          <a:gd name="connsiteY1947" fmla="*/ 2236257 h 3083905"/>
                          <a:gd name="connsiteX1948" fmla="*/ 69129 w 6116787"/>
                          <a:gd name="connsiteY1948" fmla="*/ 2237354 h 3083905"/>
                          <a:gd name="connsiteX1949" fmla="*/ 77358 w 6116787"/>
                          <a:gd name="connsiteY1949" fmla="*/ 2243389 h 3083905"/>
                          <a:gd name="connsiteX1950" fmla="*/ 76261 w 6116787"/>
                          <a:gd name="connsiteY1950" fmla="*/ 2257105 h 3083905"/>
                          <a:gd name="connsiteX1951" fmla="*/ 86137 w 6116787"/>
                          <a:gd name="connsiteY1951" fmla="*/ 2251619 h 3083905"/>
                          <a:gd name="connsiteX1952" fmla="*/ 91074 w 6116787"/>
                          <a:gd name="connsiteY1952" fmla="*/ 2251070 h 3083905"/>
                          <a:gd name="connsiteX1953" fmla="*/ 95464 w 6116787"/>
                          <a:gd name="connsiteY1953" fmla="*/ 2247230 h 3083905"/>
                          <a:gd name="connsiteX1954" fmla="*/ 111374 w 6116787"/>
                          <a:gd name="connsiteY1954" fmla="*/ 2247230 h 3083905"/>
                          <a:gd name="connsiteX1955" fmla="*/ 116312 w 6116787"/>
                          <a:gd name="connsiteY1955" fmla="*/ 2250521 h 3083905"/>
                          <a:gd name="connsiteX1956" fmla="*/ 126736 w 6116787"/>
                          <a:gd name="connsiteY1956" fmla="*/ 2263140 h 3083905"/>
                          <a:gd name="connsiteX1957" fmla="*/ 132222 w 6116787"/>
                          <a:gd name="connsiteY1957" fmla="*/ 2264237 h 3083905"/>
                          <a:gd name="connsiteX1958" fmla="*/ 132771 w 6116787"/>
                          <a:gd name="connsiteY1958" fmla="*/ 2271918 h 3083905"/>
                          <a:gd name="connsiteX1959" fmla="*/ 131125 w 6116787"/>
                          <a:gd name="connsiteY1959" fmla="*/ 2277405 h 3083905"/>
                          <a:gd name="connsiteX1960" fmla="*/ 131125 w 6116787"/>
                          <a:gd name="connsiteY1960" fmla="*/ 2282891 h 3083905"/>
                          <a:gd name="connsiteX1961" fmla="*/ 134965 w 6116787"/>
                          <a:gd name="connsiteY1961" fmla="*/ 2287280 h 3083905"/>
                          <a:gd name="connsiteX1962" fmla="*/ 136612 w 6116787"/>
                          <a:gd name="connsiteY1962" fmla="*/ 2292767 h 3083905"/>
                          <a:gd name="connsiteX1963" fmla="*/ 134417 w 6116787"/>
                          <a:gd name="connsiteY1963" fmla="*/ 2303191 h 3083905"/>
                          <a:gd name="connsiteX1964" fmla="*/ 130028 w 6116787"/>
                          <a:gd name="connsiteY1964" fmla="*/ 2306483 h 3083905"/>
                          <a:gd name="connsiteX1965" fmla="*/ 128382 w 6116787"/>
                          <a:gd name="connsiteY1965" fmla="*/ 2311969 h 3083905"/>
                          <a:gd name="connsiteX1966" fmla="*/ 130028 w 6116787"/>
                          <a:gd name="connsiteY1966" fmla="*/ 2316907 h 3083905"/>
                          <a:gd name="connsiteX1967" fmla="*/ 137709 w 6116787"/>
                          <a:gd name="connsiteY1967" fmla="*/ 2325136 h 3083905"/>
                          <a:gd name="connsiteX1968" fmla="*/ 151425 w 6116787"/>
                          <a:gd name="connsiteY1968" fmla="*/ 2355312 h 3083905"/>
                          <a:gd name="connsiteX1969" fmla="*/ 161300 w 6116787"/>
                          <a:gd name="connsiteY1969" fmla="*/ 2360798 h 3083905"/>
                          <a:gd name="connsiteX1970" fmla="*/ 164592 w 6116787"/>
                          <a:gd name="connsiteY1970" fmla="*/ 2365187 h 3083905"/>
                          <a:gd name="connsiteX1971" fmla="*/ 165689 w 6116787"/>
                          <a:gd name="connsiteY1971" fmla="*/ 2370674 h 3083905"/>
                          <a:gd name="connsiteX1972" fmla="*/ 165141 w 6116787"/>
                          <a:gd name="connsiteY1972" fmla="*/ 2376160 h 3083905"/>
                          <a:gd name="connsiteX1973" fmla="*/ 167335 w 6116787"/>
                          <a:gd name="connsiteY1973" fmla="*/ 2381098 h 3083905"/>
                          <a:gd name="connsiteX1974" fmla="*/ 183794 w 6116787"/>
                          <a:gd name="connsiteY1974" fmla="*/ 2378903 h 3083905"/>
                          <a:gd name="connsiteX1975" fmla="*/ 187635 w 6116787"/>
                          <a:gd name="connsiteY1975" fmla="*/ 2382744 h 3083905"/>
                          <a:gd name="connsiteX1976" fmla="*/ 193121 w 6116787"/>
                          <a:gd name="connsiteY1976" fmla="*/ 2384390 h 3083905"/>
                          <a:gd name="connsiteX1977" fmla="*/ 191476 w 6116787"/>
                          <a:gd name="connsiteY1977" fmla="*/ 2389327 h 3083905"/>
                          <a:gd name="connsiteX1978" fmla="*/ 194767 w 6116787"/>
                          <a:gd name="connsiteY1978" fmla="*/ 2393716 h 3083905"/>
                          <a:gd name="connsiteX1979" fmla="*/ 201351 w 6116787"/>
                          <a:gd name="connsiteY1979" fmla="*/ 2394814 h 3083905"/>
                          <a:gd name="connsiteX1980" fmla="*/ 201900 w 6116787"/>
                          <a:gd name="connsiteY1980" fmla="*/ 2404141 h 3083905"/>
                          <a:gd name="connsiteX1981" fmla="*/ 181051 w 6116787"/>
                          <a:gd name="connsiteY1981" fmla="*/ 2422246 h 3083905"/>
                          <a:gd name="connsiteX1982" fmla="*/ 169530 w 6116787"/>
                          <a:gd name="connsiteY1982" fmla="*/ 2420600 h 3083905"/>
                          <a:gd name="connsiteX1983" fmla="*/ 161300 w 6116787"/>
                          <a:gd name="connsiteY1983" fmla="*/ 2413467 h 3083905"/>
                          <a:gd name="connsiteX1984" fmla="*/ 155814 w 6116787"/>
                          <a:gd name="connsiteY1984" fmla="*/ 2412919 h 3083905"/>
                          <a:gd name="connsiteX1985" fmla="*/ 150876 w 6116787"/>
                          <a:gd name="connsiteY1985" fmla="*/ 2415113 h 3083905"/>
                          <a:gd name="connsiteX1986" fmla="*/ 150328 w 6116787"/>
                          <a:gd name="connsiteY1986" fmla="*/ 2420600 h 3083905"/>
                          <a:gd name="connsiteX1987" fmla="*/ 145390 w 6116787"/>
                          <a:gd name="connsiteY1987" fmla="*/ 2422794 h 3083905"/>
                          <a:gd name="connsiteX1988" fmla="*/ 145390 w 6116787"/>
                          <a:gd name="connsiteY1988" fmla="*/ 2428281 h 3083905"/>
                          <a:gd name="connsiteX1989" fmla="*/ 153619 w 6116787"/>
                          <a:gd name="connsiteY1989" fmla="*/ 2435413 h 3083905"/>
                          <a:gd name="connsiteX1990" fmla="*/ 155265 w 6116787"/>
                          <a:gd name="connsiteY1990" fmla="*/ 2440899 h 3083905"/>
                          <a:gd name="connsiteX1991" fmla="*/ 153071 w 6116787"/>
                          <a:gd name="connsiteY1991" fmla="*/ 2446386 h 3083905"/>
                          <a:gd name="connsiteX1992" fmla="*/ 156911 w 6116787"/>
                          <a:gd name="connsiteY1992" fmla="*/ 2450226 h 3083905"/>
                          <a:gd name="connsiteX1993" fmla="*/ 155814 w 6116787"/>
                          <a:gd name="connsiteY1993" fmla="*/ 2455713 h 3083905"/>
                          <a:gd name="connsiteX1994" fmla="*/ 160752 w 6116787"/>
                          <a:gd name="connsiteY1994" fmla="*/ 2458456 h 3083905"/>
                          <a:gd name="connsiteX1995" fmla="*/ 162397 w 6116787"/>
                          <a:gd name="connsiteY1995" fmla="*/ 2463942 h 3083905"/>
                          <a:gd name="connsiteX1996" fmla="*/ 161849 w 6116787"/>
                          <a:gd name="connsiteY1996" fmla="*/ 2469429 h 3083905"/>
                          <a:gd name="connsiteX1997" fmla="*/ 165689 w 6116787"/>
                          <a:gd name="connsiteY1997" fmla="*/ 2484242 h 3083905"/>
                          <a:gd name="connsiteX1998" fmla="*/ 165141 w 6116787"/>
                          <a:gd name="connsiteY1998" fmla="*/ 2484242 h 3083905"/>
                          <a:gd name="connsiteX1999" fmla="*/ 169530 w 6116787"/>
                          <a:gd name="connsiteY1999" fmla="*/ 2488083 h 3083905"/>
                          <a:gd name="connsiteX2000" fmla="*/ 174468 w 6116787"/>
                          <a:gd name="connsiteY2000" fmla="*/ 2489180 h 3083905"/>
                          <a:gd name="connsiteX2001" fmla="*/ 179405 w 6116787"/>
                          <a:gd name="connsiteY2001" fmla="*/ 2486985 h 3083905"/>
                          <a:gd name="connsiteX2002" fmla="*/ 183246 w 6116787"/>
                          <a:gd name="connsiteY2002" fmla="*/ 2482596 h 3083905"/>
                          <a:gd name="connsiteX2003" fmla="*/ 184343 w 6116787"/>
                          <a:gd name="connsiteY2003" fmla="*/ 2477110 h 3083905"/>
                          <a:gd name="connsiteX2004" fmla="*/ 189281 w 6116787"/>
                          <a:gd name="connsiteY2004" fmla="*/ 2473818 h 3083905"/>
                          <a:gd name="connsiteX2005" fmla="*/ 206289 w 6116787"/>
                          <a:gd name="connsiteY2005" fmla="*/ 2476012 h 3083905"/>
                          <a:gd name="connsiteX2006" fmla="*/ 217261 w 6116787"/>
                          <a:gd name="connsiteY2006" fmla="*/ 2472721 h 3083905"/>
                          <a:gd name="connsiteX2007" fmla="*/ 228234 w 6116787"/>
                          <a:gd name="connsiteY2007" fmla="*/ 2474367 h 3083905"/>
                          <a:gd name="connsiteX2008" fmla="*/ 239207 w 6116787"/>
                          <a:gd name="connsiteY2008" fmla="*/ 2471623 h 3083905"/>
                          <a:gd name="connsiteX2009" fmla="*/ 247985 w 6116787"/>
                          <a:gd name="connsiteY2009" fmla="*/ 2478756 h 3083905"/>
                          <a:gd name="connsiteX2010" fmla="*/ 250729 w 6116787"/>
                          <a:gd name="connsiteY2010" fmla="*/ 2483693 h 3083905"/>
                          <a:gd name="connsiteX2011" fmla="*/ 250729 w 6116787"/>
                          <a:gd name="connsiteY2011" fmla="*/ 2489180 h 3083905"/>
                          <a:gd name="connsiteX2012" fmla="*/ 262799 w 6116787"/>
                          <a:gd name="connsiteY2012" fmla="*/ 2501799 h 3083905"/>
                          <a:gd name="connsiteX2013" fmla="*/ 262799 w 6116787"/>
                          <a:gd name="connsiteY2013" fmla="*/ 2507834 h 3083905"/>
                          <a:gd name="connsiteX2014" fmla="*/ 256764 w 6116787"/>
                          <a:gd name="connsiteY2014" fmla="*/ 2510577 h 3083905"/>
                          <a:gd name="connsiteX2015" fmla="*/ 251826 w 6116787"/>
                          <a:gd name="connsiteY2015" fmla="*/ 2511125 h 3083905"/>
                          <a:gd name="connsiteX2016" fmla="*/ 254020 w 6116787"/>
                          <a:gd name="connsiteY2016" fmla="*/ 2516063 h 3083905"/>
                          <a:gd name="connsiteX2017" fmla="*/ 254020 w 6116787"/>
                          <a:gd name="connsiteY2017" fmla="*/ 2521550 h 3083905"/>
                          <a:gd name="connsiteX2018" fmla="*/ 256764 w 6116787"/>
                          <a:gd name="connsiteY2018" fmla="*/ 2531974 h 3083905"/>
                          <a:gd name="connsiteX2019" fmla="*/ 266639 w 6116787"/>
                          <a:gd name="connsiteY2019" fmla="*/ 2538009 h 3083905"/>
                          <a:gd name="connsiteX2020" fmla="*/ 277612 w 6116787"/>
                          <a:gd name="connsiteY2020" fmla="*/ 2540752 h 3083905"/>
                          <a:gd name="connsiteX2021" fmla="*/ 283098 w 6116787"/>
                          <a:gd name="connsiteY2021" fmla="*/ 2538557 h 3083905"/>
                          <a:gd name="connsiteX2022" fmla="*/ 288585 w 6116787"/>
                          <a:gd name="connsiteY2022" fmla="*/ 2538557 h 3083905"/>
                          <a:gd name="connsiteX2023" fmla="*/ 290779 w 6116787"/>
                          <a:gd name="connsiteY2023" fmla="*/ 2544044 h 3083905"/>
                          <a:gd name="connsiteX2024" fmla="*/ 297363 w 6116787"/>
                          <a:gd name="connsiteY2024" fmla="*/ 2552273 h 3083905"/>
                          <a:gd name="connsiteX2025" fmla="*/ 302849 w 6116787"/>
                          <a:gd name="connsiteY2025" fmla="*/ 2570927 h 3083905"/>
                          <a:gd name="connsiteX2026" fmla="*/ 301204 w 6116787"/>
                          <a:gd name="connsiteY2026" fmla="*/ 2576414 h 3083905"/>
                          <a:gd name="connsiteX2027" fmla="*/ 302849 w 6116787"/>
                          <a:gd name="connsiteY2027" fmla="*/ 2581351 h 3083905"/>
                          <a:gd name="connsiteX2028" fmla="*/ 312176 w 6116787"/>
                          <a:gd name="connsiteY2028" fmla="*/ 2588484 h 3083905"/>
                          <a:gd name="connsiteX2029" fmla="*/ 317114 w 6116787"/>
                          <a:gd name="connsiteY2029" fmla="*/ 2585740 h 3083905"/>
                          <a:gd name="connsiteX2030" fmla="*/ 322600 w 6116787"/>
                          <a:gd name="connsiteY2030" fmla="*/ 2584643 h 3083905"/>
                          <a:gd name="connsiteX2031" fmla="*/ 328087 w 6116787"/>
                          <a:gd name="connsiteY2031" fmla="*/ 2585740 h 3083905"/>
                          <a:gd name="connsiteX2032" fmla="*/ 335768 w 6116787"/>
                          <a:gd name="connsiteY2032" fmla="*/ 2592873 h 3083905"/>
                          <a:gd name="connsiteX2033" fmla="*/ 341254 w 6116787"/>
                          <a:gd name="connsiteY2033" fmla="*/ 2591227 h 3083905"/>
                          <a:gd name="connsiteX2034" fmla="*/ 346741 w 6116787"/>
                          <a:gd name="connsiteY2034" fmla="*/ 2593970 h 3083905"/>
                          <a:gd name="connsiteX2035" fmla="*/ 373624 w 6116787"/>
                          <a:gd name="connsiteY2035" fmla="*/ 2583546 h 3083905"/>
                          <a:gd name="connsiteX2036" fmla="*/ 378562 w 6116787"/>
                          <a:gd name="connsiteY2036" fmla="*/ 2585192 h 3083905"/>
                          <a:gd name="connsiteX2037" fmla="*/ 396667 w 6116787"/>
                          <a:gd name="connsiteY2037" fmla="*/ 2613721 h 3083905"/>
                          <a:gd name="connsiteX2038" fmla="*/ 402702 w 6116787"/>
                          <a:gd name="connsiteY2038" fmla="*/ 2613172 h 3083905"/>
                          <a:gd name="connsiteX2039" fmla="*/ 404896 w 6116787"/>
                          <a:gd name="connsiteY2039" fmla="*/ 2607686 h 3083905"/>
                          <a:gd name="connsiteX2040" fmla="*/ 410383 w 6116787"/>
                          <a:gd name="connsiteY2040" fmla="*/ 2608235 h 3083905"/>
                          <a:gd name="connsiteX2041" fmla="*/ 413675 w 6116787"/>
                          <a:gd name="connsiteY2041" fmla="*/ 2612624 h 3083905"/>
                          <a:gd name="connsiteX2042" fmla="*/ 419161 w 6116787"/>
                          <a:gd name="connsiteY2042" fmla="*/ 2613721 h 3083905"/>
                          <a:gd name="connsiteX2043" fmla="*/ 424099 w 6116787"/>
                          <a:gd name="connsiteY2043" fmla="*/ 2615916 h 3083905"/>
                          <a:gd name="connsiteX2044" fmla="*/ 428488 w 6116787"/>
                          <a:gd name="connsiteY2044" fmla="*/ 2619756 h 3083905"/>
                          <a:gd name="connsiteX2045" fmla="*/ 439461 w 6116787"/>
                          <a:gd name="connsiteY2045" fmla="*/ 2619207 h 3083905"/>
                          <a:gd name="connsiteX2046" fmla="*/ 448239 w 6116787"/>
                          <a:gd name="connsiteY2046" fmla="*/ 2625791 h 3083905"/>
                          <a:gd name="connsiteX2047" fmla="*/ 453725 w 6116787"/>
                          <a:gd name="connsiteY2047" fmla="*/ 2625243 h 3083905"/>
                          <a:gd name="connsiteX2048" fmla="*/ 462504 w 6116787"/>
                          <a:gd name="connsiteY2048" fmla="*/ 2632923 h 3083905"/>
                          <a:gd name="connsiteX2049" fmla="*/ 473476 w 6116787"/>
                          <a:gd name="connsiteY2049" fmla="*/ 2633472 h 3083905"/>
                          <a:gd name="connsiteX2050" fmla="*/ 477866 w 6116787"/>
                          <a:gd name="connsiteY2050" fmla="*/ 2636764 h 3083905"/>
                          <a:gd name="connsiteX2051" fmla="*/ 472928 w 6116787"/>
                          <a:gd name="connsiteY2051" fmla="*/ 2639507 h 3083905"/>
                          <a:gd name="connsiteX2052" fmla="*/ 478414 w 6116787"/>
                          <a:gd name="connsiteY2052" fmla="*/ 2655418 h 3083905"/>
                          <a:gd name="connsiteX2053" fmla="*/ 472928 w 6116787"/>
                          <a:gd name="connsiteY2053" fmla="*/ 2665293 h 3083905"/>
                          <a:gd name="connsiteX2054" fmla="*/ 462504 w 6116787"/>
                          <a:gd name="connsiteY2054" fmla="*/ 2668036 h 3083905"/>
                          <a:gd name="connsiteX2055" fmla="*/ 465247 w 6116787"/>
                          <a:gd name="connsiteY2055" fmla="*/ 2672426 h 3083905"/>
                          <a:gd name="connsiteX2056" fmla="*/ 470733 w 6116787"/>
                          <a:gd name="connsiteY2056" fmla="*/ 2673523 h 3083905"/>
                          <a:gd name="connsiteX2057" fmla="*/ 474025 w 6116787"/>
                          <a:gd name="connsiteY2057" fmla="*/ 2677912 h 3083905"/>
                          <a:gd name="connsiteX2058" fmla="*/ 463052 w 6116787"/>
                          <a:gd name="connsiteY2058" fmla="*/ 2681204 h 3083905"/>
                          <a:gd name="connsiteX2059" fmla="*/ 460858 w 6116787"/>
                          <a:gd name="connsiteY2059" fmla="*/ 2686142 h 3083905"/>
                          <a:gd name="connsiteX2060" fmla="*/ 460309 w 6116787"/>
                          <a:gd name="connsiteY2060" fmla="*/ 2691079 h 3083905"/>
                          <a:gd name="connsiteX2061" fmla="*/ 463601 w 6116787"/>
                          <a:gd name="connsiteY2061" fmla="*/ 2695468 h 3083905"/>
                          <a:gd name="connsiteX2062" fmla="*/ 465796 w 6116787"/>
                          <a:gd name="connsiteY2062" fmla="*/ 2700955 h 3083905"/>
                          <a:gd name="connsiteX2063" fmla="*/ 464698 w 6116787"/>
                          <a:gd name="connsiteY2063" fmla="*/ 2706441 h 3083905"/>
                          <a:gd name="connsiteX2064" fmla="*/ 469087 w 6116787"/>
                          <a:gd name="connsiteY2064" fmla="*/ 2709184 h 3083905"/>
                          <a:gd name="connsiteX2065" fmla="*/ 462504 w 6116787"/>
                          <a:gd name="connsiteY2065" fmla="*/ 2736616 h 3083905"/>
                          <a:gd name="connsiteX2066" fmla="*/ 457017 w 6116787"/>
                          <a:gd name="connsiteY2066" fmla="*/ 2738262 h 3083905"/>
                          <a:gd name="connsiteX2067" fmla="*/ 446593 w 6116787"/>
                          <a:gd name="connsiteY2067" fmla="*/ 2736068 h 3083905"/>
                          <a:gd name="connsiteX2068" fmla="*/ 441107 w 6116787"/>
                          <a:gd name="connsiteY2068" fmla="*/ 2737165 h 3083905"/>
                          <a:gd name="connsiteX2069" fmla="*/ 431231 w 6116787"/>
                          <a:gd name="connsiteY2069" fmla="*/ 2731679 h 3083905"/>
                          <a:gd name="connsiteX2070" fmla="*/ 420807 w 6116787"/>
                          <a:gd name="connsiteY2070" fmla="*/ 2744846 h 3083905"/>
                          <a:gd name="connsiteX2071" fmla="*/ 410383 w 6116787"/>
                          <a:gd name="connsiteY2071" fmla="*/ 2749235 h 3083905"/>
                          <a:gd name="connsiteX2072" fmla="*/ 405445 w 6116787"/>
                          <a:gd name="connsiteY2072" fmla="*/ 2758562 h 3083905"/>
                          <a:gd name="connsiteX2073" fmla="*/ 406542 w 6116787"/>
                          <a:gd name="connsiteY2073" fmla="*/ 2775021 h 3083905"/>
                          <a:gd name="connsiteX2074" fmla="*/ 415869 w 6116787"/>
                          <a:gd name="connsiteY2074" fmla="*/ 2771181 h 3083905"/>
                          <a:gd name="connsiteX2075" fmla="*/ 421904 w 6116787"/>
                          <a:gd name="connsiteY2075" fmla="*/ 2772278 h 3083905"/>
                          <a:gd name="connsiteX2076" fmla="*/ 426842 w 6116787"/>
                          <a:gd name="connsiteY2076" fmla="*/ 2768986 h 3083905"/>
                          <a:gd name="connsiteX2077" fmla="*/ 436717 w 6116787"/>
                          <a:gd name="connsiteY2077" fmla="*/ 2767340 h 3083905"/>
                          <a:gd name="connsiteX2078" fmla="*/ 441107 w 6116787"/>
                          <a:gd name="connsiteY2078" fmla="*/ 2768438 h 3083905"/>
                          <a:gd name="connsiteX2079" fmla="*/ 441655 w 6116787"/>
                          <a:gd name="connsiteY2079" fmla="*/ 2772827 h 3083905"/>
                          <a:gd name="connsiteX2080" fmla="*/ 446593 w 6116787"/>
                          <a:gd name="connsiteY2080" fmla="*/ 2773375 h 3083905"/>
                          <a:gd name="connsiteX2081" fmla="*/ 448788 w 6116787"/>
                          <a:gd name="connsiteY2081" fmla="*/ 2775570 h 3083905"/>
                          <a:gd name="connsiteX2082" fmla="*/ 447142 w 6116787"/>
                          <a:gd name="connsiteY2082" fmla="*/ 2778862 h 3083905"/>
                          <a:gd name="connsiteX2083" fmla="*/ 441107 w 6116787"/>
                          <a:gd name="connsiteY2083" fmla="*/ 2778862 h 3083905"/>
                          <a:gd name="connsiteX2084" fmla="*/ 414223 w 6116787"/>
                          <a:gd name="connsiteY2084" fmla="*/ 2791480 h 3083905"/>
                          <a:gd name="connsiteX2085" fmla="*/ 414223 w 6116787"/>
                          <a:gd name="connsiteY2085" fmla="*/ 2794772 h 3083905"/>
                          <a:gd name="connsiteX2086" fmla="*/ 417515 w 6116787"/>
                          <a:gd name="connsiteY2086" fmla="*/ 2798613 h 3083905"/>
                          <a:gd name="connsiteX2087" fmla="*/ 414223 w 6116787"/>
                          <a:gd name="connsiteY2087" fmla="*/ 2800259 h 3083905"/>
                          <a:gd name="connsiteX2088" fmla="*/ 407091 w 6116787"/>
                          <a:gd name="connsiteY2088" fmla="*/ 2798064 h 3083905"/>
                          <a:gd name="connsiteX2089" fmla="*/ 389534 w 6116787"/>
                          <a:gd name="connsiteY2089" fmla="*/ 2800807 h 3083905"/>
                          <a:gd name="connsiteX2090" fmla="*/ 387889 w 6116787"/>
                          <a:gd name="connsiteY2090" fmla="*/ 2807391 h 3083905"/>
                          <a:gd name="connsiteX2091" fmla="*/ 393924 w 6116787"/>
                          <a:gd name="connsiteY2091" fmla="*/ 2812877 h 3083905"/>
                          <a:gd name="connsiteX2092" fmla="*/ 402702 w 6116787"/>
                          <a:gd name="connsiteY2092" fmla="*/ 2816718 h 3083905"/>
                          <a:gd name="connsiteX2093" fmla="*/ 415869 w 6116787"/>
                          <a:gd name="connsiteY2093" fmla="*/ 2831531 h 3083905"/>
                          <a:gd name="connsiteX2094" fmla="*/ 414223 w 6116787"/>
                          <a:gd name="connsiteY2094" fmla="*/ 2832628 h 3083905"/>
                          <a:gd name="connsiteX2095" fmla="*/ 404896 w 6116787"/>
                          <a:gd name="connsiteY2095" fmla="*/ 2829885 h 3083905"/>
                          <a:gd name="connsiteX2096" fmla="*/ 400507 w 6116787"/>
                          <a:gd name="connsiteY2096" fmla="*/ 2837566 h 3083905"/>
                          <a:gd name="connsiteX2097" fmla="*/ 396118 w 6116787"/>
                          <a:gd name="connsiteY2097" fmla="*/ 2836469 h 3083905"/>
                          <a:gd name="connsiteX2098" fmla="*/ 374721 w 6116787"/>
                          <a:gd name="connsiteY2098" fmla="*/ 2869936 h 3083905"/>
                          <a:gd name="connsiteX2099" fmla="*/ 355519 w 6116787"/>
                          <a:gd name="connsiteY2099" fmla="*/ 2869387 h 3083905"/>
                          <a:gd name="connsiteX2100" fmla="*/ 353324 w 6116787"/>
                          <a:gd name="connsiteY2100" fmla="*/ 2872679 h 3083905"/>
                          <a:gd name="connsiteX2101" fmla="*/ 353324 w 6116787"/>
                          <a:gd name="connsiteY2101" fmla="*/ 2876520 h 3083905"/>
                          <a:gd name="connsiteX2102" fmla="*/ 346741 w 6116787"/>
                          <a:gd name="connsiteY2102" fmla="*/ 2879812 h 3083905"/>
                          <a:gd name="connsiteX2103" fmla="*/ 363748 w 6116787"/>
                          <a:gd name="connsiteY2103" fmla="*/ 2890236 h 3083905"/>
                          <a:gd name="connsiteX2104" fmla="*/ 367040 w 6116787"/>
                          <a:gd name="connsiteY2104" fmla="*/ 2899563 h 3083905"/>
                          <a:gd name="connsiteX2105" fmla="*/ 373624 w 6116787"/>
                          <a:gd name="connsiteY2105" fmla="*/ 2907244 h 3083905"/>
                          <a:gd name="connsiteX2106" fmla="*/ 380756 w 6116787"/>
                          <a:gd name="connsiteY2106" fmla="*/ 2908341 h 3083905"/>
                          <a:gd name="connsiteX2107" fmla="*/ 383500 w 6116787"/>
                          <a:gd name="connsiteY2107" fmla="*/ 2905049 h 3083905"/>
                          <a:gd name="connsiteX2108" fmla="*/ 444398 w 6116787"/>
                          <a:gd name="connsiteY2108" fmla="*/ 2945648 h 3083905"/>
                          <a:gd name="connsiteX2109" fmla="*/ 453725 w 6116787"/>
                          <a:gd name="connsiteY2109" fmla="*/ 2959364 h 3083905"/>
                          <a:gd name="connsiteX2110" fmla="*/ 459212 w 6116787"/>
                          <a:gd name="connsiteY2110" fmla="*/ 2961010 h 3083905"/>
                          <a:gd name="connsiteX2111" fmla="*/ 467990 w 6116787"/>
                          <a:gd name="connsiteY2111" fmla="*/ 2968691 h 3083905"/>
                          <a:gd name="connsiteX2112" fmla="*/ 483901 w 6116787"/>
                          <a:gd name="connsiteY2112" fmla="*/ 2964851 h 3083905"/>
                          <a:gd name="connsiteX2113" fmla="*/ 489387 w 6116787"/>
                          <a:gd name="connsiteY2113" fmla="*/ 2966497 h 3083905"/>
                          <a:gd name="connsiteX2114" fmla="*/ 494873 w 6116787"/>
                          <a:gd name="connsiteY2114" fmla="*/ 2965948 h 3083905"/>
                          <a:gd name="connsiteX2115" fmla="*/ 505298 w 6116787"/>
                          <a:gd name="connsiteY2115" fmla="*/ 2969240 h 3083905"/>
                          <a:gd name="connsiteX2116" fmla="*/ 509687 w 6116787"/>
                          <a:gd name="connsiteY2116" fmla="*/ 2973080 h 3083905"/>
                          <a:gd name="connsiteX2117" fmla="*/ 535473 w 6116787"/>
                          <a:gd name="connsiteY2117" fmla="*/ 2981859 h 3083905"/>
                          <a:gd name="connsiteX2118" fmla="*/ 557967 w 6116787"/>
                          <a:gd name="connsiteY2118" fmla="*/ 2980761 h 3083905"/>
                          <a:gd name="connsiteX2119" fmla="*/ 568940 w 6116787"/>
                          <a:gd name="connsiteY2119" fmla="*/ 2984053 h 3083905"/>
                          <a:gd name="connsiteX2120" fmla="*/ 580461 w 6116787"/>
                          <a:gd name="connsiteY2120" fmla="*/ 2984053 h 3083905"/>
                          <a:gd name="connsiteX2121" fmla="*/ 613380 w 6116787"/>
                          <a:gd name="connsiteY2121" fmla="*/ 3006547 h 3083905"/>
                          <a:gd name="connsiteX2122" fmla="*/ 615574 w 6116787"/>
                          <a:gd name="connsiteY2122" fmla="*/ 3011485 h 3083905"/>
                          <a:gd name="connsiteX2123" fmla="*/ 620512 w 6116787"/>
                          <a:gd name="connsiteY2123" fmla="*/ 3014228 h 3083905"/>
                          <a:gd name="connsiteX2124" fmla="*/ 640812 w 6116787"/>
                          <a:gd name="connsiteY2124" fmla="*/ 3005450 h 3083905"/>
                          <a:gd name="connsiteX2125" fmla="*/ 646298 w 6116787"/>
                          <a:gd name="connsiteY2125" fmla="*/ 3004901 h 3083905"/>
                          <a:gd name="connsiteX2126" fmla="*/ 650138 w 6116787"/>
                          <a:gd name="connsiteY2126" fmla="*/ 3008742 h 3083905"/>
                          <a:gd name="connsiteX2127" fmla="*/ 655625 w 6116787"/>
                          <a:gd name="connsiteY2127" fmla="*/ 3007096 h 3083905"/>
                          <a:gd name="connsiteX2128" fmla="*/ 666598 w 6116787"/>
                          <a:gd name="connsiteY2128" fmla="*/ 3008742 h 3083905"/>
                          <a:gd name="connsiteX2129" fmla="*/ 669341 w 6116787"/>
                          <a:gd name="connsiteY2129" fmla="*/ 3014228 h 3083905"/>
                          <a:gd name="connsiteX2130" fmla="*/ 674827 w 6116787"/>
                          <a:gd name="connsiteY2130" fmla="*/ 3015874 h 3083905"/>
                          <a:gd name="connsiteX2131" fmla="*/ 680314 w 6116787"/>
                          <a:gd name="connsiteY2131" fmla="*/ 3015874 h 3083905"/>
                          <a:gd name="connsiteX2132" fmla="*/ 685252 w 6116787"/>
                          <a:gd name="connsiteY2132" fmla="*/ 3018069 h 3083905"/>
                          <a:gd name="connsiteX2133" fmla="*/ 687446 w 6116787"/>
                          <a:gd name="connsiteY2133" fmla="*/ 3023555 h 3083905"/>
                          <a:gd name="connsiteX2134" fmla="*/ 684703 w 6116787"/>
                          <a:gd name="connsiteY2134" fmla="*/ 3033979 h 3083905"/>
                          <a:gd name="connsiteX2135" fmla="*/ 693481 w 6116787"/>
                          <a:gd name="connsiteY2135" fmla="*/ 3040563 h 3083905"/>
                          <a:gd name="connsiteX2136" fmla="*/ 703905 w 6116787"/>
                          <a:gd name="connsiteY2136" fmla="*/ 3043855 h 3083905"/>
                          <a:gd name="connsiteX2137" fmla="*/ 717621 w 6116787"/>
                          <a:gd name="connsiteY2137" fmla="*/ 3053182 h 3083905"/>
                          <a:gd name="connsiteX2138" fmla="*/ 722559 w 6116787"/>
                          <a:gd name="connsiteY2138" fmla="*/ 3053182 h 3083905"/>
                          <a:gd name="connsiteX2139" fmla="*/ 730240 w 6116787"/>
                          <a:gd name="connsiteY2139" fmla="*/ 3060863 h 3083905"/>
                          <a:gd name="connsiteX2140" fmla="*/ 733532 w 6116787"/>
                          <a:gd name="connsiteY2140" fmla="*/ 3065800 h 3083905"/>
                          <a:gd name="connsiteX2141" fmla="*/ 739018 w 6116787"/>
                          <a:gd name="connsiteY2141" fmla="*/ 3066349 h 3083905"/>
                          <a:gd name="connsiteX2142" fmla="*/ 744505 w 6116787"/>
                          <a:gd name="connsiteY2142" fmla="*/ 3081711 h 3083905"/>
                          <a:gd name="connsiteX2143" fmla="*/ 760964 w 6116787"/>
                          <a:gd name="connsiteY2143" fmla="*/ 3083905 h 3083905"/>
                          <a:gd name="connsiteX2144" fmla="*/ 766450 w 6116787"/>
                          <a:gd name="connsiteY2144" fmla="*/ 3082808 h 3083905"/>
                          <a:gd name="connsiteX2145" fmla="*/ 769742 w 6116787"/>
                          <a:gd name="connsiteY2145" fmla="*/ 3078968 h 3083905"/>
                          <a:gd name="connsiteX2146" fmla="*/ 774131 w 6116787"/>
                          <a:gd name="connsiteY2146" fmla="*/ 3068544 h 3083905"/>
                          <a:gd name="connsiteX2147" fmla="*/ 784007 w 6116787"/>
                          <a:gd name="connsiteY2147" fmla="*/ 3063606 h 3083905"/>
                          <a:gd name="connsiteX2148" fmla="*/ 790042 w 6116787"/>
                          <a:gd name="connsiteY2148" fmla="*/ 3050987 h 3083905"/>
                          <a:gd name="connsiteX2149" fmla="*/ 783458 w 6116787"/>
                          <a:gd name="connsiteY2149" fmla="*/ 3047695 h 3083905"/>
                          <a:gd name="connsiteX2150" fmla="*/ 753832 w 6116787"/>
                          <a:gd name="connsiteY2150" fmla="*/ 2990088 h 3083905"/>
                          <a:gd name="connsiteX2151" fmla="*/ 753832 w 6116787"/>
                          <a:gd name="connsiteY2151" fmla="*/ 2975275 h 3083905"/>
                          <a:gd name="connsiteX2152" fmla="*/ 758769 w 6116787"/>
                          <a:gd name="connsiteY2152" fmla="*/ 2956621 h 3083905"/>
                          <a:gd name="connsiteX2153" fmla="*/ 757123 w 6116787"/>
                          <a:gd name="connsiteY2153" fmla="*/ 2947843 h 3083905"/>
                          <a:gd name="connsiteX2154" fmla="*/ 751088 w 6116787"/>
                          <a:gd name="connsiteY2154" fmla="*/ 2962108 h 3083905"/>
                          <a:gd name="connsiteX2155" fmla="*/ 748894 w 6116787"/>
                          <a:gd name="connsiteY2155" fmla="*/ 2958267 h 3083905"/>
                          <a:gd name="connsiteX2156" fmla="*/ 747248 w 6116787"/>
                          <a:gd name="connsiteY2156" fmla="*/ 2946197 h 3083905"/>
                          <a:gd name="connsiteX2157" fmla="*/ 732434 w 6116787"/>
                          <a:gd name="connsiteY2157" fmla="*/ 2922605 h 3083905"/>
                          <a:gd name="connsiteX2158" fmla="*/ 725302 w 6116787"/>
                          <a:gd name="connsiteY2158" fmla="*/ 2922605 h 3083905"/>
                          <a:gd name="connsiteX2159" fmla="*/ 722010 w 6116787"/>
                          <a:gd name="connsiteY2159" fmla="*/ 2912730 h 3083905"/>
                          <a:gd name="connsiteX2160" fmla="*/ 728045 w 6116787"/>
                          <a:gd name="connsiteY2160" fmla="*/ 2903403 h 3083905"/>
                          <a:gd name="connsiteX2161" fmla="*/ 728594 w 6116787"/>
                          <a:gd name="connsiteY2161" fmla="*/ 2895722 h 3083905"/>
                          <a:gd name="connsiteX2162" fmla="*/ 734080 w 6116787"/>
                          <a:gd name="connsiteY2162" fmla="*/ 2888590 h 3083905"/>
                          <a:gd name="connsiteX2163" fmla="*/ 736275 w 6116787"/>
                          <a:gd name="connsiteY2163" fmla="*/ 2888590 h 3083905"/>
                          <a:gd name="connsiteX2164" fmla="*/ 737372 w 6116787"/>
                          <a:gd name="connsiteY2164" fmla="*/ 2886944 h 3083905"/>
                          <a:gd name="connsiteX2165" fmla="*/ 738470 w 6116787"/>
                          <a:gd name="connsiteY2165" fmla="*/ 2880360 h 3083905"/>
                          <a:gd name="connsiteX2166" fmla="*/ 745053 w 6116787"/>
                          <a:gd name="connsiteY2166" fmla="*/ 2874325 h 3083905"/>
                          <a:gd name="connsiteX2167" fmla="*/ 749442 w 6116787"/>
                          <a:gd name="connsiteY2167" fmla="*/ 2850185 h 3083905"/>
                          <a:gd name="connsiteX2168" fmla="*/ 754929 w 6116787"/>
                          <a:gd name="connsiteY2168" fmla="*/ 2851831 h 3083905"/>
                          <a:gd name="connsiteX2169" fmla="*/ 758769 w 6116787"/>
                          <a:gd name="connsiteY2169" fmla="*/ 2829885 h 3083905"/>
                          <a:gd name="connsiteX2170" fmla="*/ 751637 w 6116787"/>
                          <a:gd name="connsiteY2170" fmla="*/ 2819461 h 3083905"/>
                          <a:gd name="connsiteX2171" fmla="*/ 766999 w 6116787"/>
                          <a:gd name="connsiteY2171" fmla="*/ 2822204 h 3083905"/>
                          <a:gd name="connsiteX2172" fmla="*/ 766450 w 6116787"/>
                          <a:gd name="connsiteY2172" fmla="*/ 2827142 h 3083905"/>
                          <a:gd name="connsiteX2173" fmla="*/ 773582 w 6116787"/>
                          <a:gd name="connsiteY2173" fmla="*/ 2844699 h 3083905"/>
                          <a:gd name="connsiteX2174" fmla="*/ 779069 w 6116787"/>
                          <a:gd name="connsiteY2174" fmla="*/ 2844699 h 3083905"/>
                          <a:gd name="connsiteX2175" fmla="*/ 782909 w 6116787"/>
                          <a:gd name="connsiteY2175" fmla="*/ 2843053 h 3083905"/>
                          <a:gd name="connsiteX2176" fmla="*/ 785653 w 6116787"/>
                          <a:gd name="connsiteY2176" fmla="*/ 2843053 h 3083905"/>
                          <a:gd name="connsiteX2177" fmla="*/ 794431 w 6116787"/>
                          <a:gd name="connsiteY2177" fmla="*/ 2823301 h 3083905"/>
                          <a:gd name="connsiteX2178" fmla="*/ 798271 w 6116787"/>
                          <a:gd name="connsiteY2178" fmla="*/ 2820558 h 3083905"/>
                          <a:gd name="connsiteX2179" fmla="*/ 793882 w 6116787"/>
                          <a:gd name="connsiteY2179" fmla="*/ 2819461 h 3083905"/>
                          <a:gd name="connsiteX2180" fmla="*/ 791139 w 6116787"/>
                          <a:gd name="connsiteY2180" fmla="*/ 2815072 h 3083905"/>
                          <a:gd name="connsiteX2181" fmla="*/ 786201 w 6116787"/>
                          <a:gd name="connsiteY2181" fmla="*/ 2812877 h 3083905"/>
                          <a:gd name="connsiteX2182" fmla="*/ 780715 w 6116787"/>
                          <a:gd name="connsiteY2182" fmla="*/ 2812877 h 3083905"/>
                          <a:gd name="connsiteX2183" fmla="*/ 776326 w 6116787"/>
                          <a:gd name="connsiteY2183" fmla="*/ 2810683 h 3083905"/>
                          <a:gd name="connsiteX2184" fmla="*/ 774131 w 6116787"/>
                          <a:gd name="connsiteY2184" fmla="*/ 2806294 h 3083905"/>
                          <a:gd name="connsiteX2185" fmla="*/ 778520 w 6116787"/>
                          <a:gd name="connsiteY2185" fmla="*/ 2801905 h 3083905"/>
                          <a:gd name="connsiteX2186" fmla="*/ 779069 w 6116787"/>
                          <a:gd name="connsiteY2186" fmla="*/ 2796418 h 3083905"/>
                          <a:gd name="connsiteX2187" fmla="*/ 784555 w 6116787"/>
                          <a:gd name="connsiteY2187" fmla="*/ 2795321 h 3083905"/>
                          <a:gd name="connsiteX2188" fmla="*/ 790042 w 6116787"/>
                          <a:gd name="connsiteY2188" fmla="*/ 2798613 h 3083905"/>
                          <a:gd name="connsiteX2189" fmla="*/ 798271 w 6116787"/>
                          <a:gd name="connsiteY2189" fmla="*/ 2796418 h 3083905"/>
                          <a:gd name="connsiteX2190" fmla="*/ 792785 w 6116787"/>
                          <a:gd name="connsiteY2190" fmla="*/ 2758013 h 3083905"/>
                          <a:gd name="connsiteX2191" fmla="*/ 787298 w 6116787"/>
                          <a:gd name="connsiteY2191" fmla="*/ 2756367 h 3083905"/>
                          <a:gd name="connsiteX2192" fmla="*/ 780166 w 6116787"/>
                          <a:gd name="connsiteY2192" fmla="*/ 2741554 h 3083905"/>
                          <a:gd name="connsiteX2193" fmla="*/ 775777 w 6116787"/>
                          <a:gd name="connsiteY2193" fmla="*/ 2737714 h 3083905"/>
                          <a:gd name="connsiteX2194" fmla="*/ 759318 w 6116787"/>
                          <a:gd name="connsiteY2194" fmla="*/ 2739360 h 3083905"/>
                          <a:gd name="connsiteX2195" fmla="*/ 749991 w 6116787"/>
                          <a:gd name="connsiteY2195" fmla="*/ 2736616 h 3083905"/>
                          <a:gd name="connsiteX2196" fmla="*/ 748894 w 6116787"/>
                          <a:gd name="connsiteY2196" fmla="*/ 2743200 h 3083905"/>
                          <a:gd name="connsiteX2197" fmla="*/ 740664 w 6116787"/>
                          <a:gd name="connsiteY2197" fmla="*/ 2734422 h 3083905"/>
                          <a:gd name="connsiteX2198" fmla="*/ 740116 w 6116787"/>
                          <a:gd name="connsiteY2198" fmla="*/ 2728935 h 3083905"/>
                          <a:gd name="connsiteX2199" fmla="*/ 737372 w 6116787"/>
                          <a:gd name="connsiteY2199" fmla="*/ 2723998 h 3083905"/>
                          <a:gd name="connsiteX2200" fmla="*/ 740116 w 6116787"/>
                          <a:gd name="connsiteY2200" fmla="*/ 2719609 h 3083905"/>
                          <a:gd name="connsiteX2201" fmla="*/ 737372 w 6116787"/>
                          <a:gd name="connsiteY2201" fmla="*/ 2714671 h 3083905"/>
                          <a:gd name="connsiteX2202" fmla="*/ 736824 w 6116787"/>
                          <a:gd name="connsiteY2202" fmla="*/ 2709733 h 3083905"/>
                          <a:gd name="connsiteX2203" fmla="*/ 717073 w 6116787"/>
                          <a:gd name="connsiteY2203" fmla="*/ 2703149 h 3083905"/>
                          <a:gd name="connsiteX2204" fmla="*/ 724754 w 6116787"/>
                          <a:gd name="connsiteY2204" fmla="*/ 2672974 h 3083905"/>
                          <a:gd name="connsiteX2205" fmla="*/ 734080 w 6116787"/>
                          <a:gd name="connsiteY2205" fmla="*/ 2667488 h 3083905"/>
                          <a:gd name="connsiteX2206" fmla="*/ 737372 w 6116787"/>
                          <a:gd name="connsiteY2206" fmla="*/ 2662550 h 3083905"/>
                          <a:gd name="connsiteX2207" fmla="*/ 735178 w 6116787"/>
                          <a:gd name="connsiteY2207" fmla="*/ 2657612 h 3083905"/>
                          <a:gd name="connsiteX2208" fmla="*/ 727497 w 6116787"/>
                          <a:gd name="connsiteY2208" fmla="*/ 2650480 h 3083905"/>
                          <a:gd name="connsiteX2209" fmla="*/ 734629 w 6116787"/>
                          <a:gd name="connsiteY2209" fmla="*/ 2619207 h 3083905"/>
                          <a:gd name="connsiteX2210" fmla="*/ 743956 w 6116787"/>
                          <a:gd name="connsiteY2210" fmla="*/ 2613721 h 3083905"/>
                          <a:gd name="connsiteX2211" fmla="*/ 747248 w 6116787"/>
                          <a:gd name="connsiteY2211" fmla="*/ 2608783 h 3083905"/>
                          <a:gd name="connsiteX2212" fmla="*/ 746150 w 6116787"/>
                          <a:gd name="connsiteY2212" fmla="*/ 2603297 h 3083905"/>
                          <a:gd name="connsiteX2213" fmla="*/ 747796 w 6116787"/>
                          <a:gd name="connsiteY2213" fmla="*/ 2598359 h 3083905"/>
                          <a:gd name="connsiteX2214" fmla="*/ 748345 w 6116787"/>
                          <a:gd name="connsiteY2214" fmla="*/ 2592873 h 3083905"/>
                          <a:gd name="connsiteX2215" fmla="*/ 750540 w 6116787"/>
                          <a:gd name="connsiteY2215" fmla="*/ 2587386 h 3083905"/>
                          <a:gd name="connsiteX2216" fmla="*/ 753832 w 6116787"/>
                          <a:gd name="connsiteY2216" fmla="*/ 2582997 h 3083905"/>
                          <a:gd name="connsiteX2217" fmla="*/ 758769 w 6116787"/>
                          <a:gd name="connsiteY2217" fmla="*/ 2586289 h 3083905"/>
                          <a:gd name="connsiteX2218" fmla="*/ 760415 w 6116787"/>
                          <a:gd name="connsiteY2218" fmla="*/ 2591775 h 3083905"/>
                          <a:gd name="connsiteX2219" fmla="*/ 769193 w 6116787"/>
                          <a:gd name="connsiteY2219" fmla="*/ 2598359 h 3083905"/>
                          <a:gd name="connsiteX2220" fmla="*/ 781264 w 6116787"/>
                          <a:gd name="connsiteY2220" fmla="*/ 2623597 h 3083905"/>
                          <a:gd name="connsiteX2221" fmla="*/ 786750 w 6116787"/>
                          <a:gd name="connsiteY2221" fmla="*/ 2625243 h 3083905"/>
                          <a:gd name="connsiteX2222" fmla="*/ 804306 w 6116787"/>
                          <a:gd name="connsiteY2222" fmla="*/ 2612624 h 3083905"/>
                          <a:gd name="connsiteX2223" fmla="*/ 792785 w 6116787"/>
                          <a:gd name="connsiteY2223" fmla="*/ 2575865 h 3083905"/>
                          <a:gd name="connsiteX2224" fmla="*/ 798271 w 6116787"/>
                          <a:gd name="connsiteY2224" fmla="*/ 2576962 h 3083905"/>
                          <a:gd name="connsiteX2225" fmla="*/ 821863 w 6116787"/>
                          <a:gd name="connsiteY2225" fmla="*/ 2562698 h 3083905"/>
                          <a:gd name="connsiteX2226" fmla="*/ 825155 w 6116787"/>
                          <a:gd name="connsiteY2226" fmla="*/ 2558308 h 3083905"/>
                          <a:gd name="connsiteX2227" fmla="*/ 825155 w 6116787"/>
                          <a:gd name="connsiteY2227" fmla="*/ 2546787 h 3083905"/>
                          <a:gd name="connsiteX2228" fmla="*/ 830641 w 6116787"/>
                          <a:gd name="connsiteY2228" fmla="*/ 2546238 h 3083905"/>
                          <a:gd name="connsiteX2229" fmla="*/ 836128 w 6116787"/>
                          <a:gd name="connsiteY2229" fmla="*/ 2546238 h 3083905"/>
                          <a:gd name="connsiteX2230" fmla="*/ 841065 w 6116787"/>
                          <a:gd name="connsiteY2230" fmla="*/ 2544592 h 3083905"/>
                          <a:gd name="connsiteX2231" fmla="*/ 844906 w 6116787"/>
                          <a:gd name="connsiteY2231" fmla="*/ 2540203 h 3083905"/>
                          <a:gd name="connsiteX2232" fmla="*/ 854781 w 6116787"/>
                          <a:gd name="connsiteY2232" fmla="*/ 2535814 h 3083905"/>
                          <a:gd name="connsiteX2233" fmla="*/ 858073 w 6116787"/>
                          <a:gd name="connsiteY2233" fmla="*/ 2531425 h 3083905"/>
                          <a:gd name="connsiteX2234" fmla="*/ 863011 w 6116787"/>
                          <a:gd name="connsiteY2234" fmla="*/ 2528133 h 3083905"/>
                          <a:gd name="connsiteX2235" fmla="*/ 866303 w 6116787"/>
                          <a:gd name="connsiteY2235" fmla="*/ 2524293 h 3083905"/>
                          <a:gd name="connsiteX2236" fmla="*/ 867400 w 6116787"/>
                          <a:gd name="connsiteY2236" fmla="*/ 2518806 h 3083905"/>
                          <a:gd name="connsiteX2237" fmla="*/ 872338 w 6116787"/>
                          <a:gd name="connsiteY2237" fmla="*/ 2514966 h 3083905"/>
                          <a:gd name="connsiteX2238" fmla="*/ 882762 w 6116787"/>
                          <a:gd name="connsiteY2238" fmla="*/ 2512223 h 3083905"/>
                          <a:gd name="connsiteX2239" fmla="*/ 893186 w 6116787"/>
                          <a:gd name="connsiteY2239" fmla="*/ 2512223 h 3083905"/>
                          <a:gd name="connsiteX2240" fmla="*/ 897026 w 6116787"/>
                          <a:gd name="connsiteY2240" fmla="*/ 2522647 h 3083905"/>
                          <a:gd name="connsiteX2241" fmla="*/ 907999 w 6116787"/>
                          <a:gd name="connsiteY2241" fmla="*/ 2520452 h 3083905"/>
                          <a:gd name="connsiteX2242" fmla="*/ 911291 w 6116787"/>
                          <a:gd name="connsiteY2242" fmla="*/ 2524841 h 3083905"/>
                          <a:gd name="connsiteX2243" fmla="*/ 914034 w 6116787"/>
                          <a:gd name="connsiteY2243" fmla="*/ 2520452 h 3083905"/>
                          <a:gd name="connsiteX2244" fmla="*/ 916229 w 6116787"/>
                          <a:gd name="connsiteY2244" fmla="*/ 2514417 h 3083905"/>
                          <a:gd name="connsiteX2245" fmla="*/ 919521 w 6116787"/>
                          <a:gd name="connsiteY2245" fmla="*/ 2510028 h 3083905"/>
                          <a:gd name="connsiteX2246" fmla="*/ 925007 w 6116787"/>
                          <a:gd name="connsiteY2246" fmla="*/ 2510028 h 3083905"/>
                          <a:gd name="connsiteX2247" fmla="*/ 929945 w 6116787"/>
                          <a:gd name="connsiteY2247" fmla="*/ 2507834 h 3083905"/>
                          <a:gd name="connsiteX2248" fmla="*/ 935431 w 6116787"/>
                          <a:gd name="connsiteY2248" fmla="*/ 2508382 h 3083905"/>
                          <a:gd name="connsiteX2249" fmla="*/ 939272 w 6116787"/>
                          <a:gd name="connsiteY2249" fmla="*/ 2518806 h 3083905"/>
                          <a:gd name="connsiteX2250" fmla="*/ 942564 w 6116787"/>
                          <a:gd name="connsiteY2250" fmla="*/ 2522647 h 3083905"/>
                          <a:gd name="connsiteX2251" fmla="*/ 953536 w 6116787"/>
                          <a:gd name="connsiteY2251" fmla="*/ 2520452 h 3083905"/>
                          <a:gd name="connsiteX2252" fmla="*/ 958474 w 6116787"/>
                          <a:gd name="connsiteY2252" fmla="*/ 2522647 h 3083905"/>
                          <a:gd name="connsiteX2253" fmla="*/ 969447 w 6116787"/>
                          <a:gd name="connsiteY2253" fmla="*/ 2520452 h 3083905"/>
                          <a:gd name="connsiteX2254" fmla="*/ 974933 w 6116787"/>
                          <a:gd name="connsiteY2254" fmla="*/ 2520452 h 3083905"/>
                          <a:gd name="connsiteX2255" fmla="*/ 983712 w 6116787"/>
                          <a:gd name="connsiteY2255" fmla="*/ 2527585 h 3083905"/>
                          <a:gd name="connsiteX2256" fmla="*/ 987552 w 6116787"/>
                          <a:gd name="connsiteY2256" fmla="*/ 2538009 h 3083905"/>
                          <a:gd name="connsiteX2257" fmla="*/ 1001817 w 6116787"/>
                          <a:gd name="connsiteY2257" fmla="*/ 2546238 h 3083905"/>
                          <a:gd name="connsiteX2258" fmla="*/ 1005109 w 6116787"/>
                          <a:gd name="connsiteY2258" fmla="*/ 2550627 h 3083905"/>
                          <a:gd name="connsiteX2259" fmla="*/ 1007303 w 6116787"/>
                          <a:gd name="connsiteY2259" fmla="*/ 2556114 h 3083905"/>
                          <a:gd name="connsiteX2260" fmla="*/ 1014436 w 6116787"/>
                          <a:gd name="connsiteY2260" fmla="*/ 2564343 h 3083905"/>
                          <a:gd name="connsiteX2261" fmla="*/ 1014436 w 6116787"/>
                          <a:gd name="connsiteY2261" fmla="*/ 2575316 h 3083905"/>
                          <a:gd name="connsiteX2262" fmla="*/ 1017727 w 6116787"/>
                          <a:gd name="connsiteY2262" fmla="*/ 2579705 h 3083905"/>
                          <a:gd name="connsiteX2263" fmla="*/ 1023214 w 6116787"/>
                          <a:gd name="connsiteY2263" fmla="*/ 2578059 h 3083905"/>
                          <a:gd name="connsiteX2264" fmla="*/ 1022665 w 6116787"/>
                          <a:gd name="connsiteY2264" fmla="*/ 2561600 h 3083905"/>
                          <a:gd name="connsiteX2265" fmla="*/ 1019922 w 6116787"/>
                          <a:gd name="connsiteY2265" fmla="*/ 2556663 h 3083905"/>
                          <a:gd name="connsiteX2266" fmla="*/ 1023214 w 6116787"/>
                          <a:gd name="connsiteY2266" fmla="*/ 2552822 h 3083905"/>
                          <a:gd name="connsiteX2267" fmla="*/ 1028700 w 6116787"/>
                          <a:gd name="connsiteY2267" fmla="*/ 2551725 h 3083905"/>
                          <a:gd name="connsiteX2268" fmla="*/ 1030895 w 6116787"/>
                          <a:gd name="connsiteY2268" fmla="*/ 2557211 h 3083905"/>
                          <a:gd name="connsiteX2269" fmla="*/ 1035284 w 6116787"/>
                          <a:gd name="connsiteY2269" fmla="*/ 2560503 h 3083905"/>
                          <a:gd name="connsiteX2270" fmla="*/ 1036930 w 6116787"/>
                          <a:gd name="connsiteY2270" fmla="*/ 2565989 h 3083905"/>
                          <a:gd name="connsiteX2271" fmla="*/ 1040770 w 6116787"/>
                          <a:gd name="connsiteY2271" fmla="*/ 2569281 h 3083905"/>
                          <a:gd name="connsiteX2272" fmla="*/ 1061070 w 6116787"/>
                          <a:gd name="connsiteY2272" fmla="*/ 2579157 h 3083905"/>
                          <a:gd name="connsiteX2273" fmla="*/ 1067105 w 6116787"/>
                          <a:gd name="connsiteY2273" fmla="*/ 2577511 h 3083905"/>
                          <a:gd name="connsiteX2274" fmla="*/ 1080272 w 6116787"/>
                          <a:gd name="connsiteY2274" fmla="*/ 2567635 h 3083905"/>
                          <a:gd name="connsiteX2275" fmla="*/ 1080272 w 6116787"/>
                          <a:gd name="connsiteY2275" fmla="*/ 2562149 h 3083905"/>
                          <a:gd name="connsiteX2276" fmla="*/ 1085210 w 6116787"/>
                          <a:gd name="connsiteY2276" fmla="*/ 2559954 h 3083905"/>
                          <a:gd name="connsiteX2277" fmla="*/ 1089050 w 6116787"/>
                          <a:gd name="connsiteY2277" fmla="*/ 2556114 h 3083905"/>
                          <a:gd name="connsiteX2278" fmla="*/ 1094537 w 6116787"/>
                          <a:gd name="connsiteY2278" fmla="*/ 2555017 h 3083905"/>
                          <a:gd name="connsiteX2279" fmla="*/ 1099475 w 6116787"/>
                          <a:gd name="connsiteY2279" fmla="*/ 2556663 h 3083905"/>
                          <a:gd name="connsiteX2280" fmla="*/ 1100023 w 6116787"/>
                          <a:gd name="connsiteY2280" fmla="*/ 2551725 h 3083905"/>
                          <a:gd name="connsiteX2281" fmla="*/ 1110996 w 6116787"/>
                          <a:gd name="connsiteY2281" fmla="*/ 2552273 h 3083905"/>
                          <a:gd name="connsiteX2282" fmla="*/ 1115934 w 6116787"/>
                          <a:gd name="connsiteY2282" fmla="*/ 2549530 h 3083905"/>
                          <a:gd name="connsiteX2283" fmla="*/ 1128553 w 6116787"/>
                          <a:gd name="connsiteY2283" fmla="*/ 2560503 h 3083905"/>
                          <a:gd name="connsiteX2284" fmla="*/ 1138428 w 6116787"/>
                          <a:gd name="connsiteY2284" fmla="*/ 2554468 h 3083905"/>
                          <a:gd name="connsiteX2285" fmla="*/ 1140623 w 6116787"/>
                          <a:gd name="connsiteY2285" fmla="*/ 2549530 h 3083905"/>
                          <a:gd name="connsiteX2286" fmla="*/ 1151596 w 6116787"/>
                          <a:gd name="connsiteY2286" fmla="*/ 2549530 h 3083905"/>
                          <a:gd name="connsiteX2287" fmla="*/ 1156533 w 6116787"/>
                          <a:gd name="connsiteY2287" fmla="*/ 2546787 h 3083905"/>
                          <a:gd name="connsiteX2288" fmla="*/ 1166957 w 6116787"/>
                          <a:gd name="connsiteY2288" fmla="*/ 2550627 h 3083905"/>
                          <a:gd name="connsiteX2289" fmla="*/ 1170249 w 6116787"/>
                          <a:gd name="connsiteY2289" fmla="*/ 2555017 h 3083905"/>
                          <a:gd name="connsiteX2290" fmla="*/ 1171346 w 6116787"/>
                          <a:gd name="connsiteY2290" fmla="*/ 2566538 h 3083905"/>
                          <a:gd name="connsiteX2291" fmla="*/ 1178479 w 6116787"/>
                          <a:gd name="connsiteY2291" fmla="*/ 2574219 h 3083905"/>
                          <a:gd name="connsiteX2292" fmla="*/ 1189452 w 6116787"/>
                          <a:gd name="connsiteY2292" fmla="*/ 2573122 h 3083905"/>
                          <a:gd name="connsiteX2293" fmla="*/ 1199876 w 6116787"/>
                          <a:gd name="connsiteY2293" fmla="*/ 2575316 h 3083905"/>
                          <a:gd name="connsiteX2294" fmla="*/ 1199327 w 6116787"/>
                          <a:gd name="connsiteY2294" fmla="*/ 2575316 h 3083905"/>
                          <a:gd name="connsiteX2295" fmla="*/ 1201522 w 6116787"/>
                          <a:gd name="connsiteY2295" fmla="*/ 2582997 h 3083905"/>
                          <a:gd name="connsiteX2296" fmla="*/ 1213043 w 6116787"/>
                          <a:gd name="connsiteY2296" fmla="*/ 2581900 h 3083905"/>
                          <a:gd name="connsiteX2297" fmla="*/ 1217981 w 6116787"/>
                          <a:gd name="connsiteY2297" fmla="*/ 2579157 h 3083905"/>
                          <a:gd name="connsiteX2298" fmla="*/ 1225662 w 6116787"/>
                          <a:gd name="connsiteY2298" fmla="*/ 2564343 h 3083905"/>
                          <a:gd name="connsiteX2299" fmla="*/ 1230600 w 6116787"/>
                          <a:gd name="connsiteY2299" fmla="*/ 2566538 h 3083905"/>
                          <a:gd name="connsiteX2300" fmla="*/ 1237732 w 6116787"/>
                          <a:gd name="connsiteY2300" fmla="*/ 2574768 h 3083905"/>
                          <a:gd name="connsiteX2301" fmla="*/ 1259678 w 6116787"/>
                          <a:gd name="connsiteY2301" fmla="*/ 2573122 h 3083905"/>
                          <a:gd name="connsiteX2302" fmla="*/ 1264615 w 6116787"/>
                          <a:gd name="connsiteY2302" fmla="*/ 2569830 h 3083905"/>
                          <a:gd name="connsiteX2303" fmla="*/ 1275040 w 6116787"/>
                          <a:gd name="connsiteY2303" fmla="*/ 2565989 h 3083905"/>
                          <a:gd name="connsiteX2304" fmla="*/ 1285464 w 6116787"/>
                          <a:gd name="connsiteY2304" fmla="*/ 2535266 h 3083905"/>
                          <a:gd name="connsiteX2305" fmla="*/ 1280526 w 6116787"/>
                          <a:gd name="connsiteY2305" fmla="*/ 2528133 h 3083905"/>
                          <a:gd name="connsiteX2306" fmla="*/ 1260226 w 6116787"/>
                          <a:gd name="connsiteY2306" fmla="*/ 2526487 h 3083905"/>
                          <a:gd name="connsiteX2307" fmla="*/ 1253642 w 6116787"/>
                          <a:gd name="connsiteY2307" fmla="*/ 2517709 h 3083905"/>
                          <a:gd name="connsiteX2308" fmla="*/ 1237183 w 6116787"/>
                          <a:gd name="connsiteY2308" fmla="*/ 2513869 h 3083905"/>
                          <a:gd name="connsiteX2309" fmla="*/ 1237732 w 6116787"/>
                          <a:gd name="connsiteY2309" fmla="*/ 2507834 h 3083905"/>
                          <a:gd name="connsiteX2310" fmla="*/ 1234989 w 6116787"/>
                          <a:gd name="connsiteY2310" fmla="*/ 2503444 h 3083905"/>
                          <a:gd name="connsiteX2311" fmla="*/ 1223467 w 6116787"/>
                          <a:gd name="connsiteY2311" fmla="*/ 2501250 h 3083905"/>
                          <a:gd name="connsiteX2312" fmla="*/ 1224016 w 6116787"/>
                          <a:gd name="connsiteY2312" fmla="*/ 2495215 h 3083905"/>
                          <a:gd name="connsiteX2313" fmla="*/ 1229503 w 6116787"/>
                          <a:gd name="connsiteY2313" fmla="*/ 2494118 h 3083905"/>
                          <a:gd name="connsiteX2314" fmla="*/ 1237732 w 6116787"/>
                          <a:gd name="connsiteY2314" fmla="*/ 2486985 h 3083905"/>
                          <a:gd name="connsiteX2315" fmla="*/ 1258032 w 6116787"/>
                          <a:gd name="connsiteY2315" fmla="*/ 2477110 h 3083905"/>
                          <a:gd name="connsiteX2316" fmla="*/ 1260775 w 6116787"/>
                          <a:gd name="connsiteY2316" fmla="*/ 2472172 h 3083905"/>
                          <a:gd name="connsiteX2317" fmla="*/ 1261324 w 6116787"/>
                          <a:gd name="connsiteY2317" fmla="*/ 2466686 h 3083905"/>
                          <a:gd name="connsiteX2318" fmla="*/ 1248705 w 6116787"/>
                          <a:gd name="connsiteY2318" fmla="*/ 2448032 h 3083905"/>
                          <a:gd name="connsiteX2319" fmla="*/ 1253642 w 6116787"/>
                          <a:gd name="connsiteY2319" fmla="*/ 2446386 h 3083905"/>
                          <a:gd name="connsiteX2320" fmla="*/ 1258032 w 6116787"/>
                          <a:gd name="connsiteY2320" fmla="*/ 2441997 h 3083905"/>
                          <a:gd name="connsiteX2321" fmla="*/ 1259678 w 6116787"/>
                          <a:gd name="connsiteY2321" fmla="*/ 2437059 h 3083905"/>
                          <a:gd name="connsiteX2322" fmla="*/ 1263518 w 6116787"/>
                          <a:gd name="connsiteY2322" fmla="*/ 2432670 h 3083905"/>
                          <a:gd name="connsiteX2323" fmla="*/ 1269553 w 6116787"/>
                          <a:gd name="connsiteY2323" fmla="*/ 2432121 h 3083905"/>
                          <a:gd name="connsiteX2324" fmla="*/ 1275040 w 6116787"/>
                          <a:gd name="connsiteY2324" fmla="*/ 2433767 h 3083905"/>
                          <a:gd name="connsiteX2325" fmla="*/ 1280526 w 6116787"/>
                          <a:gd name="connsiteY2325" fmla="*/ 2432670 h 3083905"/>
                          <a:gd name="connsiteX2326" fmla="*/ 1286012 w 6116787"/>
                          <a:gd name="connsiteY2326" fmla="*/ 2433767 h 3083905"/>
                          <a:gd name="connsiteX2327" fmla="*/ 1296985 w 6116787"/>
                          <a:gd name="connsiteY2327" fmla="*/ 2433767 h 3083905"/>
                          <a:gd name="connsiteX2328" fmla="*/ 1301923 w 6116787"/>
                          <a:gd name="connsiteY2328" fmla="*/ 2432121 h 3083905"/>
                          <a:gd name="connsiteX2329" fmla="*/ 1304666 w 6116787"/>
                          <a:gd name="connsiteY2329" fmla="*/ 2426635 h 3083905"/>
                          <a:gd name="connsiteX2330" fmla="*/ 1301374 w 6116787"/>
                          <a:gd name="connsiteY2330" fmla="*/ 2422246 h 3083905"/>
                          <a:gd name="connsiteX2331" fmla="*/ 1291499 w 6116787"/>
                          <a:gd name="connsiteY2331" fmla="*/ 2416759 h 3083905"/>
                          <a:gd name="connsiteX2332" fmla="*/ 1269553 w 6116787"/>
                          <a:gd name="connsiteY2332" fmla="*/ 2413467 h 3083905"/>
                          <a:gd name="connsiteX2333" fmla="*/ 1266810 w 6116787"/>
                          <a:gd name="connsiteY2333" fmla="*/ 2408530 h 3083905"/>
                          <a:gd name="connsiteX2334" fmla="*/ 1267907 w 6116787"/>
                          <a:gd name="connsiteY2334" fmla="*/ 2403043 h 3083905"/>
                          <a:gd name="connsiteX2335" fmla="*/ 1273394 w 6116787"/>
                          <a:gd name="connsiteY2335" fmla="*/ 2403592 h 3083905"/>
                          <a:gd name="connsiteX2336" fmla="*/ 1278331 w 6116787"/>
                          <a:gd name="connsiteY2336" fmla="*/ 2401397 h 3083905"/>
                          <a:gd name="connsiteX2337" fmla="*/ 1281074 w 6116787"/>
                          <a:gd name="connsiteY2337" fmla="*/ 2396460 h 3083905"/>
                          <a:gd name="connsiteX2338" fmla="*/ 1277234 w 6116787"/>
                          <a:gd name="connsiteY2338" fmla="*/ 2392619 h 3083905"/>
                          <a:gd name="connsiteX2339" fmla="*/ 1272296 w 6116787"/>
                          <a:gd name="connsiteY2339" fmla="*/ 2395362 h 3083905"/>
                          <a:gd name="connsiteX2340" fmla="*/ 1261324 w 6116787"/>
                          <a:gd name="connsiteY2340" fmla="*/ 2395362 h 3083905"/>
                          <a:gd name="connsiteX2341" fmla="*/ 1261324 w 6116787"/>
                          <a:gd name="connsiteY2341" fmla="*/ 2389876 h 3083905"/>
                          <a:gd name="connsiteX2342" fmla="*/ 1262969 w 6116787"/>
                          <a:gd name="connsiteY2342" fmla="*/ 2384390 h 3083905"/>
                          <a:gd name="connsiteX2343" fmla="*/ 1266261 w 6116787"/>
                          <a:gd name="connsiteY2343" fmla="*/ 2380549 h 3083905"/>
                          <a:gd name="connsiteX2344" fmla="*/ 1259129 w 6116787"/>
                          <a:gd name="connsiteY2344" fmla="*/ 2372319 h 3083905"/>
                          <a:gd name="connsiteX2345" fmla="*/ 1270102 w 6116787"/>
                          <a:gd name="connsiteY2345" fmla="*/ 2371771 h 3083905"/>
                          <a:gd name="connsiteX2346" fmla="*/ 1272845 w 6116787"/>
                          <a:gd name="connsiteY2346" fmla="*/ 2367382 h 3083905"/>
                          <a:gd name="connsiteX2347" fmla="*/ 1278880 w 6116787"/>
                          <a:gd name="connsiteY2347" fmla="*/ 2367382 h 3083905"/>
                          <a:gd name="connsiteX2348" fmla="*/ 1282172 w 6116787"/>
                          <a:gd name="connsiteY2348" fmla="*/ 2371771 h 3083905"/>
                          <a:gd name="connsiteX2349" fmla="*/ 1287658 w 6116787"/>
                          <a:gd name="connsiteY2349" fmla="*/ 2370674 h 3083905"/>
                          <a:gd name="connsiteX2350" fmla="*/ 1293145 w 6116787"/>
                          <a:gd name="connsiteY2350" fmla="*/ 2371771 h 3083905"/>
                          <a:gd name="connsiteX2351" fmla="*/ 1298083 w 6116787"/>
                          <a:gd name="connsiteY2351" fmla="*/ 2369576 h 3083905"/>
                          <a:gd name="connsiteX2352" fmla="*/ 1315090 w 6116787"/>
                          <a:gd name="connsiteY2352" fmla="*/ 2370674 h 3083905"/>
                          <a:gd name="connsiteX2353" fmla="*/ 1318382 w 6116787"/>
                          <a:gd name="connsiteY2353" fmla="*/ 2375063 h 3083905"/>
                          <a:gd name="connsiteX2354" fmla="*/ 1325515 w 6116787"/>
                          <a:gd name="connsiteY2354" fmla="*/ 2366284 h 3083905"/>
                          <a:gd name="connsiteX2355" fmla="*/ 1330452 w 6116787"/>
                          <a:gd name="connsiteY2355" fmla="*/ 2364639 h 3083905"/>
                          <a:gd name="connsiteX2356" fmla="*/ 1341425 w 6116787"/>
                          <a:gd name="connsiteY2356" fmla="*/ 2365187 h 3083905"/>
                          <a:gd name="connsiteX2357" fmla="*/ 1345814 w 6116787"/>
                          <a:gd name="connsiteY2357" fmla="*/ 2361347 h 3083905"/>
                          <a:gd name="connsiteX2358" fmla="*/ 1351300 w 6116787"/>
                          <a:gd name="connsiteY2358" fmla="*/ 2359701 h 3083905"/>
                          <a:gd name="connsiteX2359" fmla="*/ 1360079 w 6116787"/>
                          <a:gd name="connsiteY2359" fmla="*/ 2353117 h 3083905"/>
                          <a:gd name="connsiteX2360" fmla="*/ 1365565 w 6116787"/>
                          <a:gd name="connsiteY2360" fmla="*/ 2354763 h 3083905"/>
                          <a:gd name="connsiteX2361" fmla="*/ 1369406 w 6116787"/>
                          <a:gd name="connsiteY2361" fmla="*/ 2358603 h 3083905"/>
                          <a:gd name="connsiteX2362" fmla="*/ 1375441 w 6116787"/>
                          <a:gd name="connsiteY2362" fmla="*/ 2358603 h 3083905"/>
                          <a:gd name="connsiteX2363" fmla="*/ 1377086 w 6116787"/>
                          <a:gd name="connsiteY2363" fmla="*/ 2353117 h 3083905"/>
                          <a:gd name="connsiteX2364" fmla="*/ 1388059 w 6116787"/>
                          <a:gd name="connsiteY2364" fmla="*/ 2350374 h 3083905"/>
                          <a:gd name="connsiteX2365" fmla="*/ 1392448 w 6116787"/>
                          <a:gd name="connsiteY2365" fmla="*/ 2347082 h 3083905"/>
                          <a:gd name="connsiteX2366" fmla="*/ 1397935 w 6116787"/>
                          <a:gd name="connsiteY2366" fmla="*/ 2347082 h 3083905"/>
                          <a:gd name="connsiteX2367" fmla="*/ 1402873 w 6116787"/>
                          <a:gd name="connsiteY2367" fmla="*/ 2344887 h 3083905"/>
                          <a:gd name="connsiteX2368" fmla="*/ 1408359 w 6116787"/>
                          <a:gd name="connsiteY2368" fmla="*/ 2344887 h 3083905"/>
                          <a:gd name="connsiteX2369" fmla="*/ 1413845 w 6116787"/>
                          <a:gd name="connsiteY2369" fmla="*/ 2346533 h 3083905"/>
                          <a:gd name="connsiteX2370" fmla="*/ 1419880 w 6116787"/>
                          <a:gd name="connsiteY2370" fmla="*/ 2331171 h 3083905"/>
                          <a:gd name="connsiteX2371" fmla="*/ 1424818 w 6116787"/>
                          <a:gd name="connsiteY2371" fmla="*/ 2327880 h 3083905"/>
                          <a:gd name="connsiteX2372" fmla="*/ 1430305 w 6116787"/>
                          <a:gd name="connsiteY2372" fmla="*/ 2326782 h 3083905"/>
                          <a:gd name="connsiteX2373" fmla="*/ 1435243 w 6116787"/>
                          <a:gd name="connsiteY2373" fmla="*/ 2329526 h 3083905"/>
                          <a:gd name="connsiteX2374" fmla="*/ 1448410 w 6116787"/>
                          <a:gd name="connsiteY2374" fmla="*/ 2325685 h 3083905"/>
                          <a:gd name="connsiteX2375" fmla="*/ 1447861 w 6116787"/>
                          <a:gd name="connsiteY2375" fmla="*/ 2326234 h 3083905"/>
                          <a:gd name="connsiteX2376" fmla="*/ 1514795 w 6116787"/>
                          <a:gd name="connsiteY2376" fmla="*/ 2311420 h 3083905"/>
                          <a:gd name="connsiteX2377" fmla="*/ 1519184 w 6116787"/>
                          <a:gd name="connsiteY2377" fmla="*/ 2307580 h 3083905"/>
                          <a:gd name="connsiteX2378" fmla="*/ 1524671 w 6116787"/>
                          <a:gd name="connsiteY2378" fmla="*/ 2308129 h 3083905"/>
                          <a:gd name="connsiteX2379" fmla="*/ 1529608 w 6116787"/>
                          <a:gd name="connsiteY2379" fmla="*/ 2305934 h 3083905"/>
                          <a:gd name="connsiteX2380" fmla="*/ 1533449 w 6116787"/>
                          <a:gd name="connsiteY2380" fmla="*/ 2301545 h 3083905"/>
                          <a:gd name="connsiteX2381" fmla="*/ 1532900 w 6116787"/>
                          <a:gd name="connsiteY2381" fmla="*/ 2291121 h 3083905"/>
                          <a:gd name="connsiteX2382" fmla="*/ 1538387 w 6116787"/>
                          <a:gd name="connsiteY2382" fmla="*/ 2291669 h 3083905"/>
                          <a:gd name="connsiteX2383" fmla="*/ 1543873 w 6116787"/>
                          <a:gd name="connsiteY2383" fmla="*/ 2290572 h 3083905"/>
                          <a:gd name="connsiteX2384" fmla="*/ 1547165 w 6116787"/>
                          <a:gd name="connsiteY2384" fmla="*/ 2285634 h 3083905"/>
                          <a:gd name="connsiteX2385" fmla="*/ 1551554 w 6116787"/>
                          <a:gd name="connsiteY2385" fmla="*/ 2282891 h 3083905"/>
                          <a:gd name="connsiteX2386" fmla="*/ 1557040 w 6116787"/>
                          <a:gd name="connsiteY2386" fmla="*/ 2282343 h 3083905"/>
                          <a:gd name="connsiteX2387" fmla="*/ 1560332 w 6116787"/>
                          <a:gd name="connsiteY2387" fmla="*/ 2277953 h 3083905"/>
                          <a:gd name="connsiteX2388" fmla="*/ 1565819 w 6116787"/>
                          <a:gd name="connsiteY2388" fmla="*/ 2277405 h 3083905"/>
                          <a:gd name="connsiteX2389" fmla="*/ 1569659 w 6116787"/>
                          <a:gd name="connsiteY2389" fmla="*/ 2281245 h 3083905"/>
                          <a:gd name="connsiteX2390" fmla="*/ 1575146 w 6116787"/>
                          <a:gd name="connsiteY2390" fmla="*/ 2280697 h 3083905"/>
                          <a:gd name="connsiteX2391" fmla="*/ 1580632 w 6116787"/>
                          <a:gd name="connsiteY2391" fmla="*/ 2282343 h 3083905"/>
                          <a:gd name="connsiteX2392" fmla="*/ 1585570 w 6116787"/>
                          <a:gd name="connsiteY2392" fmla="*/ 2281245 h 3083905"/>
                          <a:gd name="connsiteX2393" fmla="*/ 1591056 w 6116787"/>
                          <a:gd name="connsiteY2393" fmla="*/ 2282891 h 3083905"/>
                          <a:gd name="connsiteX2394" fmla="*/ 1594897 w 6116787"/>
                          <a:gd name="connsiteY2394" fmla="*/ 2287829 h 3083905"/>
                          <a:gd name="connsiteX2395" fmla="*/ 1603675 w 6116787"/>
                          <a:gd name="connsiteY2395" fmla="*/ 2293864 h 3083905"/>
                          <a:gd name="connsiteX2396" fmla="*/ 1612453 w 6116787"/>
                          <a:gd name="connsiteY2396" fmla="*/ 2287829 h 3083905"/>
                          <a:gd name="connsiteX2397" fmla="*/ 1623975 w 6116787"/>
                          <a:gd name="connsiteY2397" fmla="*/ 2285634 h 3083905"/>
                          <a:gd name="connsiteX2398" fmla="*/ 1629461 w 6116787"/>
                          <a:gd name="connsiteY2398" fmla="*/ 2287829 h 3083905"/>
                          <a:gd name="connsiteX2399" fmla="*/ 1633301 w 6116787"/>
                          <a:gd name="connsiteY2399" fmla="*/ 2291669 h 3083905"/>
                          <a:gd name="connsiteX2400" fmla="*/ 1635496 w 6116787"/>
                          <a:gd name="connsiteY2400" fmla="*/ 2296607 h 3083905"/>
                          <a:gd name="connsiteX2401" fmla="*/ 1636045 w 6116787"/>
                          <a:gd name="connsiteY2401" fmla="*/ 2313615 h 3083905"/>
                          <a:gd name="connsiteX2402" fmla="*/ 1637691 w 6116787"/>
                          <a:gd name="connsiteY2402" fmla="*/ 2318553 h 3083905"/>
                          <a:gd name="connsiteX2403" fmla="*/ 1645920 w 6116787"/>
                          <a:gd name="connsiteY2403" fmla="*/ 2326234 h 3083905"/>
                          <a:gd name="connsiteX2404" fmla="*/ 1643177 w 6116787"/>
                          <a:gd name="connsiteY2404" fmla="*/ 2331171 h 3083905"/>
                          <a:gd name="connsiteX2405" fmla="*/ 1643726 w 6116787"/>
                          <a:gd name="connsiteY2405" fmla="*/ 2342144 h 3083905"/>
                          <a:gd name="connsiteX2406" fmla="*/ 1637142 w 6116787"/>
                          <a:gd name="connsiteY2406" fmla="*/ 2350923 h 3083905"/>
                          <a:gd name="connsiteX2407" fmla="*/ 1640434 w 6116787"/>
                          <a:gd name="connsiteY2407" fmla="*/ 2355860 h 3083905"/>
                          <a:gd name="connsiteX2408" fmla="*/ 1641531 w 6116787"/>
                          <a:gd name="connsiteY2408" fmla="*/ 2361347 h 3083905"/>
                          <a:gd name="connsiteX2409" fmla="*/ 1653052 w 6116787"/>
                          <a:gd name="connsiteY2409" fmla="*/ 2358055 h 3083905"/>
                          <a:gd name="connsiteX2410" fmla="*/ 1657442 w 6116787"/>
                          <a:gd name="connsiteY2410" fmla="*/ 2361347 h 3083905"/>
                          <a:gd name="connsiteX2411" fmla="*/ 1662928 w 6116787"/>
                          <a:gd name="connsiteY2411" fmla="*/ 2360798 h 3083905"/>
                          <a:gd name="connsiteX2412" fmla="*/ 1664574 w 6116787"/>
                          <a:gd name="connsiteY2412" fmla="*/ 2355312 h 3083905"/>
                          <a:gd name="connsiteX2413" fmla="*/ 1670060 w 6116787"/>
                          <a:gd name="connsiteY2413" fmla="*/ 2354763 h 3083905"/>
                          <a:gd name="connsiteX2414" fmla="*/ 1675547 w 6116787"/>
                          <a:gd name="connsiteY2414" fmla="*/ 2356409 h 3083905"/>
                          <a:gd name="connsiteX2415" fmla="*/ 1676644 w 6116787"/>
                          <a:gd name="connsiteY2415" fmla="*/ 2345436 h 3083905"/>
                          <a:gd name="connsiteX2416" fmla="*/ 1682131 w 6116787"/>
                          <a:gd name="connsiteY2416" fmla="*/ 2346533 h 3083905"/>
                          <a:gd name="connsiteX2417" fmla="*/ 1685971 w 6116787"/>
                          <a:gd name="connsiteY2417" fmla="*/ 2356958 h 3083905"/>
                          <a:gd name="connsiteX2418" fmla="*/ 1689811 w 6116787"/>
                          <a:gd name="connsiteY2418" fmla="*/ 2360798 h 3083905"/>
                          <a:gd name="connsiteX2419" fmla="*/ 1687617 w 6116787"/>
                          <a:gd name="connsiteY2419" fmla="*/ 2366284 h 3083905"/>
                          <a:gd name="connsiteX2420" fmla="*/ 1687068 w 6116787"/>
                          <a:gd name="connsiteY2420" fmla="*/ 2371771 h 3083905"/>
                          <a:gd name="connsiteX2421" fmla="*/ 1698041 w 6116787"/>
                          <a:gd name="connsiteY2421" fmla="*/ 2372868 h 3083905"/>
                          <a:gd name="connsiteX2422" fmla="*/ 1696395 w 6116787"/>
                          <a:gd name="connsiteY2422" fmla="*/ 2367930 h 3083905"/>
                          <a:gd name="connsiteX2423" fmla="*/ 1693103 w 6116787"/>
                          <a:gd name="connsiteY2423" fmla="*/ 2363541 h 3083905"/>
                          <a:gd name="connsiteX2424" fmla="*/ 1698041 w 6116787"/>
                          <a:gd name="connsiteY2424" fmla="*/ 2361347 h 3083905"/>
                          <a:gd name="connsiteX2425" fmla="*/ 1708465 w 6116787"/>
                          <a:gd name="connsiteY2425" fmla="*/ 2363541 h 3083905"/>
                          <a:gd name="connsiteX2426" fmla="*/ 1713952 w 6116787"/>
                          <a:gd name="connsiteY2426" fmla="*/ 2366833 h 3083905"/>
                          <a:gd name="connsiteX2427" fmla="*/ 1717792 w 6116787"/>
                          <a:gd name="connsiteY2427" fmla="*/ 2370674 h 3083905"/>
                          <a:gd name="connsiteX2428" fmla="*/ 1722730 w 6116787"/>
                          <a:gd name="connsiteY2428" fmla="*/ 2373417 h 3083905"/>
                          <a:gd name="connsiteX2429" fmla="*/ 1728216 w 6116787"/>
                          <a:gd name="connsiteY2429" fmla="*/ 2373417 h 3083905"/>
                          <a:gd name="connsiteX2430" fmla="*/ 1730959 w 6116787"/>
                          <a:gd name="connsiteY2430" fmla="*/ 2368479 h 3083905"/>
                          <a:gd name="connsiteX2431" fmla="*/ 1735897 w 6116787"/>
                          <a:gd name="connsiteY2431" fmla="*/ 2366284 h 3083905"/>
                          <a:gd name="connsiteX2432" fmla="*/ 1737543 w 6116787"/>
                          <a:gd name="connsiteY2432" fmla="*/ 2371771 h 3083905"/>
                          <a:gd name="connsiteX2433" fmla="*/ 1736995 w 6116787"/>
                          <a:gd name="connsiteY2433" fmla="*/ 2377257 h 3083905"/>
                          <a:gd name="connsiteX2434" fmla="*/ 1732057 w 6116787"/>
                          <a:gd name="connsiteY2434" fmla="*/ 2378903 h 3083905"/>
                          <a:gd name="connsiteX2435" fmla="*/ 1727119 w 6116787"/>
                          <a:gd name="connsiteY2435" fmla="*/ 2382195 h 3083905"/>
                          <a:gd name="connsiteX2436" fmla="*/ 1723827 w 6116787"/>
                          <a:gd name="connsiteY2436" fmla="*/ 2387133 h 3083905"/>
                          <a:gd name="connsiteX2437" fmla="*/ 1722181 w 6116787"/>
                          <a:gd name="connsiteY2437" fmla="*/ 2392071 h 3083905"/>
                          <a:gd name="connsiteX2438" fmla="*/ 1723279 w 6116787"/>
                          <a:gd name="connsiteY2438" fmla="*/ 2397557 h 3083905"/>
                          <a:gd name="connsiteX2439" fmla="*/ 1726022 w 6116787"/>
                          <a:gd name="connsiteY2439" fmla="*/ 2402495 h 3083905"/>
                          <a:gd name="connsiteX2440" fmla="*/ 1731508 w 6116787"/>
                          <a:gd name="connsiteY2440" fmla="*/ 2401946 h 3083905"/>
                          <a:gd name="connsiteX2441" fmla="*/ 1734800 w 6116787"/>
                          <a:gd name="connsiteY2441" fmla="*/ 2397557 h 3083905"/>
                          <a:gd name="connsiteX2442" fmla="*/ 1745224 w 6116787"/>
                          <a:gd name="connsiteY2442" fmla="*/ 2393716 h 3083905"/>
                          <a:gd name="connsiteX2443" fmla="*/ 1750162 w 6116787"/>
                          <a:gd name="connsiteY2443" fmla="*/ 2395911 h 3083905"/>
                          <a:gd name="connsiteX2444" fmla="*/ 1755648 w 6116787"/>
                          <a:gd name="connsiteY2444" fmla="*/ 2395362 h 3083905"/>
                          <a:gd name="connsiteX2445" fmla="*/ 1759489 w 6116787"/>
                          <a:gd name="connsiteY2445" fmla="*/ 2399203 h 3083905"/>
                          <a:gd name="connsiteX2446" fmla="*/ 1765524 w 6116787"/>
                          <a:gd name="connsiteY2446" fmla="*/ 2399203 h 3083905"/>
                          <a:gd name="connsiteX2447" fmla="*/ 1763329 w 6116787"/>
                          <a:gd name="connsiteY2447" fmla="*/ 2394265 h 3083905"/>
                          <a:gd name="connsiteX2448" fmla="*/ 1767170 w 6116787"/>
                          <a:gd name="connsiteY2448" fmla="*/ 2389327 h 3083905"/>
                          <a:gd name="connsiteX2449" fmla="*/ 1772656 w 6116787"/>
                          <a:gd name="connsiteY2449" fmla="*/ 2388779 h 3083905"/>
                          <a:gd name="connsiteX2450" fmla="*/ 1779788 w 6116787"/>
                          <a:gd name="connsiteY2450" fmla="*/ 2381098 h 3083905"/>
                          <a:gd name="connsiteX2451" fmla="*/ 1790761 w 6116787"/>
                          <a:gd name="connsiteY2451" fmla="*/ 2378903 h 3083905"/>
                          <a:gd name="connsiteX2452" fmla="*/ 1798991 w 6116787"/>
                          <a:gd name="connsiteY2452" fmla="*/ 2371771 h 3083905"/>
                          <a:gd name="connsiteX2453" fmla="*/ 1802831 w 6116787"/>
                          <a:gd name="connsiteY2453" fmla="*/ 2361347 h 3083905"/>
                          <a:gd name="connsiteX2454" fmla="*/ 1807220 w 6116787"/>
                          <a:gd name="connsiteY2454" fmla="*/ 2358603 h 3083905"/>
                          <a:gd name="connsiteX2455" fmla="*/ 1813255 w 6116787"/>
                          <a:gd name="connsiteY2455" fmla="*/ 2359152 h 3083905"/>
                          <a:gd name="connsiteX2456" fmla="*/ 1829166 w 6116787"/>
                          <a:gd name="connsiteY2456" fmla="*/ 2354763 h 3083905"/>
                          <a:gd name="connsiteX2457" fmla="*/ 1831909 w 6116787"/>
                          <a:gd name="connsiteY2457" fmla="*/ 2349825 h 3083905"/>
                          <a:gd name="connsiteX2458" fmla="*/ 1842882 w 6116787"/>
                          <a:gd name="connsiteY2458" fmla="*/ 2348728 h 3083905"/>
                          <a:gd name="connsiteX2459" fmla="*/ 1852209 w 6116787"/>
                          <a:gd name="connsiteY2459" fmla="*/ 2343242 h 3083905"/>
                          <a:gd name="connsiteX2460" fmla="*/ 1854403 w 6116787"/>
                          <a:gd name="connsiteY2460" fmla="*/ 2348179 h 3083905"/>
                          <a:gd name="connsiteX2461" fmla="*/ 1854952 w 6116787"/>
                          <a:gd name="connsiteY2461" fmla="*/ 2353666 h 3083905"/>
                          <a:gd name="connsiteX2462" fmla="*/ 1852209 w 6116787"/>
                          <a:gd name="connsiteY2462" fmla="*/ 2358603 h 3083905"/>
                          <a:gd name="connsiteX2463" fmla="*/ 1846723 w 6116787"/>
                          <a:gd name="connsiteY2463" fmla="*/ 2360249 h 3083905"/>
                          <a:gd name="connsiteX2464" fmla="*/ 1841236 w 6116787"/>
                          <a:gd name="connsiteY2464" fmla="*/ 2360249 h 3083905"/>
                          <a:gd name="connsiteX2465" fmla="*/ 1840687 w 6116787"/>
                          <a:gd name="connsiteY2465" fmla="*/ 2365187 h 3083905"/>
                          <a:gd name="connsiteX2466" fmla="*/ 1840687 w 6116787"/>
                          <a:gd name="connsiteY2466" fmla="*/ 2365187 h 3083905"/>
                          <a:gd name="connsiteX2467" fmla="*/ 1842882 w 6116787"/>
                          <a:gd name="connsiteY2467" fmla="*/ 2370674 h 3083905"/>
                          <a:gd name="connsiteX2468" fmla="*/ 1846174 w 6116787"/>
                          <a:gd name="connsiteY2468" fmla="*/ 2371771 h 3083905"/>
                          <a:gd name="connsiteX2469" fmla="*/ 1895003 w 6116787"/>
                          <a:gd name="connsiteY2469" fmla="*/ 2416759 h 3083905"/>
                          <a:gd name="connsiteX2470" fmla="*/ 1977299 w 6116787"/>
                          <a:gd name="connsiteY2470" fmla="*/ 2567087 h 3083905"/>
                          <a:gd name="connsiteX2471" fmla="*/ 1987174 w 6116787"/>
                          <a:gd name="connsiteY2471" fmla="*/ 2559954 h 3083905"/>
                          <a:gd name="connsiteX2472" fmla="*/ 1988820 w 6116787"/>
                          <a:gd name="connsiteY2472" fmla="*/ 2554468 h 3083905"/>
                          <a:gd name="connsiteX2473" fmla="*/ 1988820 w 6116787"/>
                          <a:gd name="connsiteY2473" fmla="*/ 2548982 h 3083905"/>
                          <a:gd name="connsiteX2474" fmla="*/ 1995952 w 6116787"/>
                          <a:gd name="connsiteY2474" fmla="*/ 2539655 h 3083905"/>
                          <a:gd name="connsiteX2475" fmla="*/ 2001439 w 6116787"/>
                          <a:gd name="connsiteY2475" fmla="*/ 2539106 h 3083905"/>
                          <a:gd name="connsiteX2476" fmla="*/ 2005279 w 6116787"/>
                          <a:gd name="connsiteY2476" fmla="*/ 2543495 h 3083905"/>
                          <a:gd name="connsiteX2477" fmla="*/ 2010766 w 6116787"/>
                          <a:gd name="connsiteY2477" fmla="*/ 2545141 h 3083905"/>
                          <a:gd name="connsiteX2478" fmla="*/ 2020093 w 6116787"/>
                          <a:gd name="connsiteY2478" fmla="*/ 2550627 h 3083905"/>
                          <a:gd name="connsiteX2479" fmla="*/ 2017898 w 6116787"/>
                          <a:gd name="connsiteY2479" fmla="*/ 2556114 h 3083905"/>
                          <a:gd name="connsiteX2480" fmla="*/ 2020641 w 6116787"/>
                          <a:gd name="connsiteY2480" fmla="*/ 2560503 h 3083905"/>
                          <a:gd name="connsiteX2481" fmla="*/ 2024482 w 6116787"/>
                          <a:gd name="connsiteY2481" fmla="*/ 2561600 h 3083905"/>
                          <a:gd name="connsiteX2482" fmla="*/ 2027774 w 6116787"/>
                          <a:gd name="connsiteY2482" fmla="*/ 2569830 h 3083905"/>
                          <a:gd name="connsiteX2483" fmla="*/ 2044781 w 6116787"/>
                          <a:gd name="connsiteY2483" fmla="*/ 2568733 h 3083905"/>
                          <a:gd name="connsiteX2484" fmla="*/ 2055754 w 6116787"/>
                          <a:gd name="connsiteY2484" fmla="*/ 2572024 h 3083905"/>
                          <a:gd name="connsiteX2485" fmla="*/ 2060692 w 6116787"/>
                          <a:gd name="connsiteY2485" fmla="*/ 2569830 h 3083905"/>
                          <a:gd name="connsiteX2486" fmla="*/ 2072213 w 6116787"/>
                          <a:gd name="connsiteY2486" fmla="*/ 2570927 h 3083905"/>
                          <a:gd name="connsiteX2487" fmla="*/ 2073859 w 6116787"/>
                          <a:gd name="connsiteY2487" fmla="*/ 2565441 h 3083905"/>
                          <a:gd name="connsiteX2488" fmla="*/ 2077700 w 6116787"/>
                          <a:gd name="connsiteY2488" fmla="*/ 2561052 h 3083905"/>
                          <a:gd name="connsiteX2489" fmla="*/ 2082638 w 6116787"/>
                          <a:gd name="connsiteY2489" fmla="*/ 2562149 h 3083905"/>
                          <a:gd name="connsiteX2490" fmla="*/ 2088124 w 6116787"/>
                          <a:gd name="connsiteY2490" fmla="*/ 2561600 h 3083905"/>
                          <a:gd name="connsiteX2491" fmla="*/ 2090867 w 6116787"/>
                          <a:gd name="connsiteY2491" fmla="*/ 2556663 h 3083905"/>
                          <a:gd name="connsiteX2492" fmla="*/ 2095256 w 6116787"/>
                          <a:gd name="connsiteY2492" fmla="*/ 2553371 h 3083905"/>
                          <a:gd name="connsiteX2493" fmla="*/ 2105680 w 6116787"/>
                          <a:gd name="connsiteY2493" fmla="*/ 2556663 h 3083905"/>
                          <a:gd name="connsiteX2494" fmla="*/ 2110618 w 6116787"/>
                          <a:gd name="connsiteY2494" fmla="*/ 2559406 h 3083905"/>
                          <a:gd name="connsiteX2495" fmla="*/ 2113362 w 6116787"/>
                          <a:gd name="connsiteY2495" fmla="*/ 2564343 h 3083905"/>
                          <a:gd name="connsiteX2496" fmla="*/ 2118299 w 6116787"/>
                          <a:gd name="connsiteY2496" fmla="*/ 2567087 h 3083905"/>
                          <a:gd name="connsiteX2497" fmla="*/ 2125432 w 6116787"/>
                          <a:gd name="connsiteY2497" fmla="*/ 2575316 h 3083905"/>
                          <a:gd name="connsiteX2498" fmla="*/ 2130369 w 6116787"/>
                          <a:gd name="connsiteY2498" fmla="*/ 2577511 h 3083905"/>
                          <a:gd name="connsiteX2499" fmla="*/ 2132564 w 6116787"/>
                          <a:gd name="connsiteY2499" fmla="*/ 2582449 h 3083905"/>
                          <a:gd name="connsiteX2500" fmla="*/ 2131467 w 6116787"/>
                          <a:gd name="connsiteY2500" fmla="*/ 2588484 h 3083905"/>
                          <a:gd name="connsiteX2501" fmla="*/ 2132015 w 6116787"/>
                          <a:gd name="connsiteY2501" fmla="*/ 2593970 h 3083905"/>
                          <a:gd name="connsiteX2502" fmla="*/ 2134759 w 6116787"/>
                          <a:gd name="connsiteY2502" fmla="*/ 2598359 h 3083905"/>
                          <a:gd name="connsiteX2503" fmla="*/ 2140245 w 6116787"/>
                          <a:gd name="connsiteY2503" fmla="*/ 2599456 h 3083905"/>
                          <a:gd name="connsiteX2504" fmla="*/ 2155058 w 6116787"/>
                          <a:gd name="connsiteY2504" fmla="*/ 2607137 h 3083905"/>
                          <a:gd name="connsiteX2505" fmla="*/ 2157253 w 6116787"/>
                          <a:gd name="connsiteY2505" fmla="*/ 2612075 h 3083905"/>
                          <a:gd name="connsiteX2506" fmla="*/ 2156704 w 6116787"/>
                          <a:gd name="connsiteY2506" fmla="*/ 2617562 h 3083905"/>
                          <a:gd name="connsiteX2507" fmla="*/ 2161642 w 6116787"/>
                          <a:gd name="connsiteY2507" fmla="*/ 2619756 h 3083905"/>
                          <a:gd name="connsiteX2508" fmla="*/ 2166031 w 6116787"/>
                          <a:gd name="connsiteY2508" fmla="*/ 2623597 h 3083905"/>
                          <a:gd name="connsiteX2509" fmla="*/ 2170420 w 6116787"/>
                          <a:gd name="connsiteY2509" fmla="*/ 2633472 h 3083905"/>
                          <a:gd name="connsiteX2510" fmla="*/ 2174809 w 6116787"/>
                          <a:gd name="connsiteY2510" fmla="*/ 2636215 h 3083905"/>
                          <a:gd name="connsiteX2511" fmla="*/ 2186331 w 6116787"/>
                          <a:gd name="connsiteY2511" fmla="*/ 2637861 h 3083905"/>
                          <a:gd name="connsiteX2512" fmla="*/ 2196206 w 6116787"/>
                          <a:gd name="connsiteY2512" fmla="*/ 2642250 h 3083905"/>
                          <a:gd name="connsiteX2513" fmla="*/ 2207728 w 6116787"/>
                          <a:gd name="connsiteY2513" fmla="*/ 2643896 h 3083905"/>
                          <a:gd name="connsiteX2514" fmla="*/ 2209374 w 6116787"/>
                          <a:gd name="connsiteY2514" fmla="*/ 2638410 h 3083905"/>
                          <a:gd name="connsiteX2515" fmla="*/ 2213214 w 6116787"/>
                          <a:gd name="connsiteY2515" fmla="*/ 2634021 h 3083905"/>
                          <a:gd name="connsiteX2516" fmla="*/ 2223090 w 6116787"/>
                          <a:gd name="connsiteY2516" fmla="*/ 2630180 h 3083905"/>
                          <a:gd name="connsiteX2517" fmla="*/ 2224735 w 6116787"/>
                          <a:gd name="connsiteY2517" fmla="*/ 2636215 h 3083905"/>
                          <a:gd name="connsiteX2518" fmla="*/ 2227479 w 6116787"/>
                          <a:gd name="connsiteY2518" fmla="*/ 2640604 h 3083905"/>
                          <a:gd name="connsiteX2519" fmla="*/ 2231868 w 6116787"/>
                          <a:gd name="connsiteY2519" fmla="*/ 2643896 h 3083905"/>
                          <a:gd name="connsiteX2520" fmla="*/ 2236806 w 6116787"/>
                          <a:gd name="connsiteY2520" fmla="*/ 2653772 h 3083905"/>
                          <a:gd name="connsiteX2521" fmla="*/ 2241195 w 6116787"/>
                          <a:gd name="connsiteY2521" fmla="*/ 2657064 h 3083905"/>
                          <a:gd name="connsiteX2522" fmla="*/ 2243938 w 6116787"/>
                          <a:gd name="connsiteY2522" fmla="*/ 2662001 h 3083905"/>
                          <a:gd name="connsiteX2523" fmla="*/ 2235708 w 6116787"/>
                          <a:gd name="connsiteY2523" fmla="*/ 2679558 h 3083905"/>
                          <a:gd name="connsiteX2524" fmla="*/ 2235708 w 6116787"/>
                          <a:gd name="connsiteY2524" fmla="*/ 2679558 h 3083905"/>
                          <a:gd name="connsiteX2525" fmla="*/ 2252167 w 6116787"/>
                          <a:gd name="connsiteY2525" fmla="*/ 2684496 h 3083905"/>
                          <a:gd name="connsiteX2526" fmla="*/ 2263140 w 6116787"/>
                          <a:gd name="connsiteY2526" fmla="*/ 2674071 h 3083905"/>
                          <a:gd name="connsiteX2527" fmla="*/ 2266981 w 6116787"/>
                          <a:gd name="connsiteY2527" fmla="*/ 2673523 h 3083905"/>
                          <a:gd name="connsiteX2528" fmla="*/ 2274662 w 6116787"/>
                          <a:gd name="connsiteY2528" fmla="*/ 2659258 h 3083905"/>
                          <a:gd name="connsiteX2529" fmla="*/ 2286183 w 6116787"/>
                          <a:gd name="connsiteY2529" fmla="*/ 2646639 h 3083905"/>
                          <a:gd name="connsiteX2530" fmla="*/ 2310872 w 6116787"/>
                          <a:gd name="connsiteY2530" fmla="*/ 2637861 h 3083905"/>
                          <a:gd name="connsiteX2531" fmla="*/ 2372320 w 6116787"/>
                          <a:gd name="connsiteY2531" fmla="*/ 2595067 h 3083905"/>
                          <a:gd name="connsiteX2532" fmla="*/ 2433219 w 6116787"/>
                          <a:gd name="connsiteY2532" fmla="*/ 2576962 h 3083905"/>
                          <a:gd name="connsiteX2533" fmla="*/ 2459553 w 6116787"/>
                          <a:gd name="connsiteY2533" fmla="*/ 2584095 h 3083905"/>
                          <a:gd name="connsiteX2534" fmla="*/ 2468332 w 6116787"/>
                          <a:gd name="connsiteY2534" fmla="*/ 2591775 h 3083905"/>
                          <a:gd name="connsiteX2535" fmla="*/ 2495215 w 6116787"/>
                          <a:gd name="connsiteY2535" fmla="*/ 2587935 h 3083905"/>
                          <a:gd name="connsiteX2536" fmla="*/ 2507285 w 6116787"/>
                          <a:gd name="connsiteY2536" fmla="*/ 2589581 h 3083905"/>
                          <a:gd name="connsiteX2537" fmla="*/ 2531425 w 6116787"/>
                          <a:gd name="connsiteY2537" fmla="*/ 2615367 h 3083905"/>
                          <a:gd name="connsiteX2538" fmla="*/ 2543495 w 6116787"/>
                          <a:gd name="connsiteY2538" fmla="*/ 2617013 h 3083905"/>
                          <a:gd name="connsiteX2539" fmla="*/ 2575316 w 6116787"/>
                          <a:gd name="connsiteY2539" fmla="*/ 2611527 h 3083905"/>
                          <a:gd name="connsiteX2540" fmla="*/ 2584643 w 6116787"/>
                          <a:gd name="connsiteY2540" fmla="*/ 2615916 h 3083905"/>
                          <a:gd name="connsiteX2541" fmla="*/ 2641153 w 6116787"/>
                          <a:gd name="connsiteY2541" fmla="*/ 2613721 h 3083905"/>
                          <a:gd name="connsiteX2542" fmla="*/ 2647737 w 6116787"/>
                          <a:gd name="connsiteY2542" fmla="*/ 2609881 h 3083905"/>
                          <a:gd name="connsiteX2543" fmla="*/ 2644994 w 6116787"/>
                          <a:gd name="connsiteY2543" fmla="*/ 2596713 h 3083905"/>
                          <a:gd name="connsiteX2544" fmla="*/ 2646640 w 6116787"/>
                          <a:gd name="connsiteY2544" fmla="*/ 2586838 h 3083905"/>
                          <a:gd name="connsiteX2545" fmla="*/ 2653772 w 6116787"/>
                          <a:gd name="connsiteY2545" fmla="*/ 2575316 h 3083905"/>
                          <a:gd name="connsiteX2546" fmla="*/ 2653223 w 6116787"/>
                          <a:gd name="connsiteY2546" fmla="*/ 2564343 h 3083905"/>
                          <a:gd name="connsiteX2547" fmla="*/ 2646091 w 6116787"/>
                          <a:gd name="connsiteY2547" fmla="*/ 2554468 h 3083905"/>
                          <a:gd name="connsiteX2548" fmla="*/ 2643896 w 6116787"/>
                          <a:gd name="connsiteY2548" fmla="*/ 2541849 h 3083905"/>
                          <a:gd name="connsiteX2549" fmla="*/ 2644994 w 6116787"/>
                          <a:gd name="connsiteY2549" fmla="*/ 2529779 h 3083905"/>
                          <a:gd name="connsiteX2550" fmla="*/ 2685593 w 6116787"/>
                          <a:gd name="connsiteY2550" fmla="*/ 2487534 h 3083905"/>
                          <a:gd name="connsiteX2551" fmla="*/ 2694920 w 6116787"/>
                          <a:gd name="connsiteY2551" fmla="*/ 2486437 h 3083905"/>
                          <a:gd name="connsiteX2552" fmla="*/ 2708087 w 6116787"/>
                          <a:gd name="connsiteY2552" fmla="*/ 2490277 h 3083905"/>
                          <a:gd name="connsiteX2553" fmla="*/ 2718511 w 6116787"/>
                          <a:gd name="connsiteY2553" fmla="*/ 2497958 h 3083905"/>
                          <a:gd name="connsiteX2554" fmla="*/ 2743749 w 6116787"/>
                          <a:gd name="connsiteY2554" fmla="*/ 2504542 h 3083905"/>
                          <a:gd name="connsiteX2555" fmla="*/ 2751430 w 6116787"/>
                          <a:gd name="connsiteY2555" fmla="*/ 2514966 h 3083905"/>
                          <a:gd name="connsiteX2556" fmla="*/ 2795870 w 6116787"/>
                          <a:gd name="connsiteY2556" fmla="*/ 2525390 h 3083905"/>
                          <a:gd name="connsiteX2557" fmla="*/ 2802453 w 6116787"/>
                          <a:gd name="connsiteY2557" fmla="*/ 2536911 h 3083905"/>
                          <a:gd name="connsiteX2558" fmla="*/ 2805745 w 6116787"/>
                          <a:gd name="connsiteY2558" fmla="*/ 2571476 h 3083905"/>
                          <a:gd name="connsiteX2559" fmla="*/ 2809586 w 6116787"/>
                          <a:gd name="connsiteY2559" fmla="*/ 2571476 h 3083905"/>
                          <a:gd name="connsiteX2560" fmla="*/ 2835372 w 6116787"/>
                          <a:gd name="connsiteY2560" fmla="*/ 2592324 h 3083905"/>
                          <a:gd name="connsiteX2561" fmla="*/ 2858415 w 6116787"/>
                          <a:gd name="connsiteY2561" fmla="*/ 2599456 h 3083905"/>
                          <a:gd name="connsiteX2562" fmla="*/ 2877617 w 6116787"/>
                          <a:gd name="connsiteY2562" fmla="*/ 2595616 h 3083905"/>
                          <a:gd name="connsiteX2563" fmla="*/ 2913827 w 6116787"/>
                          <a:gd name="connsiteY2563" fmla="*/ 2576962 h 3083905"/>
                          <a:gd name="connsiteX2564" fmla="*/ 2967045 w 6116787"/>
                          <a:gd name="connsiteY2564" fmla="*/ 2594519 h 3083905"/>
                          <a:gd name="connsiteX2565" fmla="*/ 2973629 w 6116787"/>
                          <a:gd name="connsiteY2565" fmla="*/ 2602200 h 3083905"/>
                          <a:gd name="connsiteX2566" fmla="*/ 2975275 w 6116787"/>
                          <a:gd name="connsiteY2566" fmla="*/ 2602200 h 3083905"/>
                          <a:gd name="connsiteX2567" fmla="*/ 2993929 w 6116787"/>
                          <a:gd name="connsiteY2567" fmla="*/ 2614270 h 3083905"/>
                          <a:gd name="connsiteX2568" fmla="*/ 3023007 w 6116787"/>
                          <a:gd name="connsiteY2568" fmla="*/ 2623597 h 3083905"/>
                          <a:gd name="connsiteX2569" fmla="*/ 3031785 w 6116787"/>
                          <a:gd name="connsiteY2569" fmla="*/ 2637861 h 3083905"/>
                          <a:gd name="connsiteX2570" fmla="*/ 3050439 w 6116787"/>
                          <a:gd name="connsiteY2570" fmla="*/ 2648834 h 3083905"/>
                          <a:gd name="connsiteX2571" fmla="*/ 3117921 w 6116787"/>
                          <a:gd name="connsiteY2571" fmla="*/ 2656515 h 3083905"/>
                          <a:gd name="connsiteX2572" fmla="*/ 3130540 w 6116787"/>
                          <a:gd name="connsiteY2572" fmla="*/ 2662001 h 3083905"/>
                          <a:gd name="connsiteX2573" fmla="*/ 3210642 w 6116787"/>
                          <a:gd name="connsiteY2573" fmla="*/ 2640604 h 3083905"/>
                          <a:gd name="connsiteX2574" fmla="*/ 3252338 w 6116787"/>
                          <a:gd name="connsiteY2574" fmla="*/ 2608783 h 3083905"/>
                          <a:gd name="connsiteX2575" fmla="*/ 3269895 w 6116787"/>
                          <a:gd name="connsiteY2575" fmla="*/ 2603297 h 3083905"/>
                          <a:gd name="connsiteX2576" fmla="*/ 3286354 w 6116787"/>
                          <a:gd name="connsiteY2576" fmla="*/ 2609881 h 3083905"/>
                          <a:gd name="connsiteX2577" fmla="*/ 3298424 w 6116787"/>
                          <a:gd name="connsiteY2577" fmla="*/ 2619756 h 3083905"/>
                          <a:gd name="connsiteX2578" fmla="*/ 3313237 w 6116787"/>
                          <a:gd name="connsiteY2578" fmla="*/ 2623048 h 3083905"/>
                          <a:gd name="connsiteX2579" fmla="*/ 3324759 w 6116787"/>
                          <a:gd name="connsiteY2579" fmla="*/ 2620305 h 3083905"/>
                          <a:gd name="connsiteX2580" fmla="*/ 3334086 w 6116787"/>
                          <a:gd name="connsiteY2580" fmla="*/ 2615367 h 3083905"/>
                          <a:gd name="connsiteX2581" fmla="*/ 3338475 w 6116787"/>
                          <a:gd name="connsiteY2581" fmla="*/ 2617013 h 3083905"/>
                          <a:gd name="connsiteX2582" fmla="*/ 3338475 w 6116787"/>
                          <a:gd name="connsiteY2582" fmla="*/ 2617013 h 3083905"/>
                          <a:gd name="connsiteX2583" fmla="*/ 3393339 w 6116787"/>
                          <a:gd name="connsiteY2583" fmla="*/ 2640604 h 3083905"/>
                          <a:gd name="connsiteX2584" fmla="*/ 3401568 w 6116787"/>
                          <a:gd name="connsiteY2584" fmla="*/ 2638410 h 3083905"/>
                          <a:gd name="connsiteX2585" fmla="*/ 3446008 w 6116787"/>
                          <a:gd name="connsiteY2585" fmla="*/ 2609881 h 3083905"/>
                          <a:gd name="connsiteX2586" fmla="*/ 3447105 w 6116787"/>
                          <a:gd name="connsiteY2586" fmla="*/ 2604943 h 3083905"/>
                          <a:gd name="connsiteX2587" fmla="*/ 3445459 w 6116787"/>
                          <a:gd name="connsiteY2587" fmla="*/ 2596713 h 3083905"/>
                          <a:gd name="connsiteX2588" fmla="*/ 3447654 w 6116787"/>
                          <a:gd name="connsiteY2588" fmla="*/ 2587935 h 3083905"/>
                          <a:gd name="connsiteX2589" fmla="*/ 3459175 w 6116787"/>
                          <a:gd name="connsiteY2589" fmla="*/ 2571476 h 3083905"/>
                          <a:gd name="connsiteX2590" fmla="*/ 3472891 w 6116787"/>
                          <a:gd name="connsiteY2590" fmla="*/ 2524293 h 3083905"/>
                          <a:gd name="connsiteX2591" fmla="*/ 3484962 w 6116787"/>
                          <a:gd name="connsiteY2591" fmla="*/ 2517160 h 3083905"/>
                          <a:gd name="connsiteX2592" fmla="*/ 3501969 w 6116787"/>
                          <a:gd name="connsiteY2592" fmla="*/ 2498507 h 3083905"/>
                          <a:gd name="connsiteX2593" fmla="*/ 3501969 w 6116787"/>
                          <a:gd name="connsiteY2593" fmla="*/ 2495215 h 3083905"/>
                          <a:gd name="connsiteX2594" fmla="*/ 3498678 w 6116787"/>
                          <a:gd name="connsiteY2594" fmla="*/ 2488631 h 3083905"/>
                          <a:gd name="connsiteX2595" fmla="*/ 3499775 w 6116787"/>
                          <a:gd name="connsiteY2595" fmla="*/ 2469429 h 3083905"/>
                          <a:gd name="connsiteX2596" fmla="*/ 3495934 w 6116787"/>
                          <a:gd name="connsiteY2596" fmla="*/ 2466686 h 3083905"/>
                          <a:gd name="connsiteX2597" fmla="*/ 3475086 w 6116787"/>
                          <a:gd name="connsiteY2597" fmla="*/ 2470526 h 3083905"/>
                          <a:gd name="connsiteX2598" fmla="*/ 3472891 w 6116787"/>
                          <a:gd name="connsiteY2598" fmla="*/ 2466686 h 3083905"/>
                          <a:gd name="connsiteX2599" fmla="*/ 3476183 w 6116787"/>
                          <a:gd name="connsiteY2599" fmla="*/ 2457907 h 3083905"/>
                          <a:gd name="connsiteX2600" fmla="*/ 3492643 w 6116787"/>
                          <a:gd name="connsiteY2600" fmla="*/ 2441997 h 3083905"/>
                          <a:gd name="connsiteX2601" fmla="*/ 3497580 w 6116787"/>
                          <a:gd name="connsiteY2601" fmla="*/ 2433219 h 3083905"/>
                          <a:gd name="connsiteX2602" fmla="*/ 3508553 w 6116787"/>
                          <a:gd name="connsiteY2602" fmla="*/ 2424989 h 3083905"/>
                          <a:gd name="connsiteX2603" fmla="*/ 3610051 w 6116787"/>
                          <a:gd name="connsiteY2603" fmla="*/ 2406884 h 3083905"/>
                          <a:gd name="connsiteX2604" fmla="*/ 3641872 w 6116787"/>
                          <a:gd name="connsiteY2604" fmla="*/ 2429378 h 3083905"/>
                          <a:gd name="connsiteX2605" fmla="*/ 3652845 w 6116787"/>
                          <a:gd name="connsiteY2605" fmla="*/ 2432121 h 3083905"/>
                          <a:gd name="connsiteX2606" fmla="*/ 3666013 w 6116787"/>
                          <a:gd name="connsiteY2606" fmla="*/ 2430475 h 3083905"/>
                          <a:gd name="connsiteX2607" fmla="*/ 3686312 w 6116787"/>
                          <a:gd name="connsiteY2607" fmla="*/ 2437608 h 3083905"/>
                          <a:gd name="connsiteX2608" fmla="*/ 3700028 w 6116787"/>
                          <a:gd name="connsiteY2608" fmla="*/ 2459553 h 3083905"/>
                          <a:gd name="connsiteX2609" fmla="*/ 3700577 w 6116787"/>
                          <a:gd name="connsiteY2609" fmla="*/ 2467783 h 3083905"/>
                          <a:gd name="connsiteX2610" fmla="*/ 3712647 w 6116787"/>
                          <a:gd name="connsiteY2610" fmla="*/ 2477110 h 3083905"/>
                          <a:gd name="connsiteX2611" fmla="*/ 3713744 w 6116787"/>
                          <a:gd name="connsiteY2611" fmla="*/ 2482596 h 3083905"/>
                          <a:gd name="connsiteX2612" fmla="*/ 3714293 w 6116787"/>
                          <a:gd name="connsiteY2612" fmla="*/ 2479304 h 3083905"/>
                          <a:gd name="connsiteX2613" fmla="*/ 3754892 w 6116787"/>
                          <a:gd name="connsiteY2613" fmla="*/ 2604943 h 3083905"/>
                          <a:gd name="connsiteX2614" fmla="*/ 3754344 w 6116787"/>
                          <a:gd name="connsiteY2614" fmla="*/ 2608235 h 3083905"/>
                          <a:gd name="connsiteX2615" fmla="*/ 3754892 w 6116787"/>
                          <a:gd name="connsiteY2615" fmla="*/ 2608783 h 3083905"/>
                          <a:gd name="connsiteX2616" fmla="*/ 3756538 w 6116787"/>
                          <a:gd name="connsiteY2616" fmla="*/ 2636215 h 3083905"/>
                          <a:gd name="connsiteX2617" fmla="*/ 3764768 w 6116787"/>
                          <a:gd name="connsiteY2617" fmla="*/ 2643348 h 3083905"/>
                          <a:gd name="connsiteX2618" fmla="*/ 3780679 w 6116787"/>
                          <a:gd name="connsiteY2618" fmla="*/ 2644994 h 3083905"/>
                          <a:gd name="connsiteX2619" fmla="*/ 3794943 w 6116787"/>
                          <a:gd name="connsiteY2619" fmla="*/ 2640056 h 3083905"/>
                          <a:gd name="connsiteX2620" fmla="*/ 3831153 w 6116787"/>
                          <a:gd name="connsiteY2620" fmla="*/ 2652126 h 3083905"/>
                          <a:gd name="connsiteX2621" fmla="*/ 3853099 w 6116787"/>
                          <a:gd name="connsiteY2621" fmla="*/ 2672426 h 3083905"/>
                          <a:gd name="connsiteX2622" fmla="*/ 3863523 w 6116787"/>
                          <a:gd name="connsiteY2622" fmla="*/ 2677363 h 3083905"/>
                          <a:gd name="connsiteX2623" fmla="*/ 3871753 w 6116787"/>
                          <a:gd name="connsiteY2623" fmla="*/ 2677363 h 3083905"/>
                          <a:gd name="connsiteX2624" fmla="*/ 3875044 w 6116787"/>
                          <a:gd name="connsiteY2624" fmla="*/ 2683398 h 3083905"/>
                          <a:gd name="connsiteX2625" fmla="*/ 3875044 w 6116787"/>
                          <a:gd name="connsiteY2625" fmla="*/ 2686142 h 3083905"/>
                          <a:gd name="connsiteX2626" fmla="*/ 3876142 w 6116787"/>
                          <a:gd name="connsiteY2626" fmla="*/ 2686142 h 3083905"/>
                          <a:gd name="connsiteX2627" fmla="*/ 3877239 w 6116787"/>
                          <a:gd name="connsiteY2627" fmla="*/ 2696566 h 3083905"/>
                          <a:gd name="connsiteX2628" fmla="*/ 3881629 w 6116787"/>
                          <a:gd name="connsiteY2628" fmla="*/ 2703149 h 3083905"/>
                          <a:gd name="connsiteX2629" fmla="*/ 3881629 w 6116787"/>
                          <a:gd name="connsiteY2629" fmla="*/ 2726192 h 3083905"/>
                          <a:gd name="connsiteX2630" fmla="*/ 3893150 w 6116787"/>
                          <a:gd name="connsiteY2630" fmla="*/ 2745943 h 3083905"/>
                          <a:gd name="connsiteX2631" fmla="*/ 3905220 w 6116787"/>
                          <a:gd name="connsiteY2631" fmla="*/ 2745395 h 3083905"/>
                          <a:gd name="connsiteX2632" fmla="*/ 3918387 w 6116787"/>
                          <a:gd name="connsiteY2632" fmla="*/ 2749235 h 3083905"/>
                          <a:gd name="connsiteX2633" fmla="*/ 3930457 w 6116787"/>
                          <a:gd name="connsiteY2633" fmla="*/ 2747589 h 3083905"/>
                          <a:gd name="connsiteX2634" fmla="*/ 3974897 w 6116787"/>
                          <a:gd name="connsiteY2634" fmla="*/ 2722352 h 3083905"/>
                          <a:gd name="connsiteX2635" fmla="*/ 3987516 w 6116787"/>
                          <a:gd name="connsiteY2635" fmla="*/ 2721803 h 3083905"/>
                          <a:gd name="connsiteX2636" fmla="*/ 4032505 w 6116787"/>
                          <a:gd name="connsiteY2636" fmla="*/ 2703149 h 3083905"/>
                          <a:gd name="connsiteX2637" fmla="*/ 4033053 w 6116787"/>
                          <a:gd name="connsiteY2637" fmla="*/ 2705344 h 3083905"/>
                          <a:gd name="connsiteX2638" fmla="*/ 4027018 w 6116787"/>
                          <a:gd name="connsiteY2638" fmla="*/ 2714671 h 3083905"/>
                          <a:gd name="connsiteX2639" fmla="*/ 4027018 w 6116787"/>
                          <a:gd name="connsiteY2639" fmla="*/ 2727838 h 3083905"/>
                          <a:gd name="connsiteX2640" fmla="*/ 4030858 w 6116787"/>
                          <a:gd name="connsiteY2640" fmla="*/ 2738811 h 3083905"/>
                          <a:gd name="connsiteX2641" fmla="*/ 4029212 w 6116787"/>
                          <a:gd name="connsiteY2641" fmla="*/ 2751978 h 3083905"/>
                          <a:gd name="connsiteX2642" fmla="*/ 4011656 w 6116787"/>
                          <a:gd name="connsiteY2642" fmla="*/ 2767889 h 3083905"/>
                          <a:gd name="connsiteX2643" fmla="*/ 3994648 w 6116787"/>
                          <a:gd name="connsiteY2643" fmla="*/ 2833726 h 3083905"/>
                          <a:gd name="connsiteX2644" fmla="*/ 3972154 w 6116787"/>
                          <a:gd name="connsiteY2644" fmla="*/ 2872131 h 3083905"/>
                          <a:gd name="connsiteX2645" fmla="*/ 3968862 w 6116787"/>
                          <a:gd name="connsiteY2645" fmla="*/ 2885847 h 3083905"/>
                          <a:gd name="connsiteX2646" fmla="*/ 3960632 w 6116787"/>
                          <a:gd name="connsiteY2646" fmla="*/ 2892430 h 3083905"/>
                          <a:gd name="connsiteX2647" fmla="*/ 3956792 w 6116787"/>
                          <a:gd name="connsiteY2647" fmla="*/ 2890236 h 3083905"/>
                          <a:gd name="connsiteX2648" fmla="*/ 3922777 w 6116787"/>
                          <a:gd name="connsiteY2648" fmla="*/ 2881457 h 3083905"/>
                          <a:gd name="connsiteX2649" fmla="*/ 3888760 w 6116787"/>
                          <a:gd name="connsiteY2649" fmla="*/ 2909987 h 3083905"/>
                          <a:gd name="connsiteX2650" fmla="*/ 3894795 w 6116787"/>
                          <a:gd name="connsiteY2650" fmla="*/ 2919313 h 3083905"/>
                          <a:gd name="connsiteX2651" fmla="*/ 3898636 w 6116787"/>
                          <a:gd name="connsiteY2651" fmla="*/ 2978567 h 3083905"/>
                          <a:gd name="connsiteX2652" fmla="*/ 3887663 w 6116787"/>
                          <a:gd name="connsiteY2652" fmla="*/ 2995575 h 3083905"/>
                          <a:gd name="connsiteX2653" fmla="*/ 3873947 w 6116787"/>
                          <a:gd name="connsiteY2653" fmla="*/ 3007096 h 3083905"/>
                          <a:gd name="connsiteX2654" fmla="*/ 3874496 w 6116787"/>
                          <a:gd name="connsiteY2654" fmla="*/ 3023555 h 3083905"/>
                          <a:gd name="connsiteX2655" fmla="*/ 3877239 w 6116787"/>
                          <a:gd name="connsiteY2655" fmla="*/ 3029041 h 3083905"/>
                          <a:gd name="connsiteX2656" fmla="*/ 3882177 w 6116787"/>
                          <a:gd name="connsiteY2656" fmla="*/ 3026298 h 3083905"/>
                          <a:gd name="connsiteX2657" fmla="*/ 3881079 w 6116787"/>
                          <a:gd name="connsiteY2657" fmla="*/ 3020812 h 3083905"/>
                          <a:gd name="connsiteX2658" fmla="*/ 3878885 w 6116787"/>
                          <a:gd name="connsiteY2658" fmla="*/ 3017520 h 3083905"/>
                          <a:gd name="connsiteX2659" fmla="*/ 3898636 w 6116787"/>
                          <a:gd name="connsiteY2659" fmla="*/ 3016972 h 3083905"/>
                          <a:gd name="connsiteX2660" fmla="*/ 3902476 w 6116787"/>
                          <a:gd name="connsiteY2660" fmla="*/ 3010388 h 3083905"/>
                          <a:gd name="connsiteX2661" fmla="*/ 3907414 w 6116787"/>
                          <a:gd name="connsiteY2661" fmla="*/ 3005999 h 3083905"/>
                          <a:gd name="connsiteX2662" fmla="*/ 3909061 w 6116787"/>
                          <a:gd name="connsiteY2662" fmla="*/ 3000512 h 3083905"/>
                          <a:gd name="connsiteX2663" fmla="*/ 3917290 w 6116787"/>
                          <a:gd name="connsiteY2663" fmla="*/ 2991734 h 3083905"/>
                          <a:gd name="connsiteX2664" fmla="*/ 3922777 w 6116787"/>
                          <a:gd name="connsiteY2664" fmla="*/ 2975275 h 3083905"/>
                          <a:gd name="connsiteX2665" fmla="*/ 3923325 w 6116787"/>
                          <a:gd name="connsiteY2665" fmla="*/ 2981859 h 3083905"/>
                          <a:gd name="connsiteX2666" fmla="*/ 3929360 w 6116787"/>
                          <a:gd name="connsiteY2666" fmla="*/ 2982407 h 3083905"/>
                          <a:gd name="connsiteX2667" fmla="*/ 3925520 w 6116787"/>
                          <a:gd name="connsiteY2667" fmla="*/ 2989540 h 3083905"/>
                          <a:gd name="connsiteX2668" fmla="*/ 3928263 w 6116787"/>
                          <a:gd name="connsiteY2668" fmla="*/ 2992283 h 3083905"/>
                          <a:gd name="connsiteX2669" fmla="*/ 3936493 w 6116787"/>
                          <a:gd name="connsiteY2669" fmla="*/ 2986248 h 3083905"/>
                          <a:gd name="connsiteX2670" fmla="*/ 3940881 w 6116787"/>
                          <a:gd name="connsiteY2670" fmla="*/ 2984602 h 3083905"/>
                          <a:gd name="connsiteX2671" fmla="*/ 3939784 w 6116787"/>
                          <a:gd name="connsiteY2671" fmla="*/ 3002158 h 3083905"/>
                          <a:gd name="connsiteX2672" fmla="*/ 3940881 w 6116787"/>
                          <a:gd name="connsiteY2672" fmla="*/ 3004901 h 3083905"/>
                          <a:gd name="connsiteX2673" fmla="*/ 3954597 w 6116787"/>
                          <a:gd name="connsiteY2673" fmla="*/ 3005450 h 3083905"/>
                          <a:gd name="connsiteX2674" fmla="*/ 3960632 w 6116787"/>
                          <a:gd name="connsiteY2674" fmla="*/ 3010388 h 3083905"/>
                          <a:gd name="connsiteX2675" fmla="*/ 3963375 w 6116787"/>
                          <a:gd name="connsiteY2675" fmla="*/ 3009839 h 3083905"/>
                          <a:gd name="connsiteX2676" fmla="*/ 3967216 w 6116787"/>
                          <a:gd name="connsiteY2676" fmla="*/ 3012582 h 3083905"/>
                          <a:gd name="connsiteX2677" fmla="*/ 3975446 w 6116787"/>
                          <a:gd name="connsiteY2677" fmla="*/ 3013680 h 3083905"/>
                          <a:gd name="connsiteX2678" fmla="*/ 3991357 w 6116787"/>
                          <a:gd name="connsiteY2678" fmla="*/ 3008193 h 3083905"/>
                          <a:gd name="connsiteX2679" fmla="*/ 3996294 w 6116787"/>
                          <a:gd name="connsiteY2679" fmla="*/ 3008193 h 3083905"/>
                          <a:gd name="connsiteX2680" fmla="*/ 4051158 w 6116787"/>
                          <a:gd name="connsiteY2680" fmla="*/ 2966497 h 3083905"/>
                          <a:gd name="connsiteX2681" fmla="*/ 4066520 w 6116787"/>
                          <a:gd name="connsiteY2681" fmla="*/ 2943454 h 3083905"/>
                          <a:gd name="connsiteX2682" fmla="*/ 4067617 w 6116787"/>
                          <a:gd name="connsiteY2682" fmla="*/ 2937967 h 3083905"/>
                          <a:gd name="connsiteX2683" fmla="*/ 4079687 w 6116787"/>
                          <a:gd name="connsiteY2683" fmla="*/ 2923703 h 3083905"/>
                          <a:gd name="connsiteX2684" fmla="*/ 4087369 w 6116787"/>
                          <a:gd name="connsiteY2684" fmla="*/ 2919313 h 3083905"/>
                          <a:gd name="connsiteX2685" fmla="*/ 4226723 w 6116787"/>
                          <a:gd name="connsiteY2685" fmla="*/ 2713025 h 3083905"/>
                          <a:gd name="connsiteX2686" fmla="*/ 4231661 w 6116787"/>
                          <a:gd name="connsiteY2686" fmla="*/ 2709733 h 3083905"/>
                          <a:gd name="connsiteX2687" fmla="*/ 4237696 w 6116787"/>
                          <a:gd name="connsiteY2687" fmla="*/ 2703698 h 3083905"/>
                          <a:gd name="connsiteX2688" fmla="*/ 4242085 w 6116787"/>
                          <a:gd name="connsiteY2688" fmla="*/ 2679009 h 3083905"/>
                          <a:gd name="connsiteX2689" fmla="*/ 4240988 w 6116787"/>
                          <a:gd name="connsiteY2689" fmla="*/ 2671877 h 3083905"/>
                          <a:gd name="connsiteX2690" fmla="*/ 4248120 w 6116787"/>
                          <a:gd name="connsiteY2690" fmla="*/ 2651029 h 3083905"/>
                          <a:gd name="connsiteX2691" fmla="*/ 4247023 w 6116787"/>
                          <a:gd name="connsiteY2691" fmla="*/ 2620853 h 3083905"/>
                          <a:gd name="connsiteX2692" fmla="*/ 4252509 w 6116787"/>
                          <a:gd name="connsiteY2692" fmla="*/ 2613721 h 3083905"/>
                          <a:gd name="connsiteX2693" fmla="*/ 4251961 w 6116787"/>
                          <a:gd name="connsiteY2693" fmla="*/ 2608783 h 3083905"/>
                          <a:gd name="connsiteX2694" fmla="*/ 4249217 w 6116787"/>
                          <a:gd name="connsiteY2694" fmla="*/ 2606040 h 3083905"/>
                          <a:gd name="connsiteX2695" fmla="*/ 4244828 w 6116787"/>
                          <a:gd name="connsiteY2695" fmla="*/ 2573122 h 3083905"/>
                          <a:gd name="connsiteX2696" fmla="*/ 4249217 w 6116787"/>
                          <a:gd name="connsiteY2696" fmla="*/ 2565989 h 3083905"/>
                          <a:gd name="connsiteX2697" fmla="*/ 4251961 w 6116787"/>
                          <a:gd name="connsiteY2697" fmla="*/ 2542398 h 3083905"/>
                          <a:gd name="connsiteX2698" fmla="*/ 4254704 w 6116787"/>
                          <a:gd name="connsiteY2698" fmla="*/ 2541301 h 3083905"/>
                          <a:gd name="connsiteX2699" fmla="*/ 4255252 w 6116787"/>
                          <a:gd name="connsiteY2699" fmla="*/ 2538009 h 3083905"/>
                          <a:gd name="connsiteX2700" fmla="*/ 4257996 w 6116787"/>
                          <a:gd name="connsiteY2700" fmla="*/ 2535266 h 3083905"/>
                          <a:gd name="connsiteX2701" fmla="*/ 4256898 w 6116787"/>
                          <a:gd name="connsiteY2701" fmla="*/ 2530876 h 3083905"/>
                          <a:gd name="connsiteX2702" fmla="*/ 4265677 w 6116787"/>
                          <a:gd name="connsiteY2702" fmla="*/ 2517160 h 3083905"/>
                          <a:gd name="connsiteX2703" fmla="*/ 4270614 w 6116787"/>
                          <a:gd name="connsiteY2703" fmla="*/ 2514417 h 3083905"/>
                          <a:gd name="connsiteX2704" fmla="*/ 4277747 w 6116787"/>
                          <a:gd name="connsiteY2704" fmla="*/ 2501799 h 3083905"/>
                          <a:gd name="connsiteX2705" fmla="*/ 4278844 w 6116787"/>
                          <a:gd name="connsiteY2705" fmla="*/ 2494666 h 3083905"/>
                          <a:gd name="connsiteX2706" fmla="*/ 4282136 w 6116787"/>
                          <a:gd name="connsiteY2706" fmla="*/ 2486437 h 3083905"/>
                          <a:gd name="connsiteX2707" fmla="*/ 4268968 w 6116787"/>
                          <a:gd name="connsiteY2707" fmla="*/ 2471623 h 3083905"/>
                          <a:gd name="connsiteX2708" fmla="*/ 4273906 w 6116787"/>
                          <a:gd name="connsiteY2708" fmla="*/ 2459005 h 3083905"/>
                          <a:gd name="connsiteX2709" fmla="*/ 4269517 w 6116787"/>
                          <a:gd name="connsiteY2709" fmla="*/ 2441997 h 3083905"/>
                          <a:gd name="connsiteX2710" fmla="*/ 4255252 w 6116787"/>
                          <a:gd name="connsiteY2710" fmla="*/ 2430475 h 3083905"/>
                          <a:gd name="connsiteX2711" fmla="*/ 4247571 w 6116787"/>
                          <a:gd name="connsiteY2711" fmla="*/ 2431024 h 3083905"/>
                          <a:gd name="connsiteX2712" fmla="*/ 4238793 w 6116787"/>
                          <a:gd name="connsiteY2712" fmla="*/ 2425538 h 3083905"/>
                          <a:gd name="connsiteX2713" fmla="*/ 4229466 w 6116787"/>
                          <a:gd name="connsiteY2713" fmla="*/ 2422794 h 3083905"/>
                          <a:gd name="connsiteX2714" fmla="*/ 4223980 w 6116787"/>
                          <a:gd name="connsiteY2714" fmla="*/ 2423343 h 3083905"/>
                          <a:gd name="connsiteX2715" fmla="*/ 4227820 w 6116787"/>
                          <a:gd name="connsiteY2715" fmla="*/ 2418954 h 3083905"/>
                          <a:gd name="connsiteX2716" fmla="*/ 4237696 w 6116787"/>
                          <a:gd name="connsiteY2716" fmla="*/ 2419503 h 3083905"/>
                          <a:gd name="connsiteX2717" fmla="*/ 4245925 w 6116787"/>
                          <a:gd name="connsiteY2717" fmla="*/ 2425538 h 3083905"/>
                          <a:gd name="connsiteX2718" fmla="*/ 4251961 w 6116787"/>
                          <a:gd name="connsiteY2718" fmla="*/ 2426635 h 3083905"/>
                          <a:gd name="connsiteX2719" fmla="*/ 4257996 w 6116787"/>
                          <a:gd name="connsiteY2719" fmla="*/ 2426086 h 3083905"/>
                          <a:gd name="connsiteX2720" fmla="*/ 4271163 w 6116787"/>
                          <a:gd name="connsiteY2720" fmla="*/ 2433767 h 3083905"/>
                          <a:gd name="connsiteX2721" fmla="*/ 4273906 w 6116787"/>
                          <a:gd name="connsiteY2721" fmla="*/ 2431573 h 3083905"/>
                          <a:gd name="connsiteX2722" fmla="*/ 4279393 w 6116787"/>
                          <a:gd name="connsiteY2722" fmla="*/ 2423892 h 3083905"/>
                          <a:gd name="connsiteX2723" fmla="*/ 4278844 w 6116787"/>
                          <a:gd name="connsiteY2723" fmla="*/ 2416211 h 3083905"/>
                          <a:gd name="connsiteX2724" fmla="*/ 4273906 w 6116787"/>
                          <a:gd name="connsiteY2724" fmla="*/ 2415113 h 3083905"/>
                          <a:gd name="connsiteX2725" fmla="*/ 4239890 w 6116787"/>
                          <a:gd name="connsiteY2725" fmla="*/ 2388230 h 3083905"/>
                          <a:gd name="connsiteX2726" fmla="*/ 4238245 w 6116787"/>
                          <a:gd name="connsiteY2726" fmla="*/ 2383841 h 3083905"/>
                          <a:gd name="connsiteX2727" fmla="*/ 4237696 w 6116787"/>
                          <a:gd name="connsiteY2727" fmla="*/ 2375063 h 3083905"/>
                          <a:gd name="connsiteX2728" fmla="*/ 4226723 w 6116787"/>
                          <a:gd name="connsiteY2728" fmla="*/ 2365187 h 3083905"/>
                          <a:gd name="connsiteX2729" fmla="*/ 4220688 w 6116787"/>
                          <a:gd name="connsiteY2729" fmla="*/ 2362444 h 3083905"/>
                          <a:gd name="connsiteX2730" fmla="*/ 4219042 w 6116787"/>
                          <a:gd name="connsiteY2730" fmla="*/ 2358603 h 3083905"/>
                          <a:gd name="connsiteX2731" fmla="*/ 4219042 w 6116787"/>
                          <a:gd name="connsiteY2731" fmla="*/ 2355312 h 3083905"/>
                          <a:gd name="connsiteX2732" fmla="*/ 4211361 w 6116787"/>
                          <a:gd name="connsiteY2732" fmla="*/ 2355312 h 3083905"/>
                          <a:gd name="connsiteX2733" fmla="*/ 4201485 w 6116787"/>
                          <a:gd name="connsiteY2733" fmla="*/ 2360249 h 3083905"/>
                          <a:gd name="connsiteX2734" fmla="*/ 4193804 w 6116787"/>
                          <a:gd name="connsiteY2734" fmla="*/ 2360249 h 3083905"/>
                          <a:gd name="connsiteX2735" fmla="*/ 4179540 w 6116787"/>
                          <a:gd name="connsiteY2735" fmla="*/ 2353666 h 3083905"/>
                          <a:gd name="connsiteX2736" fmla="*/ 4179540 w 6116787"/>
                          <a:gd name="connsiteY2736" fmla="*/ 2367930 h 3083905"/>
                          <a:gd name="connsiteX2737" fmla="*/ 4181186 w 6116787"/>
                          <a:gd name="connsiteY2737" fmla="*/ 2368479 h 3083905"/>
                          <a:gd name="connsiteX2738" fmla="*/ 4172956 w 6116787"/>
                          <a:gd name="connsiteY2738" fmla="*/ 2399203 h 3083905"/>
                          <a:gd name="connsiteX2739" fmla="*/ 4165275 w 6116787"/>
                          <a:gd name="connsiteY2739" fmla="*/ 2403592 h 3083905"/>
                          <a:gd name="connsiteX2740" fmla="*/ 4167470 w 6116787"/>
                          <a:gd name="connsiteY2740" fmla="*/ 2394265 h 3083905"/>
                          <a:gd name="connsiteX2741" fmla="*/ 4172956 w 6116787"/>
                          <a:gd name="connsiteY2741" fmla="*/ 2383841 h 3083905"/>
                          <a:gd name="connsiteX2742" fmla="*/ 4170213 w 6116787"/>
                          <a:gd name="connsiteY2742" fmla="*/ 2377257 h 3083905"/>
                          <a:gd name="connsiteX2743" fmla="*/ 4157594 w 6116787"/>
                          <a:gd name="connsiteY2743" fmla="*/ 2392071 h 3083905"/>
                          <a:gd name="connsiteX2744" fmla="*/ 4135100 w 6116787"/>
                          <a:gd name="connsiteY2744" fmla="*/ 2400849 h 3083905"/>
                          <a:gd name="connsiteX2745" fmla="*/ 4125224 w 6116787"/>
                          <a:gd name="connsiteY2745" fmla="*/ 2399203 h 3083905"/>
                          <a:gd name="connsiteX2746" fmla="*/ 4124127 w 6116787"/>
                          <a:gd name="connsiteY2746" fmla="*/ 2395911 h 3083905"/>
                          <a:gd name="connsiteX2747" fmla="*/ 4130711 w 6116787"/>
                          <a:gd name="connsiteY2747" fmla="*/ 2393716 h 3083905"/>
                          <a:gd name="connsiteX2748" fmla="*/ 4139489 w 6116787"/>
                          <a:gd name="connsiteY2748" fmla="*/ 2381098 h 3083905"/>
                          <a:gd name="connsiteX2749" fmla="*/ 4138392 w 6116787"/>
                          <a:gd name="connsiteY2749" fmla="*/ 2376160 h 3083905"/>
                          <a:gd name="connsiteX2750" fmla="*/ 4131808 w 6116787"/>
                          <a:gd name="connsiteY2750" fmla="*/ 2372319 h 3083905"/>
                          <a:gd name="connsiteX2751" fmla="*/ 4127967 w 6116787"/>
                          <a:gd name="connsiteY2751" fmla="*/ 2365736 h 3083905"/>
                          <a:gd name="connsiteX2752" fmla="*/ 4132357 w 6116787"/>
                          <a:gd name="connsiteY2752" fmla="*/ 2364639 h 3083905"/>
                          <a:gd name="connsiteX2753" fmla="*/ 4138392 w 6116787"/>
                          <a:gd name="connsiteY2753" fmla="*/ 2357506 h 3083905"/>
                          <a:gd name="connsiteX2754" fmla="*/ 4139489 w 6116787"/>
                          <a:gd name="connsiteY2754" fmla="*/ 2353666 h 3083905"/>
                          <a:gd name="connsiteX2755" fmla="*/ 4127967 w 6116787"/>
                          <a:gd name="connsiteY2755" fmla="*/ 2354763 h 3083905"/>
                          <a:gd name="connsiteX2756" fmla="*/ 4121932 w 6116787"/>
                          <a:gd name="connsiteY2756" fmla="*/ 2358603 h 3083905"/>
                          <a:gd name="connsiteX2757" fmla="*/ 4119189 w 6116787"/>
                          <a:gd name="connsiteY2757" fmla="*/ 2365187 h 3083905"/>
                          <a:gd name="connsiteX2758" fmla="*/ 4123579 w 6116787"/>
                          <a:gd name="connsiteY2758" fmla="*/ 2371222 h 3083905"/>
                          <a:gd name="connsiteX2759" fmla="*/ 4121384 w 6116787"/>
                          <a:gd name="connsiteY2759" fmla="*/ 2376160 h 3083905"/>
                          <a:gd name="connsiteX2760" fmla="*/ 4115898 w 6116787"/>
                          <a:gd name="connsiteY2760" fmla="*/ 2382744 h 3083905"/>
                          <a:gd name="connsiteX2761" fmla="*/ 4109314 w 6116787"/>
                          <a:gd name="connsiteY2761" fmla="*/ 2382744 h 3083905"/>
                          <a:gd name="connsiteX2762" fmla="*/ 4106571 w 6116787"/>
                          <a:gd name="connsiteY2762" fmla="*/ 2388230 h 3083905"/>
                          <a:gd name="connsiteX2763" fmla="*/ 4104376 w 6116787"/>
                          <a:gd name="connsiteY2763" fmla="*/ 2386584 h 3083905"/>
                          <a:gd name="connsiteX2764" fmla="*/ 4107119 w 6116787"/>
                          <a:gd name="connsiteY2764" fmla="*/ 2352020 h 3083905"/>
                          <a:gd name="connsiteX2765" fmla="*/ 4106022 w 6116787"/>
                          <a:gd name="connsiteY2765" fmla="*/ 2348728 h 3083905"/>
                          <a:gd name="connsiteX2766" fmla="*/ 4107119 w 6116787"/>
                          <a:gd name="connsiteY2766" fmla="*/ 2339950 h 3083905"/>
                          <a:gd name="connsiteX2767" fmla="*/ 4105473 w 6116787"/>
                          <a:gd name="connsiteY2767" fmla="*/ 2333915 h 3083905"/>
                          <a:gd name="connsiteX2768" fmla="*/ 4098341 w 6116787"/>
                          <a:gd name="connsiteY2768" fmla="*/ 2332269 h 3083905"/>
                          <a:gd name="connsiteX2769" fmla="*/ 4066520 w 6116787"/>
                          <a:gd name="connsiteY2769" fmla="*/ 2337207 h 3083905"/>
                          <a:gd name="connsiteX2770" fmla="*/ 4047318 w 6116787"/>
                          <a:gd name="connsiteY2770" fmla="*/ 2325136 h 3083905"/>
                          <a:gd name="connsiteX2771" fmla="*/ 4050609 w 6116787"/>
                          <a:gd name="connsiteY2771" fmla="*/ 2311969 h 3083905"/>
                          <a:gd name="connsiteX2772" fmla="*/ 4068715 w 6116787"/>
                          <a:gd name="connsiteY2772" fmla="*/ 2296607 h 3083905"/>
                          <a:gd name="connsiteX2773" fmla="*/ 4074201 w 6116787"/>
                          <a:gd name="connsiteY2773" fmla="*/ 2294961 h 3083905"/>
                          <a:gd name="connsiteX2774" fmla="*/ 4087369 w 6116787"/>
                          <a:gd name="connsiteY2774" fmla="*/ 2283988 h 3083905"/>
                          <a:gd name="connsiteX2775" fmla="*/ 4092306 w 6116787"/>
                          <a:gd name="connsiteY2775" fmla="*/ 2273564 h 3083905"/>
                          <a:gd name="connsiteX2776" fmla="*/ 4097244 w 6116787"/>
                          <a:gd name="connsiteY2776" fmla="*/ 2269724 h 3083905"/>
                          <a:gd name="connsiteX2777" fmla="*/ 4101085 w 6116787"/>
                          <a:gd name="connsiteY2777" fmla="*/ 2268627 h 3083905"/>
                          <a:gd name="connsiteX2778" fmla="*/ 4141135 w 6116787"/>
                          <a:gd name="connsiteY2778" fmla="*/ 2231868 h 3083905"/>
                          <a:gd name="connsiteX2779" fmla="*/ 4147170 w 6116787"/>
                          <a:gd name="connsiteY2779" fmla="*/ 2219798 h 3083905"/>
                          <a:gd name="connsiteX2780" fmla="*/ 4153205 w 6116787"/>
                          <a:gd name="connsiteY2780" fmla="*/ 2215957 h 3083905"/>
                          <a:gd name="connsiteX2781" fmla="*/ 4156497 w 6116787"/>
                          <a:gd name="connsiteY2781" fmla="*/ 2209373 h 3083905"/>
                          <a:gd name="connsiteX2782" fmla="*/ 4156497 w 6116787"/>
                          <a:gd name="connsiteY2782" fmla="*/ 2203887 h 3083905"/>
                          <a:gd name="connsiteX2783" fmla="*/ 4166372 w 6116787"/>
                          <a:gd name="connsiteY2783" fmla="*/ 2192914 h 3083905"/>
                          <a:gd name="connsiteX2784" fmla="*/ 4168018 w 6116787"/>
                          <a:gd name="connsiteY2784" fmla="*/ 2187428 h 3083905"/>
                          <a:gd name="connsiteX2785" fmla="*/ 4172408 w 6116787"/>
                          <a:gd name="connsiteY2785" fmla="*/ 2187976 h 3083905"/>
                          <a:gd name="connsiteX2786" fmla="*/ 4176796 w 6116787"/>
                          <a:gd name="connsiteY2786" fmla="*/ 2179198 h 3083905"/>
                          <a:gd name="connsiteX2787" fmla="*/ 4198194 w 6116787"/>
                          <a:gd name="connsiteY2787" fmla="*/ 2154509 h 3083905"/>
                          <a:gd name="connsiteX2788" fmla="*/ 4204229 w 6116787"/>
                          <a:gd name="connsiteY2788" fmla="*/ 2155058 h 3083905"/>
                          <a:gd name="connsiteX2789" fmla="*/ 4217396 w 6116787"/>
                          <a:gd name="connsiteY2789" fmla="*/ 2140793 h 3083905"/>
                          <a:gd name="connsiteX2790" fmla="*/ 4222334 w 6116787"/>
                          <a:gd name="connsiteY2790" fmla="*/ 2130369 h 3083905"/>
                          <a:gd name="connsiteX2791" fmla="*/ 4224529 w 6116787"/>
                          <a:gd name="connsiteY2791" fmla="*/ 2131467 h 3083905"/>
                          <a:gd name="connsiteX2792" fmla="*/ 4240988 w 6116787"/>
                          <a:gd name="connsiteY2792" fmla="*/ 2119396 h 3083905"/>
                          <a:gd name="connsiteX2793" fmla="*/ 4246474 w 6116787"/>
                          <a:gd name="connsiteY2793" fmla="*/ 2107875 h 3083905"/>
                          <a:gd name="connsiteX2794" fmla="*/ 4248668 w 6116787"/>
                          <a:gd name="connsiteY2794" fmla="*/ 2097451 h 3083905"/>
                          <a:gd name="connsiteX2795" fmla="*/ 4345229 w 6116787"/>
                          <a:gd name="connsiteY2795" fmla="*/ 2008022 h 3083905"/>
                          <a:gd name="connsiteX2796" fmla="*/ 4448373 w 6116787"/>
                          <a:gd name="connsiteY2796" fmla="*/ 2005828 h 3083905"/>
                          <a:gd name="connsiteX2797" fmla="*/ 4448373 w 6116787"/>
                          <a:gd name="connsiteY2797" fmla="*/ 2014606 h 3083905"/>
                          <a:gd name="connsiteX2798" fmla="*/ 4451665 w 6116787"/>
                          <a:gd name="connsiteY2798" fmla="*/ 2020093 h 3083905"/>
                          <a:gd name="connsiteX2799" fmla="*/ 4456055 w 6116787"/>
                          <a:gd name="connsiteY2799" fmla="*/ 2021190 h 3083905"/>
                          <a:gd name="connsiteX2800" fmla="*/ 4463736 w 6116787"/>
                          <a:gd name="connsiteY2800" fmla="*/ 2018995 h 3083905"/>
                          <a:gd name="connsiteX2801" fmla="*/ 4465381 w 6116787"/>
                          <a:gd name="connsiteY2801" fmla="*/ 2015703 h 3083905"/>
                          <a:gd name="connsiteX2802" fmla="*/ 4466479 w 6116787"/>
                          <a:gd name="connsiteY2802" fmla="*/ 2001987 h 3083905"/>
                          <a:gd name="connsiteX2803" fmla="*/ 4469771 w 6116787"/>
                          <a:gd name="connsiteY2803" fmla="*/ 1999793 h 3083905"/>
                          <a:gd name="connsiteX2804" fmla="*/ 4508724 w 6116787"/>
                          <a:gd name="connsiteY2804" fmla="*/ 2014606 h 3083905"/>
                          <a:gd name="connsiteX2805" fmla="*/ 4520794 w 6116787"/>
                          <a:gd name="connsiteY2805" fmla="*/ 2013509 h 3083905"/>
                          <a:gd name="connsiteX2806" fmla="*/ 4520794 w 6116787"/>
                          <a:gd name="connsiteY2806" fmla="*/ 2008022 h 3083905"/>
                          <a:gd name="connsiteX2807" fmla="*/ 4526829 w 6116787"/>
                          <a:gd name="connsiteY2807" fmla="*/ 2004731 h 3083905"/>
                          <a:gd name="connsiteX2808" fmla="*/ 4540545 w 6116787"/>
                          <a:gd name="connsiteY2808" fmla="*/ 2004731 h 3083905"/>
                          <a:gd name="connsiteX2809" fmla="*/ 4547677 w 6116787"/>
                          <a:gd name="connsiteY2809" fmla="*/ 2016252 h 3083905"/>
                          <a:gd name="connsiteX2810" fmla="*/ 4551518 w 6116787"/>
                          <a:gd name="connsiteY2810" fmla="*/ 2016801 h 3083905"/>
                          <a:gd name="connsiteX2811" fmla="*/ 4560296 w 6116787"/>
                          <a:gd name="connsiteY2811" fmla="*/ 2014606 h 3083905"/>
                          <a:gd name="connsiteX2812" fmla="*/ 4560845 w 6116787"/>
                          <a:gd name="connsiteY2812" fmla="*/ 2008022 h 3083905"/>
                          <a:gd name="connsiteX2813" fmla="*/ 4558101 w 6116787"/>
                          <a:gd name="connsiteY2813" fmla="*/ 2008022 h 3083905"/>
                          <a:gd name="connsiteX2814" fmla="*/ 4554810 w 6116787"/>
                          <a:gd name="connsiteY2814" fmla="*/ 2001987 h 3083905"/>
                          <a:gd name="connsiteX2815" fmla="*/ 4560845 w 6116787"/>
                          <a:gd name="connsiteY2815" fmla="*/ 1998696 h 3083905"/>
                          <a:gd name="connsiteX2816" fmla="*/ 4569623 w 6116787"/>
                          <a:gd name="connsiteY2816" fmla="*/ 1998147 h 3083905"/>
                          <a:gd name="connsiteX2817" fmla="*/ 4569074 w 6116787"/>
                          <a:gd name="connsiteY2817" fmla="*/ 1994306 h 3083905"/>
                          <a:gd name="connsiteX2818" fmla="*/ 4565234 w 6116787"/>
                          <a:gd name="connsiteY2818" fmla="*/ 1989369 h 3083905"/>
                          <a:gd name="connsiteX2819" fmla="*/ 4566331 w 6116787"/>
                          <a:gd name="connsiteY2819" fmla="*/ 1984980 h 3083905"/>
                          <a:gd name="connsiteX2820" fmla="*/ 4574012 w 6116787"/>
                          <a:gd name="connsiteY2820" fmla="*/ 1979493 h 3083905"/>
                          <a:gd name="connsiteX2821" fmla="*/ 4582242 w 6116787"/>
                          <a:gd name="connsiteY2821" fmla="*/ 1978945 h 3083905"/>
                          <a:gd name="connsiteX2822" fmla="*/ 4613514 w 6116787"/>
                          <a:gd name="connsiteY2822" fmla="*/ 1989369 h 3083905"/>
                          <a:gd name="connsiteX2823" fmla="*/ 4620647 w 6116787"/>
                          <a:gd name="connsiteY2823" fmla="*/ 1988820 h 3083905"/>
                          <a:gd name="connsiteX2824" fmla="*/ 4629425 w 6116787"/>
                          <a:gd name="connsiteY2824" fmla="*/ 1995404 h 3083905"/>
                          <a:gd name="connsiteX2825" fmla="*/ 4629973 w 6116787"/>
                          <a:gd name="connsiteY2825" fmla="*/ 1998147 h 3083905"/>
                          <a:gd name="connsiteX2826" fmla="*/ 4636557 w 6116787"/>
                          <a:gd name="connsiteY2826" fmla="*/ 2000342 h 3083905"/>
                          <a:gd name="connsiteX2827" fmla="*/ 4639849 w 6116787"/>
                          <a:gd name="connsiteY2827" fmla="*/ 1991563 h 3083905"/>
                          <a:gd name="connsiteX2828" fmla="*/ 4646432 w 6116787"/>
                          <a:gd name="connsiteY2828" fmla="*/ 1989917 h 3083905"/>
                          <a:gd name="connsiteX2829" fmla="*/ 4655760 w 6116787"/>
                          <a:gd name="connsiteY2829" fmla="*/ 1992112 h 3083905"/>
                          <a:gd name="connsiteX2830" fmla="*/ 4668927 w 6116787"/>
                          <a:gd name="connsiteY2830" fmla="*/ 2004182 h 3083905"/>
                          <a:gd name="connsiteX2831" fmla="*/ 4671670 w 6116787"/>
                          <a:gd name="connsiteY2831" fmla="*/ 2010766 h 3083905"/>
                          <a:gd name="connsiteX2832" fmla="*/ 4684837 w 6116787"/>
                          <a:gd name="connsiteY2832" fmla="*/ 2013509 h 3083905"/>
                          <a:gd name="connsiteX2833" fmla="*/ 4687580 w 6116787"/>
                          <a:gd name="connsiteY2833" fmla="*/ 2018447 h 3083905"/>
                          <a:gd name="connsiteX2834" fmla="*/ 4679351 w 6116787"/>
                          <a:gd name="connsiteY2834" fmla="*/ 2022287 h 3083905"/>
                          <a:gd name="connsiteX2835" fmla="*/ 4653565 w 6116787"/>
                          <a:gd name="connsiteY2835" fmla="*/ 2022836 h 3083905"/>
                          <a:gd name="connsiteX2836" fmla="*/ 4645335 w 6116787"/>
                          <a:gd name="connsiteY2836" fmla="*/ 2026128 h 3083905"/>
                          <a:gd name="connsiteX2837" fmla="*/ 4646432 w 6116787"/>
                          <a:gd name="connsiteY2837" fmla="*/ 2030517 h 3083905"/>
                          <a:gd name="connsiteX2838" fmla="*/ 4656308 w 6116787"/>
                          <a:gd name="connsiteY2838" fmla="*/ 2043684 h 3083905"/>
                          <a:gd name="connsiteX2839" fmla="*/ 4676608 w 6116787"/>
                          <a:gd name="connsiteY2839" fmla="*/ 2044233 h 3083905"/>
                          <a:gd name="connsiteX2840" fmla="*/ 4685386 w 6116787"/>
                          <a:gd name="connsiteY2840" fmla="*/ 2041490 h 3083905"/>
                          <a:gd name="connsiteX2841" fmla="*/ 4690324 w 6116787"/>
                          <a:gd name="connsiteY2841" fmla="*/ 2034357 h 3083905"/>
                          <a:gd name="connsiteX2842" fmla="*/ 4696908 w 6116787"/>
                          <a:gd name="connsiteY2842" fmla="*/ 2031065 h 3083905"/>
                          <a:gd name="connsiteX2843" fmla="*/ 4701846 w 6116787"/>
                          <a:gd name="connsiteY2843" fmla="*/ 2036003 h 3083905"/>
                          <a:gd name="connsiteX2844" fmla="*/ 4710075 w 6116787"/>
                          <a:gd name="connsiteY2844" fmla="*/ 2039844 h 3083905"/>
                          <a:gd name="connsiteX2845" fmla="*/ 4715562 w 6116787"/>
                          <a:gd name="connsiteY2845" fmla="*/ 2035454 h 3083905"/>
                          <a:gd name="connsiteX2846" fmla="*/ 4719402 w 6116787"/>
                          <a:gd name="connsiteY2846" fmla="*/ 2028871 h 3083905"/>
                          <a:gd name="connsiteX2847" fmla="*/ 4728728 w 6116787"/>
                          <a:gd name="connsiteY2847" fmla="*/ 2026676 h 3083905"/>
                          <a:gd name="connsiteX2848" fmla="*/ 4729826 w 6116787"/>
                          <a:gd name="connsiteY2848" fmla="*/ 2022287 h 3083905"/>
                          <a:gd name="connsiteX2849" fmla="*/ 4738056 w 6116787"/>
                          <a:gd name="connsiteY2849" fmla="*/ 2017898 h 3083905"/>
                          <a:gd name="connsiteX2850" fmla="*/ 4748480 w 6116787"/>
                          <a:gd name="connsiteY2850" fmla="*/ 2021190 h 3083905"/>
                          <a:gd name="connsiteX2851" fmla="*/ 4753966 w 6116787"/>
                          <a:gd name="connsiteY2851" fmla="*/ 2028322 h 3083905"/>
                          <a:gd name="connsiteX2852" fmla="*/ 4760001 w 6116787"/>
                          <a:gd name="connsiteY2852" fmla="*/ 2028871 h 3083905"/>
                          <a:gd name="connsiteX2853" fmla="*/ 4768779 w 6116787"/>
                          <a:gd name="connsiteY2853" fmla="*/ 2026128 h 3083905"/>
                          <a:gd name="connsiteX2854" fmla="*/ 4770426 w 6116787"/>
                          <a:gd name="connsiteY2854" fmla="*/ 2020093 h 3083905"/>
                          <a:gd name="connsiteX2855" fmla="*/ 4780849 w 6116787"/>
                          <a:gd name="connsiteY2855" fmla="*/ 2021190 h 3083905"/>
                          <a:gd name="connsiteX2856" fmla="*/ 4785239 w 6116787"/>
                          <a:gd name="connsiteY2856" fmla="*/ 2023933 h 3083905"/>
                          <a:gd name="connsiteX2857" fmla="*/ 4787433 w 6116787"/>
                          <a:gd name="connsiteY2857" fmla="*/ 2020641 h 3083905"/>
                          <a:gd name="connsiteX2858" fmla="*/ 4794565 w 6116787"/>
                          <a:gd name="connsiteY2858" fmla="*/ 2020641 h 3083905"/>
                          <a:gd name="connsiteX2859" fmla="*/ 4795663 w 6116787"/>
                          <a:gd name="connsiteY2859" fmla="*/ 2014606 h 3083905"/>
                          <a:gd name="connsiteX2860" fmla="*/ 4793468 w 6116787"/>
                          <a:gd name="connsiteY2860" fmla="*/ 2008022 h 3083905"/>
                          <a:gd name="connsiteX2861" fmla="*/ 4788530 w 6116787"/>
                          <a:gd name="connsiteY2861" fmla="*/ 2001439 h 3083905"/>
                          <a:gd name="connsiteX2862" fmla="*/ 4774266 w 6116787"/>
                          <a:gd name="connsiteY2862" fmla="*/ 1994855 h 3083905"/>
                          <a:gd name="connsiteX2863" fmla="*/ 4760001 w 6116787"/>
                          <a:gd name="connsiteY2863" fmla="*/ 1997598 h 3083905"/>
                          <a:gd name="connsiteX2864" fmla="*/ 4760550 w 6116787"/>
                          <a:gd name="connsiteY2864" fmla="*/ 1992112 h 3083905"/>
                          <a:gd name="connsiteX2865" fmla="*/ 4765488 w 6116787"/>
                          <a:gd name="connsiteY2865" fmla="*/ 1987723 h 3083905"/>
                          <a:gd name="connsiteX2866" fmla="*/ 4758904 w 6116787"/>
                          <a:gd name="connsiteY2866" fmla="*/ 1971812 h 3083905"/>
                          <a:gd name="connsiteX2867" fmla="*/ 4762196 w 6116787"/>
                          <a:gd name="connsiteY2867" fmla="*/ 1968520 h 3083905"/>
                          <a:gd name="connsiteX2868" fmla="*/ 4766036 w 6116787"/>
                          <a:gd name="connsiteY2868" fmla="*/ 1971812 h 3083905"/>
                          <a:gd name="connsiteX2869" fmla="*/ 4767682 w 6116787"/>
                          <a:gd name="connsiteY2869" fmla="*/ 1971812 h 3083905"/>
                          <a:gd name="connsiteX2870" fmla="*/ 4784142 w 6116787"/>
                          <a:gd name="connsiteY2870" fmla="*/ 1936151 h 3083905"/>
                          <a:gd name="connsiteX2871" fmla="*/ 4792920 w 6116787"/>
                          <a:gd name="connsiteY2871" fmla="*/ 1927921 h 3083905"/>
                          <a:gd name="connsiteX2872" fmla="*/ 4801149 w 6116787"/>
                          <a:gd name="connsiteY2872" fmla="*/ 1924081 h 3083905"/>
                          <a:gd name="connsiteX2873" fmla="*/ 4825290 w 6116787"/>
                          <a:gd name="connsiteY2873" fmla="*/ 1900489 h 3083905"/>
                          <a:gd name="connsiteX2874" fmla="*/ 4825838 w 6116787"/>
                          <a:gd name="connsiteY2874" fmla="*/ 1894454 h 3083905"/>
                          <a:gd name="connsiteX2875" fmla="*/ 4850527 w 6116787"/>
                          <a:gd name="connsiteY2875" fmla="*/ 1864827 h 3083905"/>
                          <a:gd name="connsiteX2876" fmla="*/ 4854367 w 6116787"/>
                          <a:gd name="connsiteY2876" fmla="*/ 1846722 h 3083905"/>
                          <a:gd name="connsiteX2877" fmla="*/ 4874118 w 6116787"/>
                          <a:gd name="connsiteY2877" fmla="*/ 1828617 h 3083905"/>
                          <a:gd name="connsiteX2878" fmla="*/ 4881251 w 6116787"/>
                          <a:gd name="connsiteY2878" fmla="*/ 1825874 h 3083905"/>
                          <a:gd name="connsiteX2879" fmla="*/ 4887285 w 6116787"/>
                          <a:gd name="connsiteY2879" fmla="*/ 1820388 h 3083905"/>
                          <a:gd name="connsiteX2880" fmla="*/ 4905939 w 6116787"/>
                          <a:gd name="connsiteY2880" fmla="*/ 1822034 h 3083905"/>
                          <a:gd name="connsiteX2881" fmla="*/ 4933920 w 6116787"/>
                          <a:gd name="connsiteY2881" fmla="*/ 1816547 h 3083905"/>
                          <a:gd name="connsiteX2882" fmla="*/ 4937761 w 6116787"/>
                          <a:gd name="connsiteY2882" fmla="*/ 1813804 h 3083905"/>
                          <a:gd name="connsiteX2883" fmla="*/ 4940504 w 6116787"/>
                          <a:gd name="connsiteY2883" fmla="*/ 1808866 h 3083905"/>
                          <a:gd name="connsiteX2884" fmla="*/ 4944893 w 6116787"/>
                          <a:gd name="connsiteY2884" fmla="*/ 1809963 h 3083905"/>
                          <a:gd name="connsiteX2885" fmla="*/ 4954220 w 6116787"/>
                          <a:gd name="connsiteY2885" fmla="*/ 1815450 h 3083905"/>
                          <a:gd name="connsiteX2886" fmla="*/ 4958609 w 6116787"/>
                          <a:gd name="connsiteY2886" fmla="*/ 1820936 h 3083905"/>
                          <a:gd name="connsiteX2887" fmla="*/ 4961352 w 6116787"/>
                          <a:gd name="connsiteY2887" fmla="*/ 1828617 h 3083905"/>
                          <a:gd name="connsiteX2888" fmla="*/ 4971776 w 6116787"/>
                          <a:gd name="connsiteY2888" fmla="*/ 1828069 h 3083905"/>
                          <a:gd name="connsiteX2889" fmla="*/ 4991527 w 6116787"/>
                          <a:gd name="connsiteY2889" fmla="*/ 1806672 h 3083905"/>
                          <a:gd name="connsiteX2890" fmla="*/ 4986041 w 6116787"/>
                          <a:gd name="connsiteY2890" fmla="*/ 1838493 h 3083905"/>
                          <a:gd name="connsiteX2891" fmla="*/ 4980554 w 6116787"/>
                          <a:gd name="connsiteY2891" fmla="*/ 1843979 h 3083905"/>
                          <a:gd name="connsiteX2892" fmla="*/ 4973971 w 6116787"/>
                          <a:gd name="connsiteY2892" fmla="*/ 1857146 h 3083905"/>
                          <a:gd name="connsiteX2893" fmla="*/ 4973971 w 6116787"/>
                          <a:gd name="connsiteY2893" fmla="*/ 1865925 h 3083905"/>
                          <a:gd name="connsiteX2894" fmla="*/ 4977811 w 6116787"/>
                          <a:gd name="connsiteY2894" fmla="*/ 1871411 h 3083905"/>
                          <a:gd name="connsiteX2895" fmla="*/ 4976714 w 6116787"/>
                          <a:gd name="connsiteY2895" fmla="*/ 1876898 h 3083905"/>
                          <a:gd name="connsiteX2896" fmla="*/ 4973422 w 6116787"/>
                          <a:gd name="connsiteY2896" fmla="*/ 1880189 h 3083905"/>
                          <a:gd name="connsiteX2897" fmla="*/ 4971776 w 6116787"/>
                          <a:gd name="connsiteY2897" fmla="*/ 1884578 h 3083905"/>
                          <a:gd name="connsiteX2898" fmla="*/ 4975068 w 6116787"/>
                          <a:gd name="connsiteY2898" fmla="*/ 1887322 h 3083905"/>
                          <a:gd name="connsiteX2899" fmla="*/ 4993722 w 6116787"/>
                          <a:gd name="connsiteY2899" fmla="*/ 1880738 h 3083905"/>
                          <a:gd name="connsiteX2900" fmla="*/ 4983846 w 6116787"/>
                          <a:gd name="connsiteY2900" fmla="*/ 1908170 h 3083905"/>
                          <a:gd name="connsiteX2901" fmla="*/ 4984395 w 6116787"/>
                          <a:gd name="connsiteY2901" fmla="*/ 1915302 h 3083905"/>
                          <a:gd name="connsiteX2902" fmla="*/ 4989882 w 6116787"/>
                          <a:gd name="connsiteY2902" fmla="*/ 1912559 h 3083905"/>
                          <a:gd name="connsiteX2903" fmla="*/ 4998660 w 6116787"/>
                          <a:gd name="connsiteY2903" fmla="*/ 1903781 h 3083905"/>
                          <a:gd name="connsiteX2904" fmla="*/ 5005243 w 6116787"/>
                          <a:gd name="connsiteY2904" fmla="*/ 1903781 h 3083905"/>
                          <a:gd name="connsiteX2905" fmla="*/ 5066691 w 6116787"/>
                          <a:gd name="connsiteY2905" fmla="*/ 1835201 h 3083905"/>
                          <a:gd name="connsiteX2906" fmla="*/ 5077115 w 6116787"/>
                          <a:gd name="connsiteY2906" fmla="*/ 1834104 h 3083905"/>
                          <a:gd name="connsiteX2907" fmla="*/ 5080956 w 6116787"/>
                          <a:gd name="connsiteY2907" fmla="*/ 1831909 h 3083905"/>
                          <a:gd name="connsiteX2908" fmla="*/ 5083150 w 6116787"/>
                          <a:gd name="connsiteY2908" fmla="*/ 1825874 h 3083905"/>
                          <a:gd name="connsiteX2909" fmla="*/ 5087539 w 6116787"/>
                          <a:gd name="connsiteY2909" fmla="*/ 1829166 h 3083905"/>
                          <a:gd name="connsiteX2910" fmla="*/ 5086991 w 6116787"/>
                          <a:gd name="connsiteY2910" fmla="*/ 1835201 h 3083905"/>
                          <a:gd name="connsiteX2911" fmla="*/ 5088637 w 6116787"/>
                          <a:gd name="connsiteY2911" fmla="*/ 1840687 h 3083905"/>
                          <a:gd name="connsiteX2912" fmla="*/ 5093574 w 6116787"/>
                          <a:gd name="connsiteY2912" fmla="*/ 1839590 h 3083905"/>
                          <a:gd name="connsiteX2913" fmla="*/ 5099610 w 6116787"/>
                          <a:gd name="connsiteY2913" fmla="*/ 1828069 h 3083905"/>
                          <a:gd name="connsiteX2914" fmla="*/ 5093025 w 6116787"/>
                          <a:gd name="connsiteY2914" fmla="*/ 1825874 h 3083905"/>
                          <a:gd name="connsiteX2915" fmla="*/ 5090282 w 6116787"/>
                          <a:gd name="connsiteY2915" fmla="*/ 1819290 h 3083905"/>
                          <a:gd name="connsiteX2916" fmla="*/ 5094123 w 6116787"/>
                          <a:gd name="connsiteY2916" fmla="*/ 1798991 h 3083905"/>
                          <a:gd name="connsiteX2917" fmla="*/ 5093574 w 6116787"/>
                          <a:gd name="connsiteY2917" fmla="*/ 1792956 h 3083905"/>
                          <a:gd name="connsiteX2918" fmla="*/ 5100707 w 6116787"/>
                          <a:gd name="connsiteY2918" fmla="*/ 1781434 h 3083905"/>
                          <a:gd name="connsiteX2919" fmla="*/ 5100707 w 6116787"/>
                          <a:gd name="connsiteY2919" fmla="*/ 1775399 h 3083905"/>
                          <a:gd name="connsiteX2920" fmla="*/ 5102901 w 6116787"/>
                          <a:gd name="connsiteY2920" fmla="*/ 1768267 h 3083905"/>
                          <a:gd name="connsiteX2921" fmla="*/ 5113326 w 6116787"/>
                          <a:gd name="connsiteY2921" fmla="*/ 1758940 h 3083905"/>
                          <a:gd name="connsiteX2922" fmla="*/ 5143501 w 6116787"/>
                          <a:gd name="connsiteY2922" fmla="*/ 1747967 h 3083905"/>
                          <a:gd name="connsiteX2923" fmla="*/ 5153376 w 6116787"/>
                          <a:gd name="connsiteY2923" fmla="*/ 1751259 h 3083905"/>
                          <a:gd name="connsiteX2924" fmla="*/ 5164349 w 6116787"/>
                          <a:gd name="connsiteY2924" fmla="*/ 1761134 h 3083905"/>
                          <a:gd name="connsiteX2925" fmla="*/ 5160508 w 6116787"/>
                          <a:gd name="connsiteY2925" fmla="*/ 1769913 h 3083905"/>
                          <a:gd name="connsiteX2926" fmla="*/ 5152827 w 6116787"/>
                          <a:gd name="connsiteY2926" fmla="*/ 1767718 h 3083905"/>
                          <a:gd name="connsiteX2927" fmla="*/ 5133625 w 6116787"/>
                          <a:gd name="connsiteY2927" fmla="*/ 1785275 h 3083905"/>
                          <a:gd name="connsiteX2928" fmla="*/ 5128139 w 6116787"/>
                          <a:gd name="connsiteY2928" fmla="*/ 1828617 h 3083905"/>
                          <a:gd name="connsiteX2929" fmla="*/ 5121006 w 6116787"/>
                          <a:gd name="connsiteY2929" fmla="*/ 1836298 h 3083905"/>
                          <a:gd name="connsiteX2930" fmla="*/ 5121006 w 6116787"/>
                          <a:gd name="connsiteY2930" fmla="*/ 1848917 h 3083905"/>
                          <a:gd name="connsiteX2931" fmla="*/ 5122652 w 6116787"/>
                          <a:gd name="connsiteY2931" fmla="*/ 1852757 h 3083905"/>
                          <a:gd name="connsiteX2932" fmla="*/ 5122104 w 6116787"/>
                          <a:gd name="connsiteY2932" fmla="*/ 1861536 h 3083905"/>
                          <a:gd name="connsiteX2933" fmla="*/ 5116617 w 6116787"/>
                          <a:gd name="connsiteY2933" fmla="*/ 1867571 h 3083905"/>
                          <a:gd name="connsiteX2934" fmla="*/ 5112776 w 6116787"/>
                          <a:gd name="connsiteY2934" fmla="*/ 1870314 h 3083905"/>
                          <a:gd name="connsiteX2935" fmla="*/ 5110582 w 6116787"/>
                          <a:gd name="connsiteY2935" fmla="*/ 1882384 h 3083905"/>
                          <a:gd name="connsiteX2936" fmla="*/ 5116069 w 6116787"/>
                          <a:gd name="connsiteY2936" fmla="*/ 1886773 h 3083905"/>
                          <a:gd name="connsiteX2937" fmla="*/ 5116069 w 6116787"/>
                          <a:gd name="connsiteY2937" fmla="*/ 1891162 h 3083905"/>
                          <a:gd name="connsiteX2938" fmla="*/ 5102353 w 6116787"/>
                          <a:gd name="connsiteY2938" fmla="*/ 1901586 h 3083905"/>
                          <a:gd name="connsiteX2939" fmla="*/ 5094672 w 6116787"/>
                          <a:gd name="connsiteY2939" fmla="*/ 1900489 h 3083905"/>
                          <a:gd name="connsiteX2940" fmla="*/ 5086442 w 6116787"/>
                          <a:gd name="connsiteY2940" fmla="*/ 1903232 h 3083905"/>
                          <a:gd name="connsiteX2941" fmla="*/ 5078212 w 6116787"/>
                          <a:gd name="connsiteY2941" fmla="*/ 1915302 h 3083905"/>
                          <a:gd name="connsiteX2942" fmla="*/ 5068885 w 6116787"/>
                          <a:gd name="connsiteY2942" fmla="*/ 1915851 h 3083905"/>
                          <a:gd name="connsiteX2943" fmla="*/ 5050780 w 6116787"/>
                          <a:gd name="connsiteY2943" fmla="*/ 1924081 h 3083905"/>
                          <a:gd name="connsiteX2944" fmla="*/ 5048586 w 6116787"/>
                          <a:gd name="connsiteY2944" fmla="*/ 1926824 h 3083905"/>
                          <a:gd name="connsiteX2945" fmla="*/ 5048586 w 6116787"/>
                          <a:gd name="connsiteY2945" fmla="*/ 1935602 h 3083905"/>
                          <a:gd name="connsiteX2946" fmla="*/ 5045294 w 6116787"/>
                          <a:gd name="connsiteY2946" fmla="*/ 1943832 h 3083905"/>
                          <a:gd name="connsiteX2947" fmla="*/ 5011827 w 6116787"/>
                          <a:gd name="connsiteY2947" fmla="*/ 1983882 h 3083905"/>
                          <a:gd name="connsiteX2948" fmla="*/ 4994270 w 6116787"/>
                          <a:gd name="connsiteY2948" fmla="*/ 1993209 h 3083905"/>
                          <a:gd name="connsiteX2949" fmla="*/ 4989882 w 6116787"/>
                          <a:gd name="connsiteY2949" fmla="*/ 2005828 h 3083905"/>
                          <a:gd name="connsiteX2950" fmla="*/ 4983297 w 6116787"/>
                          <a:gd name="connsiteY2950" fmla="*/ 2009668 h 3083905"/>
                          <a:gd name="connsiteX2951" fmla="*/ 4970130 w 6116787"/>
                          <a:gd name="connsiteY2951" fmla="*/ 2026676 h 3083905"/>
                          <a:gd name="connsiteX2952" fmla="*/ 4969033 w 6116787"/>
                          <a:gd name="connsiteY2952" fmla="*/ 2039295 h 3083905"/>
                          <a:gd name="connsiteX2953" fmla="*/ 4917461 w 6116787"/>
                          <a:gd name="connsiteY2953" fmla="*/ 2099097 h 3083905"/>
                          <a:gd name="connsiteX2954" fmla="*/ 4904842 w 6116787"/>
                          <a:gd name="connsiteY2954" fmla="*/ 2105680 h 3083905"/>
                          <a:gd name="connsiteX2955" fmla="*/ 4892223 w 6116787"/>
                          <a:gd name="connsiteY2955" fmla="*/ 2105680 h 3083905"/>
                          <a:gd name="connsiteX2956" fmla="*/ 4881251 w 6116787"/>
                          <a:gd name="connsiteY2956" fmla="*/ 2120494 h 3083905"/>
                          <a:gd name="connsiteX2957" fmla="*/ 4867535 w 6116787"/>
                          <a:gd name="connsiteY2957" fmla="*/ 2116653 h 3083905"/>
                          <a:gd name="connsiteX2958" fmla="*/ 4860402 w 6116787"/>
                          <a:gd name="connsiteY2958" fmla="*/ 2117751 h 3083905"/>
                          <a:gd name="connsiteX2959" fmla="*/ 4865888 w 6116787"/>
                          <a:gd name="connsiteY2959" fmla="*/ 2139147 h 3083905"/>
                          <a:gd name="connsiteX2960" fmla="*/ 4857110 w 6116787"/>
                          <a:gd name="connsiteY2960" fmla="*/ 2167128 h 3083905"/>
                          <a:gd name="connsiteX2961" fmla="*/ 4829130 w 6116787"/>
                          <a:gd name="connsiteY2961" fmla="*/ 2186331 h 3083905"/>
                          <a:gd name="connsiteX2962" fmla="*/ 4812671 w 6116787"/>
                          <a:gd name="connsiteY2962" fmla="*/ 2246132 h 3083905"/>
                          <a:gd name="connsiteX2963" fmla="*/ 4822546 w 6116787"/>
                          <a:gd name="connsiteY2963" fmla="*/ 2372319 h 3083905"/>
                          <a:gd name="connsiteX2964" fmla="*/ 4824192 w 6116787"/>
                          <a:gd name="connsiteY2964" fmla="*/ 2374514 h 3083905"/>
                          <a:gd name="connsiteX2965" fmla="*/ 4857659 w 6116787"/>
                          <a:gd name="connsiteY2965" fmla="*/ 2562698 h 3083905"/>
                          <a:gd name="connsiteX2966" fmla="*/ 4911426 w 6116787"/>
                          <a:gd name="connsiteY2966" fmla="*/ 2503993 h 3083905"/>
                          <a:gd name="connsiteX2967" fmla="*/ 4920752 w 6116787"/>
                          <a:gd name="connsiteY2967" fmla="*/ 2474367 h 3083905"/>
                          <a:gd name="connsiteX2968" fmla="*/ 4919655 w 6116787"/>
                          <a:gd name="connsiteY2968" fmla="*/ 2462296 h 3083905"/>
                          <a:gd name="connsiteX2969" fmla="*/ 4922399 w 6116787"/>
                          <a:gd name="connsiteY2969" fmla="*/ 2457359 h 3083905"/>
                          <a:gd name="connsiteX2970" fmla="*/ 4924593 w 6116787"/>
                          <a:gd name="connsiteY2970" fmla="*/ 2446935 h 3083905"/>
                          <a:gd name="connsiteX2971" fmla="*/ 4921302 w 6116787"/>
                          <a:gd name="connsiteY2971" fmla="*/ 2444191 h 3083905"/>
                          <a:gd name="connsiteX2972" fmla="*/ 4924593 w 6116787"/>
                          <a:gd name="connsiteY2972" fmla="*/ 2438705 h 3083905"/>
                          <a:gd name="connsiteX2973" fmla="*/ 4928982 w 6116787"/>
                          <a:gd name="connsiteY2973" fmla="*/ 2439254 h 3083905"/>
                          <a:gd name="connsiteX2974" fmla="*/ 4932274 w 6116787"/>
                          <a:gd name="connsiteY2974" fmla="*/ 2442545 h 3083905"/>
                          <a:gd name="connsiteX2975" fmla="*/ 4949831 w 6116787"/>
                          <a:gd name="connsiteY2975" fmla="*/ 2427183 h 3083905"/>
                          <a:gd name="connsiteX2976" fmla="*/ 4965741 w 6116787"/>
                          <a:gd name="connsiteY2976" fmla="*/ 2421148 h 3083905"/>
                          <a:gd name="connsiteX2977" fmla="*/ 4977263 w 6116787"/>
                          <a:gd name="connsiteY2977" fmla="*/ 2426086 h 3083905"/>
                          <a:gd name="connsiteX2978" fmla="*/ 4976714 w 6116787"/>
                          <a:gd name="connsiteY2978" fmla="*/ 2421148 h 3083905"/>
                          <a:gd name="connsiteX2979" fmla="*/ 4973971 w 6116787"/>
                          <a:gd name="connsiteY2979" fmla="*/ 2416759 h 3083905"/>
                          <a:gd name="connsiteX2980" fmla="*/ 4973422 w 6116787"/>
                          <a:gd name="connsiteY2980" fmla="*/ 2371771 h 3083905"/>
                          <a:gd name="connsiteX2981" fmla="*/ 4999757 w 6116787"/>
                          <a:gd name="connsiteY2981" fmla="*/ 2344339 h 3083905"/>
                          <a:gd name="connsiteX2982" fmla="*/ 5012376 w 6116787"/>
                          <a:gd name="connsiteY2982" fmla="*/ 2337207 h 3083905"/>
                          <a:gd name="connsiteX2983" fmla="*/ 5023348 w 6116787"/>
                          <a:gd name="connsiteY2983" fmla="*/ 2334463 h 3083905"/>
                          <a:gd name="connsiteX2984" fmla="*/ 5027737 w 6116787"/>
                          <a:gd name="connsiteY2984" fmla="*/ 2340498 h 3083905"/>
                          <a:gd name="connsiteX2985" fmla="*/ 5035967 w 6116787"/>
                          <a:gd name="connsiteY2985" fmla="*/ 2340498 h 3083905"/>
                          <a:gd name="connsiteX2986" fmla="*/ 5044196 w 6116787"/>
                          <a:gd name="connsiteY2986" fmla="*/ 2338304 h 3083905"/>
                          <a:gd name="connsiteX2987" fmla="*/ 5054621 w 6116787"/>
                          <a:gd name="connsiteY2987" fmla="*/ 2327331 h 3083905"/>
                          <a:gd name="connsiteX2988" fmla="*/ 5056815 w 6116787"/>
                          <a:gd name="connsiteY2988" fmla="*/ 2321296 h 3083905"/>
                          <a:gd name="connsiteX2989" fmla="*/ 5043648 w 6116787"/>
                          <a:gd name="connsiteY2989" fmla="*/ 2302094 h 3083905"/>
                          <a:gd name="connsiteX2990" fmla="*/ 5038710 w 6116787"/>
                          <a:gd name="connsiteY2990" fmla="*/ 2283440 h 3083905"/>
                          <a:gd name="connsiteX2991" fmla="*/ 5048586 w 6116787"/>
                          <a:gd name="connsiteY2991" fmla="*/ 2246132 h 3083905"/>
                          <a:gd name="connsiteX2992" fmla="*/ 5054072 w 6116787"/>
                          <a:gd name="connsiteY2992" fmla="*/ 2236805 h 3083905"/>
                          <a:gd name="connsiteX2993" fmla="*/ 5065593 w 6116787"/>
                          <a:gd name="connsiteY2993" fmla="*/ 2229673 h 3083905"/>
                          <a:gd name="connsiteX2994" fmla="*/ 5061205 w 6116787"/>
                          <a:gd name="connsiteY2994" fmla="*/ 2220895 h 3083905"/>
                          <a:gd name="connsiteX2995" fmla="*/ 5060656 w 6116787"/>
                          <a:gd name="connsiteY2995" fmla="*/ 2217054 h 3083905"/>
                          <a:gd name="connsiteX2996" fmla="*/ 5082601 w 6116787"/>
                          <a:gd name="connsiteY2996" fmla="*/ 2211019 h 3083905"/>
                          <a:gd name="connsiteX2997" fmla="*/ 5086991 w 6116787"/>
                          <a:gd name="connsiteY2997" fmla="*/ 2206082 h 3083905"/>
                          <a:gd name="connsiteX2998" fmla="*/ 5088637 w 6116787"/>
                          <a:gd name="connsiteY2998" fmla="*/ 2209373 h 3083905"/>
                          <a:gd name="connsiteX2999" fmla="*/ 5084247 w 6116787"/>
                          <a:gd name="connsiteY2999" fmla="*/ 2217054 h 3083905"/>
                          <a:gd name="connsiteX3000" fmla="*/ 5078761 w 6116787"/>
                          <a:gd name="connsiteY3000" fmla="*/ 2220895 h 3083905"/>
                          <a:gd name="connsiteX3001" fmla="*/ 5076018 w 6116787"/>
                          <a:gd name="connsiteY3001" fmla="*/ 2226381 h 3083905"/>
                          <a:gd name="connsiteX3002" fmla="*/ 5083150 w 6116787"/>
                          <a:gd name="connsiteY3002" fmla="*/ 2239549 h 3083905"/>
                          <a:gd name="connsiteX3003" fmla="*/ 5088637 w 6116787"/>
                          <a:gd name="connsiteY3003" fmla="*/ 2242840 h 3083905"/>
                          <a:gd name="connsiteX3004" fmla="*/ 5091380 w 6116787"/>
                          <a:gd name="connsiteY3004" fmla="*/ 2242292 h 3083905"/>
                          <a:gd name="connsiteX3005" fmla="*/ 5098512 w 6116787"/>
                          <a:gd name="connsiteY3005" fmla="*/ 2231868 h 3083905"/>
                          <a:gd name="connsiteX3006" fmla="*/ 5099610 w 6116787"/>
                          <a:gd name="connsiteY3006" fmla="*/ 2224187 h 3083905"/>
                          <a:gd name="connsiteX3007" fmla="*/ 5096866 w 6116787"/>
                          <a:gd name="connsiteY3007" fmla="*/ 2199498 h 3083905"/>
                          <a:gd name="connsiteX3008" fmla="*/ 5092477 w 6116787"/>
                          <a:gd name="connsiteY3008" fmla="*/ 2194011 h 3083905"/>
                          <a:gd name="connsiteX3009" fmla="*/ 5082601 w 6116787"/>
                          <a:gd name="connsiteY3009" fmla="*/ 2195109 h 3083905"/>
                          <a:gd name="connsiteX3010" fmla="*/ 5080407 w 6116787"/>
                          <a:gd name="connsiteY3010" fmla="*/ 2192914 h 3083905"/>
                          <a:gd name="connsiteX3011" fmla="*/ 5079309 w 6116787"/>
                          <a:gd name="connsiteY3011" fmla="*/ 2154509 h 3083905"/>
                          <a:gd name="connsiteX3012" fmla="*/ 5082601 w 6116787"/>
                          <a:gd name="connsiteY3012" fmla="*/ 2147926 h 3083905"/>
                          <a:gd name="connsiteX3013" fmla="*/ 5090831 w 6116787"/>
                          <a:gd name="connsiteY3013" fmla="*/ 2140793 h 3083905"/>
                          <a:gd name="connsiteX3014" fmla="*/ 5097963 w 6116787"/>
                          <a:gd name="connsiteY3014" fmla="*/ 2127077 h 3083905"/>
                          <a:gd name="connsiteX3015" fmla="*/ 5097415 w 6116787"/>
                          <a:gd name="connsiteY3015" fmla="*/ 2121042 h 3083905"/>
                          <a:gd name="connsiteX3016" fmla="*/ 5076566 w 6116787"/>
                          <a:gd name="connsiteY3016" fmla="*/ 2108424 h 3083905"/>
                          <a:gd name="connsiteX3017" fmla="*/ 5068337 w 6116787"/>
                          <a:gd name="connsiteY3017" fmla="*/ 2110618 h 3083905"/>
                          <a:gd name="connsiteX3018" fmla="*/ 5065593 w 6116787"/>
                          <a:gd name="connsiteY3018" fmla="*/ 2120494 h 3083905"/>
                          <a:gd name="connsiteX3019" fmla="*/ 5063399 w 6116787"/>
                          <a:gd name="connsiteY3019" fmla="*/ 2123237 h 3083905"/>
                          <a:gd name="connsiteX3020" fmla="*/ 5058462 w 6116787"/>
                          <a:gd name="connsiteY3020" fmla="*/ 2121591 h 3083905"/>
                          <a:gd name="connsiteX3021" fmla="*/ 5054072 w 6116787"/>
                          <a:gd name="connsiteY3021" fmla="*/ 2117751 h 3083905"/>
                          <a:gd name="connsiteX3022" fmla="*/ 5051329 w 6116787"/>
                          <a:gd name="connsiteY3022" fmla="*/ 2110070 h 3083905"/>
                          <a:gd name="connsiteX3023" fmla="*/ 5051329 w 6116787"/>
                          <a:gd name="connsiteY3023" fmla="*/ 2097451 h 3083905"/>
                          <a:gd name="connsiteX3024" fmla="*/ 5085894 w 6116787"/>
                          <a:gd name="connsiteY3024" fmla="*/ 2033809 h 3083905"/>
                          <a:gd name="connsiteX3025" fmla="*/ 5085344 w 6116787"/>
                          <a:gd name="connsiteY3025" fmla="*/ 2026676 h 3083905"/>
                          <a:gd name="connsiteX3026" fmla="*/ 5087539 w 6116787"/>
                          <a:gd name="connsiteY3026" fmla="*/ 2022836 h 3083905"/>
                          <a:gd name="connsiteX3027" fmla="*/ 5094672 w 6116787"/>
                          <a:gd name="connsiteY3027" fmla="*/ 2025579 h 3083905"/>
                          <a:gd name="connsiteX3028" fmla="*/ 5093025 w 6116787"/>
                          <a:gd name="connsiteY3028" fmla="*/ 2020641 h 3083905"/>
                          <a:gd name="connsiteX3029" fmla="*/ 5093025 w 6116787"/>
                          <a:gd name="connsiteY3029" fmla="*/ 2015155 h 3083905"/>
                          <a:gd name="connsiteX3030" fmla="*/ 5099060 w 6116787"/>
                          <a:gd name="connsiteY3030" fmla="*/ 2011863 h 3083905"/>
                          <a:gd name="connsiteX3031" fmla="*/ 5101255 w 6116787"/>
                          <a:gd name="connsiteY3031" fmla="*/ 2008022 h 3083905"/>
                          <a:gd name="connsiteX3032" fmla="*/ 5099060 w 6116787"/>
                          <a:gd name="connsiteY3032" fmla="*/ 1998696 h 3083905"/>
                          <a:gd name="connsiteX3033" fmla="*/ 5099610 w 6116787"/>
                          <a:gd name="connsiteY3033" fmla="*/ 1989369 h 3083905"/>
                          <a:gd name="connsiteX3034" fmla="*/ 5104547 w 6116787"/>
                          <a:gd name="connsiteY3034" fmla="*/ 1981139 h 3083905"/>
                          <a:gd name="connsiteX3035" fmla="*/ 5105644 w 6116787"/>
                          <a:gd name="connsiteY3035" fmla="*/ 1973458 h 3083905"/>
                          <a:gd name="connsiteX3036" fmla="*/ 5109485 w 6116787"/>
                          <a:gd name="connsiteY3036" fmla="*/ 1968520 h 3083905"/>
                          <a:gd name="connsiteX3037" fmla="*/ 5116617 w 6116787"/>
                          <a:gd name="connsiteY3037" fmla="*/ 1966326 h 3083905"/>
                          <a:gd name="connsiteX3038" fmla="*/ 5125395 w 6116787"/>
                          <a:gd name="connsiteY3038" fmla="*/ 1959742 h 3083905"/>
                          <a:gd name="connsiteX3039" fmla="*/ 5131430 w 6116787"/>
                          <a:gd name="connsiteY3039" fmla="*/ 1963034 h 3083905"/>
                          <a:gd name="connsiteX3040" fmla="*/ 5133625 w 6116787"/>
                          <a:gd name="connsiteY3040" fmla="*/ 1969618 h 3083905"/>
                          <a:gd name="connsiteX3041" fmla="*/ 5139111 w 6116787"/>
                          <a:gd name="connsiteY3041" fmla="*/ 1960839 h 3083905"/>
                          <a:gd name="connsiteX3042" fmla="*/ 5147889 w 6116787"/>
                          <a:gd name="connsiteY3042" fmla="*/ 1955353 h 3083905"/>
                          <a:gd name="connsiteX3043" fmla="*/ 5154474 w 6116787"/>
                          <a:gd name="connsiteY3043" fmla="*/ 1962485 h 3083905"/>
                          <a:gd name="connsiteX3044" fmla="*/ 5157765 w 6116787"/>
                          <a:gd name="connsiteY3044" fmla="*/ 1971264 h 3083905"/>
                          <a:gd name="connsiteX3045" fmla="*/ 5164897 w 6116787"/>
                          <a:gd name="connsiteY3045" fmla="*/ 1972910 h 3083905"/>
                          <a:gd name="connsiteX3046" fmla="*/ 5168190 w 6116787"/>
                          <a:gd name="connsiteY3046" fmla="*/ 1961388 h 3083905"/>
                          <a:gd name="connsiteX3047" fmla="*/ 5168190 w 6116787"/>
                          <a:gd name="connsiteY3047" fmla="*/ 1952610 h 3083905"/>
                          <a:gd name="connsiteX3048" fmla="*/ 5174773 w 6116787"/>
                          <a:gd name="connsiteY3048" fmla="*/ 1944380 h 3083905"/>
                          <a:gd name="connsiteX3049" fmla="*/ 5196719 w 6116787"/>
                          <a:gd name="connsiteY3049" fmla="*/ 1933407 h 3083905"/>
                          <a:gd name="connsiteX3050" fmla="*/ 5207691 w 6116787"/>
                          <a:gd name="connsiteY3050" fmla="*/ 1919143 h 3083905"/>
                          <a:gd name="connsiteX3051" fmla="*/ 5210983 w 6116787"/>
                          <a:gd name="connsiteY3051" fmla="*/ 1921886 h 3083905"/>
                          <a:gd name="connsiteX3052" fmla="*/ 5212629 w 6116787"/>
                          <a:gd name="connsiteY3052" fmla="*/ 1926824 h 3083905"/>
                          <a:gd name="connsiteX3053" fmla="*/ 5209338 w 6116787"/>
                          <a:gd name="connsiteY3053" fmla="*/ 1931762 h 3083905"/>
                          <a:gd name="connsiteX3054" fmla="*/ 5211532 w 6116787"/>
                          <a:gd name="connsiteY3054" fmla="*/ 1944929 h 3083905"/>
                          <a:gd name="connsiteX3055" fmla="*/ 5207691 w 6116787"/>
                          <a:gd name="connsiteY3055" fmla="*/ 1965777 h 3083905"/>
                          <a:gd name="connsiteX3056" fmla="*/ 5205497 w 6116787"/>
                          <a:gd name="connsiteY3056" fmla="*/ 1969069 h 3083905"/>
                          <a:gd name="connsiteX3057" fmla="*/ 5205497 w 6116787"/>
                          <a:gd name="connsiteY3057" fmla="*/ 1972361 h 3083905"/>
                          <a:gd name="connsiteX3058" fmla="*/ 5208240 w 6116787"/>
                          <a:gd name="connsiteY3058" fmla="*/ 1972361 h 3083905"/>
                          <a:gd name="connsiteX3059" fmla="*/ 5236770 w 6116787"/>
                          <a:gd name="connsiteY3059" fmla="*/ 1941088 h 3083905"/>
                          <a:gd name="connsiteX3060" fmla="*/ 5237867 w 6116787"/>
                          <a:gd name="connsiteY3060" fmla="*/ 1937248 h 3083905"/>
                          <a:gd name="connsiteX3061" fmla="*/ 5237318 w 6116787"/>
                          <a:gd name="connsiteY3061" fmla="*/ 1930116 h 3083905"/>
                          <a:gd name="connsiteX3062" fmla="*/ 5238964 w 6116787"/>
                          <a:gd name="connsiteY3062" fmla="*/ 1927921 h 3083905"/>
                          <a:gd name="connsiteX3063" fmla="*/ 5244450 w 6116787"/>
                          <a:gd name="connsiteY3063" fmla="*/ 1932310 h 3083905"/>
                          <a:gd name="connsiteX3064" fmla="*/ 5249936 w 6116787"/>
                          <a:gd name="connsiteY3064" fmla="*/ 1927372 h 3083905"/>
                          <a:gd name="connsiteX3065" fmla="*/ 5257617 w 6116787"/>
                          <a:gd name="connsiteY3065" fmla="*/ 1926275 h 3083905"/>
                          <a:gd name="connsiteX3066" fmla="*/ 5269139 w 6116787"/>
                          <a:gd name="connsiteY3066" fmla="*/ 1917497 h 3083905"/>
                          <a:gd name="connsiteX3067" fmla="*/ 5277368 w 6116787"/>
                          <a:gd name="connsiteY3067" fmla="*/ 1916400 h 3083905"/>
                          <a:gd name="connsiteX3068" fmla="*/ 5282855 w 6116787"/>
                          <a:gd name="connsiteY3068" fmla="*/ 1910913 h 3083905"/>
                          <a:gd name="connsiteX3069" fmla="*/ 5286147 w 6116787"/>
                          <a:gd name="connsiteY3069" fmla="*/ 1913656 h 3083905"/>
                          <a:gd name="connsiteX3070" fmla="*/ 5311384 w 6116787"/>
                          <a:gd name="connsiteY3070" fmla="*/ 1914754 h 3083905"/>
                          <a:gd name="connsiteX3071" fmla="*/ 5328941 w 6116787"/>
                          <a:gd name="connsiteY3071" fmla="*/ 1920789 h 3083905"/>
                          <a:gd name="connsiteX3072" fmla="*/ 5338268 w 6116787"/>
                          <a:gd name="connsiteY3072" fmla="*/ 1927372 h 3083905"/>
                          <a:gd name="connsiteX3073" fmla="*/ 5341011 w 6116787"/>
                          <a:gd name="connsiteY3073" fmla="*/ 1936151 h 3083905"/>
                          <a:gd name="connsiteX3074" fmla="*/ 5354727 w 6116787"/>
                          <a:gd name="connsiteY3074" fmla="*/ 1956450 h 3083905"/>
                          <a:gd name="connsiteX3075" fmla="*/ 5355824 w 6116787"/>
                          <a:gd name="connsiteY3075" fmla="*/ 1960291 h 3083905"/>
                          <a:gd name="connsiteX3076" fmla="*/ 5364054 w 6116787"/>
                          <a:gd name="connsiteY3076" fmla="*/ 1962485 h 3083905"/>
                          <a:gd name="connsiteX3077" fmla="*/ 5366248 w 6116787"/>
                          <a:gd name="connsiteY3077" fmla="*/ 1960291 h 3083905"/>
                          <a:gd name="connsiteX3078" fmla="*/ 5366797 w 6116787"/>
                          <a:gd name="connsiteY3078" fmla="*/ 1948769 h 3083905"/>
                          <a:gd name="connsiteX3079" fmla="*/ 5373930 w 6116787"/>
                          <a:gd name="connsiteY3079" fmla="*/ 1931213 h 3083905"/>
                          <a:gd name="connsiteX3080" fmla="*/ 5373930 w 6116787"/>
                          <a:gd name="connsiteY3080" fmla="*/ 1927372 h 3083905"/>
                          <a:gd name="connsiteX3081" fmla="*/ 5372283 w 6116787"/>
                          <a:gd name="connsiteY3081" fmla="*/ 1925726 h 3083905"/>
                          <a:gd name="connsiteX3082" fmla="*/ 5385999 w 6116787"/>
                          <a:gd name="connsiteY3082" fmla="*/ 1917497 h 3083905"/>
                          <a:gd name="connsiteX3083" fmla="*/ 5390389 w 6116787"/>
                          <a:gd name="connsiteY3083" fmla="*/ 1916948 h 3083905"/>
                          <a:gd name="connsiteX3084" fmla="*/ 5392583 w 6116787"/>
                          <a:gd name="connsiteY3084" fmla="*/ 1911462 h 3083905"/>
                          <a:gd name="connsiteX3085" fmla="*/ 5396424 w 6116787"/>
                          <a:gd name="connsiteY3085" fmla="*/ 1914754 h 3083905"/>
                          <a:gd name="connsiteX3086" fmla="*/ 5399715 w 6116787"/>
                          <a:gd name="connsiteY3086" fmla="*/ 1914754 h 3083905"/>
                          <a:gd name="connsiteX3087" fmla="*/ 5409042 w 6116787"/>
                          <a:gd name="connsiteY3087" fmla="*/ 1902135 h 3083905"/>
                          <a:gd name="connsiteX3088" fmla="*/ 5412334 w 6116787"/>
                          <a:gd name="connsiteY3088" fmla="*/ 1901586 h 3083905"/>
                          <a:gd name="connsiteX3089" fmla="*/ 5412334 w 6116787"/>
                          <a:gd name="connsiteY3089" fmla="*/ 1898294 h 3083905"/>
                          <a:gd name="connsiteX3090" fmla="*/ 5418369 w 6116787"/>
                          <a:gd name="connsiteY3090" fmla="*/ 1893357 h 3083905"/>
                          <a:gd name="connsiteX3091" fmla="*/ 5424404 w 6116787"/>
                          <a:gd name="connsiteY3091" fmla="*/ 1892259 h 3083905"/>
                          <a:gd name="connsiteX3092" fmla="*/ 5427147 w 6116787"/>
                          <a:gd name="connsiteY3092" fmla="*/ 1889516 h 3083905"/>
                          <a:gd name="connsiteX3093" fmla="*/ 5430988 w 6116787"/>
                          <a:gd name="connsiteY3093" fmla="*/ 1888968 h 3083905"/>
                          <a:gd name="connsiteX3094" fmla="*/ 5432085 w 6116787"/>
                          <a:gd name="connsiteY3094" fmla="*/ 1885676 h 3083905"/>
                          <a:gd name="connsiteX3095" fmla="*/ 5431537 w 6116787"/>
                          <a:gd name="connsiteY3095" fmla="*/ 1881835 h 3083905"/>
                          <a:gd name="connsiteX3096" fmla="*/ 5427696 w 6116787"/>
                          <a:gd name="connsiteY3096" fmla="*/ 1879092 h 3083905"/>
                          <a:gd name="connsiteX3097" fmla="*/ 5428794 w 6116787"/>
                          <a:gd name="connsiteY3097" fmla="*/ 1875252 h 3083905"/>
                          <a:gd name="connsiteX3098" fmla="*/ 5434280 w 6116787"/>
                          <a:gd name="connsiteY3098" fmla="*/ 1880738 h 3083905"/>
                          <a:gd name="connsiteX3099" fmla="*/ 5438120 w 6116787"/>
                          <a:gd name="connsiteY3099" fmla="*/ 1881835 h 3083905"/>
                          <a:gd name="connsiteX3100" fmla="*/ 5441960 w 6116787"/>
                          <a:gd name="connsiteY3100" fmla="*/ 1879641 h 3083905"/>
                          <a:gd name="connsiteX3101" fmla="*/ 5443058 w 6116787"/>
                          <a:gd name="connsiteY3101" fmla="*/ 1870862 h 3083905"/>
                          <a:gd name="connsiteX3102" fmla="*/ 5441412 w 6116787"/>
                          <a:gd name="connsiteY3102" fmla="*/ 1866473 h 3083905"/>
                          <a:gd name="connsiteX3103" fmla="*/ 5449093 w 6116787"/>
                          <a:gd name="connsiteY3103" fmla="*/ 1867571 h 3083905"/>
                          <a:gd name="connsiteX3104" fmla="*/ 5456226 w 6116787"/>
                          <a:gd name="connsiteY3104" fmla="*/ 1861536 h 3083905"/>
                          <a:gd name="connsiteX3105" fmla="*/ 5458420 w 6116787"/>
                          <a:gd name="connsiteY3105" fmla="*/ 1861536 h 3083905"/>
                          <a:gd name="connsiteX3106" fmla="*/ 5459517 w 6116787"/>
                          <a:gd name="connsiteY3106" fmla="*/ 1858792 h 3083905"/>
                          <a:gd name="connsiteX3107" fmla="*/ 5456226 w 6116787"/>
                          <a:gd name="connsiteY3107" fmla="*/ 1851111 h 3083905"/>
                          <a:gd name="connsiteX3108" fmla="*/ 5458420 w 6116787"/>
                          <a:gd name="connsiteY3108" fmla="*/ 1849466 h 3083905"/>
                          <a:gd name="connsiteX3109" fmla="*/ 5462809 w 6116787"/>
                          <a:gd name="connsiteY3109" fmla="*/ 1852757 h 3083905"/>
                          <a:gd name="connsiteX3110" fmla="*/ 5466101 w 6116787"/>
                          <a:gd name="connsiteY3110" fmla="*/ 1852757 h 3083905"/>
                          <a:gd name="connsiteX3111" fmla="*/ 5470490 w 6116787"/>
                          <a:gd name="connsiteY3111" fmla="*/ 1850014 h 3083905"/>
                          <a:gd name="connsiteX3112" fmla="*/ 5473782 w 6116787"/>
                          <a:gd name="connsiteY3112" fmla="*/ 1846722 h 3083905"/>
                          <a:gd name="connsiteX3113" fmla="*/ 5475976 w 6116787"/>
                          <a:gd name="connsiteY3113" fmla="*/ 1841236 h 3083905"/>
                          <a:gd name="connsiteX3114" fmla="*/ 5478171 w 6116787"/>
                          <a:gd name="connsiteY3114" fmla="*/ 1841236 h 3083905"/>
                          <a:gd name="connsiteX3115" fmla="*/ 5479817 w 6116787"/>
                          <a:gd name="connsiteY3115" fmla="*/ 1837395 h 3083905"/>
                          <a:gd name="connsiteX3116" fmla="*/ 5480365 w 6116787"/>
                          <a:gd name="connsiteY3116" fmla="*/ 1829166 h 3083905"/>
                          <a:gd name="connsiteX3117" fmla="*/ 5482560 w 6116787"/>
                          <a:gd name="connsiteY3117" fmla="*/ 1824228 h 3083905"/>
                          <a:gd name="connsiteX3118" fmla="*/ 5486949 w 6116787"/>
                          <a:gd name="connsiteY3118" fmla="*/ 1824777 h 3083905"/>
                          <a:gd name="connsiteX3119" fmla="*/ 5489692 w 6116787"/>
                          <a:gd name="connsiteY3119" fmla="*/ 1830812 h 3083905"/>
                          <a:gd name="connsiteX3120" fmla="*/ 5492984 w 6116787"/>
                          <a:gd name="connsiteY3120" fmla="*/ 1831909 h 3083905"/>
                          <a:gd name="connsiteX3121" fmla="*/ 5496824 w 6116787"/>
                          <a:gd name="connsiteY3121" fmla="*/ 1830263 h 3083905"/>
                          <a:gd name="connsiteX3122" fmla="*/ 5506152 w 6116787"/>
                          <a:gd name="connsiteY3122" fmla="*/ 1821485 h 3083905"/>
                          <a:gd name="connsiteX3123" fmla="*/ 5524256 w 6116787"/>
                          <a:gd name="connsiteY3123" fmla="*/ 1815998 h 3083905"/>
                          <a:gd name="connsiteX3124" fmla="*/ 5529743 w 6116787"/>
                          <a:gd name="connsiteY3124" fmla="*/ 1810512 h 3083905"/>
                          <a:gd name="connsiteX3125" fmla="*/ 5539619 w 6116787"/>
                          <a:gd name="connsiteY3125" fmla="*/ 1805574 h 3083905"/>
                          <a:gd name="connsiteX3126" fmla="*/ 5542362 w 6116787"/>
                          <a:gd name="connsiteY3126" fmla="*/ 1800637 h 3083905"/>
                          <a:gd name="connsiteX3127" fmla="*/ 5543459 w 6116787"/>
                          <a:gd name="connsiteY3127" fmla="*/ 1796247 h 3083905"/>
                          <a:gd name="connsiteX3128" fmla="*/ 5542910 w 6116787"/>
                          <a:gd name="connsiteY3128" fmla="*/ 1791310 h 3083905"/>
                          <a:gd name="connsiteX3129" fmla="*/ 5548397 w 6116787"/>
                          <a:gd name="connsiteY3129" fmla="*/ 1790212 h 3083905"/>
                          <a:gd name="connsiteX3130" fmla="*/ 5546202 w 6116787"/>
                          <a:gd name="connsiteY3130" fmla="*/ 1797345 h 3083905"/>
                          <a:gd name="connsiteX3131" fmla="*/ 5548945 w 6116787"/>
                          <a:gd name="connsiteY3131" fmla="*/ 1797345 h 3083905"/>
                          <a:gd name="connsiteX3132" fmla="*/ 5565404 w 6116787"/>
                          <a:gd name="connsiteY3132" fmla="*/ 1789115 h 3083905"/>
                          <a:gd name="connsiteX3133" fmla="*/ 5569245 w 6116787"/>
                          <a:gd name="connsiteY3133" fmla="*/ 1789115 h 3083905"/>
                          <a:gd name="connsiteX3134" fmla="*/ 5602712 w 6116787"/>
                          <a:gd name="connsiteY3134" fmla="*/ 1766072 h 3083905"/>
                          <a:gd name="connsiteX3135" fmla="*/ 5621366 w 6116787"/>
                          <a:gd name="connsiteY3135" fmla="*/ 1760037 h 3083905"/>
                          <a:gd name="connsiteX3136" fmla="*/ 5623561 w 6116787"/>
                          <a:gd name="connsiteY3136" fmla="*/ 1757294 h 3083905"/>
                          <a:gd name="connsiteX3137" fmla="*/ 5622463 w 6116787"/>
                          <a:gd name="connsiteY3137" fmla="*/ 1755099 h 3083905"/>
                          <a:gd name="connsiteX3138" fmla="*/ 5619171 w 6116787"/>
                          <a:gd name="connsiteY3138" fmla="*/ 1752905 h 3083905"/>
                          <a:gd name="connsiteX3139" fmla="*/ 5613136 w 6116787"/>
                          <a:gd name="connsiteY3139" fmla="*/ 1735348 h 3083905"/>
                          <a:gd name="connsiteX3140" fmla="*/ 5615331 w 6116787"/>
                          <a:gd name="connsiteY3140" fmla="*/ 1732605 h 3083905"/>
                          <a:gd name="connsiteX3141" fmla="*/ 5625755 w 6116787"/>
                          <a:gd name="connsiteY3141" fmla="*/ 1751259 h 3083905"/>
                          <a:gd name="connsiteX3142" fmla="*/ 5627949 w 6116787"/>
                          <a:gd name="connsiteY3142" fmla="*/ 1751259 h 3083905"/>
                          <a:gd name="connsiteX3143" fmla="*/ 5627949 w 6116787"/>
                          <a:gd name="connsiteY3143" fmla="*/ 1755099 h 3083905"/>
                          <a:gd name="connsiteX3144" fmla="*/ 5630144 w 6116787"/>
                          <a:gd name="connsiteY3144" fmla="*/ 1757294 h 3083905"/>
                          <a:gd name="connsiteX3145" fmla="*/ 5636728 w 6116787"/>
                          <a:gd name="connsiteY3145" fmla="*/ 1757843 h 3083905"/>
                          <a:gd name="connsiteX3146" fmla="*/ 5636728 w 6116787"/>
                          <a:gd name="connsiteY3146" fmla="*/ 1752905 h 3083905"/>
                          <a:gd name="connsiteX3147" fmla="*/ 5633984 w 6116787"/>
                          <a:gd name="connsiteY3147" fmla="*/ 1748516 h 3083905"/>
                          <a:gd name="connsiteX3148" fmla="*/ 5638374 w 6116787"/>
                          <a:gd name="connsiteY3148" fmla="*/ 1747967 h 3083905"/>
                          <a:gd name="connsiteX3149" fmla="*/ 5640568 w 6116787"/>
                          <a:gd name="connsiteY3149" fmla="*/ 1753454 h 3083905"/>
                          <a:gd name="connsiteX3150" fmla="*/ 5644957 w 6116787"/>
                          <a:gd name="connsiteY3150" fmla="*/ 1758391 h 3083905"/>
                          <a:gd name="connsiteX3151" fmla="*/ 5660868 w 6116787"/>
                          <a:gd name="connsiteY3151" fmla="*/ 1761683 h 3083905"/>
                          <a:gd name="connsiteX3152" fmla="*/ 5677327 w 6116787"/>
                          <a:gd name="connsiteY3152" fmla="*/ 1774302 h 3083905"/>
                          <a:gd name="connsiteX3153" fmla="*/ 5687751 w 6116787"/>
                          <a:gd name="connsiteY3153" fmla="*/ 1778142 h 3083905"/>
                          <a:gd name="connsiteX3154" fmla="*/ 5690495 w 6116787"/>
                          <a:gd name="connsiteY3154" fmla="*/ 1776496 h 3083905"/>
                          <a:gd name="connsiteX3155" fmla="*/ 5693238 w 6116787"/>
                          <a:gd name="connsiteY3155" fmla="*/ 1767718 h 3083905"/>
                          <a:gd name="connsiteX3156" fmla="*/ 5698176 w 6116787"/>
                          <a:gd name="connsiteY3156" fmla="*/ 1767170 h 3083905"/>
                          <a:gd name="connsiteX3157" fmla="*/ 5707502 w 6116787"/>
                          <a:gd name="connsiteY3157" fmla="*/ 1752356 h 3083905"/>
                          <a:gd name="connsiteX3158" fmla="*/ 5709697 w 6116787"/>
                          <a:gd name="connsiteY3158" fmla="*/ 1742481 h 3083905"/>
                          <a:gd name="connsiteX3159" fmla="*/ 5706954 w 6116787"/>
                          <a:gd name="connsiteY3159" fmla="*/ 1735348 h 3083905"/>
                          <a:gd name="connsiteX3160" fmla="*/ 5690495 w 6116787"/>
                          <a:gd name="connsiteY3160" fmla="*/ 1726570 h 3083905"/>
                          <a:gd name="connsiteX3161" fmla="*/ 5689398 w 6116787"/>
                          <a:gd name="connsiteY3161" fmla="*/ 1724376 h 3083905"/>
                          <a:gd name="connsiteX3162" fmla="*/ 5688300 w 6116787"/>
                          <a:gd name="connsiteY3162" fmla="*/ 1719986 h 3083905"/>
                          <a:gd name="connsiteX3163" fmla="*/ 5690495 w 6116787"/>
                          <a:gd name="connsiteY3163" fmla="*/ 1719438 h 3083905"/>
                          <a:gd name="connsiteX3164" fmla="*/ 5694335 w 6116787"/>
                          <a:gd name="connsiteY3164" fmla="*/ 1717792 h 3083905"/>
                          <a:gd name="connsiteX3165" fmla="*/ 5702016 w 6116787"/>
                          <a:gd name="connsiteY3165" fmla="*/ 1718889 h 3083905"/>
                          <a:gd name="connsiteX3166" fmla="*/ 5705857 w 6116787"/>
                          <a:gd name="connsiteY3166" fmla="*/ 1716146 h 3083905"/>
                          <a:gd name="connsiteX3167" fmla="*/ 5700919 w 6116787"/>
                          <a:gd name="connsiteY3167" fmla="*/ 1705722 h 3083905"/>
                          <a:gd name="connsiteX3168" fmla="*/ 5695981 w 6116787"/>
                          <a:gd name="connsiteY3168" fmla="*/ 1705173 h 3083905"/>
                          <a:gd name="connsiteX3169" fmla="*/ 5684460 w 6116787"/>
                          <a:gd name="connsiteY3169" fmla="*/ 1686519 h 3083905"/>
                          <a:gd name="connsiteX3170" fmla="*/ 5677327 w 6116787"/>
                          <a:gd name="connsiteY3170" fmla="*/ 1640982 h 3083905"/>
                          <a:gd name="connsiteX3171" fmla="*/ 5669646 w 6116787"/>
                          <a:gd name="connsiteY3171" fmla="*/ 1644823 h 3083905"/>
                          <a:gd name="connsiteX3172" fmla="*/ 5664160 w 6116787"/>
                          <a:gd name="connsiteY3172" fmla="*/ 1636593 h 3083905"/>
                          <a:gd name="connsiteX3173" fmla="*/ 5663611 w 6116787"/>
                          <a:gd name="connsiteY3173" fmla="*/ 1632753 h 3083905"/>
                          <a:gd name="connsiteX3174" fmla="*/ 5669646 w 6116787"/>
                          <a:gd name="connsiteY3174" fmla="*/ 1630558 h 3083905"/>
                          <a:gd name="connsiteX3175" fmla="*/ 5672389 w 6116787"/>
                          <a:gd name="connsiteY3175" fmla="*/ 1632753 h 3083905"/>
                          <a:gd name="connsiteX3176" fmla="*/ 5665257 w 6116787"/>
                          <a:gd name="connsiteY3176" fmla="*/ 1607515 h 3083905"/>
                          <a:gd name="connsiteX3177" fmla="*/ 5660319 w 6116787"/>
                          <a:gd name="connsiteY3177" fmla="*/ 1615745 h 3083905"/>
                          <a:gd name="connsiteX3178" fmla="*/ 5656479 w 6116787"/>
                          <a:gd name="connsiteY3178" fmla="*/ 1618488 h 3083905"/>
                          <a:gd name="connsiteX3179" fmla="*/ 5648798 w 6116787"/>
                          <a:gd name="connsiteY3179" fmla="*/ 1614648 h 3083905"/>
                          <a:gd name="connsiteX3180" fmla="*/ 5643860 w 6116787"/>
                          <a:gd name="connsiteY3180" fmla="*/ 1608613 h 3083905"/>
                          <a:gd name="connsiteX3181" fmla="*/ 5636179 w 6116787"/>
                          <a:gd name="connsiteY3181" fmla="*/ 1605869 h 3083905"/>
                          <a:gd name="connsiteX3182" fmla="*/ 5630693 w 6116787"/>
                          <a:gd name="connsiteY3182" fmla="*/ 1598188 h 3083905"/>
                          <a:gd name="connsiteX3183" fmla="*/ 5630693 w 6116787"/>
                          <a:gd name="connsiteY3183" fmla="*/ 1575146 h 3083905"/>
                          <a:gd name="connsiteX3184" fmla="*/ 5636179 w 6116787"/>
                          <a:gd name="connsiteY3184" fmla="*/ 1569659 h 3083905"/>
                          <a:gd name="connsiteX3185" fmla="*/ 5642763 w 6116787"/>
                          <a:gd name="connsiteY3185" fmla="*/ 1575146 h 3083905"/>
                          <a:gd name="connsiteX3186" fmla="*/ 5654833 w 6116787"/>
                          <a:gd name="connsiteY3186" fmla="*/ 1578986 h 3083905"/>
                          <a:gd name="connsiteX3187" fmla="*/ 5661416 w 6116787"/>
                          <a:gd name="connsiteY3187" fmla="*/ 1573500 h 3083905"/>
                          <a:gd name="connsiteX3188" fmla="*/ 5660868 w 6116787"/>
                          <a:gd name="connsiteY3188" fmla="*/ 1575694 h 3083905"/>
                          <a:gd name="connsiteX3189" fmla="*/ 5664160 w 6116787"/>
                          <a:gd name="connsiteY3189" fmla="*/ 1581181 h 3083905"/>
                          <a:gd name="connsiteX3190" fmla="*/ 5676230 w 6116787"/>
                          <a:gd name="connsiteY3190" fmla="*/ 1578986 h 3083905"/>
                          <a:gd name="connsiteX3191" fmla="*/ 5674035 w 6116787"/>
                          <a:gd name="connsiteY3191" fmla="*/ 1584472 h 3083905"/>
                          <a:gd name="connsiteX3192" fmla="*/ 5674584 w 6116787"/>
                          <a:gd name="connsiteY3192" fmla="*/ 1588313 h 3083905"/>
                          <a:gd name="connsiteX3193" fmla="*/ 5682265 w 6116787"/>
                          <a:gd name="connsiteY3193" fmla="*/ 1582278 h 3083905"/>
                          <a:gd name="connsiteX3194" fmla="*/ 5688300 w 6116787"/>
                          <a:gd name="connsiteY3194" fmla="*/ 1574597 h 3083905"/>
                          <a:gd name="connsiteX3195" fmla="*/ 5708051 w 6116787"/>
                          <a:gd name="connsiteY3195" fmla="*/ 1567465 h 3083905"/>
                          <a:gd name="connsiteX3196" fmla="*/ 5727253 w 6116787"/>
                          <a:gd name="connsiteY3196" fmla="*/ 1544970 h 3083905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  <a:cxn ang="0">
                            <a:pos x="connsiteX20" y="connsiteY20"/>
                          </a:cxn>
                          <a:cxn ang="0">
                            <a:pos x="connsiteX21" y="connsiteY21"/>
                          </a:cxn>
                          <a:cxn ang="0">
                            <a:pos x="connsiteX22" y="connsiteY22"/>
                          </a:cxn>
                          <a:cxn ang="0">
                            <a:pos x="connsiteX23" y="connsiteY23"/>
                          </a:cxn>
                          <a:cxn ang="0">
                            <a:pos x="connsiteX24" y="connsiteY24"/>
                          </a:cxn>
                          <a:cxn ang="0">
                            <a:pos x="connsiteX25" y="connsiteY25"/>
                          </a:cxn>
                          <a:cxn ang="0">
                            <a:pos x="connsiteX26" y="connsiteY26"/>
                          </a:cxn>
                          <a:cxn ang="0">
                            <a:pos x="connsiteX27" y="connsiteY27"/>
                          </a:cxn>
                          <a:cxn ang="0">
                            <a:pos x="connsiteX28" y="connsiteY28"/>
                          </a:cxn>
                          <a:cxn ang="0">
                            <a:pos x="connsiteX29" y="connsiteY29"/>
                          </a:cxn>
                          <a:cxn ang="0">
                            <a:pos x="connsiteX30" y="connsiteY30"/>
                          </a:cxn>
                          <a:cxn ang="0">
                            <a:pos x="connsiteX31" y="connsiteY31"/>
                          </a:cxn>
                          <a:cxn ang="0">
                            <a:pos x="connsiteX32" y="connsiteY32"/>
                          </a:cxn>
                          <a:cxn ang="0">
                            <a:pos x="connsiteX33" y="connsiteY33"/>
                          </a:cxn>
                          <a:cxn ang="0">
                            <a:pos x="connsiteX34" y="connsiteY34"/>
                          </a:cxn>
                          <a:cxn ang="0">
                            <a:pos x="connsiteX35" y="connsiteY35"/>
                          </a:cxn>
                          <a:cxn ang="0">
                            <a:pos x="connsiteX36" y="connsiteY36"/>
                          </a:cxn>
                          <a:cxn ang="0">
                            <a:pos x="connsiteX37" y="connsiteY37"/>
                          </a:cxn>
                          <a:cxn ang="0">
                            <a:pos x="connsiteX38" y="connsiteY38"/>
                          </a:cxn>
                          <a:cxn ang="0">
                            <a:pos x="connsiteX39" y="connsiteY39"/>
                          </a:cxn>
                          <a:cxn ang="0">
                            <a:pos x="connsiteX40" y="connsiteY40"/>
                          </a:cxn>
                          <a:cxn ang="0">
                            <a:pos x="connsiteX41" y="connsiteY41"/>
                          </a:cxn>
                          <a:cxn ang="0">
                            <a:pos x="connsiteX42" y="connsiteY42"/>
                          </a:cxn>
                          <a:cxn ang="0">
                            <a:pos x="connsiteX43" y="connsiteY43"/>
                          </a:cxn>
                          <a:cxn ang="0">
                            <a:pos x="connsiteX44" y="connsiteY44"/>
                          </a:cxn>
                          <a:cxn ang="0">
                            <a:pos x="connsiteX45" y="connsiteY45"/>
                          </a:cxn>
                          <a:cxn ang="0">
                            <a:pos x="connsiteX46" y="connsiteY46"/>
                          </a:cxn>
                          <a:cxn ang="0">
                            <a:pos x="connsiteX47" y="connsiteY47"/>
                          </a:cxn>
                          <a:cxn ang="0">
                            <a:pos x="connsiteX48" y="connsiteY48"/>
                          </a:cxn>
                          <a:cxn ang="0">
                            <a:pos x="connsiteX49" y="connsiteY49"/>
                          </a:cxn>
                          <a:cxn ang="0">
                            <a:pos x="connsiteX50" y="connsiteY50"/>
                          </a:cxn>
                          <a:cxn ang="0">
                            <a:pos x="connsiteX51" y="connsiteY51"/>
                          </a:cxn>
                          <a:cxn ang="0">
                            <a:pos x="connsiteX52" y="connsiteY52"/>
                          </a:cxn>
                          <a:cxn ang="0">
                            <a:pos x="connsiteX53" y="connsiteY53"/>
                          </a:cxn>
                          <a:cxn ang="0">
                            <a:pos x="connsiteX54" y="connsiteY54"/>
                          </a:cxn>
                          <a:cxn ang="0">
                            <a:pos x="connsiteX55" y="connsiteY55"/>
                          </a:cxn>
                          <a:cxn ang="0">
                            <a:pos x="connsiteX56" y="connsiteY56"/>
                          </a:cxn>
                          <a:cxn ang="0">
                            <a:pos x="connsiteX57" y="connsiteY57"/>
                          </a:cxn>
                          <a:cxn ang="0">
                            <a:pos x="connsiteX58" y="connsiteY58"/>
                          </a:cxn>
                          <a:cxn ang="0">
                            <a:pos x="connsiteX59" y="connsiteY59"/>
                          </a:cxn>
                          <a:cxn ang="0">
                            <a:pos x="connsiteX60" y="connsiteY60"/>
                          </a:cxn>
                          <a:cxn ang="0">
                            <a:pos x="connsiteX61" y="connsiteY61"/>
                          </a:cxn>
                          <a:cxn ang="0">
                            <a:pos x="connsiteX62" y="connsiteY62"/>
                          </a:cxn>
                          <a:cxn ang="0">
                            <a:pos x="connsiteX63" y="connsiteY63"/>
                          </a:cxn>
                          <a:cxn ang="0">
                            <a:pos x="connsiteX64" y="connsiteY64"/>
                          </a:cxn>
                          <a:cxn ang="0">
                            <a:pos x="connsiteX65" y="connsiteY65"/>
                          </a:cxn>
                          <a:cxn ang="0">
                            <a:pos x="connsiteX66" y="connsiteY66"/>
                          </a:cxn>
                          <a:cxn ang="0">
                            <a:pos x="connsiteX67" y="connsiteY67"/>
                          </a:cxn>
                          <a:cxn ang="0">
                            <a:pos x="connsiteX68" y="connsiteY68"/>
                          </a:cxn>
                          <a:cxn ang="0">
                            <a:pos x="connsiteX69" y="connsiteY69"/>
                          </a:cxn>
                          <a:cxn ang="0">
                            <a:pos x="connsiteX70" y="connsiteY70"/>
                          </a:cxn>
                          <a:cxn ang="0">
                            <a:pos x="connsiteX71" y="connsiteY71"/>
                          </a:cxn>
                          <a:cxn ang="0">
                            <a:pos x="connsiteX72" y="connsiteY72"/>
                          </a:cxn>
                          <a:cxn ang="0">
                            <a:pos x="connsiteX73" y="connsiteY73"/>
                          </a:cxn>
                          <a:cxn ang="0">
                            <a:pos x="connsiteX74" y="connsiteY74"/>
                          </a:cxn>
                          <a:cxn ang="0">
                            <a:pos x="connsiteX75" y="connsiteY75"/>
                          </a:cxn>
                          <a:cxn ang="0">
                            <a:pos x="connsiteX76" y="connsiteY76"/>
                          </a:cxn>
                          <a:cxn ang="0">
                            <a:pos x="connsiteX77" y="connsiteY77"/>
                          </a:cxn>
                          <a:cxn ang="0">
                            <a:pos x="connsiteX78" y="connsiteY78"/>
                          </a:cxn>
                          <a:cxn ang="0">
                            <a:pos x="connsiteX79" y="connsiteY79"/>
                          </a:cxn>
                          <a:cxn ang="0">
                            <a:pos x="connsiteX80" y="connsiteY80"/>
                          </a:cxn>
                          <a:cxn ang="0">
                            <a:pos x="connsiteX81" y="connsiteY81"/>
                          </a:cxn>
                          <a:cxn ang="0">
                            <a:pos x="connsiteX82" y="connsiteY82"/>
                          </a:cxn>
                          <a:cxn ang="0">
                            <a:pos x="connsiteX83" y="connsiteY83"/>
                          </a:cxn>
                          <a:cxn ang="0">
                            <a:pos x="connsiteX84" y="connsiteY84"/>
                          </a:cxn>
                          <a:cxn ang="0">
                            <a:pos x="connsiteX85" y="connsiteY85"/>
                          </a:cxn>
                          <a:cxn ang="0">
                            <a:pos x="connsiteX86" y="connsiteY86"/>
                          </a:cxn>
                          <a:cxn ang="0">
                            <a:pos x="connsiteX87" y="connsiteY87"/>
                          </a:cxn>
                          <a:cxn ang="0">
                            <a:pos x="connsiteX88" y="connsiteY88"/>
                          </a:cxn>
                          <a:cxn ang="0">
                            <a:pos x="connsiteX89" y="connsiteY89"/>
                          </a:cxn>
                          <a:cxn ang="0">
                            <a:pos x="connsiteX90" y="connsiteY90"/>
                          </a:cxn>
                          <a:cxn ang="0">
                            <a:pos x="connsiteX91" y="connsiteY91"/>
                          </a:cxn>
                          <a:cxn ang="0">
                            <a:pos x="connsiteX92" y="connsiteY92"/>
                          </a:cxn>
                          <a:cxn ang="0">
                            <a:pos x="connsiteX93" y="connsiteY93"/>
                          </a:cxn>
                          <a:cxn ang="0">
                            <a:pos x="connsiteX94" y="connsiteY94"/>
                          </a:cxn>
                          <a:cxn ang="0">
                            <a:pos x="connsiteX95" y="connsiteY95"/>
                          </a:cxn>
                          <a:cxn ang="0">
                            <a:pos x="connsiteX96" y="connsiteY96"/>
                          </a:cxn>
                          <a:cxn ang="0">
                            <a:pos x="connsiteX97" y="connsiteY97"/>
                          </a:cxn>
                          <a:cxn ang="0">
                            <a:pos x="connsiteX98" y="connsiteY98"/>
                          </a:cxn>
                          <a:cxn ang="0">
                            <a:pos x="connsiteX99" y="connsiteY99"/>
                          </a:cxn>
                          <a:cxn ang="0">
                            <a:pos x="connsiteX100" y="connsiteY100"/>
                          </a:cxn>
                          <a:cxn ang="0">
                            <a:pos x="connsiteX101" y="connsiteY101"/>
                          </a:cxn>
                          <a:cxn ang="0">
                            <a:pos x="connsiteX102" y="connsiteY102"/>
                          </a:cxn>
                          <a:cxn ang="0">
                            <a:pos x="connsiteX103" y="connsiteY103"/>
                          </a:cxn>
                          <a:cxn ang="0">
                            <a:pos x="connsiteX104" y="connsiteY104"/>
                          </a:cxn>
                          <a:cxn ang="0">
                            <a:pos x="connsiteX105" y="connsiteY105"/>
                          </a:cxn>
                          <a:cxn ang="0">
                            <a:pos x="connsiteX106" y="connsiteY106"/>
                          </a:cxn>
                          <a:cxn ang="0">
                            <a:pos x="connsiteX107" y="connsiteY107"/>
                          </a:cxn>
                          <a:cxn ang="0">
                            <a:pos x="connsiteX108" y="connsiteY108"/>
                          </a:cxn>
                          <a:cxn ang="0">
                            <a:pos x="connsiteX109" y="connsiteY109"/>
                          </a:cxn>
                          <a:cxn ang="0">
                            <a:pos x="connsiteX110" y="connsiteY110"/>
                          </a:cxn>
                          <a:cxn ang="0">
                            <a:pos x="connsiteX111" y="connsiteY111"/>
                          </a:cxn>
                          <a:cxn ang="0">
                            <a:pos x="connsiteX112" y="connsiteY112"/>
                          </a:cxn>
                          <a:cxn ang="0">
                            <a:pos x="connsiteX113" y="connsiteY113"/>
                          </a:cxn>
                          <a:cxn ang="0">
                            <a:pos x="connsiteX114" y="connsiteY114"/>
                          </a:cxn>
                          <a:cxn ang="0">
                            <a:pos x="connsiteX115" y="connsiteY115"/>
                          </a:cxn>
                          <a:cxn ang="0">
                            <a:pos x="connsiteX116" y="connsiteY116"/>
                          </a:cxn>
                          <a:cxn ang="0">
                            <a:pos x="connsiteX117" y="connsiteY117"/>
                          </a:cxn>
                          <a:cxn ang="0">
                            <a:pos x="connsiteX118" y="connsiteY118"/>
                          </a:cxn>
                          <a:cxn ang="0">
                            <a:pos x="connsiteX119" y="connsiteY119"/>
                          </a:cxn>
                          <a:cxn ang="0">
                            <a:pos x="connsiteX120" y="connsiteY120"/>
                          </a:cxn>
                          <a:cxn ang="0">
                            <a:pos x="connsiteX121" y="connsiteY121"/>
                          </a:cxn>
                          <a:cxn ang="0">
                            <a:pos x="connsiteX122" y="connsiteY122"/>
                          </a:cxn>
                          <a:cxn ang="0">
                            <a:pos x="connsiteX123" y="connsiteY123"/>
                          </a:cxn>
                          <a:cxn ang="0">
                            <a:pos x="connsiteX124" y="connsiteY124"/>
                          </a:cxn>
                          <a:cxn ang="0">
                            <a:pos x="connsiteX125" y="connsiteY125"/>
                          </a:cxn>
                          <a:cxn ang="0">
                            <a:pos x="connsiteX126" y="connsiteY126"/>
                          </a:cxn>
                          <a:cxn ang="0">
                            <a:pos x="connsiteX127" y="connsiteY127"/>
                          </a:cxn>
                          <a:cxn ang="0">
                            <a:pos x="connsiteX128" y="connsiteY128"/>
                          </a:cxn>
                          <a:cxn ang="0">
                            <a:pos x="connsiteX129" y="connsiteY129"/>
                          </a:cxn>
                          <a:cxn ang="0">
                            <a:pos x="connsiteX130" y="connsiteY130"/>
                          </a:cxn>
                          <a:cxn ang="0">
                            <a:pos x="connsiteX131" y="connsiteY131"/>
                          </a:cxn>
                          <a:cxn ang="0">
                            <a:pos x="connsiteX132" y="connsiteY132"/>
                          </a:cxn>
                          <a:cxn ang="0">
                            <a:pos x="connsiteX133" y="connsiteY133"/>
                          </a:cxn>
                          <a:cxn ang="0">
                            <a:pos x="connsiteX134" y="connsiteY134"/>
                          </a:cxn>
                          <a:cxn ang="0">
                            <a:pos x="connsiteX135" y="connsiteY135"/>
                          </a:cxn>
                          <a:cxn ang="0">
                            <a:pos x="connsiteX136" y="connsiteY136"/>
                          </a:cxn>
                          <a:cxn ang="0">
                            <a:pos x="connsiteX137" y="connsiteY137"/>
                          </a:cxn>
                          <a:cxn ang="0">
                            <a:pos x="connsiteX138" y="connsiteY138"/>
                          </a:cxn>
                          <a:cxn ang="0">
                            <a:pos x="connsiteX139" y="connsiteY139"/>
                          </a:cxn>
                          <a:cxn ang="0">
                            <a:pos x="connsiteX140" y="connsiteY140"/>
                          </a:cxn>
                          <a:cxn ang="0">
                            <a:pos x="connsiteX141" y="connsiteY141"/>
                          </a:cxn>
                          <a:cxn ang="0">
                            <a:pos x="connsiteX142" y="connsiteY142"/>
                          </a:cxn>
                          <a:cxn ang="0">
                            <a:pos x="connsiteX143" y="connsiteY143"/>
                          </a:cxn>
                          <a:cxn ang="0">
                            <a:pos x="connsiteX144" y="connsiteY144"/>
                          </a:cxn>
                          <a:cxn ang="0">
                            <a:pos x="connsiteX145" y="connsiteY145"/>
                          </a:cxn>
                          <a:cxn ang="0">
                            <a:pos x="connsiteX146" y="connsiteY146"/>
                          </a:cxn>
                          <a:cxn ang="0">
                            <a:pos x="connsiteX147" y="connsiteY147"/>
                          </a:cxn>
                          <a:cxn ang="0">
                            <a:pos x="connsiteX148" y="connsiteY148"/>
                          </a:cxn>
                          <a:cxn ang="0">
                            <a:pos x="connsiteX149" y="connsiteY149"/>
                          </a:cxn>
                          <a:cxn ang="0">
                            <a:pos x="connsiteX150" y="connsiteY150"/>
                          </a:cxn>
                          <a:cxn ang="0">
                            <a:pos x="connsiteX151" y="connsiteY151"/>
                          </a:cxn>
                          <a:cxn ang="0">
                            <a:pos x="connsiteX152" y="connsiteY152"/>
                          </a:cxn>
                          <a:cxn ang="0">
                            <a:pos x="connsiteX153" y="connsiteY153"/>
                          </a:cxn>
                          <a:cxn ang="0">
                            <a:pos x="connsiteX154" y="connsiteY154"/>
                          </a:cxn>
                          <a:cxn ang="0">
                            <a:pos x="connsiteX155" y="connsiteY155"/>
                          </a:cxn>
                          <a:cxn ang="0">
                            <a:pos x="connsiteX156" y="connsiteY156"/>
                          </a:cxn>
                          <a:cxn ang="0">
                            <a:pos x="connsiteX157" y="connsiteY157"/>
                          </a:cxn>
                          <a:cxn ang="0">
                            <a:pos x="connsiteX158" y="connsiteY158"/>
                          </a:cxn>
                          <a:cxn ang="0">
                            <a:pos x="connsiteX159" y="connsiteY159"/>
                          </a:cxn>
                          <a:cxn ang="0">
                            <a:pos x="connsiteX160" y="connsiteY160"/>
                          </a:cxn>
                          <a:cxn ang="0">
                            <a:pos x="connsiteX161" y="connsiteY161"/>
                          </a:cxn>
                          <a:cxn ang="0">
                            <a:pos x="connsiteX162" y="connsiteY162"/>
                          </a:cxn>
                          <a:cxn ang="0">
                            <a:pos x="connsiteX163" y="connsiteY163"/>
                          </a:cxn>
                          <a:cxn ang="0">
                            <a:pos x="connsiteX164" y="connsiteY164"/>
                          </a:cxn>
                          <a:cxn ang="0">
                            <a:pos x="connsiteX165" y="connsiteY165"/>
                          </a:cxn>
                          <a:cxn ang="0">
                            <a:pos x="connsiteX166" y="connsiteY166"/>
                          </a:cxn>
                          <a:cxn ang="0">
                            <a:pos x="connsiteX167" y="connsiteY167"/>
                          </a:cxn>
                          <a:cxn ang="0">
                            <a:pos x="connsiteX168" y="connsiteY168"/>
                          </a:cxn>
                          <a:cxn ang="0">
                            <a:pos x="connsiteX169" y="connsiteY169"/>
                          </a:cxn>
                          <a:cxn ang="0">
                            <a:pos x="connsiteX170" y="connsiteY170"/>
                          </a:cxn>
                          <a:cxn ang="0">
                            <a:pos x="connsiteX171" y="connsiteY171"/>
                          </a:cxn>
                          <a:cxn ang="0">
                            <a:pos x="connsiteX172" y="connsiteY172"/>
                          </a:cxn>
                          <a:cxn ang="0">
                            <a:pos x="connsiteX173" y="connsiteY173"/>
                          </a:cxn>
                          <a:cxn ang="0">
                            <a:pos x="connsiteX174" y="connsiteY174"/>
                          </a:cxn>
                          <a:cxn ang="0">
                            <a:pos x="connsiteX175" y="connsiteY175"/>
                          </a:cxn>
                          <a:cxn ang="0">
                            <a:pos x="connsiteX176" y="connsiteY176"/>
                          </a:cxn>
                          <a:cxn ang="0">
                            <a:pos x="connsiteX177" y="connsiteY177"/>
                          </a:cxn>
                          <a:cxn ang="0">
                            <a:pos x="connsiteX178" y="connsiteY178"/>
                          </a:cxn>
                          <a:cxn ang="0">
                            <a:pos x="connsiteX179" y="connsiteY179"/>
                          </a:cxn>
                          <a:cxn ang="0">
                            <a:pos x="connsiteX180" y="connsiteY180"/>
                          </a:cxn>
                          <a:cxn ang="0">
                            <a:pos x="connsiteX181" y="connsiteY181"/>
                          </a:cxn>
                          <a:cxn ang="0">
                            <a:pos x="connsiteX182" y="connsiteY182"/>
                          </a:cxn>
                          <a:cxn ang="0">
                            <a:pos x="connsiteX183" y="connsiteY183"/>
                          </a:cxn>
                          <a:cxn ang="0">
                            <a:pos x="connsiteX184" y="connsiteY184"/>
                          </a:cxn>
                          <a:cxn ang="0">
                            <a:pos x="connsiteX185" y="connsiteY185"/>
                          </a:cxn>
                          <a:cxn ang="0">
                            <a:pos x="connsiteX186" y="connsiteY186"/>
                          </a:cxn>
                          <a:cxn ang="0">
                            <a:pos x="connsiteX187" y="connsiteY187"/>
                          </a:cxn>
                          <a:cxn ang="0">
                            <a:pos x="connsiteX188" y="connsiteY188"/>
                          </a:cxn>
                          <a:cxn ang="0">
                            <a:pos x="connsiteX189" y="connsiteY189"/>
                          </a:cxn>
                          <a:cxn ang="0">
                            <a:pos x="connsiteX190" y="connsiteY190"/>
                          </a:cxn>
                          <a:cxn ang="0">
                            <a:pos x="connsiteX191" y="connsiteY191"/>
                          </a:cxn>
                          <a:cxn ang="0">
                            <a:pos x="connsiteX192" y="connsiteY192"/>
                          </a:cxn>
                          <a:cxn ang="0">
                            <a:pos x="connsiteX193" y="connsiteY193"/>
                          </a:cxn>
                          <a:cxn ang="0">
                            <a:pos x="connsiteX194" y="connsiteY194"/>
                          </a:cxn>
                          <a:cxn ang="0">
                            <a:pos x="connsiteX195" y="connsiteY195"/>
                          </a:cxn>
                          <a:cxn ang="0">
                            <a:pos x="connsiteX196" y="connsiteY196"/>
                          </a:cxn>
                          <a:cxn ang="0">
                            <a:pos x="connsiteX197" y="connsiteY197"/>
                          </a:cxn>
                          <a:cxn ang="0">
                            <a:pos x="connsiteX198" y="connsiteY198"/>
                          </a:cxn>
                          <a:cxn ang="0">
                            <a:pos x="connsiteX199" y="connsiteY199"/>
                          </a:cxn>
                          <a:cxn ang="0">
                            <a:pos x="connsiteX200" y="connsiteY200"/>
                          </a:cxn>
                          <a:cxn ang="0">
                            <a:pos x="connsiteX201" y="connsiteY201"/>
                          </a:cxn>
                          <a:cxn ang="0">
                            <a:pos x="connsiteX202" y="connsiteY202"/>
                          </a:cxn>
                          <a:cxn ang="0">
                            <a:pos x="connsiteX203" y="connsiteY203"/>
                          </a:cxn>
                          <a:cxn ang="0">
                            <a:pos x="connsiteX204" y="connsiteY204"/>
                          </a:cxn>
                          <a:cxn ang="0">
                            <a:pos x="connsiteX205" y="connsiteY205"/>
                          </a:cxn>
                          <a:cxn ang="0">
                            <a:pos x="connsiteX206" y="connsiteY206"/>
                          </a:cxn>
                          <a:cxn ang="0">
                            <a:pos x="connsiteX207" y="connsiteY207"/>
                          </a:cxn>
                          <a:cxn ang="0">
                            <a:pos x="connsiteX208" y="connsiteY208"/>
                          </a:cxn>
                          <a:cxn ang="0">
                            <a:pos x="connsiteX209" y="connsiteY209"/>
                          </a:cxn>
                          <a:cxn ang="0">
                            <a:pos x="connsiteX210" y="connsiteY210"/>
                          </a:cxn>
                          <a:cxn ang="0">
                            <a:pos x="connsiteX211" y="connsiteY211"/>
                          </a:cxn>
                          <a:cxn ang="0">
                            <a:pos x="connsiteX212" y="connsiteY212"/>
                          </a:cxn>
                          <a:cxn ang="0">
                            <a:pos x="connsiteX213" y="connsiteY213"/>
                          </a:cxn>
                          <a:cxn ang="0">
                            <a:pos x="connsiteX214" y="connsiteY214"/>
                          </a:cxn>
                          <a:cxn ang="0">
                            <a:pos x="connsiteX215" y="connsiteY215"/>
                          </a:cxn>
                          <a:cxn ang="0">
                            <a:pos x="connsiteX216" y="connsiteY216"/>
                          </a:cxn>
                          <a:cxn ang="0">
                            <a:pos x="connsiteX217" y="connsiteY217"/>
                          </a:cxn>
                          <a:cxn ang="0">
                            <a:pos x="connsiteX218" y="connsiteY218"/>
                          </a:cxn>
                          <a:cxn ang="0">
                            <a:pos x="connsiteX219" y="connsiteY219"/>
                          </a:cxn>
                          <a:cxn ang="0">
                            <a:pos x="connsiteX220" y="connsiteY220"/>
                          </a:cxn>
                          <a:cxn ang="0">
                            <a:pos x="connsiteX221" y="connsiteY221"/>
                          </a:cxn>
                          <a:cxn ang="0">
                            <a:pos x="connsiteX222" y="connsiteY222"/>
                          </a:cxn>
                          <a:cxn ang="0">
                            <a:pos x="connsiteX223" y="connsiteY223"/>
                          </a:cxn>
                          <a:cxn ang="0">
                            <a:pos x="connsiteX224" y="connsiteY224"/>
                          </a:cxn>
                          <a:cxn ang="0">
                            <a:pos x="connsiteX225" y="connsiteY225"/>
                          </a:cxn>
                          <a:cxn ang="0">
                            <a:pos x="connsiteX226" y="connsiteY226"/>
                          </a:cxn>
                          <a:cxn ang="0">
                            <a:pos x="connsiteX227" y="connsiteY227"/>
                          </a:cxn>
                          <a:cxn ang="0">
                            <a:pos x="connsiteX228" y="connsiteY228"/>
                          </a:cxn>
                          <a:cxn ang="0">
                            <a:pos x="connsiteX229" y="connsiteY229"/>
                          </a:cxn>
                          <a:cxn ang="0">
                            <a:pos x="connsiteX230" y="connsiteY230"/>
                          </a:cxn>
                          <a:cxn ang="0">
                            <a:pos x="connsiteX231" y="connsiteY231"/>
                          </a:cxn>
                          <a:cxn ang="0">
                            <a:pos x="connsiteX232" y="connsiteY232"/>
                          </a:cxn>
                          <a:cxn ang="0">
                            <a:pos x="connsiteX233" y="connsiteY233"/>
                          </a:cxn>
                          <a:cxn ang="0">
                            <a:pos x="connsiteX234" y="connsiteY234"/>
                          </a:cxn>
                          <a:cxn ang="0">
                            <a:pos x="connsiteX235" y="connsiteY235"/>
                          </a:cxn>
                          <a:cxn ang="0">
                            <a:pos x="connsiteX236" y="connsiteY236"/>
                          </a:cxn>
                          <a:cxn ang="0">
                            <a:pos x="connsiteX237" y="connsiteY237"/>
                          </a:cxn>
                          <a:cxn ang="0">
                            <a:pos x="connsiteX238" y="connsiteY238"/>
                          </a:cxn>
                          <a:cxn ang="0">
                            <a:pos x="connsiteX239" y="connsiteY239"/>
                          </a:cxn>
                          <a:cxn ang="0">
                            <a:pos x="connsiteX240" y="connsiteY240"/>
                          </a:cxn>
                          <a:cxn ang="0">
                            <a:pos x="connsiteX241" y="connsiteY241"/>
                          </a:cxn>
                          <a:cxn ang="0">
                            <a:pos x="connsiteX242" y="connsiteY242"/>
                          </a:cxn>
                          <a:cxn ang="0">
                            <a:pos x="connsiteX243" y="connsiteY243"/>
                          </a:cxn>
                          <a:cxn ang="0">
                            <a:pos x="connsiteX244" y="connsiteY244"/>
                          </a:cxn>
                          <a:cxn ang="0">
                            <a:pos x="connsiteX245" y="connsiteY245"/>
                          </a:cxn>
                          <a:cxn ang="0">
                            <a:pos x="connsiteX246" y="connsiteY246"/>
                          </a:cxn>
                          <a:cxn ang="0">
                            <a:pos x="connsiteX247" y="connsiteY247"/>
                          </a:cxn>
                          <a:cxn ang="0">
                            <a:pos x="connsiteX248" y="connsiteY248"/>
                          </a:cxn>
                          <a:cxn ang="0">
                            <a:pos x="connsiteX249" y="connsiteY249"/>
                          </a:cxn>
                          <a:cxn ang="0">
                            <a:pos x="connsiteX250" y="connsiteY250"/>
                          </a:cxn>
                          <a:cxn ang="0">
                            <a:pos x="connsiteX251" y="connsiteY251"/>
                          </a:cxn>
                          <a:cxn ang="0">
                            <a:pos x="connsiteX252" y="connsiteY252"/>
                          </a:cxn>
                          <a:cxn ang="0">
                            <a:pos x="connsiteX253" y="connsiteY253"/>
                          </a:cxn>
                          <a:cxn ang="0">
                            <a:pos x="connsiteX254" y="connsiteY254"/>
                          </a:cxn>
                          <a:cxn ang="0">
                            <a:pos x="connsiteX255" y="connsiteY255"/>
                          </a:cxn>
                          <a:cxn ang="0">
                            <a:pos x="connsiteX256" y="connsiteY256"/>
                          </a:cxn>
                          <a:cxn ang="0">
                            <a:pos x="connsiteX257" y="connsiteY257"/>
                          </a:cxn>
                          <a:cxn ang="0">
                            <a:pos x="connsiteX258" y="connsiteY258"/>
                          </a:cxn>
                          <a:cxn ang="0">
                            <a:pos x="connsiteX259" y="connsiteY259"/>
                          </a:cxn>
                          <a:cxn ang="0">
                            <a:pos x="connsiteX260" y="connsiteY260"/>
                          </a:cxn>
                          <a:cxn ang="0">
                            <a:pos x="connsiteX261" y="connsiteY261"/>
                          </a:cxn>
                          <a:cxn ang="0">
                            <a:pos x="connsiteX262" y="connsiteY262"/>
                          </a:cxn>
                          <a:cxn ang="0">
                            <a:pos x="connsiteX263" y="connsiteY263"/>
                          </a:cxn>
                          <a:cxn ang="0">
                            <a:pos x="connsiteX264" y="connsiteY264"/>
                          </a:cxn>
                          <a:cxn ang="0">
                            <a:pos x="connsiteX265" y="connsiteY265"/>
                          </a:cxn>
                          <a:cxn ang="0">
                            <a:pos x="connsiteX266" y="connsiteY266"/>
                          </a:cxn>
                          <a:cxn ang="0">
                            <a:pos x="connsiteX267" y="connsiteY267"/>
                          </a:cxn>
                          <a:cxn ang="0">
                            <a:pos x="connsiteX268" y="connsiteY268"/>
                          </a:cxn>
                          <a:cxn ang="0">
                            <a:pos x="connsiteX269" y="connsiteY269"/>
                          </a:cxn>
                          <a:cxn ang="0">
                            <a:pos x="connsiteX270" y="connsiteY270"/>
                          </a:cxn>
                          <a:cxn ang="0">
                            <a:pos x="connsiteX271" y="connsiteY271"/>
                          </a:cxn>
                          <a:cxn ang="0">
                            <a:pos x="connsiteX272" y="connsiteY272"/>
                          </a:cxn>
                          <a:cxn ang="0">
                            <a:pos x="connsiteX273" y="connsiteY273"/>
                          </a:cxn>
                          <a:cxn ang="0">
                            <a:pos x="connsiteX274" y="connsiteY274"/>
                          </a:cxn>
                          <a:cxn ang="0">
                            <a:pos x="connsiteX275" y="connsiteY275"/>
                          </a:cxn>
                          <a:cxn ang="0">
                            <a:pos x="connsiteX276" y="connsiteY276"/>
                          </a:cxn>
                          <a:cxn ang="0">
                            <a:pos x="connsiteX277" y="connsiteY277"/>
                          </a:cxn>
                          <a:cxn ang="0">
                            <a:pos x="connsiteX278" y="connsiteY278"/>
                          </a:cxn>
                          <a:cxn ang="0">
                            <a:pos x="connsiteX279" y="connsiteY279"/>
                          </a:cxn>
                          <a:cxn ang="0">
                            <a:pos x="connsiteX280" y="connsiteY280"/>
                          </a:cxn>
                          <a:cxn ang="0">
                            <a:pos x="connsiteX281" y="connsiteY281"/>
                          </a:cxn>
                          <a:cxn ang="0">
                            <a:pos x="connsiteX282" y="connsiteY282"/>
                          </a:cxn>
                          <a:cxn ang="0">
                            <a:pos x="connsiteX283" y="connsiteY283"/>
                          </a:cxn>
                          <a:cxn ang="0">
                            <a:pos x="connsiteX284" y="connsiteY284"/>
                          </a:cxn>
                          <a:cxn ang="0">
                            <a:pos x="connsiteX285" y="connsiteY285"/>
                          </a:cxn>
                          <a:cxn ang="0">
                            <a:pos x="connsiteX286" y="connsiteY286"/>
                          </a:cxn>
                          <a:cxn ang="0">
                            <a:pos x="connsiteX287" y="connsiteY287"/>
                          </a:cxn>
                          <a:cxn ang="0">
                            <a:pos x="connsiteX288" y="connsiteY288"/>
                          </a:cxn>
                          <a:cxn ang="0">
                            <a:pos x="connsiteX289" y="connsiteY289"/>
                          </a:cxn>
                          <a:cxn ang="0">
                            <a:pos x="connsiteX290" y="connsiteY290"/>
                          </a:cxn>
                          <a:cxn ang="0">
                            <a:pos x="connsiteX291" y="connsiteY291"/>
                          </a:cxn>
                          <a:cxn ang="0">
                            <a:pos x="connsiteX292" y="connsiteY292"/>
                          </a:cxn>
                          <a:cxn ang="0">
                            <a:pos x="connsiteX293" y="connsiteY293"/>
                          </a:cxn>
                          <a:cxn ang="0">
                            <a:pos x="connsiteX294" y="connsiteY294"/>
                          </a:cxn>
                          <a:cxn ang="0">
                            <a:pos x="connsiteX295" y="connsiteY295"/>
                          </a:cxn>
                          <a:cxn ang="0">
                            <a:pos x="connsiteX296" y="connsiteY296"/>
                          </a:cxn>
                          <a:cxn ang="0">
                            <a:pos x="connsiteX297" y="connsiteY297"/>
                          </a:cxn>
                          <a:cxn ang="0">
                            <a:pos x="connsiteX298" y="connsiteY298"/>
                          </a:cxn>
                          <a:cxn ang="0">
                            <a:pos x="connsiteX299" y="connsiteY299"/>
                          </a:cxn>
                          <a:cxn ang="0">
                            <a:pos x="connsiteX300" y="connsiteY300"/>
                          </a:cxn>
                          <a:cxn ang="0">
                            <a:pos x="connsiteX301" y="connsiteY301"/>
                          </a:cxn>
                          <a:cxn ang="0">
                            <a:pos x="connsiteX302" y="connsiteY302"/>
                          </a:cxn>
                          <a:cxn ang="0">
                            <a:pos x="connsiteX303" y="connsiteY303"/>
                          </a:cxn>
                          <a:cxn ang="0">
                            <a:pos x="connsiteX304" y="connsiteY304"/>
                          </a:cxn>
                          <a:cxn ang="0">
                            <a:pos x="connsiteX305" y="connsiteY305"/>
                          </a:cxn>
                          <a:cxn ang="0">
                            <a:pos x="connsiteX306" y="connsiteY306"/>
                          </a:cxn>
                          <a:cxn ang="0">
                            <a:pos x="connsiteX307" y="connsiteY307"/>
                          </a:cxn>
                          <a:cxn ang="0">
                            <a:pos x="connsiteX308" y="connsiteY308"/>
                          </a:cxn>
                          <a:cxn ang="0">
                            <a:pos x="connsiteX309" y="connsiteY309"/>
                          </a:cxn>
                          <a:cxn ang="0">
                            <a:pos x="connsiteX310" y="connsiteY310"/>
                          </a:cxn>
                          <a:cxn ang="0">
                            <a:pos x="connsiteX311" y="connsiteY311"/>
                          </a:cxn>
                          <a:cxn ang="0">
                            <a:pos x="connsiteX312" y="connsiteY312"/>
                          </a:cxn>
                          <a:cxn ang="0">
                            <a:pos x="connsiteX313" y="connsiteY313"/>
                          </a:cxn>
                          <a:cxn ang="0">
                            <a:pos x="connsiteX314" y="connsiteY314"/>
                          </a:cxn>
                          <a:cxn ang="0">
                            <a:pos x="connsiteX315" y="connsiteY315"/>
                          </a:cxn>
                          <a:cxn ang="0">
                            <a:pos x="connsiteX316" y="connsiteY316"/>
                          </a:cxn>
                          <a:cxn ang="0">
                            <a:pos x="connsiteX317" y="connsiteY317"/>
                          </a:cxn>
                          <a:cxn ang="0">
                            <a:pos x="connsiteX318" y="connsiteY318"/>
                          </a:cxn>
                          <a:cxn ang="0">
                            <a:pos x="connsiteX319" y="connsiteY319"/>
                          </a:cxn>
                          <a:cxn ang="0">
                            <a:pos x="connsiteX320" y="connsiteY320"/>
                          </a:cxn>
                          <a:cxn ang="0">
                            <a:pos x="connsiteX321" y="connsiteY321"/>
                          </a:cxn>
                          <a:cxn ang="0">
                            <a:pos x="connsiteX322" y="connsiteY322"/>
                          </a:cxn>
                          <a:cxn ang="0">
                            <a:pos x="connsiteX323" y="connsiteY323"/>
                          </a:cxn>
                          <a:cxn ang="0">
                            <a:pos x="connsiteX324" y="connsiteY324"/>
                          </a:cxn>
                          <a:cxn ang="0">
                            <a:pos x="connsiteX325" y="connsiteY325"/>
                          </a:cxn>
                          <a:cxn ang="0">
                            <a:pos x="connsiteX326" y="connsiteY326"/>
                          </a:cxn>
                          <a:cxn ang="0">
                            <a:pos x="connsiteX327" y="connsiteY327"/>
                          </a:cxn>
                          <a:cxn ang="0">
                            <a:pos x="connsiteX328" y="connsiteY328"/>
                          </a:cxn>
                          <a:cxn ang="0">
                            <a:pos x="connsiteX329" y="connsiteY329"/>
                          </a:cxn>
                          <a:cxn ang="0">
                            <a:pos x="connsiteX330" y="connsiteY330"/>
                          </a:cxn>
                          <a:cxn ang="0">
                            <a:pos x="connsiteX331" y="connsiteY331"/>
                          </a:cxn>
                          <a:cxn ang="0">
                            <a:pos x="connsiteX332" y="connsiteY332"/>
                          </a:cxn>
                          <a:cxn ang="0">
                            <a:pos x="connsiteX333" y="connsiteY333"/>
                          </a:cxn>
                          <a:cxn ang="0">
                            <a:pos x="connsiteX334" y="connsiteY334"/>
                          </a:cxn>
                          <a:cxn ang="0">
                            <a:pos x="connsiteX335" y="connsiteY335"/>
                          </a:cxn>
                          <a:cxn ang="0">
                            <a:pos x="connsiteX336" y="connsiteY336"/>
                          </a:cxn>
                          <a:cxn ang="0">
                            <a:pos x="connsiteX337" y="connsiteY337"/>
                          </a:cxn>
                          <a:cxn ang="0">
                            <a:pos x="connsiteX338" y="connsiteY338"/>
                          </a:cxn>
                          <a:cxn ang="0">
                            <a:pos x="connsiteX339" y="connsiteY339"/>
                          </a:cxn>
                          <a:cxn ang="0">
                            <a:pos x="connsiteX340" y="connsiteY340"/>
                          </a:cxn>
                          <a:cxn ang="0">
                            <a:pos x="connsiteX341" y="connsiteY341"/>
                          </a:cxn>
                          <a:cxn ang="0">
                            <a:pos x="connsiteX342" y="connsiteY342"/>
                          </a:cxn>
                          <a:cxn ang="0">
                            <a:pos x="connsiteX343" y="connsiteY343"/>
                          </a:cxn>
                          <a:cxn ang="0">
                            <a:pos x="connsiteX344" y="connsiteY344"/>
                          </a:cxn>
                          <a:cxn ang="0">
                            <a:pos x="connsiteX345" y="connsiteY345"/>
                          </a:cxn>
                          <a:cxn ang="0">
                            <a:pos x="connsiteX346" y="connsiteY346"/>
                          </a:cxn>
                          <a:cxn ang="0">
                            <a:pos x="connsiteX347" y="connsiteY347"/>
                          </a:cxn>
                          <a:cxn ang="0">
                            <a:pos x="connsiteX348" y="connsiteY348"/>
                          </a:cxn>
                          <a:cxn ang="0">
                            <a:pos x="connsiteX349" y="connsiteY349"/>
                          </a:cxn>
                          <a:cxn ang="0">
                            <a:pos x="connsiteX350" y="connsiteY350"/>
                          </a:cxn>
                          <a:cxn ang="0">
                            <a:pos x="connsiteX351" y="connsiteY351"/>
                          </a:cxn>
                          <a:cxn ang="0">
                            <a:pos x="connsiteX352" y="connsiteY352"/>
                          </a:cxn>
                          <a:cxn ang="0">
                            <a:pos x="connsiteX353" y="connsiteY353"/>
                          </a:cxn>
                          <a:cxn ang="0">
                            <a:pos x="connsiteX354" y="connsiteY354"/>
                          </a:cxn>
                          <a:cxn ang="0">
                            <a:pos x="connsiteX355" y="connsiteY355"/>
                          </a:cxn>
                          <a:cxn ang="0">
                            <a:pos x="connsiteX356" y="connsiteY356"/>
                          </a:cxn>
                          <a:cxn ang="0">
                            <a:pos x="connsiteX357" y="connsiteY357"/>
                          </a:cxn>
                          <a:cxn ang="0">
                            <a:pos x="connsiteX358" y="connsiteY358"/>
                          </a:cxn>
                          <a:cxn ang="0">
                            <a:pos x="connsiteX359" y="connsiteY359"/>
                          </a:cxn>
                          <a:cxn ang="0">
                            <a:pos x="connsiteX360" y="connsiteY360"/>
                          </a:cxn>
                          <a:cxn ang="0">
                            <a:pos x="connsiteX361" y="connsiteY361"/>
                          </a:cxn>
                          <a:cxn ang="0">
                            <a:pos x="connsiteX362" y="connsiteY362"/>
                          </a:cxn>
                          <a:cxn ang="0">
                            <a:pos x="connsiteX363" y="connsiteY363"/>
                          </a:cxn>
                          <a:cxn ang="0">
                            <a:pos x="connsiteX364" y="connsiteY364"/>
                          </a:cxn>
                          <a:cxn ang="0">
                            <a:pos x="connsiteX365" y="connsiteY365"/>
                          </a:cxn>
                          <a:cxn ang="0">
                            <a:pos x="connsiteX366" y="connsiteY366"/>
                          </a:cxn>
                          <a:cxn ang="0">
                            <a:pos x="connsiteX367" y="connsiteY367"/>
                          </a:cxn>
                          <a:cxn ang="0">
                            <a:pos x="connsiteX368" y="connsiteY368"/>
                          </a:cxn>
                          <a:cxn ang="0">
                            <a:pos x="connsiteX369" y="connsiteY369"/>
                          </a:cxn>
                          <a:cxn ang="0">
                            <a:pos x="connsiteX370" y="connsiteY370"/>
                          </a:cxn>
                          <a:cxn ang="0">
                            <a:pos x="connsiteX371" y="connsiteY371"/>
                          </a:cxn>
                          <a:cxn ang="0">
                            <a:pos x="connsiteX372" y="connsiteY372"/>
                          </a:cxn>
                          <a:cxn ang="0">
                            <a:pos x="connsiteX373" y="connsiteY373"/>
                          </a:cxn>
                          <a:cxn ang="0">
                            <a:pos x="connsiteX374" y="connsiteY374"/>
                          </a:cxn>
                          <a:cxn ang="0">
                            <a:pos x="connsiteX375" y="connsiteY375"/>
                          </a:cxn>
                          <a:cxn ang="0">
                            <a:pos x="connsiteX376" y="connsiteY376"/>
                          </a:cxn>
                          <a:cxn ang="0">
                            <a:pos x="connsiteX377" y="connsiteY377"/>
                          </a:cxn>
                          <a:cxn ang="0">
                            <a:pos x="connsiteX378" y="connsiteY378"/>
                          </a:cxn>
                          <a:cxn ang="0">
                            <a:pos x="connsiteX379" y="connsiteY379"/>
                          </a:cxn>
                          <a:cxn ang="0">
                            <a:pos x="connsiteX380" y="connsiteY380"/>
                          </a:cxn>
                          <a:cxn ang="0">
                            <a:pos x="connsiteX381" y="connsiteY381"/>
                          </a:cxn>
                          <a:cxn ang="0">
                            <a:pos x="connsiteX382" y="connsiteY382"/>
                          </a:cxn>
                          <a:cxn ang="0">
                            <a:pos x="connsiteX383" y="connsiteY383"/>
                          </a:cxn>
                          <a:cxn ang="0">
                            <a:pos x="connsiteX384" y="connsiteY384"/>
                          </a:cxn>
                          <a:cxn ang="0">
                            <a:pos x="connsiteX385" y="connsiteY385"/>
                          </a:cxn>
                          <a:cxn ang="0">
                            <a:pos x="connsiteX386" y="connsiteY386"/>
                          </a:cxn>
                          <a:cxn ang="0">
                            <a:pos x="connsiteX387" y="connsiteY387"/>
                          </a:cxn>
                          <a:cxn ang="0">
                            <a:pos x="connsiteX388" y="connsiteY388"/>
                          </a:cxn>
                          <a:cxn ang="0">
                            <a:pos x="connsiteX389" y="connsiteY389"/>
                          </a:cxn>
                          <a:cxn ang="0">
                            <a:pos x="connsiteX390" y="connsiteY390"/>
                          </a:cxn>
                          <a:cxn ang="0">
                            <a:pos x="connsiteX391" y="connsiteY391"/>
                          </a:cxn>
                          <a:cxn ang="0">
                            <a:pos x="connsiteX392" y="connsiteY392"/>
                          </a:cxn>
                          <a:cxn ang="0">
                            <a:pos x="connsiteX393" y="connsiteY393"/>
                          </a:cxn>
                          <a:cxn ang="0">
                            <a:pos x="connsiteX394" y="connsiteY394"/>
                          </a:cxn>
                          <a:cxn ang="0">
                            <a:pos x="connsiteX395" y="connsiteY395"/>
                          </a:cxn>
                          <a:cxn ang="0">
                            <a:pos x="connsiteX396" y="connsiteY396"/>
                          </a:cxn>
                          <a:cxn ang="0">
                            <a:pos x="connsiteX397" y="connsiteY397"/>
                          </a:cxn>
                          <a:cxn ang="0">
                            <a:pos x="connsiteX398" y="connsiteY398"/>
                          </a:cxn>
                          <a:cxn ang="0">
                            <a:pos x="connsiteX399" y="connsiteY399"/>
                          </a:cxn>
                          <a:cxn ang="0">
                            <a:pos x="connsiteX400" y="connsiteY400"/>
                          </a:cxn>
                          <a:cxn ang="0">
                            <a:pos x="connsiteX401" y="connsiteY401"/>
                          </a:cxn>
                          <a:cxn ang="0">
                            <a:pos x="connsiteX402" y="connsiteY402"/>
                          </a:cxn>
                          <a:cxn ang="0">
                            <a:pos x="connsiteX403" y="connsiteY403"/>
                          </a:cxn>
                          <a:cxn ang="0">
                            <a:pos x="connsiteX404" y="connsiteY404"/>
                          </a:cxn>
                          <a:cxn ang="0">
                            <a:pos x="connsiteX405" y="connsiteY405"/>
                          </a:cxn>
                          <a:cxn ang="0">
                            <a:pos x="connsiteX406" y="connsiteY406"/>
                          </a:cxn>
                          <a:cxn ang="0">
                            <a:pos x="connsiteX407" y="connsiteY407"/>
                          </a:cxn>
                          <a:cxn ang="0">
                            <a:pos x="connsiteX408" y="connsiteY408"/>
                          </a:cxn>
                          <a:cxn ang="0">
                            <a:pos x="connsiteX409" y="connsiteY409"/>
                          </a:cxn>
                          <a:cxn ang="0">
                            <a:pos x="connsiteX410" y="connsiteY410"/>
                          </a:cxn>
                          <a:cxn ang="0">
                            <a:pos x="connsiteX411" y="connsiteY411"/>
                          </a:cxn>
                          <a:cxn ang="0">
                            <a:pos x="connsiteX412" y="connsiteY412"/>
                          </a:cxn>
                          <a:cxn ang="0">
                            <a:pos x="connsiteX413" y="connsiteY413"/>
                          </a:cxn>
                          <a:cxn ang="0">
                            <a:pos x="connsiteX414" y="connsiteY414"/>
                          </a:cxn>
                          <a:cxn ang="0">
                            <a:pos x="connsiteX415" y="connsiteY415"/>
                          </a:cxn>
                          <a:cxn ang="0">
                            <a:pos x="connsiteX416" y="connsiteY416"/>
                          </a:cxn>
                          <a:cxn ang="0">
                            <a:pos x="connsiteX417" y="connsiteY417"/>
                          </a:cxn>
                          <a:cxn ang="0">
                            <a:pos x="connsiteX418" y="connsiteY418"/>
                          </a:cxn>
                          <a:cxn ang="0">
                            <a:pos x="connsiteX419" y="connsiteY419"/>
                          </a:cxn>
                          <a:cxn ang="0">
                            <a:pos x="connsiteX420" y="connsiteY420"/>
                          </a:cxn>
                          <a:cxn ang="0">
                            <a:pos x="connsiteX421" y="connsiteY421"/>
                          </a:cxn>
                          <a:cxn ang="0">
                            <a:pos x="connsiteX422" y="connsiteY422"/>
                          </a:cxn>
                          <a:cxn ang="0">
                            <a:pos x="connsiteX423" y="connsiteY423"/>
                          </a:cxn>
                          <a:cxn ang="0">
                            <a:pos x="connsiteX424" y="connsiteY424"/>
                          </a:cxn>
                          <a:cxn ang="0">
                            <a:pos x="connsiteX425" y="connsiteY425"/>
                          </a:cxn>
                          <a:cxn ang="0">
                            <a:pos x="connsiteX426" y="connsiteY426"/>
                          </a:cxn>
                          <a:cxn ang="0">
                            <a:pos x="connsiteX427" y="connsiteY427"/>
                          </a:cxn>
                          <a:cxn ang="0">
                            <a:pos x="connsiteX428" y="connsiteY428"/>
                          </a:cxn>
                          <a:cxn ang="0">
                            <a:pos x="connsiteX429" y="connsiteY429"/>
                          </a:cxn>
                          <a:cxn ang="0">
                            <a:pos x="connsiteX430" y="connsiteY430"/>
                          </a:cxn>
                          <a:cxn ang="0">
                            <a:pos x="connsiteX431" y="connsiteY431"/>
                          </a:cxn>
                          <a:cxn ang="0">
                            <a:pos x="connsiteX432" y="connsiteY432"/>
                          </a:cxn>
                          <a:cxn ang="0">
                            <a:pos x="connsiteX433" y="connsiteY433"/>
                          </a:cxn>
                          <a:cxn ang="0">
                            <a:pos x="connsiteX434" y="connsiteY434"/>
                          </a:cxn>
                          <a:cxn ang="0">
                            <a:pos x="connsiteX435" y="connsiteY435"/>
                          </a:cxn>
                          <a:cxn ang="0">
                            <a:pos x="connsiteX436" y="connsiteY436"/>
                          </a:cxn>
                          <a:cxn ang="0">
                            <a:pos x="connsiteX437" y="connsiteY437"/>
                          </a:cxn>
                          <a:cxn ang="0">
                            <a:pos x="connsiteX438" y="connsiteY438"/>
                          </a:cxn>
                          <a:cxn ang="0">
                            <a:pos x="connsiteX439" y="connsiteY439"/>
                          </a:cxn>
                          <a:cxn ang="0">
                            <a:pos x="connsiteX440" y="connsiteY440"/>
                          </a:cxn>
                          <a:cxn ang="0">
                            <a:pos x="connsiteX441" y="connsiteY441"/>
                          </a:cxn>
                          <a:cxn ang="0">
                            <a:pos x="connsiteX442" y="connsiteY442"/>
                          </a:cxn>
                          <a:cxn ang="0">
                            <a:pos x="connsiteX443" y="connsiteY443"/>
                          </a:cxn>
                          <a:cxn ang="0">
                            <a:pos x="connsiteX444" y="connsiteY444"/>
                          </a:cxn>
                          <a:cxn ang="0">
                            <a:pos x="connsiteX445" y="connsiteY445"/>
                          </a:cxn>
                          <a:cxn ang="0">
                            <a:pos x="connsiteX446" y="connsiteY446"/>
                          </a:cxn>
                          <a:cxn ang="0">
                            <a:pos x="connsiteX447" y="connsiteY447"/>
                          </a:cxn>
                          <a:cxn ang="0">
                            <a:pos x="connsiteX448" y="connsiteY448"/>
                          </a:cxn>
                          <a:cxn ang="0">
                            <a:pos x="connsiteX449" y="connsiteY449"/>
                          </a:cxn>
                          <a:cxn ang="0">
                            <a:pos x="connsiteX450" y="connsiteY450"/>
                          </a:cxn>
                          <a:cxn ang="0">
                            <a:pos x="connsiteX451" y="connsiteY451"/>
                          </a:cxn>
                          <a:cxn ang="0">
                            <a:pos x="connsiteX452" y="connsiteY452"/>
                          </a:cxn>
                          <a:cxn ang="0">
                            <a:pos x="connsiteX453" y="connsiteY453"/>
                          </a:cxn>
                          <a:cxn ang="0">
                            <a:pos x="connsiteX454" y="connsiteY454"/>
                          </a:cxn>
                          <a:cxn ang="0">
                            <a:pos x="connsiteX455" y="connsiteY455"/>
                          </a:cxn>
                          <a:cxn ang="0">
                            <a:pos x="connsiteX456" y="connsiteY456"/>
                          </a:cxn>
                          <a:cxn ang="0">
                            <a:pos x="connsiteX457" y="connsiteY457"/>
                          </a:cxn>
                          <a:cxn ang="0">
                            <a:pos x="connsiteX458" y="connsiteY458"/>
                          </a:cxn>
                          <a:cxn ang="0">
                            <a:pos x="connsiteX459" y="connsiteY459"/>
                          </a:cxn>
                          <a:cxn ang="0">
                            <a:pos x="connsiteX460" y="connsiteY460"/>
                          </a:cxn>
                          <a:cxn ang="0">
                            <a:pos x="connsiteX461" y="connsiteY461"/>
                          </a:cxn>
                          <a:cxn ang="0">
                            <a:pos x="connsiteX462" y="connsiteY462"/>
                          </a:cxn>
                          <a:cxn ang="0">
                            <a:pos x="connsiteX463" y="connsiteY463"/>
                          </a:cxn>
                          <a:cxn ang="0">
                            <a:pos x="connsiteX464" y="connsiteY464"/>
                          </a:cxn>
                          <a:cxn ang="0">
                            <a:pos x="connsiteX465" y="connsiteY465"/>
                          </a:cxn>
                          <a:cxn ang="0">
                            <a:pos x="connsiteX466" y="connsiteY466"/>
                          </a:cxn>
                          <a:cxn ang="0">
                            <a:pos x="connsiteX467" y="connsiteY467"/>
                          </a:cxn>
                          <a:cxn ang="0">
                            <a:pos x="connsiteX468" y="connsiteY468"/>
                          </a:cxn>
                          <a:cxn ang="0">
                            <a:pos x="connsiteX469" y="connsiteY469"/>
                          </a:cxn>
                          <a:cxn ang="0">
                            <a:pos x="connsiteX470" y="connsiteY470"/>
                          </a:cxn>
                          <a:cxn ang="0">
                            <a:pos x="connsiteX471" y="connsiteY471"/>
                          </a:cxn>
                          <a:cxn ang="0">
                            <a:pos x="connsiteX472" y="connsiteY472"/>
                          </a:cxn>
                          <a:cxn ang="0">
                            <a:pos x="connsiteX473" y="connsiteY473"/>
                          </a:cxn>
                          <a:cxn ang="0">
                            <a:pos x="connsiteX474" y="connsiteY474"/>
                          </a:cxn>
                          <a:cxn ang="0">
                            <a:pos x="connsiteX475" y="connsiteY475"/>
                          </a:cxn>
                          <a:cxn ang="0">
                            <a:pos x="connsiteX476" y="connsiteY476"/>
                          </a:cxn>
                          <a:cxn ang="0">
                            <a:pos x="connsiteX477" y="connsiteY477"/>
                          </a:cxn>
                          <a:cxn ang="0">
                            <a:pos x="connsiteX478" y="connsiteY478"/>
                          </a:cxn>
                          <a:cxn ang="0">
                            <a:pos x="connsiteX479" y="connsiteY479"/>
                          </a:cxn>
                          <a:cxn ang="0">
                            <a:pos x="connsiteX480" y="connsiteY480"/>
                          </a:cxn>
                          <a:cxn ang="0">
                            <a:pos x="connsiteX481" y="connsiteY481"/>
                          </a:cxn>
                          <a:cxn ang="0">
                            <a:pos x="connsiteX482" y="connsiteY482"/>
                          </a:cxn>
                          <a:cxn ang="0">
                            <a:pos x="connsiteX483" y="connsiteY483"/>
                          </a:cxn>
                          <a:cxn ang="0">
                            <a:pos x="connsiteX484" y="connsiteY484"/>
                          </a:cxn>
                          <a:cxn ang="0">
                            <a:pos x="connsiteX485" y="connsiteY485"/>
                          </a:cxn>
                          <a:cxn ang="0">
                            <a:pos x="connsiteX486" y="connsiteY486"/>
                          </a:cxn>
                          <a:cxn ang="0">
                            <a:pos x="connsiteX487" y="connsiteY487"/>
                          </a:cxn>
                          <a:cxn ang="0">
                            <a:pos x="connsiteX488" y="connsiteY488"/>
                          </a:cxn>
                          <a:cxn ang="0">
                            <a:pos x="connsiteX489" y="connsiteY489"/>
                          </a:cxn>
                          <a:cxn ang="0">
                            <a:pos x="connsiteX490" y="connsiteY490"/>
                          </a:cxn>
                          <a:cxn ang="0">
                            <a:pos x="connsiteX491" y="connsiteY491"/>
                          </a:cxn>
                          <a:cxn ang="0">
                            <a:pos x="connsiteX492" y="connsiteY492"/>
                          </a:cxn>
                          <a:cxn ang="0">
                            <a:pos x="connsiteX493" y="connsiteY493"/>
                          </a:cxn>
                          <a:cxn ang="0">
                            <a:pos x="connsiteX494" y="connsiteY494"/>
                          </a:cxn>
                          <a:cxn ang="0">
                            <a:pos x="connsiteX495" y="connsiteY495"/>
                          </a:cxn>
                          <a:cxn ang="0">
                            <a:pos x="connsiteX496" y="connsiteY496"/>
                          </a:cxn>
                          <a:cxn ang="0">
                            <a:pos x="connsiteX497" y="connsiteY497"/>
                          </a:cxn>
                          <a:cxn ang="0">
                            <a:pos x="connsiteX498" y="connsiteY498"/>
                          </a:cxn>
                          <a:cxn ang="0">
                            <a:pos x="connsiteX499" y="connsiteY499"/>
                          </a:cxn>
                          <a:cxn ang="0">
                            <a:pos x="connsiteX500" y="connsiteY500"/>
                          </a:cxn>
                          <a:cxn ang="0">
                            <a:pos x="connsiteX501" y="connsiteY501"/>
                          </a:cxn>
                          <a:cxn ang="0">
                            <a:pos x="connsiteX502" y="connsiteY502"/>
                          </a:cxn>
                          <a:cxn ang="0">
                            <a:pos x="connsiteX503" y="connsiteY503"/>
                          </a:cxn>
                          <a:cxn ang="0">
                            <a:pos x="connsiteX504" y="connsiteY504"/>
                          </a:cxn>
                          <a:cxn ang="0">
                            <a:pos x="connsiteX505" y="connsiteY505"/>
                          </a:cxn>
                          <a:cxn ang="0">
                            <a:pos x="connsiteX506" y="connsiteY506"/>
                          </a:cxn>
                          <a:cxn ang="0">
                            <a:pos x="connsiteX507" y="connsiteY507"/>
                          </a:cxn>
                          <a:cxn ang="0">
                            <a:pos x="connsiteX508" y="connsiteY508"/>
                          </a:cxn>
                          <a:cxn ang="0">
                            <a:pos x="connsiteX509" y="connsiteY509"/>
                          </a:cxn>
                          <a:cxn ang="0">
                            <a:pos x="connsiteX510" y="connsiteY510"/>
                          </a:cxn>
                          <a:cxn ang="0">
                            <a:pos x="connsiteX511" y="connsiteY511"/>
                          </a:cxn>
                          <a:cxn ang="0">
                            <a:pos x="connsiteX512" y="connsiteY512"/>
                          </a:cxn>
                          <a:cxn ang="0">
                            <a:pos x="connsiteX513" y="connsiteY513"/>
                          </a:cxn>
                          <a:cxn ang="0">
                            <a:pos x="connsiteX514" y="connsiteY514"/>
                          </a:cxn>
                          <a:cxn ang="0">
                            <a:pos x="connsiteX515" y="connsiteY515"/>
                          </a:cxn>
                          <a:cxn ang="0">
                            <a:pos x="connsiteX516" y="connsiteY516"/>
                          </a:cxn>
                          <a:cxn ang="0">
                            <a:pos x="connsiteX517" y="connsiteY517"/>
                          </a:cxn>
                          <a:cxn ang="0">
                            <a:pos x="connsiteX518" y="connsiteY518"/>
                          </a:cxn>
                          <a:cxn ang="0">
                            <a:pos x="connsiteX519" y="connsiteY519"/>
                          </a:cxn>
                          <a:cxn ang="0">
                            <a:pos x="connsiteX520" y="connsiteY520"/>
                          </a:cxn>
                          <a:cxn ang="0">
                            <a:pos x="connsiteX521" y="connsiteY521"/>
                          </a:cxn>
                          <a:cxn ang="0">
                            <a:pos x="connsiteX522" y="connsiteY522"/>
                          </a:cxn>
                          <a:cxn ang="0">
                            <a:pos x="connsiteX523" y="connsiteY523"/>
                          </a:cxn>
                          <a:cxn ang="0">
                            <a:pos x="connsiteX524" y="connsiteY524"/>
                          </a:cxn>
                          <a:cxn ang="0">
                            <a:pos x="connsiteX525" y="connsiteY525"/>
                          </a:cxn>
                          <a:cxn ang="0">
                            <a:pos x="connsiteX526" y="connsiteY526"/>
                          </a:cxn>
                          <a:cxn ang="0">
                            <a:pos x="connsiteX527" y="connsiteY527"/>
                          </a:cxn>
                          <a:cxn ang="0">
                            <a:pos x="connsiteX528" y="connsiteY528"/>
                          </a:cxn>
                          <a:cxn ang="0">
                            <a:pos x="connsiteX529" y="connsiteY529"/>
                          </a:cxn>
                          <a:cxn ang="0">
                            <a:pos x="connsiteX530" y="connsiteY530"/>
                          </a:cxn>
                          <a:cxn ang="0">
                            <a:pos x="connsiteX531" y="connsiteY531"/>
                          </a:cxn>
                          <a:cxn ang="0">
                            <a:pos x="connsiteX532" y="connsiteY532"/>
                          </a:cxn>
                          <a:cxn ang="0">
                            <a:pos x="connsiteX533" y="connsiteY533"/>
                          </a:cxn>
                          <a:cxn ang="0">
                            <a:pos x="connsiteX534" y="connsiteY534"/>
                          </a:cxn>
                          <a:cxn ang="0">
                            <a:pos x="connsiteX535" y="connsiteY535"/>
                          </a:cxn>
                          <a:cxn ang="0">
                            <a:pos x="connsiteX536" y="connsiteY536"/>
                          </a:cxn>
                          <a:cxn ang="0">
                            <a:pos x="connsiteX537" y="connsiteY537"/>
                          </a:cxn>
                          <a:cxn ang="0">
                            <a:pos x="connsiteX538" y="connsiteY538"/>
                          </a:cxn>
                          <a:cxn ang="0">
                            <a:pos x="connsiteX539" y="connsiteY539"/>
                          </a:cxn>
                          <a:cxn ang="0">
                            <a:pos x="connsiteX540" y="connsiteY540"/>
                          </a:cxn>
                          <a:cxn ang="0">
                            <a:pos x="connsiteX541" y="connsiteY541"/>
                          </a:cxn>
                          <a:cxn ang="0">
                            <a:pos x="connsiteX542" y="connsiteY542"/>
                          </a:cxn>
                          <a:cxn ang="0">
                            <a:pos x="connsiteX543" y="connsiteY543"/>
                          </a:cxn>
                          <a:cxn ang="0">
                            <a:pos x="connsiteX544" y="connsiteY544"/>
                          </a:cxn>
                          <a:cxn ang="0">
                            <a:pos x="connsiteX545" y="connsiteY545"/>
                          </a:cxn>
                          <a:cxn ang="0">
                            <a:pos x="connsiteX546" y="connsiteY546"/>
                          </a:cxn>
                          <a:cxn ang="0">
                            <a:pos x="connsiteX547" y="connsiteY547"/>
                          </a:cxn>
                          <a:cxn ang="0">
                            <a:pos x="connsiteX548" y="connsiteY548"/>
                          </a:cxn>
                          <a:cxn ang="0">
                            <a:pos x="connsiteX549" y="connsiteY549"/>
                          </a:cxn>
                          <a:cxn ang="0">
                            <a:pos x="connsiteX550" y="connsiteY550"/>
                          </a:cxn>
                          <a:cxn ang="0">
                            <a:pos x="connsiteX551" y="connsiteY551"/>
                          </a:cxn>
                          <a:cxn ang="0">
                            <a:pos x="connsiteX552" y="connsiteY552"/>
                          </a:cxn>
                          <a:cxn ang="0">
                            <a:pos x="connsiteX553" y="connsiteY553"/>
                          </a:cxn>
                          <a:cxn ang="0">
                            <a:pos x="connsiteX554" y="connsiteY554"/>
                          </a:cxn>
                          <a:cxn ang="0">
                            <a:pos x="connsiteX555" y="connsiteY555"/>
                          </a:cxn>
                          <a:cxn ang="0">
                            <a:pos x="connsiteX556" y="connsiteY556"/>
                          </a:cxn>
                          <a:cxn ang="0">
                            <a:pos x="connsiteX557" y="connsiteY557"/>
                          </a:cxn>
                          <a:cxn ang="0">
                            <a:pos x="connsiteX558" y="connsiteY558"/>
                          </a:cxn>
                          <a:cxn ang="0">
                            <a:pos x="connsiteX559" y="connsiteY559"/>
                          </a:cxn>
                          <a:cxn ang="0">
                            <a:pos x="connsiteX560" y="connsiteY560"/>
                          </a:cxn>
                          <a:cxn ang="0">
                            <a:pos x="connsiteX561" y="connsiteY561"/>
                          </a:cxn>
                          <a:cxn ang="0">
                            <a:pos x="connsiteX562" y="connsiteY562"/>
                          </a:cxn>
                          <a:cxn ang="0">
                            <a:pos x="connsiteX563" y="connsiteY563"/>
                          </a:cxn>
                          <a:cxn ang="0">
                            <a:pos x="connsiteX564" y="connsiteY564"/>
                          </a:cxn>
                          <a:cxn ang="0">
                            <a:pos x="connsiteX565" y="connsiteY565"/>
                          </a:cxn>
                          <a:cxn ang="0">
                            <a:pos x="connsiteX566" y="connsiteY566"/>
                          </a:cxn>
                          <a:cxn ang="0">
                            <a:pos x="connsiteX567" y="connsiteY567"/>
                          </a:cxn>
                          <a:cxn ang="0">
                            <a:pos x="connsiteX568" y="connsiteY568"/>
                          </a:cxn>
                          <a:cxn ang="0">
                            <a:pos x="connsiteX569" y="connsiteY569"/>
                          </a:cxn>
                          <a:cxn ang="0">
                            <a:pos x="connsiteX570" y="connsiteY570"/>
                          </a:cxn>
                          <a:cxn ang="0">
                            <a:pos x="connsiteX571" y="connsiteY571"/>
                          </a:cxn>
                          <a:cxn ang="0">
                            <a:pos x="connsiteX572" y="connsiteY572"/>
                          </a:cxn>
                          <a:cxn ang="0">
                            <a:pos x="connsiteX573" y="connsiteY573"/>
                          </a:cxn>
                          <a:cxn ang="0">
                            <a:pos x="connsiteX574" y="connsiteY574"/>
                          </a:cxn>
                          <a:cxn ang="0">
                            <a:pos x="connsiteX575" y="connsiteY575"/>
                          </a:cxn>
                          <a:cxn ang="0">
                            <a:pos x="connsiteX576" y="connsiteY576"/>
                          </a:cxn>
                          <a:cxn ang="0">
                            <a:pos x="connsiteX577" y="connsiteY577"/>
                          </a:cxn>
                          <a:cxn ang="0">
                            <a:pos x="connsiteX578" y="connsiteY578"/>
                          </a:cxn>
                          <a:cxn ang="0">
                            <a:pos x="connsiteX579" y="connsiteY579"/>
                          </a:cxn>
                          <a:cxn ang="0">
                            <a:pos x="connsiteX580" y="connsiteY580"/>
                          </a:cxn>
                          <a:cxn ang="0">
                            <a:pos x="connsiteX581" y="connsiteY581"/>
                          </a:cxn>
                          <a:cxn ang="0">
                            <a:pos x="connsiteX582" y="connsiteY582"/>
                          </a:cxn>
                          <a:cxn ang="0">
                            <a:pos x="connsiteX583" y="connsiteY583"/>
                          </a:cxn>
                          <a:cxn ang="0">
                            <a:pos x="connsiteX584" y="connsiteY584"/>
                          </a:cxn>
                          <a:cxn ang="0">
                            <a:pos x="connsiteX585" y="connsiteY585"/>
                          </a:cxn>
                          <a:cxn ang="0">
                            <a:pos x="connsiteX586" y="connsiteY586"/>
                          </a:cxn>
                          <a:cxn ang="0">
                            <a:pos x="connsiteX587" y="connsiteY587"/>
                          </a:cxn>
                          <a:cxn ang="0">
                            <a:pos x="connsiteX588" y="connsiteY588"/>
                          </a:cxn>
                          <a:cxn ang="0">
                            <a:pos x="connsiteX589" y="connsiteY589"/>
                          </a:cxn>
                          <a:cxn ang="0">
                            <a:pos x="connsiteX590" y="connsiteY590"/>
                          </a:cxn>
                          <a:cxn ang="0">
                            <a:pos x="connsiteX591" y="connsiteY591"/>
                          </a:cxn>
                          <a:cxn ang="0">
                            <a:pos x="connsiteX592" y="connsiteY592"/>
                          </a:cxn>
                          <a:cxn ang="0">
                            <a:pos x="connsiteX593" y="connsiteY593"/>
                          </a:cxn>
                          <a:cxn ang="0">
                            <a:pos x="connsiteX594" y="connsiteY594"/>
                          </a:cxn>
                          <a:cxn ang="0">
                            <a:pos x="connsiteX595" y="connsiteY595"/>
                          </a:cxn>
                          <a:cxn ang="0">
                            <a:pos x="connsiteX596" y="connsiteY596"/>
                          </a:cxn>
                          <a:cxn ang="0">
                            <a:pos x="connsiteX597" y="connsiteY597"/>
                          </a:cxn>
                          <a:cxn ang="0">
                            <a:pos x="connsiteX598" y="connsiteY598"/>
                          </a:cxn>
                          <a:cxn ang="0">
                            <a:pos x="connsiteX599" y="connsiteY599"/>
                          </a:cxn>
                          <a:cxn ang="0">
                            <a:pos x="connsiteX600" y="connsiteY600"/>
                          </a:cxn>
                          <a:cxn ang="0">
                            <a:pos x="connsiteX601" y="connsiteY601"/>
                          </a:cxn>
                          <a:cxn ang="0">
                            <a:pos x="connsiteX602" y="connsiteY602"/>
                          </a:cxn>
                          <a:cxn ang="0">
                            <a:pos x="connsiteX603" y="connsiteY603"/>
                          </a:cxn>
                          <a:cxn ang="0">
                            <a:pos x="connsiteX604" y="connsiteY604"/>
                          </a:cxn>
                          <a:cxn ang="0">
                            <a:pos x="connsiteX605" y="connsiteY605"/>
                          </a:cxn>
                          <a:cxn ang="0">
                            <a:pos x="connsiteX606" y="connsiteY606"/>
                          </a:cxn>
                          <a:cxn ang="0">
                            <a:pos x="connsiteX607" y="connsiteY607"/>
                          </a:cxn>
                          <a:cxn ang="0">
                            <a:pos x="connsiteX608" y="connsiteY608"/>
                          </a:cxn>
                          <a:cxn ang="0">
                            <a:pos x="connsiteX609" y="connsiteY609"/>
                          </a:cxn>
                          <a:cxn ang="0">
                            <a:pos x="connsiteX610" y="connsiteY610"/>
                          </a:cxn>
                          <a:cxn ang="0">
                            <a:pos x="connsiteX611" y="connsiteY611"/>
                          </a:cxn>
                          <a:cxn ang="0">
                            <a:pos x="connsiteX612" y="connsiteY612"/>
                          </a:cxn>
                          <a:cxn ang="0">
                            <a:pos x="connsiteX613" y="connsiteY613"/>
                          </a:cxn>
                          <a:cxn ang="0">
                            <a:pos x="connsiteX614" y="connsiteY614"/>
                          </a:cxn>
                          <a:cxn ang="0">
                            <a:pos x="connsiteX615" y="connsiteY615"/>
                          </a:cxn>
                          <a:cxn ang="0">
                            <a:pos x="connsiteX616" y="connsiteY616"/>
                          </a:cxn>
                          <a:cxn ang="0">
                            <a:pos x="connsiteX617" y="connsiteY617"/>
                          </a:cxn>
                          <a:cxn ang="0">
                            <a:pos x="connsiteX618" y="connsiteY618"/>
                          </a:cxn>
                          <a:cxn ang="0">
                            <a:pos x="connsiteX619" y="connsiteY619"/>
                          </a:cxn>
                          <a:cxn ang="0">
                            <a:pos x="connsiteX620" y="connsiteY620"/>
                          </a:cxn>
                          <a:cxn ang="0">
                            <a:pos x="connsiteX621" y="connsiteY621"/>
                          </a:cxn>
                          <a:cxn ang="0">
                            <a:pos x="connsiteX622" y="connsiteY622"/>
                          </a:cxn>
                          <a:cxn ang="0">
                            <a:pos x="connsiteX623" y="connsiteY623"/>
                          </a:cxn>
                          <a:cxn ang="0">
                            <a:pos x="connsiteX624" y="connsiteY624"/>
                          </a:cxn>
                          <a:cxn ang="0">
                            <a:pos x="connsiteX625" y="connsiteY625"/>
                          </a:cxn>
                          <a:cxn ang="0">
                            <a:pos x="connsiteX626" y="connsiteY626"/>
                          </a:cxn>
                          <a:cxn ang="0">
                            <a:pos x="connsiteX627" y="connsiteY627"/>
                          </a:cxn>
                          <a:cxn ang="0">
                            <a:pos x="connsiteX628" y="connsiteY628"/>
                          </a:cxn>
                          <a:cxn ang="0">
                            <a:pos x="connsiteX629" y="connsiteY629"/>
                          </a:cxn>
                          <a:cxn ang="0">
                            <a:pos x="connsiteX630" y="connsiteY630"/>
                          </a:cxn>
                          <a:cxn ang="0">
                            <a:pos x="connsiteX631" y="connsiteY631"/>
                          </a:cxn>
                          <a:cxn ang="0">
                            <a:pos x="connsiteX632" y="connsiteY632"/>
                          </a:cxn>
                          <a:cxn ang="0">
                            <a:pos x="connsiteX633" y="connsiteY633"/>
                          </a:cxn>
                          <a:cxn ang="0">
                            <a:pos x="connsiteX634" y="connsiteY634"/>
                          </a:cxn>
                          <a:cxn ang="0">
                            <a:pos x="connsiteX635" y="connsiteY635"/>
                          </a:cxn>
                          <a:cxn ang="0">
                            <a:pos x="connsiteX636" y="connsiteY636"/>
                          </a:cxn>
                          <a:cxn ang="0">
                            <a:pos x="connsiteX637" y="connsiteY637"/>
                          </a:cxn>
                          <a:cxn ang="0">
                            <a:pos x="connsiteX638" y="connsiteY638"/>
                          </a:cxn>
                          <a:cxn ang="0">
                            <a:pos x="connsiteX639" y="connsiteY639"/>
                          </a:cxn>
                          <a:cxn ang="0">
                            <a:pos x="connsiteX640" y="connsiteY640"/>
                          </a:cxn>
                          <a:cxn ang="0">
                            <a:pos x="connsiteX641" y="connsiteY641"/>
                          </a:cxn>
                          <a:cxn ang="0">
                            <a:pos x="connsiteX642" y="connsiteY642"/>
                          </a:cxn>
                          <a:cxn ang="0">
                            <a:pos x="connsiteX643" y="connsiteY643"/>
                          </a:cxn>
                          <a:cxn ang="0">
                            <a:pos x="connsiteX644" y="connsiteY644"/>
                          </a:cxn>
                          <a:cxn ang="0">
                            <a:pos x="connsiteX645" y="connsiteY645"/>
                          </a:cxn>
                          <a:cxn ang="0">
                            <a:pos x="connsiteX646" y="connsiteY646"/>
                          </a:cxn>
                          <a:cxn ang="0">
                            <a:pos x="connsiteX647" y="connsiteY647"/>
                          </a:cxn>
                          <a:cxn ang="0">
                            <a:pos x="connsiteX648" y="connsiteY648"/>
                          </a:cxn>
                          <a:cxn ang="0">
                            <a:pos x="connsiteX649" y="connsiteY649"/>
                          </a:cxn>
                          <a:cxn ang="0">
                            <a:pos x="connsiteX650" y="connsiteY650"/>
                          </a:cxn>
                          <a:cxn ang="0">
                            <a:pos x="connsiteX651" y="connsiteY651"/>
                          </a:cxn>
                          <a:cxn ang="0">
                            <a:pos x="connsiteX652" y="connsiteY652"/>
                          </a:cxn>
                          <a:cxn ang="0">
                            <a:pos x="connsiteX653" y="connsiteY653"/>
                          </a:cxn>
                          <a:cxn ang="0">
                            <a:pos x="connsiteX654" y="connsiteY654"/>
                          </a:cxn>
                          <a:cxn ang="0">
                            <a:pos x="connsiteX655" y="connsiteY655"/>
                          </a:cxn>
                          <a:cxn ang="0">
                            <a:pos x="connsiteX656" y="connsiteY656"/>
                          </a:cxn>
                          <a:cxn ang="0">
                            <a:pos x="connsiteX657" y="connsiteY657"/>
                          </a:cxn>
                          <a:cxn ang="0">
                            <a:pos x="connsiteX658" y="connsiteY658"/>
                          </a:cxn>
                          <a:cxn ang="0">
                            <a:pos x="connsiteX659" y="connsiteY659"/>
                          </a:cxn>
                          <a:cxn ang="0">
                            <a:pos x="connsiteX660" y="connsiteY660"/>
                          </a:cxn>
                          <a:cxn ang="0">
                            <a:pos x="connsiteX661" y="connsiteY661"/>
                          </a:cxn>
                          <a:cxn ang="0">
                            <a:pos x="connsiteX662" y="connsiteY662"/>
                          </a:cxn>
                          <a:cxn ang="0">
                            <a:pos x="connsiteX663" y="connsiteY663"/>
                          </a:cxn>
                          <a:cxn ang="0">
                            <a:pos x="connsiteX664" y="connsiteY664"/>
                          </a:cxn>
                          <a:cxn ang="0">
                            <a:pos x="connsiteX665" y="connsiteY665"/>
                          </a:cxn>
                          <a:cxn ang="0">
                            <a:pos x="connsiteX666" y="connsiteY666"/>
                          </a:cxn>
                          <a:cxn ang="0">
                            <a:pos x="connsiteX667" y="connsiteY667"/>
                          </a:cxn>
                          <a:cxn ang="0">
                            <a:pos x="connsiteX668" y="connsiteY668"/>
                          </a:cxn>
                          <a:cxn ang="0">
                            <a:pos x="connsiteX669" y="connsiteY669"/>
                          </a:cxn>
                          <a:cxn ang="0">
                            <a:pos x="connsiteX670" y="connsiteY670"/>
                          </a:cxn>
                          <a:cxn ang="0">
                            <a:pos x="connsiteX671" y="connsiteY671"/>
                          </a:cxn>
                          <a:cxn ang="0">
                            <a:pos x="connsiteX672" y="connsiteY672"/>
                          </a:cxn>
                          <a:cxn ang="0">
                            <a:pos x="connsiteX673" y="connsiteY673"/>
                          </a:cxn>
                          <a:cxn ang="0">
                            <a:pos x="connsiteX674" y="connsiteY674"/>
                          </a:cxn>
                          <a:cxn ang="0">
                            <a:pos x="connsiteX675" y="connsiteY675"/>
                          </a:cxn>
                          <a:cxn ang="0">
                            <a:pos x="connsiteX676" y="connsiteY676"/>
                          </a:cxn>
                          <a:cxn ang="0">
                            <a:pos x="connsiteX677" y="connsiteY677"/>
                          </a:cxn>
                          <a:cxn ang="0">
                            <a:pos x="connsiteX678" y="connsiteY678"/>
                          </a:cxn>
                          <a:cxn ang="0">
                            <a:pos x="connsiteX679" y="connsiteY679"/>
                          </a:cxn>
                          <a:cxn ang="0">
                            <a:pos x="connsiteX680" y="connsiteY680"/>
                          </a:cxn>
                          <a:cxn ang="0">
                            <a:pos x="connsiteX681" y="connsiteY681"/>
                          </a:cxn>
                          <a:cxn ang="0">
                            <a:pos x="connsiteX682" y="connsiteY682"/>
                          </a:cxn>
                          <a:cxn ang="0">
                            <a:pos x="connsiteX683" y="connsiteY683"/>
                          </a:cxn>
                          <a:cxn ang="0">
                            <a:pos x="connsiteX684" y="connsiteY684"/>
                          </a:cxn>
                          <a:cxn ang="0">
                            <a:pos x="connsiteX685" y="connsiteY685"/>
                          </a:cxn>
                          <a:cxn ang="0">
                            <a:pos x="connsiteX686" y="connsiteY686"/>
                          </a:cxn>
                          <a:cxn ang="0">
                            <a:pos x="connsiteX687" y="connsiteY687"/>
                          </a:cxn>
                          <a:cxn ang="0">
                            <a:pos x="connsiteX688" y="connsiteY688"/>
                          </a:cxn>
                          <a:cxn ang="0">
                            <a:pos x="connsiteX689" y="connsiteY689"/>
                          </a:cxn>
                          <a:cxn ang="0">
                            <a:pos x="connsiteX690" y="connsiteY690"/>
                          </a:cxn>
                          <a:cxn ang="0">
                            <a:pos x="connsiteX691" y="connsiteY691"/>
                          </a:cxn>
                          <a:cxn ang="0">
                            <a:pos x="connsiteX692" y="connsiteY692"/>
                          </a:cxn>
                          <a:cxn ang="0">
                            <a:pos x="connsiteX693" y="connsiteY693"/>
                          </a:cxn>
                          <a:cxn ang="0">
                            <a:pos x="connsiteX694" y="connsiteY694"/>
                          </a:cxn>
                          <a:cxn ang="0">
                            <a:pos x="connsiteX695" y="connsiteY695"/>
                          </a:cxn>
                          <a:cxn ang="0">
                            <a:pos x="connsiteX696" y="connsiteY696"/>
                          </a:cxn>
                          <a:cxn ang="0">
                            <a:pos x="connsiteX697" y="connsiteY697"/>
                          </a:cxn>
                          <a:cxn ang="0">
                            <a:pos x="connsiteX698" y="connsiteY698"/>
                          </a:cxn>
                          <a:cxn ang="0">
                            <a:pos x="connsiteX699" y="connsiteY699"/>
                          </a:cxn>
                          <a:cxn ang="0">
                            <a:pos x="connsiteX700" y="connsiteY700"/>
                          </a:cxn>
                          <a:cxn ang="0">
                            <a:pos x="connsiteX701" y="connsiteY701"/>
                          </a:cxn>
                          <a:cxn ang="0">
                            <a:pos x="connsiteX702" y="connsiteY702"/>
                          </a:cxn>
                          <a:cxn ang="0">
                            <a:pos x="connsiteX703" y="connsiteY703"/>
                          </a:cxn>
                          <a:cxn ang="0">
                            <a:pos x="connsiteX704" y="connsiteY704"/>
                          </a:cxn>
                          <a:cxn ang="0">
                            <a:pos x="connsiteX705" y="connsiteY705"/>
                          </a:cxn>
                          <a:cxn ang="0">
                            <a:pos x="connsiteX706" y="connsiteY706"/>
                          </a:cxn>
                          <a:cxn ang="0">
                            <a:pos x="connsiteX707" y="connsiteY707"/>
                          </a:cxn>
                          <a:cxn ang="0">
                            <a:pos x="connsiteX708" y="connsiteY708"/>
                          </a:cxn>
                          <a:cxn ang="0">
                            <a:pos x="connsiteX709" y="connsiteY709"/>
                          </a:cxn>
                          <a:cxn ang="0">
                            <a:pos x="connsiteX710" y="connsiteY710"/>
                          </a:cxn>
                          <a:cxn ang="0">
                            <a:pos x="connsiteX711" y="connsiteY711"/>
                          </a:cxn>
                          <a:cxn ang="0">
                            <a:pos x="connsiteX712" y="connsiteY712"/>
                          </a:cxn>
                          <a:cxn ang="0">
                            <a:pos x="connsiteX713" y="connsiteY713"/>
                          </a:cxn>
                          <a:cxn ang="0">
                            <a:pos x="connsiteX714" y="connsiteY714"/>
                          </a:cxn>
                          <a:cxn ang="0">
                            <a:pos x="connsiteX715" y="connsiteY715"/>
                          </a:cxn>
                          <a:cxn ang="0">
                            <a:pos x="connsiteX716" y="connsiteY716"/>
                          </a:cxn>
                          <a:cxn ang="0">
                            <a:pos x="connsiteX717" y="connsiteY717"/>
                          </a:cxn>
                          <a:cxn ang="0">
                            <a:pos x="connsiteX718" y="connsiteY718"/>
                          </a:cxn>
                          <a:cxn ang="0">
                            <a:pos x="connsiteX719" y="connsiteY719"/>
                          </a:cxn>
                          <a:cxn ang="0">
                            <a:pos x="connsiteX720" y="connsiteY720"/>
                          </a:cxn>
                          <a:cxn ang="0">
                            <a:pos x="connsiteX721" y="connsiteY721"/>
                          </a:cxn>
                          <a:cxn ang="0">
                            <a:pos x="connsiteX722" y="connsiteY722"/>
                          </a:cxn>
                          <a:cxn ang="0">
                            <a:pos x="connsiteX723" y="connsiteY723"/>
                          </a:cxn>
                          <a:cxn ang="0">
                            <a:pos x="connsiteX724" y="connsiteY724"/>
                          </a:cxn>
                          <a:cxn ang="0">
                            <a:pos x="connsiteX725" y="connsiteY725"/>
                          </a:cxn>
                          <a:cxn ang="0">
                            <a:pos x="connsiteX726" y="connsiteY726"/>
                          </a:cxn>
                          <a:cxn ang="0">
                            <a:pos x="connsiteX727" y="connsiteY727"/>
                          </a:cxn>
                          <a:cxn ang="0">
                            <a:pos x="connsiteX728" y="connsiteY728"/>
                          </a:cxn>
                          <a:cxn ang="0">
                            <a:pos x="connsiteX729" y="connsiteY729"/>
                          </a:cxn>
                          <a:cxn ang="0">
                            <a:pos x="connsiteX730" y="connsiteY730"/>
                          </a:cxn>
                          <a:cxn ang="0">
                            <a:pos x="connsiteX731" y="connsiteY731"/>
                          </a:cxn>
                          <a:cxn ang="0">
                            <a:pos x="connsiteX732" y="connsiteY732"/>
                          </a:cxn>
                          <a:cxn ang="0">
                            <a:pos x="connsiteX733" y="connsiteY733"/>
                          </a:cxn>
                          <a:cxn ang="0">
                            <a:pos x="connsiteX734" y="connsiteY734"/>
                          </a:cxn>
                          <a:cxn ang="0">
                            <a:pos x="connsiteX735" y="connsiteY735"/>
                          </a:cxn>
                          <a:cxn ang="0">
                            <a:pos x="connsiteX736" y="connsiteY736"/>
                          </a:cxn>
                          <a:cxn ang="0">
                            <a:pos x="connsiteX737" y="connsiteY737"/>
                          </a:cxn>
                          <a:cxn ang="0">
                            <a:pos x="connsiteX738" y="connsiteY738"/>
                          </a:cxn>
                          <a:cxn ang="0">
                            <a:pos x="connsiteX739" y="connsiteY739"/>
                          </a:cxn>
                          <a:cxn ang="0">
                            <a:pos x="connsiteX740" y="connsiteY740"/>
                          </a:cxn>
                          <a:cxn ang="0">
                            <a:pos x="connsiteX741" y="connsiteY741"/>
                          </a:cxn>
                          <a:cxn ang="0">
                            <a:pos x="connsiteX742" y="connsiteY742"/>
                          </a:cxn>
                          <a:cxn ang="0">
                            <a:pos x="connsiteX743" y="connsiteY743"/>
                          </a:cxn>
                          <a:cxn ang="0">
                            <a:pos x="connsiteX744" y="connsiteY744"/>
                          </a:cxn>
                          <a:cxn ang="0">
                            <a:pos x="connsiteX745" y="connsiteY745"/>
                          </a:cxn>
                          <a:cxn ang="0">
                            <a:pos x="connsiteX746" y="connsiteY746"/>
                          </a:cxn>
                          <a:cxn ang="0">
                            <a:pos x="connsiteX747" y="connsiteY747"/>
                          </a:cxn>
                          <a:cxn ang="0">
                            <a:pos x="connsiteX748" y="connsiteY748"/>
                          </a:cxn>
                          <a:cxn ang="0">
                            <a:pos x="connsiteX749" y="connsiteY749"/>
                          </a:cxn>
                          <a:cxn ang="0">
                            <a:pos x="connsiteX750" y="connsiteY750"/>
                          </a:cxn>
                          <a:cxn ang="0">
                            <a:pos x="connsiteX751" y="connsiteY751"/>
                          </a:cxn>
                          <a:cxn ang="0">
                            <a:pos x="connsiteX752" y="connsiteY752"/>
                          </a:cxn>
                          <a:cxn ang="0">
                            <a:pos x="connsiteX753" y="connsiteY753"/>
                          </a:cxn>
                          <a:cxn ang="0">
                            <a:pos x="connsiteX754" y="connsiteY754"/>
                          </a:cxn>
                          <a:cxn ang="0">
                            <a:pos x="connsiteX755" y="connsiteY755"/>
                          </a:cxn>
                          <a:cxn ang="0">
                            <a:pos x="connsiteX756" y="connsiteY756"/>
                          </a:cxn>
                          <a:cxn ang="0">
                            <a:pos x="connsiteX757" y="connsiteY757"/>
                          </a:cxn>
                          <a:cxn ang="0">
                            <a:pos x="connsiteX758" y="connsiteY758"/>
                          </a:cxn>
                          <a:cxn ang="0">
                            <a:pos x="connsiteX759" y="connsiteY759"/>
                          </a:cxn>
                          <a:cxn ang="0">
                            <a:pos x="connsiteX760" y="connsiteY760"/>
                          </a:cxn>
                          <a:cxn ang="0">
                            <a:pos x="connsiteX761" y="connsiteY761"/>
                          </a:cxn>
                          <a:cxn ang="0">
                            <a:pos x="connsiteX762" y="connsiteY762"/>
                          </a:cxn>
                          <a:cxn ang="0">
                            <a:pos x="connsiteX763" y="connsiteY763"/>
                          </a:cxn>
                          <a:cxn ang="0">
                            <a:pos x="connsiteX764" y="connsiteY764"/>
                          </a:cxn>
                          <a:cxn ang="0">
                            <a:pos x="connsiteX765" y="connsiteY765"/>
                          </a:cxn>
                          <a:cxn ang="0">
                            <a:pos x="connsiteX766" y="connsiteY766"/>
                          </a:cxn>
                          <a:cxn ang="0">
                            <a:pos x="connsiteX767" y="connsiteY767"/>
                          </a:cxn>
                          <a:cxn ang="0">
                            <a:pos x="connsiteX768" y="connsiteY768"/>
                          </a:cxn>
                          <a:cxn ang="0">
                            <a:pos x="connsiteX769" y="connsiteY769"/>
                          </a:cxn>
                          <a:cxn ang="0">
                            <a:pos x="connsiteX770" y="connsiteY770"/>
                          </a:cxn>
                          <a:cxn ang="0">
                            <a:pos x="connsiteX771" y="connsiteY771"/>
                          </a:cxn>
                          <a:cxn ang="0">
                            <a:pos x="connsiteX772" y="connsiteY772"/>
                          </a:cxn>
                          <a:cxn ang="0">
                            <a:pos x="connsiteX773" y="connsiteY773"/>
                          </a:cxn>
                          <a:cxn ang="0">
                            <a:pos x="connsiteX774" y="connsiteY774"/>
                          </a:cxn>
                          <a:cxn ang="0">
                            <a:pos x="connsiteX775" y="connsiteY775"/>
                          </a:cxn>
                          <a:cxn ang="0">
                            <a:pos x="connsiteX776" y="connsiteY776"/>
                          </a:cxn>
                          <a:cxn ang="0">
                            <a:pos x="connsiteX777" y="connsiteY777"/>
                          </a:cxn>
                          <a:cxn ang="0">
                            <a:pos x="connsiteX778" y="connsiteY778"/>
                          </a:cxn>
                          <a:cxn ang="0">
                            <a:pos x="connsiteX779" y="connsiteY779"/>
                          </a:cxn>
                          <a:cxn ang="0">
                            <a:pos x="connsiteX780" y="connsiteY780"/>
                          </a:cxn>
                          <a:cxn ang="0">
                            <a:pos x="connsiteX781" y="connsiteY781"/>
                          </a:cxn>
                          <a:cxn ang="0">
                            <a:pos x="connsiteX782" y="connsiteY782"/>
                          </a:cxn>
                          <a:cxn ang="0">
                            <a:pos x="connsiteX783" y="connsiteY783"/>
                          </a:cxn>
                          <a:cxn ang="0">
                            <a:pos x="connsiteX784" y="connsiteY784"/>
                          </a:cxn>
                          <a:cxn ang="0">
                            <a:pos x="connsiteX785" y="connsiteY785"/>
                          </a:cxn>
                          <a:cxn ang="0">
                            <a:pos x="connsiteX786" y="connsiteY786"/>
                          </a:cxn>
                          <a:cxn ang="0">
                            <a:pos x="connsiteX787" y="connsiteY787"/>
                          </a:cxn>
                          <a:cxn ang="0">
                            <a:pos x="connsiteX788" y="connsiteY788"/>
                          </a:cxn>
                          <a:cxn ang="0">
                            <a:pos x="connsiteX789" y="connsiteY789"/>
                          </a:cxn>
                          <a:cxn ang="0">
                            <a:pos x="connsiteX790" y="connsiteY790"/>
                          </a:cxn>
                          <a:cxn ang="0">
                            <a:pos x="connsiteX791" y="connsiteY791"/>
                          </a:cxn>
                          <a:cxn ang="0">
                            <a:pos x="connsiteX792" y="connsiteY792"/>
                          </a:cxn>
                          <a:cxn ang="0">
                            <a:pos x="connsiteX793" y="connsiteY793"/>
                          </a:cxn>
                          <a:cxn ang="0">
                            <a:pos x="connsiteX794" y="connsiteY794"/>
                          </a:cxn>
                          <a:cxn ang="0">
                            <a:pos x="connsiteX795" y="connsiteY795"/>
                          </a:cxn>
                          <a:cxn ang="0">
                            <a:pos x="connsiteX796" y="connsiteY796"/>
                          </a:cxn>
                          <a:cxn ang="0">
                            <a:pos x="connsiteX797" y="connsiteY797"/>
                          </a:cxn>
                          <a:cxn ang="0">
                            <a:pos x="connsiteX798" y="connsiteY798"/>
                          </a:cxn>
                          <a:cxn ang="0">
                            <a:pos x="connsiteX799" y="connsiteY799"/>
                          </a:cxn>
                          <a:cxn ang="0">
                            <a:pos x="connsiteX800" y="connsiteY800"/>
                          </a:cxn>
                          <a:cxn ang="0">
                            <a:pos x="connsiteX801" y="connsiteY801"/>
                          </a:cxn>
                          <a:cxn ang="0">
                            <a:pos x="connsiteX802" y="connsiteY802"/>
                          </a:cxn>
                          <a:cxn ang="0">
                            <a:pos x="connsiteX803" y="connsiteY803"/>
                          </a:cxn>
                          <a:cxn ang="0">
                            <a:pos x="connsiteX804" y="connsiteY804"/>
                          </a:cxn>
                          <a:cxn ang="0">
                            <a:pos x="connsiteX805" y="connsiteY805"/>
                          </a:cxn>
                          <a:cxn ang="0">
                            <a:pos x="connsiteX806" y="connsiteY806"/>
                          </a:cxn>
                          <a:cxn ang="0">
                            <a:pos x="connsiteX807" y="connsiteY807"/>
                          </a:cxn>
                          <a:cxn ang="0">
                            <a:pos x="connsiteX808" y="connsiteY808"/>
                          </a:cxn>
                          <a:cxn ang="0">
                            <a:pos x="connsiteX809" y="connsiteY809"/>
                          </a:cxn>
                          <a:cxn ang="0">
                            <a:pos x="connsiteX810" y="connsiteY810"/>
                          </a:cxn>
                          <a:cxn ang="0">
                            <a:pos x="connsiteX811" y="connsiteY811"/>
                          </a:cxn>
                          <a:cxn ang="0">
                            <a:pos x="connsiteX812" y="connsiteY812"/>
                          </a:cxn>
                          <a:cxn ang="0">
                            <a:pos x="connsiteX813" y="connsiteY813"/>
                          </a:cxn>
                          <a:cxn ang="0">
                            <a:pos x="connsiteX814" y="connsiteY814"/>
                          </a:cxn>
                          <a:cxn ang="0">
                            <a:pos x="connsiteX815" y="connsiteY815"/>
                          </a:cxn>
                          <a:cxn ang="0">
                            <a:pos x="connsiteX816" y="connsiteY816"/>
                          </a:cxn>
                          <a:cxn ang="0">
                            <a:pos x="connsiteX817" y="connsiteY817"/>
                          </a:cxn>
                          <a:cxn ang="0">
                            <a:pos x="connsiteX818" y="connsiteY818"/>
                          </a:cxn>
                          <a:cxn ang="0">
                            <a:pos x="connsiteX819" y="connsiteY819"/>
                          </a:cxn>
                          <a:cxn ang="0">
                            <a:pos x="connsiteX820" y="connsiteY820"/>
                          </a:cxn>
                          <a:cxn ang="0">
                            <a:pos x="connsiteX821" y="connsiteY821"/>
                          </a:cxn>
                          <a:cxn ang="0">
                            <a:pos x="connsiteX822" y="connsiteY822"/>
                          </a:cxn>
                          <a:cxn ang="0">
                            <a:pos x="connsiteX823" y="connsiteY823"/>
                          </a:cxn>
                          <a:cxn ang="0">
                            <a:pos x="connsiteX824" y="connsiteY824"/>
                          </a:cxn>
                          <a:cxn ang="0">
                            <a:pos x="connsiteX825" y="connsiteY825"/>
                          </a:cxn>
                          <a:cxn ang="0">
                            <a:pos x="connsiteX826" y="connsiteY826"/>
                          </a:cxn>
                          <a:cxn ang="0">
                            <a:pos x="connsiteX827" y="connsiteY827"/>
                          </a:cxn>
                          <a:cxn ang="0">
                            <a:pos x="connsiteX828" y="connsiteY828"/>
                          </a:cxn>
                          <a:cxn ang="0">
                            <a:pos x="connsiteX829" y="connsiteY829"/>
                          </a:cxn>
                          <a:cxn ang="0">
                            <a:pos x="connsiteX830" y="connsiteY830"/>
                          </a:cxn>
                          <a:cxn ang="0">
                            <a:pos x="connsiteX831" y="connsiteY831"/>
                          </a:cxn>
                          <a:cxn ang="0">
                            <a:pos x="connsiteX832" y="connsiteY832"/>
                          </a:cxn>
                          <a:cxn ang="0">
                            <a:pos x="connsiteX833" y="connsiteY833"/>
                          </a:cxn>
                          <a:cxn ang="0">
                            <a:pos x="connsiteX834" y="connsiteY834"/>
                          </a:cxn>
                          <a:cxn ang="0">
                            <a:pos x="connsiteX835" y="connsiteY835"/>
                          </a:cxn>
                          <a:cxn ang="0">
                            <a:pos x="connsiteX836" y="connsiteY836"/>
                          </a:cxn>
                          <a:cxn ang="0">
                            <a:pos x="connsiteX837" y="connsiteY837"/>
                          </a:cxn>
                          <a:cxn ang="0">
                            <a:pos x="connsiteX838" y="connsiteY838"/>
                          </a:cxn>
                          <a:cxn ang="0">
                            <a:pos x="connsiteX839" y="connsiteY839"/>
                          </a:cxn>
                          <a:cxn ang="0">
                            <a:pos x="connsiteX840" y="connsiteY840"/>
                          </a:cxn>
                          <a:cxn ang="0">
                            <a:pos x="connsiteX841" y="connsiteY841"/>
                          </a:cxn>
                          <a:cxn ang="0">
                            <a:pos x="connsiteX842" y="connsiteY842"/>
                          </a:cxn>
                          <a:cxn ang="0">
                            <a:pos x="connsiteX843" y="connsiteY843"/>
                          </a:cxn>
                          <a:cxn ang="0">
                            <a:pos x="connsiteX844" y="connsiteY844"/>
                          </a:cxn>
                          <a:cxn ang="0">
                            <a:pos x="connsiteX845" y="connsiteY845"/>
                          </a:cxn>
                          <a:cxn ang="0">
                            <a:pos x="connsiteX846" y="connsiteY846"/>
                          </a:cxn>
                          <a:cxn ang="0">
                            <a:pos x="connsiteX847" y="connsiteY847"/>
                          </a:cxn>
                          <a:cxn ang="0">
                            <a:pos x="connsiteX848" y="connsiteY848"/>
                          </a:cxn>
                          <a:cxn ang="0">
                            <a:pos x="connsiteX849" y="connsiteY849"/>
                          </a:cxn>
                          <a:cxn ang="0">
                            <a:pos x="connsiteX850" y="connsiteY850"/>
                          </a:cxn>
                          <a:cxn ang="0">
                            <a:pos x="connsiteX851" y="connsiteY851"/>
                          </a:cxn>
                          <a:cxn ang="0">
                            <a:pos x="connsiteX852" y="connsiteY852"/>
                          </a:cxn>
                          <a:cxn ang="0">
                            <a:pos x="connsiteX853" y="connsiteY853"/>
                          </a:cxn>
                          <a:cxn ang="0">
                            <a:pos x="connsiteX854" y="connsiteY854"/>
                          </a:cxn>
                          <a:cxn ang="0">
                            <a:pos x="connsiteX855" y="connsiteY855"/>
                          </a:cxn>
                          <a:cxn ang="0">
                            <a:pos x="connsiteX856" y="connsiteY856"/>
                          </a:cxn>
                          <a:cxn ang="0">
                            <a:pos x="connsiteX857" y="connsiteY857"/>
                          </a:cxn>
                          <a:cxn ang="0">
                            <a:pos x="connsiteX858" y="connsiteY858"/>
                          </a:cxn>
                          <a:cxn ang="0">
                            <a:pos x="connsiteX859" y="connsiteY859"/>
                          </a:cxn>
                          <a:cxn ang="0">
                            <a:pos x="connsiteX860" y="connsiteY860"/>
                          </a:cxn>
                          <a:cxn ang="0">
                            <a:pos x="connsiteX861" y="connsiteY861"/>
                          </a:cxn>
                          <a:cxn ang="0">
                            <a:pos x="connsiteX862" y="connsiteY862"/>
                          </a:cxn>
                          <a:cxn ang="0">
                            <a:pos x="connsiteX863" y="connsiteY863"/>
                          </a:cxn>
                          <a:cxn ang="0">
                            <a:pos x="connsiteX864" y="connsiteY864"/>
                          </a:cxn>
                          <a:cxn ang="0">
                            <a:pos x="connsiteX865" y="connsiteY865"/>
                          </a:cxn>
                          <a:cxn ang="0">
                            <a:pos x="connsiteX866" y="connsiteY866"/>
                          </a:cxn>
                          <a:cxn ang="0">
                            <a:pos x="connsiteX867" y="connsiteY867"/>
                          </a:cxn>
                          <a:cxn ang="0">
                            <a:pos x="connsiteX868" y="connsiteY868"/>
                          </a:cxn>
                          <a:cxn ang="0">
                            <a:pos x="connsiteX869" y="connsiteY869"/>
                          </a:cxn>
                          <a:cxn ang="0">
                            <a:pos x="connsiteX870" y="connsiteY870"/>
                          </a:cxn>
                          <a:cxn ang="0">
                            <a:pos x="connsiteX871" y="connsiteY871"/>
                          </a:cxn>
                          <a:cxn ang="0">
                            <a:pos x="connsiteX872" y="connsiteY872"/>
                          </a:cxn>
                          <a:cxn ang="0">
                            <a:pos x="connsiteX873" y="connsiteY873"/>
                          </a:cxn>
                          <a:cxn ang="0">
                            <a:pos x="connsiteX874" y="connsiteY874"/>
                          </a:cxn>
                          <a:cxn ang="0">
                            <a:pos x="connsiteX875" y="connsiteY875"/>
                          </a:cxn>
                          <a:cxn ang="0">
                            <a:pos x="connsiteX876" y="connsiteY876"/>
                          </a:cxn>
                          <a:cxn ang="0">
                            <a:pos x="connsiteX877" y="connsiteY877"/>
                          </a:cxn>
                          <a:cxn ang="0">
                            <a:pos x="connsiteX878" y="connsiteY878"/>
                          </a:cxn>
                          <a:cxn ang="0">
                            <a:pos x="connsiteX879" y="connsiteY879"/>
                          </a:cxn>
                          <a:cxn ang="0">
                            <a:pos x="connsiteX880" y="connsiteY880"/>
                          </a:cxn>
                          <a:cxn ang="0">
                            <a:pos x="connsiteX881" y="connsiteY881"/>
                          </a:cxn>
                          <a:cxn ang="0">
                            <a:pos x="connsiteX882" y="connsiteY882"/>
                          </a:cxn>
                          <a:cxn ang="0">
                            <a:pos x="connsiteX883" y="connsiteY883"/>
                          </a:cxn>
                          <a:cxn ang="0">
                            <a:pos x="connsiteX884" y="connsiteY884"/>
                          </a:cxn>
                          <a:cxn ang="0">
                            <a:pos x="connsiteX885" y="connsiteY885"/>
                          </a:cxn>
                          <a:cxn ang="0">
                            <a:pos x="connsiteX886" y="connsiteY886"/>
                          </a:cxn>
                          <a:cxn ang="0">
                            <a:pos x="connsiteX887" y="connsiteY887"/>
                          </a:cxn>
                          <a:cxn ang="0">
                            <a:pos x="connsiteX888" y="connsiteY888"/>
                          </a:cxn>
                          <a:cxn ang="0">
                            <a:pos x="connsiteX889" y="connsiteY889"/>
                          </a:cxn>
                          <a:cxn ang="0">
                            <a:pos x="connsiteX890" y="connsiteY890"/>
                          </a:cxn>
                          <a:cxn ang="0">
                            <a:pos x="connsiteX891" y="connsiteY891"/>
                          </a:cxn>
                          <a:cxn ang="0">
                            <a:pos x="connsiteX892" y="connsiteY892"/>
                          </a:cxn>
                          <a:cxn ang="0">
                            <a:pos x="connsiteX893" y="connsiteY893"/>
                          </a:cxn>
                          <a:cxn ang="0">
                            <a:pos x="connsiteX894" y="connsiteY894"/>
                          </a:cxn>
                          <a:cxn ang="0">
                            <a:pos x="connsiteX895" y="connsiteY895"/>
                          </a:cxn>
                          <a:cxn ang="0">
                            <a:pos x="connsiteX896" y="connsiteY896"/>
                          </a:cxn>
                          <a:cxn ang="0">
                            <a:pos x="connsiteX897" y="connsiteY897"/>
                          </a:cxn>
                          <a:cxn ang="0">
                            <a:pos x="connsiteX898" y="connsiteY898"/>
                          </a:cxn>
                          <a:cxn ang="0">
                            <a:pos x="connsiteX899" y="connsiteY899"/>
                          </a:cxn>
                          <a:cxn ang="0">
                            <a:pos x="connsiteX900" y="connsiteY900"/>
                          </a:cxn>
                          <a:cxn ang="0">
                            <a:pos x="connsiteX901" y="connsiteY901"/>
                          </a:cxn>
                          <a:cxn ang="0">
                            <a:pos x="connsiteX902" y="connsiteY902"/>
                          </a:cxn>
                          <a:cxn ang="0">
                            <a:pos x="connsiteX903" y="connsiteY903"/>
                          </a:cxn>
                          <a:cxn ang="0">
                            <a:pos x="connsiteX904" y="connsiteY904"/>
                          </a:cxn>
                          <a:cxn ang="0">
                            <a:pos x="connsiteX905" y="connsiteY905"/>
                          </a:cxn>
                          <a:cxn ang="0">
                            <a:pos x="connsiteX906" y="connsiteY906"/>
                          </a:cxn>
                          <a:cxn ang="0">
                            <a:pos x="connsiteX907" y="connsiteY907"/>
                          </a:cxn>
                          <a:cxn ang="0">
                            <a:pos x="connsiteX908" y="connsiteY908"/>
                          </a:cxn>
                          <a:cxn ang="0">
                            <a:pos x="connsiteX909" y="connsiteY909"/>
                          </a:cxn>
                          <a:cxn ang="0">
                            <a:pos x="connsiteX910" y="connsiteY910"/>
                          </a:cxn>
                          <a:cxn ang="0">
                            <a:pos x="connsiteX911" y="connsiteY911"/>
                          </a:cxn>
                          <a:cxn ang="0">
                            <a:pos x="connsiteX912" y="connsiteY912"/>
                          </a:cxn>
                          <a:cxn ang="0">
                            <a:pos x="connsiteX913" y="connsiteY913"/>
                          </a:cxn>
                          <a:cxn ang="0">
                            <a:pos x="connsiteX914" y="connsiteY914"/>
                          </a:cxn>
                          <a:cxn ang="0">
                            <a:pos x="connsiteX915" y="connsiteY915"/>
                          </a:cxn>
                          <a:cxn ang="0">
                            <a:pos x="connsiteX916" y="connsiteY916"/>
                          </a:cxn>
                          <a:cxn ang="0">
                            <a:pos x="connsiteX917" y="connsiteY917"/>
                          </a:cxn>
                          <a:cxn ang="0">
                            <a:pos x="connsiteX918" y="connsiteY918"/>
                          </a:cxn>
                          <a:cxn ang="0">
                            <a:pos x="connsiteX919" y="connsiteY919"/>
                          </a:cxn>
                          <a:cxn ang="0">
                            <a:pos x="connsiteX920" y="connsiteY920"/>
                          </a:cxn>
                          <a:cxn ang="0">
                            <a:pos x="connsiteX921" y="connsiteY921"/>
                          </a:cxn>
                          <a:cxn ang="0">
                            <a:pos x="connsiteX922" y="connsiteY922"/>
                          </a:cxn>
                          <a:cxn ang="0">
                            <a:pos x="connsiteX923" y="connsiteY923"/>
                          </a:cxn>
                          <a:cxn ang="0">
                            <a:pos x="connsiteX924" y="connsiteY924"/>
                          </a:cxn>
                          <a:cxn ang="0">
                            <a:pos x="connsiteX925" y="connsiteY925"/>
                          </a:cxn>
                          <a:cxn ang="0">
                            <a:pos x="connsiteX926" y="connsiteY926"/>
                          </a:cxn>
                          <a:cxn ang="0">
                            <a:pos x="connsiteX927" y="connsiteY927"/>
                          </a:cxn>
                          <a:cxn ang="0">
                            <a:pos x="connsiteX928" y="connsiteY928"/>
                          </a:cxn>
                          <a:cxn ang="0">
                            <a:pos x="connsiteX929" y="connsiteY929"/>
                          </a:cxn>
                          <a:cxn ang="0">
                            <a:pos x="connsiteX930" y="connsiteY930"/>
                          </a:cxn>
                          <a:cxn ang="0">
                            <a:pos x="connsiteX931" y="connsiteY931"/>
                          </a:cxn>
                          <a:cxn ang="0">
                            <a:pos x="connsiteX932" y="connsiteY932"/>
                          </a:cxn>
                          <a:cxn ang="0">
                            <a:pos x="connsiteX933" y="connsiteY933"/>
                          </a:cxn>
                          <a:cxn ang="0">
                            <a:pos x="connsiteX934" y="connsiteY934"/>
                          </a:cxn>
                          <a:cxn ang="0">
                            <a:pos x="connsiteX935" y="connsiteY935"/>
                          </a:cxn>
                          <a:cxn ang="0">
                            <a:pos x="connsiteX936" y="connsiteY936"/>
                          </a:cxn>
                          <a:cxn ang="0">
                            <a:pos x="connsiteX937" y="connsiteY937"/>
                          </a:cxn>
                          <a:cxn ang="0">
                            <a:pos x="connsiteX938" y="connsiteY938"/>
                          </a:cxn>
                          <a:cxn ang="0">
                            <a:pos x="connsiteX939" y="connsiteY939"/>
                          </a:cxn>
                          <a:cxn ang="0">
                            <a:pos x="connsiteX940" y="connsiteY940"/>
                          </a:cxn>
                          <a:cxn ang="0">
                            <a:pos x="connsiteX941" y="connsiteY941"/>
                          </a:cxn>
                          <a:cxn ang="0">
                            <a:pos x="connsiteX942" y="connsiteY942"/>
                          </a:cxn>
                          <a:cxn ang="0">
                            <a:pos x="connsiteX943" y="connsiteY943"/>
                          </a:cxn>
                          <a:cxn ang="0">
                            <a:pos x="connsiteX944" y="connsiteY944"/>
                          </a:cxn>
                          <a:cxn ang="0">
                            <a:pos x="connsiteX945" y="connsiteY945"/>
                          </a:cxn>
                          <a:cxn ang="0">
                            <a:pos x="connsiteX946" y="connsiteY946"/>
                          </a:cxn>
                          <a:cxn ang="0">
                            <a:pos x="connsiteX947" y="connsiteY947"/>
                          </a:cxn>
                          <a:cxn ang="0">
                            <a:pos x="connsiteX948" y="connsiteY948"/>
                          </a:cxn>
                          <a:cxn ang="0">
                            <a:pos x="connsiteX949" y="connsiteY949"/>
                          </a:cxn>
                          <a:cxn ang="0">
                            <a:pos x="connsiteX950" y="connsiteY950"/>
                          </a:cxn>
                          <a:cxn ang="0">
                            <a:pos x="connsiteX951" y="connsiteY951"/>
                          </a:cxn>
                          <a:cxn ang="0">
                            <a:pos x="connsiteX952" y="connsiteY952"/>
                          </a:cxn>
                          <a:cxn ang="0">
                            <a:pos x="connsiteX953" y="connsiteY953"/>
                          </a:cxn>
                          <a:cxn ang="0">
                            <a:pos x="connsiteX954" y="connsiteY954"/>
                          </a:cxn>
                          <a:cxn ang="0">
                            <a:pos x="connsiteX955" y="connsiteY955"/>
                          </a:cxn>
                          <a:cxn ang="0">
                            <a:pos x="connsiteX956" y="connsiteY956"/>
                          </a:cxn>
                          <a:cxn ang="0">
                            <a:pos x="connsiteX957" y="connsiteY957"/>
                          </a:cxn>
                          <a:cxn ang="0">
                            <a:pos x="connsiteX958" y="connsiteY958"/>
                          </a:cxn>
                          <a:cxn ang="0">
                            <a:pos x="connsiteX959" y="connsiteY959"/>
                          </a:cxn>
                          <a:cxn ang="0">
                            <a:pos x="connsiteX960" y="connsiteY960"/>
                          </a:cxn>
                          <a:cxn ang="0">
                            <a:pos x="connsiteX961" y="connsiteY961"/>
                          </a:cxn>
                          <a:cxn ang="0">
                            <a:pos x="connsiteX962" y="connsiteY962"/>
                          </a:cxn>
                          <a:cxn ang="0">
                            <a:pos x="connsiteX963" y="connsiteY963"/>
                          </a:cxn>
                          <a:cxn ang="0">
                            <a:pos x="connsiteX964" y="connsiteY964"/>
                          </a:cxn>
                          <a:cxn ang="0">
                            <a:pos x="connsiteX965" y="connsiteY965"/>
                          </a:cxn>
                          <a:cxn ang="0">
                            <a:pos x="connsiteX966" y="connsiteY966"/>
                          </a:cxn>
                          <a:cxn ang="0">
                            <a:pos x="connsiteX967" y="connsiteY967"/>
                          </a:cxn>
                          <a:cxn ang="0">
                            <a:pos x="connsiteX968" y="connsiteY968"/>
                          </a:cxn>
                          <a:cxn ang="0">
                            <a:pos x="connsiteX969" y="connsiteY969"/>
                          </a:cxn>
                          <a:cxn ang="0">
                            <a:pos x="connsiteX970" y="connsiteY970"/>
                          </a:cxn>
                          <a:cxn ang="0">
                            <a:pos x="connsiteX971" y="connsiteY971"/>
                          </a:cxn>
                          <a:cxn ang="0">
                            <a:pos x="connsiteX972" y="connsiteY972"/>
                          </a:cxn>
                          <a:cxn ang="0">
                            <a:pos x="connsiteX973" y="connsiteY973"/>
                          </a:cxn>
                          <a:cxn ang="0">
                            <a:pos x="connsiteX974" y="connsiteY974"/>
                          </a:cxn>
                          <a:cxn ang="0">
                            <a:pos x="connsiteX975" y="connsiteY975"/>
                          </a:cxn>
                          <a:cxn ang="0">
                            <a:pos x="connsiteX976" y="connsiteY976"/>
                          </a:cxn>
                          <a:cxn ang="0">
                            <a:pos x="connsiteX977" y="connsiteY977"/>
                          </a:cxn>
                          <a:cxn ang="0">
                            <a:pos x="connsiteX978" y="connsiteY978"/>
                          </a:cxn>
                          <a:cxn ang="0">
                            <a:pos x="connsiteX979" y="connsiteY979"/>
                          </a:cxn>
                          <a:cxn ang="0">
                            <a:pos x="connsiteX980" y="connsiteY980"/>
                          </a:cxn>
                          <a:cxn ang="0">
                            <a:pos x="connsiteX981" y="connsiteY981"/>
                          </a:cxn>
                          <a:cxn ang="0">
                            <a:pos x="connsiteX982" y="connsiteY982"/>
                          </a:cxn>
                          <a:cxn ang="0">
                            <a:pos x="connsiteX983" y="connsiteY983"/>
                          </a:cxn>
                          <a:cxn ang="0">
                            <a:pos x="connsiteX984" y="connsiteY984"/>
                          </a:cxn>
                          <a:cxn ang="0">
                            <a:pos x="connsiteX985" y="connsiteY985"/>
                          </a:cxn>
                          <a:cxn ang="0">
                            <a:pos x="connsiteX986" y="connsiteY986"/>
                          </a:cxn>
                          <a:cxn ang="0">
                            <a:pos x="connsiteX987" y="connsiteY987"/>
                          </a:cxn>
                          <a:cxn ang="0">
                            <a:pos x="connsiteX988" y="connsiteY988"/>
                          </a:cxn>
                          <a:cxn ang="0">
                            <a:pos x="connsiteX989" y="connsiteY989"/>
                          </a:cxn>
                          <a:cxn ang="0">
                            <a:pos x="connsiteX990" y="connsiteY990"/>
                          </a:cxn>
                          <a:cxn ang="0">
                            <a:pos x="connsiteX991" y="connsiteY991"/>
                          </a:cxn>
                          <a:cxn ang="0">
                            <a:pos x="connsiteX992" y="connsiteY992"/>
                          </a:cxn>
                          <a:cxn ang="0">
                            <a:pos x="connsiteX993" y="connsiteY993"/>
                          </a:cxn>
                          <a:cxn ang="0">
                            <a:pos x="connsiteX994" y="connsiteY994"/>
                          </a:cxn>
                          <a:cxn ang="0">
                            <a:pos x="connsiteX995" y="connsiteY995"/>
                          </a:cxn>
                          <a:cxn ang="0">
                            <a:pos x="connsiteX996" y="connsiteY996"/>
                          </a:cxn>
                          <a:cxn ang="0">
                            <a:pos x="connsiteX997" y="connsiteY997"/>
                          </a:cxn>
                          <a:cxn ang="0">
                            <a:pos x="connsiteX998" y="connsiteY998"/>
                          </a:cxn>
                          <a:cxn ang="0">
                            <a:pos x="connsiteX999" y="connsiteY999"/>
                          </a:cxn>
                          <a:cxn ang="0">
                            <a:pos x="connsiteX1000" y="connsiteY1000"/>
                          </a:cxn>
                          <a:cxn ang="0">
                            <a:pos x="connsiteX1001" y="connsiteY1001"/>
                          </a:cxn>
                          <a:cxn ang="0">
                            <a:pos x="connsiteX1002" y="connsiteY1002"/>
                          </a:cxn>
                          <a:cxn ang="0">
                            <a:pos x="connsiteX1003" y="connsiteY1003"/>
                          </a:cxn>
                          <a:cxn ang="0">
                            <a:pos x="connsiteX1004" y="connsiteY1004"/>
                          </a:cxn>
                          <a:cxn ang="0">
                            <a:pos x="connsiteX1005" y="connsiteY1005"/>
                          </a:cxn>
                          <a:cxn ang="0">
                            <a:pos x="connsiteX1006" y="connsiteY1006"/>
                          </a:cxn>
                          <a:cxn ang="0">
                            <a:pos x="connsiteX1007" y="connsiteY1007"/>
                          </a:cxn>
                          <a:cxn ang="0">
                            <a:pos x="connsiteX1008" y="connsiteY1008"/>
                          </a:cxn>
                          <a:cxn ang="0">
                            <a:pos x="connsiteX1009" y="connsiteY1009"/>
                          </a:cxn>
                          <a:cxn ang="0">
                            <a:pos x="connsiteX1010" y="connsiteY1010"/>
                          </a:cxn>
                          <a:cxn ang="0">
                            <a:pos x="connsiteX1011" y="connsiteY1011"/>
                          </a:cxn>
                          <a:cxn ang="0">
                            <a:pos x="connsiteX1012" y="connsiteY1012"/>
                          </a:cxn>
                          <a:cxn ang="0">
                            <a:pos x="connsiteX1013" y="connsiteY1013"/>
                          </a:cxn>
                          <a:cxn ang="0">
                            <a:pos x="connsiteX1014" y="connsiteY1014"/>
                          </a:cxn>
                          <a:cxn ang="0">
                            <a:pos x="connsiteX1015" y="connsiteY1015"/>
                          </a:cxn>
                          <a:cxn ang="0">
                            <a:pos x="connsiteX1016" y="connsiteY1016"/>
                          </a:cxn>
                          <a:cxn ang="0">
                            <a:pos x="connsiteX1017" y="connsiteY1017"/>
                          </a:cxn>
                          <a:cxn ang="0">
                            <a:pos x="connsiteX1018" y="connsiteY1018"/>
                          </a:cxn>
                          <a:cxn ang="0">
                            <a:pos x="connsiteX1019" y="connsiteY1019"/>
                          </a:cxn>
                          <a:cxn ang="0">
                            <a:pos x="connsiteX1020" y="connsiteY1020"/>
                          </a:cxn>
                          <a:cxn ang="0">
                            <a:pos x="connsiteX1021" y="connsiteY1021"/>
                          </a:cxn>
                          <a:cxn ang="0">
                            <a:pos x="connsiteX1022" y="connsiteY1022"/>
                          </a:cxn>
                          <a:cxn ang="0">
                            <a:pos x="connsiteX1023" y="connsiteY1023"/>
                          </a:cxn>
                          <a:cxn ang="0">
                            <a:pos x="connsiteX1024" y="connsiteY1024"/>
                          </a:cxn>
                          <a:cxn ang="0">
                            <a:pos x="connsiteX1025" y="connsiteY1025"/>
                          </a:cxn>
                          <a:cxn ang="0">
                            <a:pos x="connsiteX1026" y="connsiteY1026"/>
                          </a:cxn>
                          <a:cxn ang="0">
                            <a:pos x="connsiteX1027" y="connsiteY1027"/>
                          </a:cxn>
                          <a:cxn ang="0">
                            <a:pos x="connsiteX1028" y="connsiteY1028"/>
                          </a:cxn>
                          <a:cxn ang="0">
                            <a:pos x="connsiteX1029" y="connsiteY1029"/>
                          </a:cxn>
                          <a:cxn ang="0">
                            <a:pos x="connsiteX1030" y="connsiteY1030"/>
                          </a:cxn>
                          <a:cxn ang="0">
                            <a:pos x="connsiteX1031" y="connsiteY1031"/>
                          </a:cxn>
                          <a:cxn ang="0">
                            <a:pos x="connsiteX1032" y="connsiteY1032"/>
                          </a:cxn>
                          <a:cxn ang="0">
                            <a:pos x="connsiteX1033" y="connsiteY1033"/>
                          </a:cxn>
                          <a:cxn ang="0">
                            <a:pos x="connsiteX1034" y="connsiteY1034"/>
                          </a:cxn>
                          <a:cxn ang="0">
                            <a:pos x="connsiteX1035" y="connsiteY1035"/>
                          </a:cxn>
                          <a:cxn ang="0">
                            <a:pos x="connsiteX1036" y="connsiteY1036"/>
                          </a:cxn>
                          <a:cxn ang="0">
                            <a:pos x="connsiteX1037" y="connsiteY1037"/>
                          </a:cxn>
                          <a:cxn ang="0">
                            <a:pos x="connsiteX1038" y="connsiteY1038"/>
                          </a:cxn>
                          <a:cxn ang="0">
                            <a:pos x="connsiteX1039" y="connsiteY1039"/>
                          </a:cxn>
                          <a:cxn ang="0">
                            <a:pos x="connsiteX1040" y="connsiteY1040"/>
                          </a:cxn>
                          <a:cxn ang="0">
                            <a:pos x="connsiteX1041" y="connsiteY1041"/>
                          </a:cxn>
                          <a:cxn ang="0">
                            <a:pos x="connsiteX1042" y="connsiteY1042"/>
                          </a:cxn>
                          <a:cxn ang="0">
                            <a:pos x="connsiteX1043" y="connsiteY1043"/>
                          </a:cxn>
                          <a:cxn ang="0">
                            <a:pos x="connsiteX1044" y="connsiteY1044"/>
                          </a:cxn>
                          <a:cxn ang="0">
                            <a:pos x="connsiteX1045" y="connsiteY1045"/>
                          </a:cxn>
                          <a:cxn ang="0">
                            <a:pos x="connsiteX1046" y="connsiteY1046"/>
                          </a:cxn>
                          <a:cxn ang="0">
                            <a:pos x="connsiteX1047" y="connsiteY1047"/>
                          </a:cxn>
                          <a:cxn ang="0">
                            <a:pos x="connsiteX1048" y="connsiteY1048"/>
                          </a:cxn>
                          <a:cxn ang="0">
                            <a:pos x="connsiteX1049" y="connsiteY1049"/>
                          </a:cxn>
                          <a:cxn ang="0">
                            <a:pos x="connsiteX1050" y="connsiteY1050"/>
                          </a:cxn>
                          <a:cxn ang="0">
                            <a:pos x="connsiteX1051" y="connsiteY1051"/>
                          </a:cxn>
                          <a:cxn ang="0">
                            <a:pos x="connsiteX1052" y="connsiteY1052"/>
                          </a:cxn>
                          <a:cxn ang="0">
                            <a:pos x="connsiteX1053" y="connsiteY1053"/>
                          </a:cxn>
                          <a:cxn ang="0">
                            <a:pos x="connsiteX1054" y="connsiteY1054"/>
                          </a:cxn>
                          <a:cxn ang="0">
                            <a:pos x="connsiteX1055" y="connsiteY1055"/>
                          </a:cxn>
                          <a:cxn ang="0">
                            <a:pos x="connsiteX1056" y="connsiteY1056"/>
                          </a:cxn>
                          <a:cxn ang="0">
                            <a:pos x="connsiteX1057" y="connsiteY1057"/>
                          </a:cxn>
                          <a:cxn ang="0">
                            <a:pos x="connsiteX1058" y="connsiteY1058"/>
                          </a:cxn>
                          <a:cxn ang="0">
                            <a:pos x="connsiteX1059" y="connsiteY1059"/>
                          </a:cxn>
                          <a:cxn ang="0">
                            <a:pos x="connsiteX1060" y="connsiteY1060"/>
                          </a:cxn>
                          <a:cxn ang="0">
                            <a:pos x="connsiteX1061" y="connsiteY1061"/>
                          </a:cxn>
                          <a:cxn ang="0">
                            <a:pos x="connsiteX1062" y="connsiteY1062"/>
                          </a:cxn>
                          <a:cxn ang="0">
                            <a:pos x="connsiteX1063" y="connsiteY1063"/>
                          </a:cxn>
                          <a:cxn ang="0">
                            <a:pos x="connsiteX1064" y="connsiteY1064"/>
                          </a:cxn>
                          <a:cxn ang="0">
                            <a:pos x="connsiteX1065" y="connsiteY1065"/>
                          </a:cxn>
                          <a:cxn ang="0">
                            <a:pos x="connsiteX1066" y="connsiteY1066"/>
                          </a:cxn>
                          <a:cxn ang="0">
                            <a:pos x="connsiteX1067" y="connsiteY1067"/>
                          </a:cxn>
                          <a:cxn ang="0">
                            <a:pos x="connsiteX1068" y="connsiteY1068"/>
                          </a:cxn>
                          <a:cxn ang="0">
                            <a:pos x="connsiteX1069" y="connsiteY1069"/>
                          </a:cxn>
                          <a:cxn ang="0">
                            <a:pos x="connsiteX1070" y="connsiteY1070"/>
                          </a:cxn>
                          <a:cxn ang="0">
                            <a:pos x="connsiteX1071" y="connsiteY1071"/>
                          </a:cxn>
                          <a:cxn ang="0">
                            <a:pos x="connsiteX1072" y="connsiteY1072"/>
                          </a:cxn>
                          <a:cxn ang="0">
                            <a:pos x="connsiteX1073" y="connsiteY1073"/>
                          </a:cxn>
                          <a:cxn ang="0">
                            <a:pos x="connsiteX1074" y="connsiteY1074"/>
                          </a:cxn>
                          <a:cxn ang="0">
                            <a:pos x="connsiteX1075" y="connsiteY1075"/>
                          </a:cxn>
                          <a:cxn ang="0">
                            <a:pos x="connsiteX1076" y="connsiteY1076"/>
                          </a:cxn>
                          <a:cxn ang="0">
                            <a:pos x="connsiteX1077" y="connsiteY1077"/>
                          </a:cxn>
                          <a:cxn ang="0">
                            <a:pos x="connsiteX1078" y="connsiteY1078"/>
                          </a:cxn>
                          <a:cxn ang="0">
                            <a:pos x="connsiteX1079" y="connsiteY1079"/>
                          </a:cxn>
                          <a:cxn ang="0">
                            <a:pos x="connsiteX1080" y="connsiteY1080"/>
                          </a:cxn>
                          <a:cxn ang="0">
                            <a:pos x="connsiteX1081" y="connsiteY1081"/>
                          </a:cxn>
                          <a:cxn ang="0">
                            <a:pos x="connsiteX1082" y="connsiteY1082"/>
                          </a:cxn>
                          <a:cxn ang="0">
                            <a:pos x="connsiteX1083" y="connsiteY1083"/>
                          </a:cxn>
                          <a:cxn ang="0">
                            <a:pos x="connsiteX1084" y="connsiteY1084"/>
                          </a:cxn>
                          <a:cxn ang="0">
                            <a:pos x="connsiteX1085" y="connsiteY1085"/>
                          </a:cxn>
                          <a:cxn ang="0">
                            <a:pos x="connsiteX1086" y="connsiteY1086"/>
                          </a:cxn>
                          <a:cxn ang="0">
                            <a:pos x="connsiteX1087" y="connsiteY1087"/>
                          </a:cxn>
                          <a:cxn ang="0">
                            <a:pos x="connsiteX1088" y="connsiteY1088"/>
                          </a:cxn>
                          <a:cxn ang="0">
                            <a:pos x="connsiteX1089" y="connsiteY1089"/>
                          </a:cxn>
                          <a:cxn ang="0">
                            <a:pos x="connsiteX1090" y="connsiteY1090"/>
                          </a:cxn>
                          <a:cxn ang="0">
                            <a:pos x="connsiteX1091" y="connsiteY1091"/>
                          </a:cxn>
                          <a:cxn ang="0">
                            <a:pos x="connsiteX1092" y="connsiteY1092"/>
                          </a:cxn>
                          <a:cxn ang="0">
                            <a:pos x="connsiteX1093" y="connsiteY1093"/>
                          </a:cxn>
                          <a:cxn ang="0">
                            <a:pos x="connsiteX1094" y="connsiteY1094"/>
                          </a:cxn>
                          <a:cxn ang="0">
                            <a:pos x="connsiteX1095" y="connsiteY1095"/>
                          </a:cxn>
                          <a:cxn ang="0">
                            <a:pos x="connsiteX1096" y="connsiteY1096"/>
                          </a:cxn>
                          <a:cxn ang="0">
                            <a:pos x="connsiteX1097" y="connsiteY1097"/>
                          </a:cxn>
                          <a:cxn ang="0">
                            <a:pos x="connsiteX1098" y="connsiteY1098"/>
                          </a:cxn>
                          <a:cxn ang="0">
                            <a:pos x="connsiteX1099" y="connsiteY1099"/>
                          </a:cxn>
                          <a:cxn ang="0">
                            <a:pos x="connsiteX1100" y="connsiteY1100"/>
                          </a:cxn>
                          <a:cxn ang="0">
                            <a:pos x="connsiteX1101" y="connsiteY1101"/>
                          </a:cxn>
                          <a:cxn ang="0">
                            <a:pos x="connsiteX1102" y="connsiteY1102"/>
                          </a:cxn>
                          <a:cxn ang="0">
                            <a:pos x="connsiteX1103" y="connsiteY1103"/>
                          </a:cxn>
                          <a:cxn ang="0">
                            <a:pos x="connsiteX1104" y="connsiteY1104"/>
                          </a:cxn>
                          <a:cxn ang="0">
                            <a:pos x="connsiteX1105" y="connsiteY1105"/>
                          </a:cxn>
                          <a:cxn ang="0">
                            <a:pos x="connsiteX1106" y="connsiteY1106"/>
                          </a:cxn>
                          <a:cxn ang="0">
                            <a:pos x="connsiteX1107" y="connsiteY1107"/>
                          </a:cxn>
                          <a:cxn ang="0">
                            <a:pos x="connsiteX1108" y="connsiteY1108"/>
                          </a:cxn>
                          <a:cxn ang="0">
                            <a:pos x="connsiteX1109" y="connsiteY1109"/>
                          </a:cxn>
                          <a:cxn ang="0">
                            <a:pos x="connsiteX1110" y="connsiteY1110"/>
                          </a:cxn>
                          <a:cxn ang="0">
                            <a:pos x="connsiteX1111" y="connsiteY1111"/>
                          </a:cxn>
                          <a:cxn ang="0">
                            <a:pos x="connsiteX1112" y="connsiteY1112"/>
                          </a:cxn>
                          <a:cxn ang="0">
                            <a:pos x="connsiteX1113" y="connsiteY1113"/>
                          </a:cxn>
                          <a:cxn ang="0">
                            <a:pos x="connsiteX1114" y="connsiteY1114"/>
                          </a:cxn>
                          <a:cxn ang="0">
                            <a:pos x="connsiteX1115" y="connsiteY1115"/>
                          </a:cxn>
                          <a:cxn ang="0">
                            <a:pos x="connsiteX1116" y="connsiteY1116"/>
                          </a:cxn>
                          <a:cxn ang="0">
                            <a:pos x="connsiteX1117" y="connsiteY1117"/>
                          </a:cxn>
                          <a:cxn ang="0">
                            <a:pos x="connsiteX1118" y="connsiteY1118"/>
                          </a:cxn>
                          <a:cxn ang="0">
                            <a:pos x="connsiteX1119" y="connsiteY1119"/>
                          </a:cxn>
                          <a:cxn ang="0">
                            <a:pos x="connsiteX1120" y="connsiteY1120"/>
                          </a:cxn>
                          <a:cxn ang="0">
                            <a:pos x="connsiteX1121" y="connsiteY1121"/>
                          </a:cxn>
                          <a:cxn ang="0">
                            <a:pos x="connsiteX1122" y="connsiteY1122"/>
                          </a:cxn>
                          <a:cxn ang="0">
                            <a:pos x="connsiteX1123" y="connsiteY1123"/>
                          </a:cxn>
                          <a:cxn ang="0">
                            <a:pos x="connsiteX1124" y="connsiteY1124"/>
                          </a:cxn>
                          <a:cxn ang="0">
                            <a:pos x="connsiteX1125" y="connsiteY1125"/>
                          </a:cxn>
                          <a:cxn ang="0">
                            <a:pos x="connsiteX1126" y="connsiteY1126"/>
                          </a:cxn>
                          <a:cxn ang="0">
                            <a:pos x="connsiteX1127" y="connsiteY1127"/>
                          </a:cxn>
                          <a:cxn ang="0">
                            <a:pos x="connsiteX1128" y="connsiteY1128"/>
                          </a:cxn>
                          <a:cxn ang="0">
                            <a:pos x="connsiteX1129" y="connsiteY1129"/>
                          </a:cxn>
                          <a:cxn ang="0">
                            <a:pos x="connsiteX1130" y="connsiteY1130"/>
                          </a:cxn>
                          <a:cxn ang="0">
                            <a:pos x="connsiteX1131" y="connsiteY1131"/>
                          </a:cxn>
                          <a:cxn ang="0">
                            <a:pos x="connsiteX1132" y="connsiteY1132"/>
                          </a:cxn>
                          <a:cxn ang="0">
                            <a:pos x="connsiteX1133" y="connsiteY1133"/>
                          </a:cxn>
                          <a:cxn ang="0">
                            <a:pos x="connsiteX1134" y="connsiteY1134"/>
                          </a:cxn>
                          <a:cxn ang="0">
                            <a:pos x="connsiteX1135" y="connsiteY1135"/>
                          </a:cxn>
                          <a:cxn ang="0">
                            <a:pos x="connsiteX1136" y="connsiteY1136"/>
                          </a:cxn>
                          <a:cxn ang="0">
                            <a:pos x="connsiteX1137" y="connsiteY1137"/>
                          </a:cxn>
                          <a:cxn ang="0">
                            <a:pos x="connsiteX1138" y="connsiteY1138"/>
                          </a:cxn>
                          <a:cxn ang="0">
                            <a:pos x="connsiteX1139" y="connsiteY1139"/>
                          </a:cxn>
                          <a:cxn ang="0">
                            <a:pos x="connsiteX1140" y="connsiteY1140"/>
                          </a:cxn>
                          <a:cxn ang="0">
                            <a:pos x="connsiteX1141" y="connsiteY1141"/>
                          </a:cxn>
                          <a:cxn ang="0">
                            <a:pos x="connsiteX1142" y="connsiteY1142"/>
                          </a:cxn>
                          <a:cxn ang="0">
                            <a:pos x="connsiteX1143" y="connsiteY1143"/>
                          </a:cxn>
                          <a:cxn ang="0">
                            <a:pos x="connsiteX1144" y="connsiteY1144"/>
                          </a:cxn>
                          <a:cxn ang="0">
                            <a:pos x="connsiteX1145" y="connsiteY1145"/>
                          </a:cxn>
                          <a:cxn ang="0">
                            <a:pos x="connsiteX1146" y="connsiteY1146"/>
                          </a:cxn>
                          <a:cxn ang="0">
                            <a:pos x="connsiteX1147" y="connsiteY1147"/>
                          </a:cxn>
                          <a:cxn ang="0">
                            <a:pos x="connsiteX1148" y="connsiteY1148"/>
                          </a:cxn>
                          <a:cxn ang="0">
                            <a:pos x="connsiteX1149" y="connsiteY1149"/>
                          </a:cxn>
                          <a:cxn ang="0">
                            <a:pos x="connsiteX1150" y="connsiteY1150"/>
                          </a:cxn>
                          <a:cxn ang="0">
                            <a:pos x="connsiteX1151" y="connsiteY1151"/>
                          </a:cxn>
                          <a:cxn ang="0">
                            <a:pos x="connsiteX1152" y="connsiteY1152"/>
                          </a:cxn>
                          <a:cxn ang="0">
                            <a:pos x="connsiteX1153" y="connsiteY1153"/>
                          </a:cxn>
                          <a:cxn ang="0">
                            <a:pos x="connsiteX1154" y="connsiteY1154"/>
                          </a:cxn>
                          <a:cxn ang="0">
                            <a:pos x="connsiteX1155" y="connsiteY1155"/>
                          </a:cxn>
                          <a:cxn ang="0">
                            <a:pos x="connsiteX1156" y="connsiteY1156"/>
                          </a:cxn>
                          <a:cxn ang="0">
                            <a:pos x="connsiteX1157" y="connsiteY1157"/>
                          </a:cxn>
                          <a:cxn ang="0">
                            <a:pos x="connsiteX1158" y="connsiteY1158"/>
                          </a:cxn>
                          <a:cxn ang="0">
                            <a:pos x="connsiteX1159" y="connsiteY1159"/>
                          </a:cxn>
                          <a:cxn ang="0">
                            <a:pos x="connsiteX1160" y="connsiteY1160"/>
                          </a:cxn>
                          <a:cxn ang="0">
                            <a:pos x="connsiteX1161" y="connsiteY1161"/>
                          </a:cxn>
                          <a:cxn ang="0">
                            <a:pos x="connsiteX1162" y="connsiteY1162"/>
                          </a:cxn>
                          <a:cxn ang="0">
                            <a:pos x="connsiteX1163" y="connsiteY1163"/>
                          </a:cxn>
                          <a:cxn ang="0">
                            <a:pos x="connsiteX1164" y="connsiteY1164"/>
                          </a:cxn>
                          <a:cxn ang="0">
                            <a:pos x="connsiteX1165" y="connsiteY1165"/>
                          </a:cxn>
                          <a:cxn ang="0">
                            <a:pos x="connsiteX1166" y="connsiteY1166"/>
                          </a:cxn>
                          <a:cxn ang="0">
                            <a:pos x="connsiteX1167" y="connsiteY1167"/>
                          </a:cxn>
                          <a:cxn ang="0">
                            <a:pos x="connsiteX1168" y="connsiteY1168"/>
                          </a:cxn>
                          <a:cxn ang="0">
                            <a:pos x="connsiteX1169" y="connsiteY1169"/>
                          </a:cxn>
                          <a:cxn ang="0">
                            <a:pos x="connsiteX1170" y="connsiteY1170"/>
                          </a:cxn>
                          <a:cxn ang="0">
                            <a:pos x="connsiteX1171" y="connsiteY1171"/>
                          </a:cxn>
                          <a:cxn ang="0">
                            <a:pos x="connsiteX1172" y="connsiteY1172"/>
                          </a:cxn>
                          <a:cxn ang="0">
                            <a:pos x="connsiteX1173" y="connsiteY1173"/>
                          </a:cxn>
                          <a:cxn ang="0">
                            <a:pos x="connsiteX1174" y="connsiteY1174"/>
                          </a:cxn>
                          <a:cxn ang="0">
                            <a:pos x="connsiteX1175" y="connsiteY1175"/>
                          </a:cxn>
                          <a:cxn ang="0">
                            <a:pos x="connsiteX1176" y="connsiteY1176"/>
                          </a:cxn>
                          <a:cxn ang="0">
                            <a:pos x="connsiteX1177" y="connsiteY1177"/>
                          </a:cxn>
                          <a:cxn ang="0">
                            <a:pos x="connsiteX1178" y="connsiteY1178"/>
                          </a:cxn>
                          <a:cxn ang="0">
                            <a:pos x="connsiteX1179" y="connsiteY1179"/>
                          </a:cxn>
                          <a:cxn ang="0">
                            <a:pos x="connsiteX1180" y="connsiteY1180"/>
                          </a:cxn>
                          <a:cxn ang="0">
                            <a:pos x="connsiteX1181" y="connsiteY1181"/>
                          </a:cxn>
                          <a:cxn ang="0">
                            <a:pos x="connsiteX1182" y="connsiteY1182"/>
                          </a:cxn>
                          <a:cxn ang="0">
                            <a:pos x="connsiteX1183" y="connsiteY1183"/>
                          </a:cxn>
                          <a:cxn ang="0">
                            <a:pos x="connsiteX1184" y="connsiteY1184"/>
                          </a:cxn>
                          <a:cxn ang="0">
                            <a:pos x="connsiteX1185" y="connsiteY1185"/>
                          </a:cxn>
                          <a:cxn ang="0">
                            <a:pos x="connsiteX1186" y="connsiteY1186"/>
                          </a:cxn>
                          <a:cxn ang="0">
                            <a:pos x="connsiteX1187" y="connsiteY1187"/>
                          </a:cxn>
                          <a:cxn ang="0">
                            <a:pos x="connsiteX1188" y="connsiteY1188"/>
                          </a:cxn>
                          <a:cxn ang="0">
                            <a:pos x="connsiteX1189" y="connsiteY1189"/>
                          </a:cxn>
                          <a:cxn ang="0">
                            <a:pos x="connsiteX1190" y="connsiteY1190"/>
                          </a:cxn>
                          <a:cxn ang="0">
                            <a:pos x="connsiteX1191" y="connsiteY1191"/>
                          </a:cxn>
                          <a:cxn ang="0">
                            <a:pos x="connsiteX1192" y="connsiteY1192"/>
                          </a:cxn>
                          <a:cxn ang="0">
                            <a:pos x="connsiteX1193" y="connsiteY1193"/>
                          </a:cxn>
                          <a:cxn ang="0">
                            <a:pos x="connsiteX1194" y="connsiteY1194"/>
                          </a:cxn>
                          <a:cxn ang="0">
                            <a:pos x="connsiteX1195" y="connsiteY1195"/>
                          </a:cxn>
                          <a:cxn ang="0">
                            <a:pos x="connsiteX1196" y="connsiteY1196"/>
                          </a:cxn>
                          <a:cxn ang="0">
                            <a:pos x="connsiteX1197" y="connsiteY1197"/>
                          </a:cxn>
                          <a:cxn ang="0">
                            <a:pos x="connsiteX1198" y="connsiteY1198"/>
                          </a:cxn>
                          <a:cxn ang="0">
                            <a:pos x="connsiteX1199" y="connsiteY1199"/>
                          </a:cxn>
                          <a:cxn ang="0">
                            <a:pos x="connsiteX1200" y="connsiteY1200"/>
                          </a:cxn>
                          <a:cxn ang="0">
                            <a:pos x="connsiteX1201" y="connsiteY1201"/>
                          </a:cxn>
                          <a:cxn ang="0">
                            <a:pos x="connsiteX1202" y="connsiteY1202"/>
                          </a:cxn>
                          <a:cxn ang="0">
                            <a:pos x="connsiteX1203" y="connsiteY1203"/>
                          </a:cxn>
                          <a:cxn ang="0">
                            <a:pos x="connsiteX1204" y="connsiteY1204"/>
                          </a:cxn>
                          <a:cxn ang="0">
                            <a:pos x="connsiteX1205" y="connsiteY1205"/>
                          </a:cxn>
                          <a:cxn ang="0">
                            <a:pos x="connsiteX1206" y="connsiteY1206"/>
                          </a:cxn>
                          <a:cxn ang="0">
                            <a:pos x="connsiteX1207" y="connsiteY1207"/>
                          </a:cxn>
                          <a:cxn ang="0">
                            <a:pos x="connsiteX1208" y="connsiteY1208"/>
                          </a:cxn>
                          <a:cxn ang="0">
                            <a:pos x="connsiteX1209" y="connsiteY1209"/>
                          </a:cxn>
                          <a:cxn ang="0">
                            <a:pos x="connsiteX1210" y="connsiteY1210"/>
                          </a:cxn>
                          <a:cxn ang="0">
                            <a:pos x="connsiteX1211" y="connsiteY1211"/>
                          </a:cxn>
                          <a:cxn ang="0">
                            <a:pos x="connsiteX1212" y="connsiteY1212"/>
                          </a:cxn>
                          <a:cxn ang="0">
                            <a:pos x="connsiteX1213" y="connsiteY1213"/>
                          </a:cxn>
                          <a:cxn ang="0">
                            <a:pos x="connsiteX1214" y="connsiteY1214"/>
                          </a:cxn>
                          <a:cxn ang="0">
                            <a:pos x="connsiteX1215" y="connsiteY1215"/>
                          </a:cxn>
                          <a:cxn ang="0">
                            <a:pos x="connsiteX1216" y="connsiteY1216"/>
                          </a:cxn>
                          <a:cxn ang="0">
                            <a:pos x="connsiteX1217" y="connsiteY1217"/>
                          </a:cxn>
                          <a:cxn ang="0">
                            <a:pos x="connsiteX1218" y="connsiteY1218"/>
                          </a:cxn>
                          <a:cxn ang="0">
                            <a:pos x="connsiteX1219" y="connsiteY1219"/>
                          </a:cxn>
                          <a:cxn ang="0">
                            <a:pos x="connsiteX1220" y="connsiteY1220"/>
                          </a:cxn>
                          <a:cxn ang="0">
                            <a:pos x="connsiteX1221" y="connsiteY1221"/>
                          </a:cxn>
                          <a:cxn ang="0">
                            <a:pos x="connsiteX1222" y="connsiteY1222"/>
                          </a:cxn>
                          <a:cxn ang="0">
                            <a:pos x="connsiteX1223" y="connsiteY1223"/>
                          </a:cxn>
                          <a:cxn ang="0">
                            <a:pos x="connsiteX1224" y="connsiteY1224"/>
                          </a:cxn>
                          <a:cxn ang="0">
                            <a:pos x="connsiteX1225" y="connsiteY1225"/>
                          </a:cxn>
                          <a:cxn ang="0">
                            <a:pos x="connsiteX1226" y="connsiteY1226"/>
                          </a:cxn>
                          <a:cxn ang="0">
                            <a:pos x="connsiteX1227" y="connsiteY1227"/>
                          </a:cxn>
                          <a:cxn ang="0">
                            <a:pos x="connsiteX1228" y="connsiteY1228"/>
                          </a:cxn>
                          <a:cxn ang="0">
                            <a:pos x="connsiteX1229" y="connsiteY1229"/>
                          </a:cxn>
                          <a:cxn ang="0">
                            <a:pos x="connsiteX1230" y="connsiteY1230"/>
                          </a:cxn>
                          <a:cxn ang="0">
                            <a:pos x="connsiteX1231" y="connsiteY1231"/>
                          </a:cxn>
                          <a:cxn ang="0">
                            <a:pos x="connsiteX1232" y="connsiteY1232"/>
                          </a:cxn>
                          <a:cxn ang="0">
                            <a:pos x="connsiteX1233" y="connsiteY1233"/>
                          </a:cxn>
                          <a:cxn ang="0">
                            <a:pos x="connsiteX1234" y="connsiteY1234"/>
                          </a:cxn>
                          <a:cxn ang="0">
                            <a:pos x="connsiteX1235" y="connsiteY1235"/>
                          </a:cxn>
                          <a:cxn ang="0">
                            <a:pos x="connsiteX1236" y="connsiteY1236"/>
                          </a:cxn>
                          <a:cxn ang="0">
                            <a:pos x="connsiteX1237" y="connsiteY1237"/>
                          </a:cxn>
                          <a:cxn ang="0">
                            <a:pos x="connsiteX1238" y="connsiteY1238"/>
                          </a:cxn>
                          <a:cxn ang="0">
                            <a:pos x="connsiteX1239" y="connsiteY1239"/>
                          </a:cxn>
                          <a:cxn ang="0">
                            <a:pos x="connsiteX1240" y="connsiteY1240"/>
                          </a:cxn>
                          <a:cxn ang="0">
                            <a:pos x="connsiteX1241" y="connsiteY1241"/>
                          </a:cxn>
                          <a:cxn ang="0">
                            <a:pos x="connsiteX1242" y="connsiteY1242"/>
                          </a:cxn>
                          <a:cxn ang="0">
                            <a:pos x="connsiteX1243" y="connsiteY1243"/>
                          </a:cxn>
                          <a:cxn ang="0">
                            <a:pos x="connsiteX1244" y="connsiteY1244"/>
                          </a:cxn>
                          <a:cxn ang="0">
                            <a:pos x="connsiteX1245" y="connsiteY1245"/>
                          </a:cxn>
                          <a:cxn ang="0">
                            <a:pos x="connsiteX1246" y="connsiteY1246"/>
                          </a:cxn>
                          <a:cxn ang="0">
                            <a:pos x="connsiteX1247" y="connsiteY1247"/>
                          </a:cxn>
                          <a:cxn ang="0">
                            <a:pos x="connsiteX1248" y="connsiteY1248"/>
                          </a:cxn>
                          <a:cxn ang="0">
                            <a:pos x="connsiteX1249" y="connsiteY1249"/>
                          </a:cxn>
                          <a:cxn ang="0">
                            <a:pos x="connsiteX1250" y="connsiteY1250"/>
                          </a:cxn>
                          <a:cxn ang="0">
                            <a:pos x="connsiteX1251" y="connsiteY1251"/>
                          </a:cxn>
                          <a:cxn ang="0">
                            <a:pos x="connsiteX1252" y="connsiteY1252"/>
                          </a:cxn>
                          <a:cxn ang="0">
                            <a:pos x="connsiteX1253" y="connsiteY1253"/>
                          </a:cxn>
                          <a:cxn ang="0">
                            <a:pos x="connsiteX1254" y="connsiteY1254"/>
                          </a:cxn>
                          <a:cxn ang="0">
                            <a:pos x="connsiteX1255" y="connsiteY1255"/>
                          </a:cxn>
                          <a:cxn ang="0">
                            <a:pos x="connsiteX1256" y="connsiteY1256"/>
                          </a:cxn>
                          <a:cxn ang="0">
                            <a:pos x="connsiteX1257" y="connsiteY1257"/>
                          </a:cxn>
                          <a:cxn ang="0">
                            <a:pos x="connsiteX1258" y="connsiteY1258"/>
                          </a:cxn>
                          <a:cxn ang="0">
                            <a:pos x="connsiteX1259" y="connsiteY1259"/>
                          </a:cxn>
                          <a:cxn ang="0">
                            <a:pos x="connsiteX1260" y="connsiteY1260"/>
                          </a:cxn>
                          <a:cxn ang="0">
                            <a:pos x="connsiteX1261" y="connsiteY1261"/>
                          </a:cxn>
                          <a:cxn ang="0">
                            <a:pos x="connsiteX1262" y="connsiteY1262"/>
                          </a:cxn>
                          <a:cxn ang="0">
                            <a:pos x="connsiteX1263" y="connsiteY1263"/>
                          </a:cxn>
                          <a:cxn ang="0">
                            <a:pos x="connsiteX1264" y="connsiteY1264"/>
                          </a:cxn>
                          <a:cxn ang="0">
                            <a:pos x="connsiteX1265" y="connsiteY1265"/>
                          </a:cxn>
                          <a:cxn ang="0">
                            <a:pos x="connsiteX1266" y="connsiteY1266"/>
                          </a:cxn>
                          <a:cxn ang="0">
                            <a:pos x="connsiteX1267" y="connsiteY1267"/>
                          </a:cxn>
                          <a:cxn ang="0">
                            <a:pos x="connsiteX1268" y="connsiteY1268"/>
                          </a:cxn>
                          <a:cxn ang="0">
                            <a:pos x="connsiteX1269" y="connsiteY1269"/>
                          </a:cxn>
                          <a:cxn ang="0">
                            <a:pos x="connsiteX1270" y="connsiteY1270"/>
                          </a:cxn>
                          <a:cxn ang="0">
                            <a:pos x="connsiteX1271" y="connsiteY1271"/>
                          </a:cxn>
                          <a:cxn ang="0">
                            <a:pos x="connsiteX1272" y="connsiteY1272"/>
                          </a:cxn>
                          <a:cxn ang="0">
                            <a:pos x="connsiteX1273" y="connsiteY1273"/>
                          </a:cxn>
                          <a:cxn ang="0">
                            <a:pos x="connsiteX1274" y="connsiteY1274"/>
                          </a:cxn>
                          <a:cxn ang="0">
                            <a:pos x="connsiteX1275" y="connsiteY1275"/>
                          </a:cxn>
                          <a:cxn ang="0">
                            <a:pos x="connsiteX1276" y="connsiteY1276"/>
                          </a:cxn>
                          <a:cxn ang="0">
                            <a:pos x="connsiteX1277" y="connsiteY1277"/>
                          </a:cxn>
                          <a:cxn ang="0">
                            <a:pos x="connsiteX1278" y="connsiteY1278"/>
                          </a:cxn>
                          <a:cxn ang="0">
                            <a:pos x="connsiteX1279" y="connsiteY1279"/>
                          </a:cxn>
                          <a:cxn ang="0">
                            <a:pos x="connsiteX1280" y="connsiteY1280"/>
                          </a:cxn>
                          <a:cxn ang="0">
                            <a:pos x="connsiteX1281" y="connsiteY1281"/>
                          </a:cxn>
                          <a:cxn ang="0">
                            <a:pos x="connsiteX1282" y="connsiteY1282"/>
                          </a:cxn>
                          <a:cxn ang="0">
                            <a:pos x="connsiteX1283" y="connsiteY1283"/>
                          </a:cxn>
                          <a:cxn ang="0">
                            <a:pos x="connsiteX1284" y="connsiteY1284"/>
                          </a:cxn>
                          <a:cxn ang="0">
                            <a:pos x="connsiteX1285" y="connsiteY1285"/>
                          </a:cxn>
                          <a:cxn ang="0">
                            <a:pos x="connsiteX1286" y="connsiteY1286"/>
                          </a:cxn>
                          <a:cxn ang="0">
                            <a:pos x="connsiteX1287" y="connsiteY1287"/>
                          </a:cxn>
                          <a:cxn ang="0">
                            <a:pos x="connsiteX1288" y="connsiteY1288"/>
                          </a:cxn>
                          <a:cxn ang="0">
                            <a:pos x="connsiteX1289" y="connsiteY1289"/>
                          </a:cxn>
                          <a:cxn ang="0">
                            <a:pos x="connsiteX1290" y="connsiteY1290"/>
                          </a:cxn>
                          <a:cxn ang="0">
                            <a:pos x="connsiteX1291" y="connsiteY1291"/>
                          </a:cxn>
                          <a:cxn ang="0">
                            <a:pos x="connsiteX1292" y="connsiteY1292"/>
                          </a:cxn>
                          <a:cxn ang="0">
                            <a:pos x="connsiteX1293" y="connsiteY1293"/>
                          </a:cxn>
                          <a:cxn ang="0">
                            <a:pos x="connsiteX1294" y="connsiteY1294"/>
                          </a:cxn>
                          <a:cxn ang="0">
                            <a:pos x="connsiteX1295" y="connsiteY1295"/>
                          </a:cxn>
                          <a:cxn ang="0">
                            <a:pos x="connsiteX1296" y="connsiteY1296"/>
                          </a:cxn>
                          <a:cxn ang="0">
                            <a:pos x="connsiteX1297" y="connsiteY1297"/>
                          </a:cxn>
                          <a:cxn ang="0">
                            <a:pos x="connsiteX1298" y="connsiteY1298"/>
                          </a:cxn>
                          <a:cxn ang="0">
                            <a:pos x="connsiteX1299" y="connsiteY1299"/>
                          </a:cxn>
                          <a:cxn ang="0">
                            <a:pos x="connsiteX1300" y="connsiteY1300"/>
                          </a:cxn>
                          <a:cxn ang="0">
                            <a:pos x="connsiteX1301" y="connsiteY1301"/>
                          </a:cxn>
                          <a:cxn ang="0">
                            <a:pos x="connsiteX1302" y="connsiteY1302"/>
                          </a:cxn>
                          <a:cxn ang="0">
                            <a:pos x="connsiteX1303" y="connsiteY1303"/>
                          </a:cxn>
                          <a:cxn ang="0">
                            <a:pos x="connsiteX1304" y="connsiteY1304"/>
                          </a:cxn>
                          <a:cxn ang="0">
                            <a:pos x="connsiteX1305" y="connsiteY1305"/>
                          </a:cxn>
                          <a:cxn ang="0">
                            <a:pos x="connsiteX1306" y="connsiteY1306"/>
                          </a:cxn>
                          <a:cxn ang="0">
                            <a:pos x="connsiteX1307" y="connsiteY1307"/>
                          </a:cxn>
                          <a:cxn ang="0">
                            <a:pos x="connsiteX1308" y="connsiteY1308"/>
                          </a:cxn>
                          <a:cxn ang="0">
                            <a:pos x="connsiteX1309" y="connsiteY1309"/>
                          </a:cxn>
                          <a:cxn ang="0">
                            <a:pos x="connsiteX1310" y="connsiteY1310"/>
                          </a:cxn>
                          <a:cxn ang="0">
                            <a:pos x="connsiteX1311" y="connsiteY1311"/>
                          </a:cxn>
                          <a:cxn ang="0">
                            <a:pos x="connsiteX1312" y="connsiteY1312"/>
                          </a:cxn>
                          <a:cxn ang="0">
                            <a:pos x="connsiteX1313" y="connsiteY1313"/>
                          </a:cxn>
                          <a:cxn ang="0">
                            <a:pos x="connsiteX1314" y="connsiteY1314"/>
                          </a:cxn>
                          <a:cxn ang="0">
                            <a:pos x="connsiteX1315" y="connsiteY1315"/>
                          </a:cxn>
                          <a:cxn ang="0">
                            <a:pos x="connsiteX1316" y="connsiteY1316"/>
                          </a:cxn>
                          <a:cxn ang="0">
                            <a:pos x="connsiteX1317" y="connsiteY1317"/>
                          </a:cxn>
                          <a:cxn ang="0">
                            <a:pos x="connsiteX1318" y="connsiteY1318"/>
                          </a:cxn>
                          <a:cxn ang="0">
                            <a:pos x="connsiteX1319" y="connsiteY1319"/>
                          </a:cxn>
                          <a:cxn ang="0">
                            <a:pos x="connsiteX1320" y="connsiteY1320"/>
                          </a:cxn>
                          <a:cxn ang="0">
                            <a:pos x="connsiteX1321" y="connsiteY1321"/>
                          </a:cxn>
                          <a:cxn ang="0">
                            <a:pos x="connsiteX1322" y="connsiteY1322"/>
                          </a:cxn>
                          <a:cxn ang="0">
                            <a:pos x="connsiteX1323" y="connsiteY1323"/>
                          </a:cxn>
                          <a:cxn ang="0">
                            <a:pos x="connsiteX1324" y="connsiteY1324"/>
                          </a:cxn>
                          <a:cxn ang="0">
                            <a:pos x="connsiteX1325" y="connsiteY1325"/>
                          </a:cxn>
                          <a:cxn ang="0">
                            <a:pos x="connsiteX1326" y="connsiteY1326"/>
                          </a:cxn>
                          <a:cxn ang="0">
                            <a:pos x="connsiteX1327" y="connsiteY1327"/>
                          </a:cxn>
                          <a:cxn ang="0">
                            <a:pos x="connsiteX1328" y="connsiteY1328"/>
                          </a:cxn>
                          <a:cxn ang="0">
                            <a:pos x="connsiteX1329" y="connsiteY1329"/>
                          </a:cxn>
                          <a:cxn ang="0">
                            <a:pos x="connsiteX1330" y="connsiteY1330"/>
                          </a:cxn>
                          <a:cxn ang="0">
                            <a:pos x="connsiteX1331" y="connsiteY1331"/>
                          </a:cxn>
                          <a:cxn ang="0">
                            <a:pos x="connsiteX1332" y="connsiteY1332"/>
                          </a:cxn>
                          <a:cxn ang="0">
                            <a:pos x="connsiteX1333" y="connsiteY1333"/>
                          </a:cxn>
                          <a:cxn ang="0">
                            <a:pos x="connsiteX1334" y="connsiteY1334"/>
                          </a:cxn>
                          <a:cxn ang="0">
                            <a:pos x="connsiteX1335" y="connsiteY1335"/>
                          </a:cxn>
                          <a:cxn ang="0">
                            <a:pos x="connsiteX1336" y="connsiteY1336"/>
                          </a:cxn>
                          <a:cxn ang="0">
                            <a:pos x="connsiteX1337" y="connsiteY1337"/>
                          </a:cxn>
                          <a:cxn ang="0">
                            <a:pos x="connsiteX1338" y="connsiteY1338"/>
                          </a:cxn>
                          <a:cxn ang="0">
                            <a:pos x="connsiteX1339" y="connsiteY1339"/>
                          </a:cxn>
                          <a:cxn ang="0">
                            <a:pos x="connsiteX1340" y="connsiteY1340"/>
                          </a:cxn>
                          <a:cxn ang="0">
                            <a:pos x="connsiteX1341" y="connsiteY1341"/>
                          </a:cxn>
                          <a:cxn ang="0">
                            <a:pos x="connsiteX1342" y="connsiteY1342"/>
                          </a:cxn>
                          <a:cxn ang="0">
                            <a:pos x="connsiteX1343" y="connsiteY1343"/>
                          </a:cxn>
                          <a:cxn ang="0">
                            <a:pos x="connsiteX1344" y="connsiteY1344"/>
                          </a:cxn>
                          <a:cxn ang="0">
                            <a:pos x="connsiteX1345" y="connsiteY1345"/>
                          </a:cxn>
                          <a:cxn ang="0">
                            <a:pos x="connsiteX1346" y="connsiteY1346"/>
                          </a:cxn>
                          <a:cxn ang="0">
                            <a:pos x="connsiteX1347" y="connsiteY1347"/>
                          </a:cxn>
                          <a:cxn ang="0">
                            <a:pos x="connsiteX1348" y="connsiteY1348"/>
                          </a:cxn>
                          <a:cxn ang="0">
                            <a:pos x="connsiteX1349" y="connsiteY1349"/>
                          </a:cxn>
                          <a:cxn ang="0">
                            <a:pos x="connsiteX1350" y="connsiteY1350"/>
                          </a:cxn>
                          <a:cxn ang="0">
                            <a:pos x="connsiteX1351" y="connsiteY1351"/>
                          </a:cxn>
                          <a:cxn ang="0">
                            <a:pos x="connsiteX1352" y="connsiteY1352"/>
                          </a:cxn>
                          <a:cxn ang="0">
                            <a:pos x="connsiteX1353" y="connsiteY1353"/>
                          </a:cxn>
                          <a:cxn ang="0">
                            <a:pos x="connsiteX1354" y="connsiteY1354"/>
                          </a:cxn>
                          <a:cxn ang="0">
                            <a:pos x="connsiteX1355" y="connsiteY1355"/>
                          </a:cxn>
                          <a:cxn ang="0">
                            <a:pos x="connsiteX1356" y="connsiteY1356"/>
                          </a:cxn>
                          <a:cxn ang="0">
                            <a:pos x="connsiteX1357" y="connsiteY1357"/>
                          </a:cxn>
                          <a:cxn ang="0">
                            <a:pos x="connsiteX1358" y="connsiteY1358"/>
                          </a:cxn>
                          <a:cxn ang="0">
                            <a:pos x="connsiteX1359" y="connsiteY1359"/>
                          </a:cxn>
                          <a:cxn ang="0">
                            <a:pos x="connsiteX1360" y="connsiteY1360"/>
                          </a:cxn>
                          <a:cxn ang="0">
                            <a:pos x="connsiteX1361" y="connsiteY1361"/>
                          </a:cxn>
                          <a:cxn ang="0">
                            <a:pos x="connsiteX1362" y="connsiteY1362"/>
                          </a:cxn>
                          <a:cxn ang="0">
                            <a:pos x="connsiteX1363" y="connsiteY1363"/>
                          </a:cxn>
                          <a:cxn ang="0">
                            <a:pos x="connsiteX1364" y="connsiteY1364"/>
                          </a:cxn>
                          <a:cxn ang="0">
                            <a:pos x="connsiteX1365" y="connsiteY1365"/>
                          </a:cxn>
                          <a:cxn ang="0">
                            <a:pos x="connsiteX1366" y="connsiteY1366"/>
                          </a:cxn>
                          <a:cxn ang="0">
                            <a:pos x="connsiteX1367" y="connsiteY1367"/>
                          </a:cxn>
                          <a:cxn ang="0">
                            <a:pos x="connsiteX1368" y="connsiteY1368"/>
                          </a:cxn>
                          <a:cxn ang="0">
                            <a:pos x="connsiteX1369" y="connsiteY1369"/>
                          </a:cxn>
                          <a:cxn ang="0">
                            <a:pos x="connsiteX1370" y="connsiteY1370"/>
                          </a:cxn>
                          <a:cxn ang="0">
                            <a:pos x="connsiteX1371" y="connsiteY1371"/>
                          </a:cxn>
                          <a:cxn ang="0">
                            <a:pos x="connsiteX1372" y="connsiteY1372"/>
                          </a:cxn>
                          <a:cxn ang="0">
                            <a:pos x="connsiteX1373" y="connsiteY1373"/>
                          </a:cxn>
                          <a:cxn ang="0">
                            <a:pos x="connsiteX1374" y="connsiteY1374"/>
                          </a:cxn>
                          <a:cxn ang="0">
                            <a:pos x="connsiteX1375" y="connsiteY1375"/>
                          </a:cxn>
                          <a:cxn ang="0">
                            <a:pos x="connsiteX1376" y="connsiteY1376"/>
                          </a:cxn>
                          <a:cxn ang="0">
                            <a:pos x="connsiteX1377" y="connsiteY1377"/>
                          </a:cxn>
                          <a:cxn ang="0">
                            <a:pos x="connsiteX1378" y="connsiteY1378"/>
                          </a:cxn>
                          <a:cxn ang="0">
                            <a:pos x="connsiteX1379" y="connsiteY1379"/>
                          </a:cxn>
                          <a:cxn ang="0">
                            <a:pos x="connsiteX1380" y="connsiteY1380"/>
                          </a:cxn>
                          <a:cxn ang="0">
                            <a:pos x="connsiteX1381" y="connsiteY1381"/>
                          </a:cxn>
                          <a:cxn ang="0">
                            <a:pos x="connsiteX1382" y="connsiteY1382"/>
                          </a:cxn>
                          <a:cxn ang="0">
                            <a:pos x="connsiteX1383" y="connsiteY1383"/>
                          </a:cxn>
                          <a:cxn ang="0">
                            <a:pos x="connsiteX1384" y="connsiteY1384"/>
                          </a:cxn>
                          <a:cxn ang="0">
                            <a:pos x="connsiteX1385" y="connsiteY1385"/>
                          </a:cxn>
                          <a:cxn ang="0">
                            <a:pos x="connsiteX1386" y="connsiteY1386"/>
                          </a:cxn>
                          <a:cxn ang="0">
                            <a:pos x="connsiteX1387" y="connsiteY1387"/>
                          </a:cxn>
                          <a:cxn ang="0">
                            <a:pos x="connsiteX1388" y="connsiteY1388"/>
                          </a:cxn>
                          <a:cxn ang="0">
                            <a:pos x="connsiteX1389" y="connsiteY1389"/>
                          </a:cxn>
                          <a:cxn ang="0">
                            <a:pos x="connsiteX1390" y="connsiteY1390"/>
                          </a:cxn>
                          <a:cxn ang="0">
                            <a:pos x="connsiteX1391" y="connsiteY1391"/>
                          </a:cxn>
                          <a:cxn ang="0">
                            <a:pos x="connsiteX1392" y="connsiteY1392"/>
                          </a:cxn>
                          <a:cxn ang="0">
                            <a:pos x="connsiteX1393" y="connsiteY1393"/>
                          </a:cxn>
                          <a:cxn ang="0">
                            <a:pos x="connsiteX1394" y="connsiteY1394"/>
                          </a:cxn>
                          <a:cxn ang="0">
                            <a:pos x="connsiteX1395" y="connsiteY1395"/>
                          </a:cxn>
                          <a:cxn ang="0">
                            <a:pos x="connsiteX1396" y="connsiteY1396"/>
                          </a:cxn>
                          <a:cxn ang="0">
                            <a:pos x="connsiteX1397" y="connsiteY1397"/>
                          </a:cxn>
                          <a:cxn ang="0">
                            <a:pos x="connsiteX1398" y="connsiteY1398"/>
                          </a:cxn>
                          <a:cxn ang="0">
                            <a:pos x="connsiteX1399" y="connsiteY1399"/>
                          </a:cxn>
                          <a:cxn ang="0">
                            <a:pos x="connsiteX1400" y="connsiteY1400"/>
                          </a:cxn>
                          <a:cxn ang="0">
                            <a:pos x="connsiteX1401" y="connsiteY1401"/>
                          </a:cxn>
                          <a:cxn ang="0">
                            <a:pos x="connsiteX1402" y="connsiteY1402"/>
                          </a:cxn>
                          <a:cxn ang="0">
                            <a:pos x="connsiteX1403" y="connsiteY1403"/>
                          </a:cxn>
                          <a:cxn ang="0">
                            <a:pos x="connsiteX1404" y="connsiteY1404"/>
                          </a:cxn>
                          <a:cxn ang="0">
                            <a:pos x="connsiteX1405" y="connsiteY1405"/>
                          </a:cxn>
                          <a:cxn ang="0">
                            <a:pos x="connsiteX1406" y="connsiteY1406"/>
                          </a:cxn>
                          <a:cxn ang="0">
                            <a:pos x="connsiteX1407" y="connsiteY1407"/>
                          </a:cxn>
                          <a:cxn ang="0">
                            <a:pos x="connsiteX1408" y="connsiteY1408"/>
                          </a:cxn>
                          <a:cxn ang="0">
                            <a:pos x="connsiteX1409" y="connsiteY1409"/>
                          </a:cxn>
                          <a:cxn ang="0">
                            <a:pos x="connsiteX1410" y="connsiteY1410"/>
                          </a:cxn>
                          <a:cxn ang="0">
                            <a:pos x="connsiteX1411" y="connsiteY1411"/>
                          </a:cxn>
                          <a:cxn ang="0">
                            <a:pos x="connsiteX1412" y="connsiteY1412"/>
                          </a:cxn>
                          <a:cxn ang="0">
                            <a:pos x="connsiteX1413" y="connsiteY1413"/>
                          </a:cxn>
                          <a:cxn ang="0">
                            <a:pos x="connsiteX1414" y="connsiteY1414"/>
                          </a:cxn>
                          <a:cxn ang="0">
                            <a:pos x="connsiteX1415" y="connsiteY1415"/>
                          </a:cxn>
                          <a:cxn ang="0">
                            <a:pos x="connsiteX1416" y="connsiteY1416"/>
                          </a:cxn>
                          <a:cxn ang="0">
                            <a:pos x="connsiteX1417" y="connsiteY1417"/>
                          </a:cxn>
                          <a:cxn ang="0">
                            <a:pos x="connsiteX1418" y="connsiteY1418"/>
                          </a:cxn>
                          <a:cxn ang="0">
                            <a:pos x="connsiteX1419" y="connsiteY1419"/>
                          </a:cxn>
                          <a:cxn ang="0">
                            <a:pos x="connsiteX1420" y="connsiteY1420"/>
                          </a:cxn>
                          <a:cxn ang="0">
                            <a:pos x="connsiteX1421" y="connsiteY1421"/>
                          </a:cxn>
                          <a:cxn ang="0">
                            <a:pos x="connsiteX1422" y="connsiteY1422"/>
                          </a:cxn>
                          <a:cxn ang="0">
                            <a:pos x="connsiteX1423" y="connsiteY1423"/>
                          </a:cxn>
                          <a:cxn ang="0">
                            <a:pos x="connsiteX1424" y="connsiteY1424"/>
                          </a:cxn>
                          <a:cxn ang="0">
                            <a:pos x="connsiteX1425" y="connsiteY1425"/>
                          </a:cxn>
                          <a:cxn ang="0">
                            <a:pos x="connsiteX1426" y="connsiteY1426"/>
                          </a:cxn>
                          <a:cxn ang="0">
                            <a:pos x="connsiteX1427" y="connsiteY1427"/>
                          </a:cxn>
                          <a:cxn ang="0">
                            <a:pos x="connsiteX1428" y="connsiteY1428"/>
                          </a:cxn>
                          <a:cxn ang="0">
                            <a:pos x="connsiteX1429" y="connsiteY1429"/>
                          </a:cxn>
                          <a:cxn ang="0">
                            <a:pos x="connsiteX1430" y="connsiteY1430"/>
                          </a:cxn>
                          <a:cxn ang="0">
                            <a:pos x="connsiteX1431" y="connsiteY1431"/>
                          </a:cxn>
                          <a:cxn ang="0">
                            <a:pos x="connsiteX1432" y="connsiteY1432"/>
                          </a:cxn>
                          <a:cxn ang="0">
                            <a:pos x="connsiteX1433" y="connsiteY1433"/>
                          </a:cxn>
                          <a:cxn ang="0">
                            <a:pos x="connsiteX1434" y="connsiteY1434"/>
                          </a:cxn>
                          <a:cxn ang="0">
                            <a:pos x="connsiteX1435" y="connsiteY1435"/>
                          </a:cxn>
                          <a:cxn ang="0">
                            <a:pos x="connsiteX1436" y="connsiteY1436"/>
                          </a:cxn>
                          <a:cxn ang="0">
                            <a:pos x="connsiteX1437" y="connsiteY1437"/>
                          </a:cxn>
                          <a:cxn ang="0">
                            <a:pos x="connsiteX1438" y="connsiteY1438"/>
                          </a:cxn>
                          <a:cxn ang="0">
                            <a:pos x="connsiteX1439" y="connsiteY1439"/>
                          </a:cxn>
                          <a:cxn ang="0">
                            <a:pos x="connsiteX1440" y="connsiteY1440"/>
                          </a:cxn>
                          <a:cxn ang="0">
                            <a:pos x="connsiteX1441" y="connsiteY1441"/>
                          </a:cxn>
                          <a:cxn ang="0">
                            <a:pos x="connsiteX1442" y="connsiteY1442"/>
                          </a:cxn>
                          <a:cxn ang="0">
                            <a:pos x="connsiteX1443" y="connsiteY1443"/>
                          </a:cxn>
                          <a:cxn ang="0">
                            <a:pos x="connsiteX1444" y="connsiteY1444"/>
                          </a:cxn>
                          <a:cxn ang="0">
                            <a:pos x="connsiteX1445" y="connsiteY1445"/>
                          </a:cxn>
                          <a:cxn ang="0">
                            <a:pos x="connsiteX1446" y="connsiteY1446"/>
                          </a:cxn>
                          <a:cxn ang="0">
                            <a:pos x="connsiteX1447" y="connsiteY1447"/>
                          </a:cxn>
                          <a:cxn ang="0">
                            <a:pos x="connsiteX1448" y="connsiteY1448"/>
                          </a:cxn>
                          <a:cxn ang="0">
                            <a:pos x="connsiteX1449" y="connsiteY1449"/>
                          </a:cxn>
                          <a:cxn ang="0">
                            <a:pos x="connsiteX1450" y="connsiteY1450"/>
                          </a:cxn>
                          <a:cxn ang="0">
                            <a:pos x="connsiteX1451" y="connsiteY1451"/>
                          </a:cxn>
                          <a:cxn ang="0">
                            <a:pos x="connsiteX1452" y="connsiteY1452"/>
                          </a:cxn>
                          <a:cxn ang="0">
                            <a:pos x="connsiteX1453" y="connsiteY1453"/>
                          </a:cxn>
                          <a:cxn ang="0">
                            <a:pos x="connsiteX1454" y="connsiteY1454"/>
                          </a:cxn>
                          <a:cxn ang="0">
                            <a:pos x="connsiteX1455" y="connsiteY1455"/>
                          </a:cxn>
                          <a:cxn ang="0">
                            <a:pos x="connsiteX1456" y="connsiteY1456"/>
                          </a:cxn>
                          <a:cxn ang="0">
                            <a:pos x="connsiteX1457" y="connsiteY1457"/>
                          </a:cxn>
                          <a:cxn ang="0">
                            <a:pos x="connsiteX1458" y="connsiteY1458"/>
                          </a:cxn>
                          <a:cxn ang="0">
                            <a:pos x="connsiteX1459" y="connsiteY1459"/>
                          </a:cxn>
                          <a:cxn ang="0">
                            <a:pos x="connsiteX1460" y="connsiteY1460"/>
                          </a:cxn>
                          <a:cxn ang="0">
                            <a:pos x="connsiteX1461" y="connsiteY1461"/>
                          </a:cxn>
                          <a:cxn ang="0">
                            <a:pos x="connsiteX1462" y="connsiteY1462"/>
                          </a:cxn>
                          <a:cxn ang="0">
                            <a:pos x="connsiteX1463" y="connsiteY1463"/>
                          </a:cxn>
                          <a:cxn ang="0">
                            <a:pos x="connsiteX1464" y="connsiteY1464"/>
                          </a:cxn>
                          <a:cxn ang="0">
                            <a:pos x="connsiteX1465" y="connsiteY1465"/>
                          </a:cxn>
                          <a:cxn ang="0">
                            <a:pos x="connsiteX1466" y="connsiteY1466"/>
                          </a:cxn>
                          <a:cxn ang="0">
                            <a:pos x="connsiteX1467" y="connsiteY1467"/>
                          </a:cxn>
                          <a:cxn ang="0">
                            <a:pos x="connsiteX1468" y="connsiteY1468"/>
                          </a:cxn>
                          <a:cxn ang="0">
                            <a:pos x="connsiteX1469" y="connsiteY1469"/>
                          </a:cxn>
                          <a:cxn ang="0">
                            <a:pos x="connsiteX1470" y="connsiteY1470"/>
                          </a:cxn>
                          <a:cxn ang="0">
                            <a:pos x="connsiteX1471" y="connsiteY1471"/>
                          </a:cxn>
                          <a:cxn ang="0">
                            <a:pos x="connsiteX1472" y="connsiteY1472"/>
                          </a:cxn>
                          <a:cxn ang="0">
                            <a:pos x="connsiteX1473" y="connsiteY1473"/>
                          </a:cxn>
                          <a:cxn ang="0">
                            <a:pos x="connsiteX1474" y="connsiteY1474"/>
                          </a:cxn>
                          <a:cxn ang="0">
                            <a:pos x="connsiteX1475" y="connsiteY1475"/>
                          </a:cxn>
                          <a:cxn ang="0">
                            <a:pos x="connsiteX1476" y="connsiteY1476"/>
                          </a:cxn>
                          <a:cxn ang="0">
                            <a:pos x="connsiteX1477" y="connsiteY1477"/>
                          </a:cxn>
                          <a:cxn ang="0">
                            <a:pos x="connsiteX1478" y="connsiteY1478"/>
                          </a:cxn>
                          <a:cxn ang="0">
                            <a:pos x="connsiteX1479" y="connsiteY1479"/>
                          </a:cxn>
                          <a:cxn ang="0">
                            <a:pos x="connsiteX1480" y="connsiteY1480"/>
                          </a:cxn>
                          <a:cxn ang="0">
                            <a:pos x="connsiteX1481" y="connsiteY1481"/>
                          </a:cxn>
                          <a:cxn ang="0">
                            <a:pos x="connsiteX1482" y="connsiteY1482"/>
                          </a:cxn>
                          <a:cxn ang="0">
                            <a:pos x="connsiteX1483" y="connsiteY1483"/>
                          </a:cxn>
                          <a:cxn ang="0">
                            <a:pos x="connsiteX1484" y="connsiteY1484"/>
                          </a:cxn>
                          <a:cxn ang="0">
                            <a:pos x="connsiteX1485" y="connsiteY1485"/>
                          </a:cxn>
                          <a:cxn ang="0">
                            <a:pos x="connsiteX1486" y="connsiteY1486"/>
                          </a:cxn>
                          <a:cxn ang="0">
                            <a:pos x="connsiteX1487" y="connsiteY1487"/>
                          </a:cxn>
                          <a:cxn ang="0">
                            <a:pos x="connsiteX1488" y="connsiteY1488"/>
                          </a:cxn>
                          <a:cxn ang="0">
                            <a:pos x="connsiteX1489" y="connsiteY1489"/>
                          </a:cxn>
                          <a:cxn ang="0">
                            <a:pos x="connsiteX1490" y="connsiteY1490"/>
                          </a:cxn>
                          <a:cxn ang="0">
                            <a:pos x="connsiteX1491" y="connsiteY1491"/>
                          </a:cxn>
                          <a:cxn ang="0">
                            <a:pos x="connsiteX1492" y="connsiteY1492"/>
                          </a:cxn>
                          <a:cxn ang="0">
                            <a:pos x="connsiteX1493" y="connsiteY1493"/>
                          </a:cxn>
                          <a:cxn ang="0">
                            <a:pos x="connsiteX1494" y="connsiteY1494"/>
                          </a:cxn>
                          <a:cxn ang="0">
                            <a:pos x="connsiteX1495" y="connsiteY1495"/>
                          </a:cxn>
                          <a:cxn ang="0">
                            <a:pos x="connsiteX1496" y="connsiteY1496"/>
                          </a:cxn>
                          <a:cxn ang="0">
                            <a:pos x="connsiteX1497" y="connsiteY1497"/>
                          </a:cxn>
                          <a:cxn ang="0">
                            <a:pos x="connsiteX1498" y="connsiteY1498"/>
                          </a:cxn>
                          <a:cxn ang="0">
                            <a:pos x="connsiteX1499" y="connsiteY1499"/>
                          </a:cxn>
                          <a:cxn ang="0">
                            <a:pos x="connsiteX1500" y="connsiteY1500"/>
                          </a:cxn>
                          <a:cxn ang="0">
                            <a:pos x="connsiteX1501" y="connsiteY1501"/>
                          </a:cxn>
                          <a:cxn ang="0">
                            <a:pos x="connsiteX1502" y="connsiteY1502"/>
                          </a:cxn>
                          <a:cxn ang="0">
                            <a:pos x="connsiteX1503" y="connsiteY1503"/>
                          </a:cxn>
                          <a:cxn ang="0">
                            <a:pos x="connsiteX1504" y="connsiteY1504"/>
                          </a:cxn>
                          <a:cxn ang="0">
                            <a:pos x="connsiteX1505" y="connsiteY1505"/>
                          </a:cxn>
                          <a:cxn ang="0">
                            <a:pos x="connsiteX1506" y="connsiteY1506"/>
                          </a:cxn>
                          <a:cxn ang="0">
                            <a:pos x="connsiteX1507" y="connsiteY1507"/>
                          </a:cxn>
                          <a:cxn ang="0">
                            <a:pos x="connsiteX1508" y="connsiteY1508"/>
                          </a:cxn>
                          <a:cxn ang="0">
                            <a:pos x="connsiteX1509" y="connsiteY1509"/>
                          </a:cxn>
                          <a:cxn ang="0">
                            <a:pos x="connsiteX1510" y="connsiteY1510"/>
                          </a:cxn>
                          <a:cxn ang="0">
                            <a:pos x="connsiteX1511" y="connsiteY1511"/>
                          </a:cxn>
                          <a:cxn ang="0">
                            <a:pos x="connsiteX1512" y="connsiteY1512"/>
                          </a:cxn>
                          <a:cxn ang="0">
                            <a:pos x="connsiteX1513" y="connsiteY1513"/>
                          </a:cxn>
                          <a:cxn ang="0">
                            <a:pos x="connsiteX1514" y="connsiteY1514"/>
                          </a:cxn>
                          <a:cxn ang="0">
                            <a:pos x="connsiteX1515" y="connsiteY1515"/>
                          </a:cxn>
                          <a:cxn ang="0">
                            <a:pos x="connsiteX1516" y="connsiteY1516"/>
                          </a:cxn>
                          <a:cxn ang="0">
                            <a:pos x="connsiteX1517" y="connsiteY1517"/>
                          </a:cxn>
                          <a:cxn ang="0">
                            <a:pos x="connsiteX1518" y="connsiteY1518"/>
                          </a:cxn>
                          <a:cxn ang="0">
                            <a:pos x="connsiteX1519" y="connsiteY1519"/>
                          </a:cxn>
                          <a:cxn ang="0">
                            <a:pos x="connsiteX1520" y="connsiteY1520"/>
                          </a:cxn>
                          <a:cxn ang="0">
                            <a:pos x="connsiteX1521" y="connsiteY1521"/>
                          </a:cxn>
                          <a:cxn ang="0">
                            <a:pos x="connsiteX1522" y="connsiteY1522"/>
                          </a:cxn>
                          <a:cxn ang="0">
                            <a:pos x="connsiteX1523" y="connsiteY1523"/>
                          </a:cxn>
                          <a:cxn ang="0">
                            <a:pos x="connsiteX1524" y="connsiteY1524"/>
                          </a:cxn>
                          <a:cxn ang="0">
                            <a:pos x="connsiteX1525" y="connsiteY1525"/>
                          </a:cxn>
                          <a:cxn ang="0">
                            <a:pos x="connsiteX1526" y="connsiteY1526"/>
                          </a:cxn>
                          <a:cxn ang="0">
                            <a:pos x="connsiteX1527" y="connsiteY1527"/>
                          </a:cxn>
                          <a:cxn ang="0">
                            <a:pos x="connsiteX1528" y="connsiteY1528"/>
                          </a:cxn>
                          <a:cxn ang="0">
                            <a:pos x="connsiteX1529" y="connsiteY1529"/>
                          </a:cxn>
                          <a:cxn ang="0">
                            <a:pos x="connsiteX1530" y="connsiteY1530"/>
                          </a:cxn>
                          <a:cxn ang="0">
                            <a:pos x="connsiteX1531" y="connsiteY1531"/>
                          </a:cxn>
                          <a:cxn ang="0">
                            <a:pos x="connsiteX1532" y="connsiteY1532"/>
                          </a:cxn>
                          <a:cxn ang="0">
                            <a:pos x="connsiteX1533" y="connsiteY1533"/>
                          </a:cxn>
                          <a:cxn ang="0">
                            <a:pos x="connsiteX1534" y="connsiteY1534"/>
                          </a:cxn>
                          <a:cxn ang="0">
                            <a:pos x="connsiteX1535" y="connsiteY1535"/>
                          </a:cxn>
                          <a:cxn ang="0">
                            <a:pos x="connsiteX1536" y="connsiteY1536"/>
                          </a:cxn>
                          <a:cxn ang="0">
                            <a:pos x="connsiteX1537" y="connsiteY1537"/>
                          </a:cxn>
                          <a:cxn ang="0">
                            <a:pos x="connsiteX1538" y="connsiteY1538"/>
                          </a:cxn>
                          <a:cxn ang="0">
                            <a:pos x="connsiteX1539" y="connsiteY1539"/>
                          </a:cxn>
                          <a:cxn ang="0">
                            <a:pos x="connsiteX1540" y="connsiteY1540"/>
                          </a:cxn>
                          <a:cxn ang="0">
                            <a:pos x="connsiteX1541" y="connsiteY1541"/>
                          </a:cxn>
                          <a:cxn ang="0">
                            <a:pos x="connsiteX1542" y="connsiteY1542"/>
                          </a:cxn>
                          <a:cxn ang="0">
                            <a:pos x="connsiteX1543" y="connsiteY1543"/>
                          </a:cxn>
                          <a:cxn ang="0">
                            <a:pos x="connsiteX1544" y="connsiteY1544"/>
                          </a:cxn>
                          <a:cxn ang="0">
                            <a:pos x="connsiteX1545" y="connsiteY1545"/>
                          </a:cxn>
                          <a:cxn ang="0">
                            <a:pos x="connsiteX1546" y="connsiteY1546"/>
                          </a:cxn>
                          <a:cxn ang="0">
                            <a:pos x="connsiteX1547" y="connsiteY1547"/>
                          </a:cxn>
                          <a:cxn ang="0">
                            <a:pos x="connsiteX1548" y="connsiteY1548"/>
                          </a:cxn>
                          <a:cxn ang="0">
                            <a:pos x="connsiteX1549" y="connsiteY1549"/>
                          </a:cxn>
                          <a:cxn ang="0">
                            <a:pos x="connsiteX1550" y="connsiteY1550"/>
                          </a:cxn>
                          <a:cxn ang="0">
                            <a:pos x="connsiteX1551" y="connsiteY1551"/>
                          </a:cxn>
                          <a:cxn ang="0">
                            <a:pos x="connsiteX1552" y="connsiteY1552"/>
                          </a:cxn>
                          <a:cxn ang="0">
                            <a:pos x="connsiteX1553" y="connsiteY1553"/>
                          </a:cxn>
                          <a:cxn ang="0">
                            <a:pos x="connsiteX1554" y="connsiteY1554"/>
                          </a:cxn>
                          <a:cxn ang="0">
                            <a:pos x="connsiteX1555" y="connsiteY1555"/>
                          </a:cxn>
                          <a:cxn ang="0">
                            <a:pos x="connsiteX1556" y="connsiteY1556"/>
                          </a:cxn>
                          <a:cxn ang="0">
                            <a:pos x="connsiteX1557" y="connsiteY1557"/>
                          </a:cxn>
                          <a:cxn ang="0">
                            <a:pos x="connsiteX1558" y="connsiteY1558"/>
                          </a:cxn>
                          <a:cxn ang="0">
                            <a:pos x="connsiteX1559" y="connsiteY1559"/>
                          </a:cxn>
                          <a:cxn ang="0">
                            <a:pos x="connsiteX1560" y="connsiteY1560"/>
                          </a:cxn>
                          <a:cxn ang="0">
                            <a:pos x="connsiteX1561" y="connsiteY1561"/>
                          </a:cxn>
                          <a:cxn ang="0">
                            <a:pos x="connsiteX1562" y="connsiteY1562"/>
                          </a:cxn>
                          <a:cxn ang="0">
                            <a:pos x="connsiteX1563" y="connsiteY1563"/>
                          </a:cxn>
                          <a:cxn ang="0">
                            <a:pos x="connsiteX1564" y="connsiteY1564"/>
                          </a:cxn>
                          <a:cxn ang="0">
                            <a:pos x="connsiteX1565" y="connsiteY1565"/>
                          </a:cxn>
                          <a:cxn ang="0">
                            <a:pos x="connsiteX1566" y="connsiteY1566"/>
                          </a:cxn>
                          <a:cxn ang="0">
                            <a:pos x="connsiteX1567" y="connsiteY1567"/>
                          </a:cxn>
                          <a:cxn ang="0">
                            <a:pos x="connsiteX1568" y="connsiteY1568"/>
                          </a:cxn>
                          <a:cxn ang="0">
                            <a:pos x="connsiteX1569" y="connsiteY1569"/>
                          </a:cxn>
                          <a:cxn ang="0">
                            <a:pos x="connsiteX1570" y="connsiteY1570"/>
                          </a:cxn>
                          <a:cxn ang="0">
                            <a:pos x="connsiteX1571" y="connsiteY1571"/>
                          </a:cxn>
                          <a:cxn ang="0">
                            <a:pos x="connsiteX1572" y="connsiteY1572"/>
                          </a:cxn>
                          <a:cxn ang="0">
                            <a:pos x="connsiteX1573" y="connsiteY1573"/>
                          </a:cxn>
                          <a:cxn ang="0">
                            <a:pos x="connsiteX1574" y="connsiteY1574"/>
                          </a:cxn>
                          <a:cxn ang="0">
                            <a:pos x="connsiteX1575" y="connsiteY1575"/>
                          </a:cxn>
                          <a:cxn ang="0">
                            <a:pos x="connsiteX1576" y="connsiteY1576"/>
                          </a:cxn>
                          <a:cxn ang="0">
                            <a:pos x="connsiteX1577" y="connsiteY1577"/>
                          </a:cxn>
                          <a:cxn ang="0">
                            <a:pos x="connsiteX1578" y="connsiteY1578"/>
                          </a:cxn>
                          <a:cxn ang="0">
                            <a:pos x="connsiteX1579" y="connsiteY1579"/>
                          </a:cxn>
                          <a:cxn ang="0">
                            <a:pos x="connsiteX1580" y="connsiteY1580"/>
                          </a:cxn>
                          <a:cxn ang="0">
                            <a:pos x="connsiteX1581" y="connsiteY1581"/>
                          </a:cxn>
                          <a:cxn ang="0">
                            <a:pos x="connsiteX1582" y="connsiteY1582"/>
                          </a:cxn>
                          <a:cxn ang="0">
                            <a:pos x="connsiteX1583" y="connsiteY1583"/>
                          </a:cxn>
                          <a:cxn ang="0">
                            <a:pos x="connsiteX1584" y="connsiteY1584"/>
                          </a:cxn>
                          <a:cxn ang="0">
                            <a:pos x="connsiteX1585" y="connsiteY1585"/>
                          </a:cxn>
                          <a:cxn ang="0">
                            <a:pos x="connsiteX1586" y="connsiteY1586"/>
                          </a:cxn>
                          <a:cxn ang="0">
                            <a:pos x="connsiteX1587" y="connsiteY1587"/>
                          </a:cxn>
                          <a:cxn ang="0">
                            <a:pos x="connsiteX1588" y="connsiteY1588"/>
                          </a:cxn>
                          <a:cxn ang="0">
                            <a:pos x="connsiteX1589" y="connsiteY1589"/>
                          </a:cxn>
                          <a:cxn ang="0">
                            <a:pos x="connsiteX1590" y="connsiteY1590"/>
                          </a:cxn>
                          <a:cxn ang="0">
                            <a:pos x="connsiteX1591" y="connsiteY1591"/>
                          </a:cxn>
                          <a:cxn ang="0">
                            <a:pos x="connsiteX1592" y="connsiteY1592"/>
                          </a:cxn>
                          <a:cxn ang="0">
                            <a:pos x="connsiteX1593" y="connsiteY1593"/>
                          </a:cxn>
                          <a:cxn ang="0">
                            <a:pos x="connsiteX1594" y="connsiteY1594"/>
                          </a:cxn>
                          <a:cxn ang="0">
                            <a:pos x="connsiteX1595" y="connsiteY1595"/>
                          </a:cxn>
                          <a:cxn ang="0">
                            <a:pos x="connsiteX1596" y="connsiteY1596"/>
                          </a:cxn>
                          <a:cxn ang="0">
                            <a:pos x="connsiteX1597" y="connsiteY1597"/>
                          </a:cxn>
                          <a:cxn ang="0">
                            <a:pos x="connsiteX1598" y="connsiteY1598"/>
                          </a:cxn>
                          <a:cxn ang="0">
                            <a:pos x="connsiteX1599" y="connsiteY1599"/>
                          </a:cxn>
                          <a:cxn ang="0">
                            <a:pos x="connsiteX1600" y="connsiteY1600"/>
                          </a:cxn>
                          <a:cxn ang="0">
                            <a:pos x="connsiteX1601" y="connsiteY1601"/>
                          </a:cxn>
                          <a:cxn ang="0">
                            <a:pos x="connsiteX1602" y="connsiteY1602"/>
                          </a:cxn>
                          <a:cxn ang="0">
                            <a:pos x="connsiteX1603" y="connsiteY1603"/>
                          </a:cxn>
                          <a:cxn ang="0">
                            <a:pos x="connsiteX1604" y="connsiteY1604"/>
                          </a:cxn>
                          <a:cxn ang="0">
                            <a:pos x="connsiteX1605" y="connsiteY1605"/>
                          </a:cxn>
                          <a:cxn ang="0">
                            <a:pos x="connsiteX1606" y="connsiteY1606"/>
                          </a:cxn>
                          <a:cxn ang="0">
                            <a:pos x="connsiteX1607" y="connsiteY1607"/>
                          </a:cxn>
                          <a:cxn ang="0">
                            <a:pos x="connsiteX1608" y="connsiteY1608"/>
                          </a:cxn>
                          <a:cxn ang="0">
                            <a:pos x="connsiteX1609" y="connsiteY1609"/>
                          </a:cxn>
                          <a:cxn ang="0">
                            <a:pos x="connsiteX1610" y="connsiteY1610"/>
                          </a:cxn>
                          <a:cxn ang="0">
                            <a:pos x="connsiteX1611" y="connsiteY1611"/>
                          </a:cxn>
                          <a:cxn ang="0">
                            <a:pos x="connsiteX1612" y="connsiteY1612"/>
                          </a:cxn>
                          <a:cxn ang="0">
                            <a:pos x="connsiteX1613" y="connsiteY1613"/>
                          </a:cxn>
                          <a:cxn ang="0">
                            <a:pos x="connsiteX1614" y="connsiteY1614"/>
                          </a:cxn>
                          <a:cxn ang="0">
                            <a:pos x="connsiteX1615" y="connsiteY1615"/>
                          </a:cxn>
                          <a:cxn ang="0">
                            <a:pos x="connsiteX1616" y="connsiteY1616"/>
                          </a:cxn>
                          <a:cxn ang="0">
                            <a:pos x="connsiteX1617" y="connsiteY1617"/>
                          </a:cxn>
                          <a:cxn ang="0">
                            <a:pos x="connsiteX1618" y="connsiteY1618"/>
                          </a:cxn>
                          <a:cxn ang="0">
                            <a:pos x="connsiteX1619" y="connsiteY1619"/>
                          </a:cxn>
                          <a:cxn ang="0">
                            <a:pos x="connsiteX1620" y="connsiteY1620"/>
                          </a:cxn>
                          <a:cxn ang="0">
                            <a:pos x="connsiteX1621" y="connsiteY1621"/>
                          </a:cxn>
                          <a:cxn ang="0">
                            <a:pos x="connsiteX1622" y="connsiteY1622"/>
                          </a:cxn>
                          <a:cxn ang="0">
                            <a:pos x="connsiteX1623" y="connsiteY1623"/>
                          </a:cxn>
                          <a:cxn ang="0">
                            <a:pos x="connsiteX1624" y="connsiteY1624"/>
                          </a:cxn>
                          <a:cxn ang="0">
                            <a:pos x="connsiteX1625" y="connsiteY1625"/>
                          </a:cxn>
                          <a:cxn ang="0">
                            <a:pos x="connsiteX1626" y="connsiteY1626"/>
                          </a:cxn>
                          <a:cxn ang="0">
                            <a:pos x="connsiteX1627" y="connsiteY1627"/>
                          </a:cxn>
                          <a:cxn ang="0">
                            <a:pos x="connsiteX1628" y="connsiteY1628"/>
                          </a:cxn>
                          <a:cxn ang="0">
                            <a:pos x="connsiteX1629" y="connsiteY1629"/>
                          </a:cxn>
                          <a:cxn ang="0">
                            <a:pos x="connsiteX1630" y="connsiteY1630"/>
                          </a:cxn>
                          <a:cxn ang="0">
                            <a:pos x="connsiteX1631" y="connsiteY1631"/>
                          </a:cxn>
                          <a:cxn ang="0">
                            <a:pos x="connsiteX1632" y="connsiteY1632"/>
                          </a:cxn>
                          <a:cxn ang="0">
                            <a:pos x="connsiteX1633" y="connsiteY1633"/>
                          </a:cxn>
                          <a:cxn ang="0">
                            <a:pos x="connsiteX1634" y="connsiteY1634"/>
                          </a:cxn>
                          <a:cxn ang="0">
                            <a:pos x="connsiteX1635" y="connsiteY1635"/>
                          </a:cxn>
                          <a:cxn ang="0">
                            <a:pos x="connsiteX1636" y="connsiteY1636"/>
                          </a:cxn>
                          <a:cxn ang="0">
                            <a:pos x="connsiteX1637" y="connsiteY1637"/>
                          </a:cxn>
                          <a:cxn ang="0">
                            <a:pos x="connsiteX1638" y="connsiteY1638"/>
                          </a:cxn>
                          <a:cxn ang="0">
                            <a:pos x="connsiteX1639" y="connsiteY1639"/>
                          </a:cxn>
                          <a:cxn ang="0">
                            <a:pos x="connsiteX1640" y="connsiteY1640"/>
                          </a:cxn>
                          <a:cxn ang="0">
                            <a:pos x="connsiteX1641" y="connsiteY1641"/>
                          </a:cxn>
                          <a:cxn ang="0">
                            <a:pos x="connsiteX1642" y="connsiteY1642"/>
                          </a:cxn>
                          <a:cxn ang="0">
                            <a:pos x="connsiteX1643" y="connsiteY1643"/>
                          </a:cxn>
                          <a:cxn ang="0">
                            <a:pos x="connsiteX1644" y="connsiteY1644"/>
                          </a:cxn>
                          <a:cxn ang="0">
                            <a:pos x="connsiteX1645" y="connsiteY1645"/>
                          </a:cxn>
                          <a:cxn ang="0">
                            <a:pos x="connsiteX1646" y="connsiteY1646"/>
                          </a:cxn>
                          <a:cxn ang="0">
                            <a:pos x="connsiteX1647" y="connsiteY1647"/>
                          </a:cxn>
                          <a:cxn ang="0">
                            <a:pos x="connsiteX1648" y="connsiteY1648"/>
                          </a:cxn>
                          <a:cxn ang="0">
                            <a:pos x="connsiteX1649" y="connsiteY1649"/>
                          </a:cxn>
                          <a:cxn ang="0">
                            <a:pos x="connsiteX1650" y="connsiteY1650"/>
                          </a:cxn>
                          <a:cxn ang="0">
                            <a:pos x="connsiteX1651" y="connsiteY1651"/>
                          </a:cxn>
                          <a:cxn ang="0">
                            <a:pos x="connsiteX1652" y="connsiteY1652"/>
                          </a:cxn>
                          <a:cxn ang="0">
                            <a:pos x="connsiteX1653" y="connsiteY1653"/>
                          </a:cxn>
                          <a:cxn ang="0">
                            <a:pos x="connsiteX1654" y="connsiteY1654"/>
                          </a:cxn>
                          <a:cxn ang="0">
                            <a:pos x="connsiteX1655" y="connsiteY1655"/>
                          </a:cxn>
                          <a:cxn ang="0">
                            <a:pos x="connsiteX1656" y="connsiteY1656"/>
                          </a:cxn>
                          <a:cxn ang="0">
                            <a:pos x="connsiteX1657" y="connsiteY1657"/>
                          </a:cxn>
                          <a:cxn ang="0">
                            <a:pos x="connsiteX1658" y="connsiteY1658"/>
                          </a:cxn>
                          <a:cxn ang="0">
                            <a:pos x="connsiteX1659" y="connsiteY1659"/>
                          </a:cxn>
                          <a:cxn ang="0">
                            <a:pos x="connsiteX1660" y="connsiteY1660"/>
                          </a:cxn>
                          <a:cxn ang="0">
                            <a:pos x="connsiteX1661" y="connsiteY1661"/>
                          </a:cxn>
                          <a:cxn ang="0">
                            <a:pos x="connsiteX1662" y="connsiteY1662"/>
                          </a:cxn>
                          <a:cxn ang="0">
                            <a:pos x="connsiteX1663" y="connsiteY1663"/>
                          </a:cxn>
                          <a:cxn ang="0">
                            <a:pos x="connsiteX1664" y="connsiteY1664"/>
                          </a:cxn>
                          <a:cxn ang="0">
                            <a:pos x="connsiteX1665" y="connsiteY1665"/>
                          </a:cxn>
                          <a:cxn ang="0">
                            <a:pos x="connsiteX1666" y="connsiteY1666"/>
                          </a:cxn>
                          <a:cxn ang="0">
                            <a:pos x="connsiteX1667" y="connsiteY1667"/>
                          </a:cxn>
                          <a:cxn ang="0">
                            <a:pos x="connsiteX1668" y="connsiteY1668"/>
                          </a:cxn>
                          <a:cxn ang="0">
                            <a:pos x="connsiteX1669" y="connsiteY1669"/>
                          </a:cxn>
                          <a:cxn ang="0">
                            <a:pos x="connsiteX1670" y="connsiteY1670"/>
                          </a:cxn>
                          <a:cxn ang="0">
                            <a:pos x="connsiteX1671" y="connsiteY1671"/>
                          </a:cxn>
                          <a:cxn ang="0">
                            <a:pos x="connsiteX1672" y="connsiteY1672"/>
                          </a:cxn>
                          <a:cxn ang="0">
                            <a:pos x="connsiteX1673" y="connsiteY1673"/>
                          </a:cxn>
                          <a:cxn ang="0">
                            <a:pos x="connsiteX1674" y="connsiteY1674"/>
                          </a:cxn>
                          <a:cxn ang="0">
                            <a:pos x="connsiteX1675" y="connsiteY1675"/>
                          </a:cxn>
                          <a:cxn ang="0">
                            <a:pos x="connsiteX1676" y="connsiteY1676"/>
                          </a:cxn>
                          <a:cxn ang="0">
                            <a:pos x="connsiteX1677" y="connsiteY1677"/>
                          </a:cxn>
                          <a:cxn ang="0">
                            <a:pos x="connsiteX1678" y="connsiteY1678"/>
                          </a:cxn>
                          <a:cxn ang="0">
                            <a:pos x="connsiteX1679" y="connsiteY1679"/>
                          </a:cxn>
                          <a:cxn ang="0">
                            <a:pos x="connsiteX1680" y="connsiteY1680"/>
                          </a:cxn>
                          <a:cxn ang="0">
                            <a:pos x="connsiteX1681" y="connsiteY1681"/>
                          </a:cxn>
                          <a:cxn ang="0">
                            <a:pos x="connsiteX1682" y="connsiteY1682"/>
                          </a:cxn>
                          <a:cxn ang="0">
                            <a:pos x="connsiteX1683" y="connsiteY1683"/>
                          </a:cxn>
                          <a:cxn ang="0">
                            <a:pos x="connsiteX1684" y="connsiteY1684"/>
                          </a:cxn>
                          <a:cxn ang="0">
                            <a:pos x="connsiteX1685" y="connsiteY1685"/>
                          </a:cxn>
                          <a:cxn ang="0">
                            <a:pos x="connsiteX1686" y="connsiteY1686"/>
                          </a:cxn>
                          <a:cxn ang="0">
                            <a:pos x="connsiteX1687" y="connsiteY1687"/>
                          </a:cxn>
                          <a:cxn ang="0">
                            <a:pos x="connsiteX1688" y="connsiteY1688"/>
                          </a:cxn>
                          <a:cxn ang="0">
                            <a:pos x="connsiteX1689" y="connsiteY1689"/>
                          </a:cxn>
                          <a:cxn ang="0">
                            <a:pos x="connsiteX1690" y="connsiteY1690"/>
                          </a:cxn>
                          <a:cxn ang="0">
                            <a:pos x="connsiteX1691" y="connsiteY1691"/>
                          </a:cxn>
                          <a:cxn ang="0">
                            <a:pos x="connsiteX1692" y="connsiteY1692"/>
                          </a:cxn>
                          <a:cxn ang="0">
                            <a:pos x="connsiteX1693" y="connsiteY1693"/>
                          </a:cxn>
                          <a:cxn ang="0">
                            <a:pos x="connsiteX1694" y="connsiteY1694"/>
                          </a:cxn>
                          <a:cxn ang="0">
                            <a:pos x="connsiteX1695" y="connsiteY1695"/>
                          </a:cxn>
                          <a:cxn ang="0">
                            <a:pos x="connsiteX1696" y="connsiteY1696"/>
                          </a:cxn>
                          <a:cxn ang="0">
                            <a:pos x="connsiteX1697" y="connsiteY1697"/>
                          </a:cxn>
                          <a:cxn ang="0">
                            <a:pos x="connsiteX1698" y="connsiteY1698"/>
                          </a:cxn>
                          <a:cxn ang="0">
                            <a:pos x="connsiteX1699" y="connsiteY1699"/>
                          </a:cxn>
                          <a:cxn ang="0">
                            <a:pos x="connsiteX1700" y="connsiteY1700"/>
                          </a:cxn>
                          <a:cxn ang="0">
                            <a:pos x="connsiteX1701" y="connsiteY1701"/>
                          </a:cxn>
                          <a:cxn ang="0">
                            <a:pos x="connsiteX1702" y="connsiteY1702"/>
                          </a:cxn>
                          <a:cxn ang="0">
                            <a:pos x="connsiteX1703" y="connsiteY1703"/>
                          </a:cxn>
                          <a:cxn ang="0">
                            <a:pos x="connsiteX1704" y="connsiteY1704"/>
                          </a:cxn>
                          <a:cxn ang="0">
                            <a:pos x="connsiteX1705" y="connsiteY1705"/>
                          </a:cxn>
                          <a:cxn ang="0">
                            <a:pos x="connsiteX1706" y="connsiteY1706"/>
                          </a:cxn>
                          <a:cxn ang="0">
                            <a:pos x="connsiteX1707" y="connsiteY1707"/>
                          </a:cxn>
                          <a:cxn ang="0">
                            <a:pos x="connsiteX1708" y="connsiteY1708"/>
                          </a:cxn>
                          <a:cxn ang="0">
                            <a:pos x="connsiteX1709" y="connsiteY1709"/>
                          </a:cxn>
                          <a:cxn ang="0">
                            <a:pos x="connsiteX1710" y="connsiteY1710"/>
                          </a:cxn>
                          <a:cxn ang="0">
                            <a:pos x="connsiteX1711" y="connsiteY1711"/>
                          </a:cxn>
                          <a:cxn ang="0">
                            <a:pos x="connsiteX1712" y="connsiteY1712"/>
                          </a:cxn>
                          <a:cxn ang="0">
                            <a:pos x="connsiteX1713" y="connsiteY1713"/>
                          </a:cxn>
                          <a:cxn ang="0">
                            <a:pos x="connsiteX1714" y="connsiteY1714"/>
                          </a:cxn>
                          <a:cxn ang="0">
                            <a:pos x="connsiteX1715" y="connsiteY1715"/>
                          </a:cxn>
                          <a:cxn ang="0">
                            <a:pos x="connsiteX1716" y="connsiteY1716"/>
                          </a:cxn>
                          <a:cxn ang="0">
                            <a:pos x="connsiteX1717" y="connsiteY1717"/>
                          </a:cxn>
                          <a:cxn ang="0">
                            <a:pos x="connsiteX1718" y="connsiteY1718"/>
                          </a:cxn>
                          <a:cxn ang="0">
                            <a:pos x="connsiteX1719" y="connsiteY1719"/>
                          </a:cxn>
                          <a:cxn ang="0">
                            <a:pos x="connsiteX1720" y="connsiteY1720"/>
                          </a:cxn>
                          <a:cxn ang="0">
                            <a:pos x="connsiteX1721" y="connsiteY1721"/>
                          </a:cxn>
                          <a:cxn ang="0">
                            <a:pos x="connsiteX1722" y="connsiteY1722"/>
                          </a:cxn>
                          <a:cxn ang="0">
                            <a:pos x="connsiteX1723" y="connsiteY1723"/>
                          </a:cxn>
                          <a:cxn ang="0">
                            <a:pos x="connsiteX1724" y="connsiteY1724"/>
                          </a:cxn>
                          <a:cxn ang="0">
                            <a:pos x="connsiteX1725" y="connsiteY1725"/>
                          </a:cxn>
                          <a:cxn ang="0">
                            <a:pos x="connsiteX1726" y="connsiteY1726"/>
                          </a:cxn>
                          <a:cxn ang="0">
                            <a:pos x="connsiteX1727" y="connsiteY1727"/>
                          </a:cxn>
                          <a:cxn ang="0">
                            <a:pos x="connsiteX1728" y="connsiteY1728"/>
                          </a:cxn>
                          <a:cxn ang="0">
                            <a:pos x="connsiteX1729" y="connsiteY1729"/>
                          </a:cxn>
                          <a:cxn ang="0">
                            <a:pos x="connsiteX1730" y="connsiteY1730"/>
                          </a:cxn>
                          <a:cxn ang="0">
                            <a:pos x="connsiteX1731" y="connsiteY1731"/>
                          </a:cxn>
                          <a:cxn ang="0">
                            <a:pos x="connsiteX1732" y="connsiteY1732"/>
                          </a:cxn>
                          <a:cxn ang="0">
                            <a:pos x="connsiteX1733" y="connsiteY1733"/>
                          </a:cxn>
                          <a:cxn ang="0">
                            <a:pos x="connsiteX1734" y="connsiteY1734"/>
                          </a:cxn>
                          <a:cxn ang="0">
                            <a:pos x="connsiteX1735" y="connsiteY1735"/>
                          </a:cxn>
                          <a:cxn ang="0">
                            <a:pos x="connsiteX1736" y="connsiteY1736"/>
                          </a:cxn>
                          <a:cxn ang="0">
                            <a:pos x="connsiteX1737" y="connsiteY1737"/>
                          </a:cxn>
                          <a:cxn ang="0">
                            <a:pos x="connsiteX1738" y="connsiteY1738"/>
                          </a:cxn>
                          <a:cxn ang="0">
                            <a:pos x="connsiteX1739" y="connsiteY1739"/>
                          </a:cxn>
                          <a:cxn ang="0">
                            <a:pos x="connsiteX1740" y="connsiteY1740"/>
                          </a:cxn>
                          <a:cxn ang="0">
                            <a:pos x="connsiteX1741" y="connsiteY1741"/>
                          </a:cxn>
                          <a:cxn ang="0">
                            <a:pos x="connsiteX1742" y="connsiteY1742"/>
                          </a:cxn>
                          <a:cxn ang="0">
                            <a:pos x="connsiteX1743" y="connsiteY1743"/>
                          </a:cxn>
                          <a:cxn ang="0">
                            <a:pos x="connsiteX1744" y="connsiteY1744"/>
                          </a:cxn>
                          <a:cxn ang="0">
                            <a:pos x="connsiteX1745" y="connsiteY1745"/>
                          </a:cxn>
                          <a:cxn ang="0">
                            <a:pos x="connsiteX1746" y="connsiteY1746"/>
                          </a:cxn>
                          <a:cxn ang="0">
                            <a:pos x="connsiteX1747" y="connsiteY1747"/>
                          </a:cxn>
                          <a:cxn ang="0">
                            <a:pos x="connsiteX1748" y="connsiteY1748"/>
                          </a:cxn>
                          <a:cxn ang="0">
                            <a:pos x="connsiteX1749" y="connsiteY1749"/>
                          </a:cxn>
                          <a:cxn ang="0">
                            <a:pos x="connsiteX1750" y="connsiteY1750"/>
                          </a:cxn>
                          <a:cxn ang="0">
                            <a:pos x="connsiteX1751" y="connsiteY1751"/>
                          </a:cxn>
                          <a:cxn ang="0">
                            <a:pos x="connsiteX1752" y="connsiteY1752"/>
                          </a:cxn>
                          <a:cxn ang="0">
                            <a:pos x="connsiteX1753" y="connsiteY1753"/>
                          </a:cxn>
                          <a:cxn ang="0">
                            <a:pos x="connsiteX1754" y="connsiteY1754"/>
                          </a:cxn>
                          <a:cxn ang="0">
                            <a:pos x="connsiteX1755" y="connsiteY1755"/>
                          </a:cxn>
                          <a:cxn ang="0">
                            <a:pos x="connsiteX1756" y="connsiteY1756"/>
                          </a:cxn>
                          <a:cxn ang="0">
                            <a:pos x="connsiteX1757" y="connsiteY1757"/>
                          </a:cxn>
                          <a:cxn ang="0">
                            <a:pos x="connsiteX1758" y="connsiteY1758"/>
                          </a:cxn>
                          <a:cxn ang="0">
                            <a:pos x="connsiteX1759" y="connsiteY1759"/>
                          </a:cxn>
                          <a:cxn ang="0">
                            <a:pos x="connsiteX1760" y="connsiteY1760"/>
                          </a:cxn>
                          <a:cxn ang="0">
                            <a:pos x="connsiteX1761" y="connsiteY1761"/>
                          </a:cxn>
                          <a:cxn ang="0">
                            <a:pos x="connsiteX1762" y="connsiteY1762"/>
                          </a:cxn>
                          <a:cxn ang="0">
                            <a:pos x="connsiteX1763" y="connsiteY1763"/>
                          </a:cxn>
                          <a:cxn ang="0">
                            <a:pos x="connsiteX1764" y="connsiteY1764"/>
                          </a:cxn>
                          <a:cxn ang="0">
                            <a:pos x="connsiteX1765" y="connsiteY1765"/>
                          </a:cxn>
                          <a:cxn ang="0">
                            <a:pos x="connsiteX1766" y="connsiteY1766"/>
                          </a:cxn>
                          <a:cxn ang="0">
                            <a:pos x="connsiteX1767" y="connsiteY1767"/>
                          </a:cxn>
                          <a:cxn ang="0">
                            <a:pos x="connsiteX1768" y="connsiteY1768"/>
                          </a:cxn>
                          <a:cxn ang="0">
                            <a:pos x="connsiteX1769" y="connsiteY1769"/>
                          </a:cxn>
                          <a:cxn ang="0">
                            <a:pos x="connsiteX1770" y="connsiteY1770"/>
                          </a:cxn>
                          <a:cxn ang="0">
                            <a:pos x="connsiteX1771" y="connsiteY1771"/>
                          </a:cxn>
                          <a:cxn ang="0">
                            <a:pos x="connsiteX1772" y="connsiteY1772"/>
                          </a:cxn>
                          <a:cxn ang="0">
                            <a:pos x="connsiteX1773" y="connsiteY1773"/>
                          </a:cxn>
                          <a:cxn ang="0">
                            <a:pos x="connsiteX1774" y="connsiteY1774"/>
                          </a:cxn>
                          <a:cxn ang="0">
                            <a:pos x="connsiteX1775" y="connsiteY1775"/>
                          </a:cxn>
                          <a:cxn ang="0">
                            <a:pos x="connsiteX1776" y="connsiteY1776"/>
                          </a:cxn>
                          <a:cxn ang="0">
                            <a:pos x="connsiteX1777" y="connsiteY1777"/>
                          </a:cxn>
                          <a:cxn ang="0">
                            <a:pos x="connsiteX1778" y="connsiteY1778"/>
                          </a:cxn>
                          <a:cxn ang="0">
                            <a:pos x="connsiteX1779" y="connsiteY1779"/>
                          </a:cxn>
                          <a:cxn ang="0">
                            <a:pos x="connsiteX1780" y="connsiteY1780"/>
                          </a:cxn>
                          <a:cxn ang="0">
                            <a:pos x="connsiteX1781" y="connsiteY1781"/>
                          </a:cxn>
                          <a:cxn ang="0">
                            <a:pos x="connsiteX1782" y="connsiteY1782"/>
                          </a:cxn>
                          <a:cxn ang="0">
                            <a:pos x="connsiteX1783" y="connsiteY1783"/>
                          </a:cxn>
                          <a:cxn ang="0">
                            <a:pos x="connsiteX1784" y="connsiteY1784"/>
                          </a:cxn>
                          <a:cxn ang="0">
                            <a:pos x="connsiteX1785" y="connsiteY1785"/>
                          </a:cxn>
                          <a:cxn ang="0">
                            <a:pos x="connsiteX1786" y="connsiteY1786"/>
                          </a:cxn>
                          <a:cxn ang="0">
                            <a:pos x="connsiteX1787" y="connsiteY1787"/>
                          </a:cxn>
                          <a:cxn ang="0">
                            <a:pos x="connsiteX1788" y="connsiteY1788"/>
                          </a:cxn>
                          <a:cxn ang="0">
                            <a:pos x="connsiteX1789" y="connsiteY1789"/>
                          </a:cxn>
                          <a:cxn ang="0">
                            <a:pos x="connsiteX1790" y="connsiteY1790"/>
                          </a:cxn>
                          <a:cxn ang="0">
                            <a:pos x="connsiteX1791" y="connsiteY1791"/>
                          </a:cxn>
                          <a:cxn ang="0">
                            <a:pos x="connsiteX1792" y="connsiteY1792"/>
                          </a:cxn>
                          <a:cxn ang="0">
                            <a:pos x="connsiteX1793" y="connsiteY1793"/>
                          </a:cxn>
                          <a:cxn ang="0">
                            <a:pos x="connsiteX1794" y="connsiteY1794"/>
                          </a:cxn>
                          <a:cxn ang="0">
                            <a:pos x="connsiteX1795" y="connsiteY1795"/>
                          </a:cxn>
                          <a:cxn ang="0">
                            <a:pos x="connsiteX1796" y="connsiteY1796"/>
                          </a:cxn>
                          <a:cxn ang="0">
                            <a:pos x="connsiteX1797" y="connsiteY1797"/>
                          </a:cxn>
                          <a:cxn ang="0">
                            <a:pos x="connsiteX1798" y="connsiteY1798"/>
                          </a:cxn>
                          <a:cxn ang="0">
                            <a:pos x="connsiteX1799" y="connsiteY1799"/>
                          </a:cxn>
                          <a:cxn ang="0">
                            <a:pos x="connsiteX1800" y="connsiteY1800"/>
                          </a:cxn>
                          <a:cxn ang="0">
                            <a:pos x="connsiteX1801" y="connsiteY1801"/>
                          </a:cxn>
                          <a:cxn ang="0">
                            <a:pos x="connsiteX1802" y="connsiteY1802"/>
                          </a:cxn>
                          <a:cxn ang="0">
                            <a:pos x="connsiteX1803" y="connsiteY1803"/>
                          </a:cxn>
                          <a:cxn ang="0">
                            <a:pos x="connsiteX1804" y="connsiteY1804"/>
                          </a:cxn>
                          <a:cxn ang="0">
                            <a:pos x="connsiteX1805" y="connsiteY1805"/>
                          </a:cxn>
                          <a:cxn ang="0">
                            <a:pos x="connsiteX1806" y="connsiteY1806"/>
                          </a:cxn>
                          <a:cxn ang="0">
                            <a:pos x="connsiteX1807" y="connsiteY1807"/>
                          </a:cxn>
                          <a:cxn ang="0">
                            <a:pos x="connsiteX1808" y="connsiteY1808"/>
                          </a:cxn>
                          <a:cxn ang="0">
                            <a:pos x="connsiteX1809" y="connsiteY1809"/>
                          </a:cxn>
                          <a:cxn ang="0">
                            <a:pos x="connsiteX1810" y="connsiteY1810"/>
                          </a:cxn>
                          <a:cxn ang="0">
                            <a:pos x="connsiteX1811" y="connsiteY1811"/>
                          </a:cxn>
                          <a:cxn ang="0">
                            <a:pos x="connsiteX1812" y="connsiteY1812"/>
                          </a:cxn>
                          <a:cxn ang="0">
                            <a:pos x="connsiteX1813" y="connsiteY1813"/>
                          </a:cxn>
                          <a:cxn ang="0">
                            <a:pos x="connsiteX1814" y="connsiteY1814"/>
                          </a:cxn>
                          <a:cxn ang="0">
                            <a:pos x="connsiteX1815" y="connsiteY1815"/>
                          </a:cxn>
                          <a:cxn ang="0">
                            <a:pos x="connsiteX1816" y="connsiteY1816"/>
                          </a:cxn>
                          <a:cxn ang="0">
                            <a:pos x="connsiteX1817" y="connsiteY1817"/>
                          </a:cxn>
                          <a:cxn ang="0">
                            <a:pos x="connsiteX1818" y="connsiteY1818"/>
                          </a:cxn>
                          <a:cxn ang="0">
                            <a:pos x="connsiteX1819" y="connsiteY1819"/>
                          </a:cxn>
                          <a:cxn ang="0">
                            <a:pos x="connsiteX1820" y="connsiteY1820"/>
                          </a:cxn>
                          <a:cxn ang="0">
                            <a:pos x="connsiteX1821" y="connsiteY1821"/>
                          </a:cxn>
                          <a:cxn ang="0">
                            <a:pos x="connsiteX1822" y="connsiteY1822"/>
                          </a:cxn>
                          <a:cxn ang="0">
                            <a:pos x="connsiteX1823" y="connsiteY1823"/>
                          </a:cxn>
                          <a:cxn ang="0">
                            <a:pos x="connsiteX1824" y="connsiteY1824"/>
                          </a:cxn>
                          <a:cxn ang="0">
                            <a:pos x="connsiteX1825" y="connsiteY1825"/>
                          </a:cxn>
                          <a:cxn ang="0">
                            <a:pos x="connsiteX1826" y="connsiteY1826"/>
                          </a:cxn>
                          <a:cxn ang="0">
                            <a:pos x="connsiteX1827" y="connsiteY1827"/>
                          </a:cxn>
                          <a:cxn ang="0">
                            <a:pos x="connsiteX1828" y="connsiteY1828"/>
                          </a:cxn>
                          <a:cxn ang="0">
                            <a:pos x="connsiteX1829" y="connsiteY1829"/>
                          </a:cxn>
                          <a:cxn ang="0">
                            <a:pos x="connsiteX1830" y="connsiteY1830"/>
                          </a:cxn>
                          <a:cxn ang="0">
                            <a:pos x="connsiteX1831" y="connsiteY1831"/>
                          </a:cxn>
                          <a:cxn ang="0">
                            <a:pos x="connsiteX1832" y="connsiteY1832"/>
                          </a:cxn>
                          <a:cxn ang="0">
                            <a:pos x="connsiteX1833" y="connsiteY1833"/>
                          </a:cxn>
                          <a:cxn ang="0">
                            <a:pos x="connsiteX1834" y="connsiteY1834"/>
                          </a:cxn>
                          <a:cxn ang="0">
                            <a:pos x="connsiteX1835" y="connsiteY1835"/>
                          </a:cxn>
                          <a:cxn ang="0">
                            <a:pos x="connsiteX1836" y="connsiteY1836"/>
                          </a:cxn>
                          <a:cxn ang="0">
                            <a:pos x="connsiteX1837" y="connsiteY1837"/>
                          </a:cxn>
                          <a:cxn ang="0">
                            <a:pos x="connsiteX1838" y="connsiteY1838"/>
                          </a:cxn>
                          <a:cxn ang="0">
                            <a:pos x="connsiteX1839" y="connsiteY1839"/>
                          </a:cxn>
                          <a:cxn ang="0">
                            <a:pos x="connsiteX1840" y="connsiteY1840"/>
                          </a:cxn>
                          <a:cxn ang="0">
                            <a:pos x="connsiteX1841" y="connsiteY1841"/>
                          </a:cxn>
                          <a:cxn ang="0">
                            <a:pos x="connsiteX1842" y="connsiteY1842"/>
                          </a:cxn>
                          <a:cxn ang="0">
                            <a:pos x="connsiteX1843" y="connsiteY1843"/>
                          </a:cxn>
                          <a:cxn ang="0">
                            <a:pos x="connsiteX1844" y="connsiteY1844"/>
                          </a:cxn>
                          <a:cxn ang="0">
                            <a:pos x="connsiteX1845" y="connsiteY1845"/>
                          </a:cxn>
                          <a:cxn ang="0">
                            <a:pos x="connsiteX1846" y="connsiteY1846"/>
                          </a:cxn>
                          <a:cxn ang="0">
                            <a:pos x="connsiteX1847" y="connsiteY1847"/>
                          </a:cxn>
                          <a:cxn ang="0">
                            <a:pos x="connsiteX1848" y="connsiteY1848"/>
                          </a:cxn>
                          <a:cxn ang="0">
                            <a:pos x="connsiteX1849" y="connsiteY1849"/>
                          </a:cxn>
                          <a:cxn ang="0">
                            <a:pos x="connsiteX1850" y="connsiteY1850"/>
                          </a:cxn>
                          <a:cxn ang="0">
                            <a:pos x="connsiteX1851" y="connsiteY1851"/>
                          </a:cxn>
                          <a:cxn ang="0">
                            <a:pos x="connsiteX1852" y="connsiteY1852"/>
                          </a:cxn>
                          <a:cxn ang="0">
                            <a:pos x="connsiteX1853" y="connsiteY1853"/>
                          </a:cxn>
                          <a:cxn ang="0">
                            <a:pos x="connsiteX1854" y="connsiteY1854"/>
                          </a:cxn>
                          <a:cxn ang="0">
                            <a:pos x="connsiteX1855" y="connsiteY1855"/>
                          </a:cxn>
                          <a:cxn ang="0">
                            <a:pos x="connsiteX1856" y="connsiteY1856"/>
                          </a:cxn>
                          <a:cxn ang="0">
                            <a:pos x="connsiteX1857" y="connsiteY1857"/>
                          </a:cxn>
                          <a:cxn ang="0">
                            <a:pos x="connsiteX1858" y="connsiteY1858"/>
                          </a:cxn>
                          <a:cxn ang="0">
                            <a:pos x="connsiteX1859" y="connsiteY1859"/>
                          </a:cxn>
                          <a:cxn ang="0">
                            <a:pos x="connsiteX1860" y="connsiteY1860"/>
                          </a:cxn>
                          <a:cxn ang="0">
                            <a:pos x="connsiteX1861" y="connsiteY1861"/>
                          </a:cxn>
                          <a:cxn ang="0">
                            <a:pos x="connsiteX1862" y="connsiteY1862"/>
                          </a:cxn>
                          <a:cxn ang="0">
                            <a:pos x="connsiteX1863" y="connsiteY1863"/>
                          </a:cxn>
                          <a:cxn ang="0">
                            <a:pos x="connsiteX1864" y="connsiteY1864"/>
                          </a:cxn>
                          <a:cxn ang="0">
                            <a:pos x="connsiteX1865" y="connsiteY1865"/>
                          </a:cxn>
                          <a:cxn ang="0">
                            <a:pos x="connsiteX1866" y="connsiteY1866"/>
                          </a:cxn>
                          <a:cxn ang="0">
                            <a:pos x="connsiteX1867" y="connsiteY1867"/>
                          </a:cxn>
                          <a:cxn ang="0">
                            <a:pos x="connsiteX1868" y="connsiteY1868"/>
                          </a:cxn>
                          <a:cxn ang="0">
                            <a:pos x="connsiteX1869" y="connsiteY1869"/>
                          </a:cxn>
                          <a:cxn ang="0">
                            <a:pos x="connsiteX1870" y="connsiteY1870"/>
                          </a:cxn>
                          <a:cxn ang="0">
                            <a:pos x="connsiteX1871" y="connsiteY1871"/>
                          </a:cxn>
                          <a:cxn ang="0">
                            <a:pos x="connsiteX1872" y="connsiteY1872"/>
                          </a:cxn>
                          <a:cxn ang="0">
                            <a:pos x="connsiteX1873" y="connsiteY1873"/>
                          </a:cxn>
                          <a:cxn ang="0">
                            <a:pos x="connsiteX1874" y="connsiteY1874"/>
                          </a:cxn>
                          <a:cxn ang="0">
                            <a:pos x="connsiteX1875" y="connsiteY1875"/>
                          </a:cxn>
                          <a:cxn ang="0">
                            <a:pos x="connsiteX1876" y="connsiteY1876"/>
                          </a:cxn>
                          <a:cxn ang="0">
                            <a:pos x="connsiteX1877" y="connsiteY1877"/>
                          </a:cxn>
                          <a:cxn ang="0">
                            <a:pos x="connsiteX1878" y="connsiteY1878"/>
                          </a:cxn>
                          <a:cxn ang="0">
                            <a:pos x="connsiteX1879" y="connsiteY1879"/>
                          </a:cxn>
                          <a:cxn ang="0">
                            <a:pos x="connsiteX1880" y="connsiteY1880"/>
                          </a:cxn>
                          <a:cxn ang="0">
                            <a:pos x="connsiteX1881" y="connsiteY1881"/>
                          </a:cxn>
                          <a:cxn ang="0">
                            <a:pos x="connsiteX1882" y="connsiteY1882"/>
                          </a:cxn>
                          <a:cxn ang="0">
                            <a:pos x="connsiteX1883" y="connsiteY1883"/>
                          </a:cxn>
                          <a:cxn ang="0">
                            <a:pos x="connsiteX1884" y="connsiteY1884"/>
                          </a:cxn>
                          <a:cxn ang="0">
                            <a:pos x="connsiteX1885" y="connsiteY1885"/>
                          </a:cxn>
                          <a:cxn ang="0">
                            <a:pos x="connsiteX1886" y="connsiteY1886"/>
                          </a:cxn>
                          <a:cxn ang="0">
                            <a:pos x="connsiteX1887" y="connsiteY1887"/>
                          </a:cxn>
                          <a:cxn ang="0">
                            <a:pos x="connsiteX1888" y="connsiteY1888"/>
                          </a:cxn>
                          <a:cxn ang="0">
                            <a:pos x="connsiteX1889" y="connsiteY1889"/>
                          </a:cxn>
                          <a:cxn ang="0">
                            <a:pos x="connsiteX1890" y="connsiteY1890"/>
                          </a:cxn>
                          <a:cxn ang="0">
                            <a:pos x="connsiteX1891" y="connsiteY1891"/>
                          </a:cxn>
                          <a:cxn ang="0">
                            <a:pos x="connsiteX1892" y="connsiteY1892"/>
                          </a:cxn>
                          <a:cxn ang="0">
                            <a:pos x="connsiteX1893" y="connsiteY1893"/>
                          </a:cxn>
                          <a:cxn ang="0">
                            <a:pos x="connsiteX1894" y="connsiteY1894"/>
                          </a:cxn>
                          <a:cxn ang="0">
                            <a:pos x="connsiteX1895" y="connsiteY1895"/>
                          </a:cxn>
                          <a:cxn ang="0">
                            <a:pos x="connsiteX1896" y="connsiteY1896"/>
                          </a:cxn>
                          <a:cxn ang="0">
                            <a:pos x="connsiteX1897" y="connsiteY1897"/>
                          </a:cxn>
                          <a:cxn ang="0">
                            <a:pos x="connsiteX1898" y="connsiteY1898"/>
                          </a:cxn>
                          <a:cxn ang="0">
                            <a:pos x="connsiteX1899" y="connsiteY1899"/>
                          </a:cxn>
                          <a:cxn ang="0">
                            <a:pos x="connsiteX1900" y="connsiteY1900"/>
                          </a:cxn>
                          <a:cxn ang="0">
                            <a:pos x="connsiteX1901" y="connsiteY1901"/>
                          </a:cxn>
                          <a:cxn ang="0">
                            <a:pos x="connsiteX1902" y="connsiteY1902"/>
                          </a:cxn>
                          <a:cxn ang="0">
                            <a:pos x="connsiteX1903" y="connsiteY1903"/>
                          </a:cxn>
                          <a:cxn ang="0">
                            <a:pos x="connsiteX1904" y="connsiteY1904"/>
                          </a:cxn>
                          <a:cxn ang="0">
                            <a:pos x="connsiteX1905" y="connsiteY1905"/>
                          </a:cxn>
                          <a:cxn ang="0">
                            <a:pos x="connsiteX1906" y="connsiteY1906"/>
                          </a:cxn>
                          <a:cxn ang="0">
                            <a:pos x="connsiteX1907" y="connsiteY1907"/>
                          </a:cxn>
                          <a:cxn ang="0">
                            <a:pos x="connsiteX1908" y="connsiteY1908"/>
                          </a:cxn>
                          <a:cxn ang="0">
                            <a:pos x="connsiteX1909" y="connsiteY1909"/>
                          </a:cxn>
                          <a:cxn ang="0">
                            <a:pos x="connsiteX1910" y="connsiteY1910"/>
                          </a:cxn>
                          <a:cxn ang="0">
                            <a:pos x="connsiteX1911" y="connsiteY1911"/>
                          </a:cxn>
                          <a:cxn ang="0">
                            <a:pos x="connsiteX1912" y="connsiteY1912"/>
                          </a:cxn>
                          <a:cxn ang="0">
                            <a:pos x="connsiteX1913" y="connsiteY1913"/>
                          </a:cxn>
                          <a:cxn ang="0">
                            <a:pos x="connsiteX1914" y="connsiteY1914"/>
                          </a:cxn>
                          <a:cxn ang="0">
                            <a:pos x="connsiteX1915" y="connsiteY1915"/>
                          </a:cxn>
                          <a:cxn ang="0">
                            <a:pos x="connsiteX1916" y="connsiteY1916"/>
                          </a:cxn>
                          <a:cxn ang="0">
                            <a:pos x="connsiteX1917" y="connsiteY1917"/>
                          </a:cxn>
                          <a:cxn ang="0">
                            <a:pos x="connsiteX1918" y="connsiteY1918"/>
                          </a:cxn>
                          <a:cxn ang="0">
                            <a:pos x="connsiteX1919" y="connsiteY1919"/>
                          </a:cxn>
                          <a:cxn ang="0">
                            <a:pos x="connsiteX1920" y="connsiteY1920"/>
                          </a:cxn>
                          <a:cxn ang="0">
                            <a:pos x="connsiteX1921" y="connsiteY1921"/>
                          </a:cxn>
                          <a:cxn ang="0">
                            <a:pos x="connsiteX1922" y="connsiteY1922"/>
                          </a:cxn>
                          <a:cxn ang="0">
                            <a:pos x="connsiteX1923" y="connsiteY1923"/>
                          </a:cxn>
                          <a:cxn ang="0">
                            <a:pos x="connsiteX1924" y="connsiteY1924"/>
                          </a:cxn>
                          <a:cxn ang="0">
                            <a:pos x="connsiteX1925" y="connsiteY1925"/>
                          </a:cxn>
                          <a:cxn ang="0">
                            <a:pos x="connsiteX1926" y="connsiteY1926"/>
                          </a:cxn>
                          <a:cxn ang="0">
                            <a:pos x="connsiteX1927" y="connsiteY1927"/>
                          </a:cxn>
                          <a:cxn ang="0">
                            <a:pos x="connsiteX1928" y="connsiteY1928"/>
                          </a:cxn>
                          <a:cxn ang="0">
                            <a:pos x="connsiteX1929" y="connsiteY1929"/>
                          </a:cxn>
                          <a:cxn ang="0">
                            <a:pos x="connsiteX1930" y="connsiteY1930"/>
                          </a:cxn>
                          <a:cxn ang="0">
                            <a:pos x="connsiteX1931" y="connsiteY1931"/>
                          </a:cxn>
                          <a:cxn ang="0">
                            <a:pos x="connsiteX1932" y="connsiteY1932"/>
                          </a:cxn>
                          <a:cxn ang="0">
                            <a:pos x="connsiteX1933" y="connsiteY1933"/>
                          </a:cxn>
                          <a:cxn ang="0">
                            <a:pos x="connsiteX1934" y="connsiteY1934"/>
                          </a:cxn>
                          <a:cxn ang="0">
                            <a:pos x="connsiteX1935" y="connsiteY1935"/>
                          </a:cxn>
                          <a:cxn ang="0">
                            <a:pos x="connsiteX1936" y="connsiteY1936"/>
                          </a:cxn>
                          <a:cxn ang="0">
                            <a:pos x="connsiteX1937" y="connsiteY1937"/>
                          </a:cxn>
                          <a:cxn ang="0">
                            <a:pos x="connsiteX1938" y="connsiteY1938"/>
                          </a:cxn>
                          <a:cxn ang="0">
                            <a:pos x="connsiteX1939" y="connsiteY1939"/>
                          </a:cxn>
                          <a:cxn ang="0">
                            <a:pos x="connsiteX1940" y="connsiteY1940"/>
                          </a:cxn>
                          <a:cxn ang="0">
                            <a:pos x="connsiteX1941" y="connsiteY1941"/>
                          </a:cxn>
                          <a:cxn ang="0">
                            <a:pos x="connsiteX1942" y="connsiteY1942"/>
                          </a:cxn>
                          <a:cxn ang="0">
                            <a:pos x="connsiteX1943" y="connsiteY1943"/>
                          </a:cxn>
                          <a:cxn ang="0">
                            <a:pos x="connsiteX1944" y="connsiteY1944"/>
                          </a:cxn>
                          <a:cxn ang="0">
                            <a:pos x="connsiteX1945" y="connsiteY1945"/>
                          </a:cxn>
                          <a:cxn ang="0">
                            <a:pos x="connsiteX1946" y="connsiteY1946"/>
                          </a:cxn>
                          <a:cxn ang="0">
                            <a:pos x="connsiteX1947" y="connsiteY1947"/>
                          </a:cxn>
                          <a:cxn ang="0">
                            <a:pos x="connsiteX1948" y="connsiteY1948"/>
                          </a:cxn>
                          <a:cxn ang="0">
                            <a:pos x="connsiteX1949" y="connsiteY1949"/>
                          </a:cxn>
                          <a:cxn ang="0">
                            <a:pos x="connsiteX1950" y="connsiteY1950"/>
                          </a:cxn>
                          <a:cxn ang="0">
                            <a:pos x="connsiteX1951" y="connsiteY1951"/>
                          </a:cxn>
                          <a:cxn ang="0">
                            <a:pos x="connsiteX1952" y="connsiteY1952"/>
                          </a:cxn>
                          <a:cxn ang="0">
                            <a:pos x="connsiteX1953" y="connsiteY1953"/>
                          </a:cxn>
                          <a:cxn ang="0">
                            <a:pos x="connsiteX1954" y="connsiteY1954"/>
                          </a:cxn>
                          <a:cxn ang="0">
                            <a:pos x="connsiteX1955" y="connsiteY1955"/>
                          </a:cxn>
                          <a:cxn ang="0">
                            <a:pos x="connsiteX1956" y="connsiteY1956"/>
                          </a:cxn>
                          <a:cxn ang="0">
                            <a:pos x="connsiteX1957" y="connsiteY1957"/>
                          </a:cxn>
                          <a:cxn ang="0">
                            <a:pos x="connsiteX1958" y="connsiteY1958"/>
                          </a:cxn>
                          <a:cxn ang="0">
                            <a:pos x="connsiteX1959" y="connsiteY1959"/>
                          </a:cxn>
                          <a:cxn ang="0">
                            <a:pos x="connsiteX1960" y="connsiteY1960"/>
                          </a:cxn>
                          <a:cxn ang="0">
                            <a:pos x="connsiteX1961" y="connsiteY1961"/>
                          </a:cxn>
                          <a:cxn ang="0">
                            <a:pos x="connsiteX1962" y="connsiteY1962"/>
                          </a:cxn>
                          <a:cxn ang="0">
                            <a:pos x="connsiteX1963" y="connsiteY1963"/>
                          </a:cxn>
                          <a:cxn ang="0">
                            <a:pos x="connsiteX1964" y="connsiteY1964"/>
                          </a:cxn>
                          <a:cxn ang="0">
                            <a:pos x="connsiteX1965" y="connsiteY1965"/>
                          </a:cxn>
                          <a:cxn ang="0">
                            <a:pos x="connsiteX1966" y="connsiteY1966"/>
                          </a:cxn>
                          <a:cxn ang="0">
                            <a:pos x="connsiteX1967" y="connsiteY1967"/>
                          </a:cxn>
                          <a:cxn ang="0">
                            <a:pos x="connsiteX1968" y="connsiteY1968"/>
                          </a:cxn>
                          <a:cxn ang="0">
                            <a:pos x="connsiteX1969" y="connsiteY1969"/>
                          </a:cxn>
                          <a:cxn ang="0">
                            <a:pos x="connsiteX1970" y="connsiteY1970"/>
                          </a:cxn>
                          <a:cxn ang="0">
                            <a:pos x="connsiteX1971" y="connsiteY1971"/>
                          </a:cxn>
                          <a:cxn ang="0">
                            <a:pos x="connsiteX1972" y="connsiteY1972"/>
                          </a:cxn>
                          <a:cxn ang="0">
                            <a:pos x="connsiteX1973" y="connsiteY1973"/>
                          </a:cxn>
                          <a:cxn ang="0">
                            <a:pos x="connsiteX1974" y="connsiteY1974"/>
                          </a:cxn>
                          <a:cxn ang="0">
                            <a:pos x="connsiteX1975" y="connsiteY1975"/>
                          </a:cxn>
                          <a:cxn ang="0">
                            <a:pos x="connsiteX1976" y="connsiteY1976"/>
                          </a:cxn>
                          <a:cxn ang="0">
                            <a:pos x="connsiteX1977" y="connsiteY1977"/>
                          </a:cxn>
                          <a:cxn ang="0">
                            <a:pos x="connsiteX1978" y="connsiteY1978"/>
                          </a:cxn>
                          <a:cxn ang="0">
                            <a:pos x="connsiteX1979" y="connsiteY1979"/>
                          </a:cxn>
                          <a:cxn ang="0">
                            <a:pos x="connsiteX1980" y="connsiteY1980"/>
                          </a:cxn>
                          <a:cxn ang="0">
                            <a:pos x="connsiteX1981" y="connsiteY1981"/>
                          </a:cxn>
                          <a:cxn ang="0">
                            <a:pos x="connsiteX1982" y="connsiteY1982"/>
                          </a:cxn>
                          <a:cxn ang="0">
                            <a:pos x="connsiteX1983" y="connsiteY1983"/>
                          </a:cxn>
                          <a:cxn ang="0">
                            <a:pos x="connsiteX1984" y="connsiteY1984"/>
                          </a:cxn>
                          <a:cxn ang="0">
                            <a:pos x="connsiteX1985" y="connsiteY1985"/>
                          </a:cxn>
                          <a:cxn ang="0">
                            <a:pos x="connsiteX1986" y="connsiteY1986"/>
                          </a:cxn>
                          <a:cxn ang="0">
                            <a:pos x="connsiteX1987" y="connsiteY1987"/>
                          </a:cxn>
                          <a:cxn ang="0">
                            <a:pos x="connsiteX1988" y="connsiteY1988"/>
                          </a:cxn>
                          <a:cxn ang="0">
                            <a:pos x="connsiteX1989" y="connsiteY1989"/>
                          </a:cxn>
                          <a:cxn ang="0">
                            <a:pos x="connsiteX1990" y="connsiteY1990"/>
                          </a:cxn>
                          <a:cxn ang="0">
                            <a:pos x="connsiteX1991" y="connsiteY1991"/>
                          </a:cxn>
                          <a:cxn ang="0">
                            <a:pos x="connsiteX1992" y="connsiteY1992"/>
                          </a:cxn>
                          <a:cxn ang="0">
                            <a:pos x="connsiteX1993" y="connsiteY1993"/>
                          </a:cxn>
                          <a:cxn ang="0">
                            <a:pos x="connsiteX1994" y="connsiteY1994"/>
                          </a:cxn>
                          <a:cxn ang="0">
                            <a:pos x="connsiteX1995" y="connsiteY1995"/>
                          </a:cxn>
                          <a:cxn ang="0">
                            <a:pos x="connsiteX1996" y="connsiteY1996"/>
                          </a:cxn>
                          <a:cxn ang="0">
                            <a:pos x="connsiteX1997" y="connsiteY1997"/>
                          </a:cxn>
                          <a:cxn ang="0">
                            <a:pos x="connsiteX1998" y="connsiteY1998"/>
                          </a:cxn>
                          <a:cxn ang="0">
                            <a:pos x="connsiteX1999" y="connsiteY1999"/>
                          </a:cxn>
                          <a:cxn ang="0">
                            <a:pos x="connsiteX2000" y="connsiteY2000"/>
                          </a:cxn>
                          <a:cxn ang="0">
                            <a:pos x="connsiteX2001" y="connsiteY2001"/>
                          </a:cxn>
                          <a:cxn ang="0">
                            <a:pos x="connsiteX2002" y="connsiteY2002"/>
                          </a:cxn>
                          <a:cxn ang="0">
                            <a:pos x="connsiteX2003" y="connsiteY2003"/>
                          </a:cxn>
                          <a:cxn ang="0">
                            <a:pos x="connsiteX2004" y="connsiteY2004"/>
                          </a:cxn>
                          <a:cxn ang="0">
                            <a:pos x="connsiteX2005" y="connsiteY2005"/>
                          </a:cxn>
                          <a:cxn ang="0">
                            <a:pos x="connsiteX2006" y="connsiteY2006"/>
                          </a:cxn>
                          <a:cxn ang="0">
                            <a:pos x="connsiteX2007" y="connsiteY2007"/>
                          </a:cxn>
                          <a:cxn ang="0">
                            <a:pos x="connsiteX2008" y="connsiteY2008"/>
                          </a:cxn>
                          <a:cxn ang="0">
                            <a:pos x="connsiteX2009" y="connsiteY2009"/>
                          </a:cxn>
                          <a:cxn ang="0">
                            <a:pos x="connsiteX2010" y="connsiteY2010"/>
                          </a:cxn>
                          <a:cxn ang="0">
                            <a:pos x="connsiteX2011" y="connsiteY2011"/>
                          </a:cxn>
                          <a:cxn ang="0">
                            <a:pos x="connsiteX2012" y="connsiteY2012"/>
                          </a:cxn>
                          <a:cxn ang="0">
                            <a:pos x="connsiteX2013" y="connsiteY2013"/>
                          </a:cxn>
                          <a:cxn ang="0">
                            <a:pos x="connsiteX2014" y="connsiteY2014"/>
                          </a:cxn>
                          <a:cxn ang="0">
                            <a:pos x="connsiteX2015" y="connsiteY2015"/>
                          </a:cxn>
                          <a:cxn ang="0">
                            <a:pos x="connsiteX2016" y="connsiteY2016"/>
                          </a:cxn>
                          <a:cxn ang="0">
                            <a:pos x="connsiteX2017" y="connsiteY2017"/>
                          </a:cxn>
                          <a:cxn ang="0">
                            <a:pos x="connsiteX2018" y="connsiteY2018"/>
                          </a:cxn>
                          <a:cxn ang="0">
                            <a:pos x="connsiteX2019" y="connsiteY2019"/>
                          </a:cxn>
                          <a:cxn ang="0">
                            <a:pos x="connsiteX2020" y="connsiteY2020"/>
                          </a:cxn>
                          <a:cxn ang="0">
                            <a:pos x="connsiteX2021" y="connsiteY2021"/>
                          </a:cxn>
                          <a:cxn ang="0">
                            <a:pos x="connsiteX2022" y="connsiteY2022"/>
                          </a:cxn>
                          <a:cxn ang="0">
                            <a:pos x="connsiteX2023" y="connsiteY2023"/>
                          </a:cxn>
                          <a:cxn ang="0">
                            <a:pos x="connsiteX2024" y="connsiteY2024"/>
                          </a:cxn>
                          <a:cxn ang="0">
                            <a:pos x="connsiteX2025" y="connsiteY2025"/>
                          </a:cxn>
                          <a:cxn ang="0">
                            <a:pos x="connsiteX2026" y="connsiteY2026"/>
                          </a:cxn>
                          <a:cxn ang="0">
                            <a:pos x="connsiteX2027" y="connsiteY2027"/>
                          </a:cxn>
                          <a:cxn ang="0">
                            <a:pos x="connsiteX2028" y="connsiteY2028"/>
                          </a:cxn>
                          <a:cxn ang="0">
                            <a:pos x="connsiteX2029" y="connsiteY2029"/>
                          </a:cxn>
                          <a:cxn ang="0">
                            <a:pos x="connsiteX2030" y="connsiteY2030"/>
                          </a:cxn>
                          <a:cxn ang="0">
                            <a:pos x="connsiteX2031" y="connsiteY2031"/>
                          </a:cxn>
                          <a:cxn ang="0">
                            <a:pos x="connsiteX2032" y="connsiteY2032"/>
                          </a:cxn>
                          <a:cxn ang="0">
                            <a:pos x="connsiteX2033" y="connsiteY2033"/>
                          </a:cxn>
                          <a:cxn ang="0">
                            <a:pos x="connsiteX2034" y="connsiteY2034"/>
                          </a:cxn>
                          <a:cxn ang="0">
                            <a:pos x="connsiteX2035" y="connsiteY2035"/>
                          </a:cxn>
                          <a:cxn ang="0">
                            <a:pos x="connsiteX2036" y="connsiteY2036"/>
                          </a:cxn>
                          <a:cxn ang="0">
                            <a:pos x="connsiteX2037" y="connsiteY2037"/>
                          </a:cxn>
                          <a:cxn ang="0">
                            <a:pos x="connsiteX2038" y="connsiteY2038"/>
                          </a:cxn>
                          <a:cxn ang="0">
                            <a:pos x="connsiteX2039" y="connsiteY2039"/>
                          </a:cxn>
                          <a:cxn ang="0">
                            <a:pos x="connsiteX2040" y="connsiteY2040"/>
                          </a:cxn>
                          <a:cxn ang="0">
                            <a:pos x="connsiteX2041" y="connsiteY2041"/>
                          </a:cxn>
                          <a:cxn ang="0">
                            <a:pos x="connsiteX2042" y="connsiteY2042"/>
                          </a:cxn>
                          <a:cxn ang="0">
                            <a:pos x="connsiteX2043" y="connsiteY2043"/>
                          </a:cxn>
                          <a:cxn ang="0">
                            <a:pos x="connsiteX2044" y="connsiteY2044"/>
                          </a:cxn>
                          <a:cxn ang="0">
                            <a:pos x="connsiteX2045" y="connsiteY2045"/>
                          </a:cxn>
                          <a:cxn ang="0">
                            <a:pos x="connsiteX2046" y="connsiteY2046"/>
                          </a:cxn>
                          <a:cxn ang="0">
                            <a:pos x="connsiteX2047" y="connsiteY2047"/>
                          </a:cxn>
                          <a:cxn ang="0">
                            <a:pos x="connsiteX2048" y="connsiteY2048"/>
                          </a:cxn>
                          <a:cxn ang="0">
                            <a:pos x="connsiteX2049" y="connsiteY2049"/>
                          </a:cxn>
                          <a:cxn ang="0">
                            <a:pos x="connsiteX2050" y="connsiteY2050"/>
                          </a:cxn>
                          <a:cxn ang="0">
                            <a:pos x="connsiteX2051" y="connsiteY2051"/>
                          </a:cxn>
                          <a:cxn ang="0">
                            <a:pos x="connsiteX2052" y="connsiteY2052"/>
                          </a:cxn>
                          <a:cxn ang="0">
                            <a:pos x="connsiteX2053" y="connsiteY2053"/>
                          </a:cxn>
                          <a:cxn ang="0">
                            <a:pos x="connsiteX2054" y="connsiteY2054"/>
                          </a:cxn>
                          <a:cxn ang="0">
                            <a:pos x="connsiteX2055" y="connsiteY2055"/>
                          </a:cxn>
                          <a:cxn ang="0">
                            <a:pos x="connsiteX2056" y="connsiteY2056"/>
                          </a:cxn>
                          <a:cxn ang="0">
                            <a:pos x="connsiteX2057" y="connsiteY2057"/>
                          </a:cxn>
                          <a:cxn ang="0">
                            <a:pos x="connsiteX2058" y="connsiteY2058"/>
                          </a:cxn>
                          <a:cxn ang="0">
                            <a:pos x="connsiteX2059" y="connsiteY2059"/>
                          </a:cxn>
                          <a:cxn ang="0">
                            <a:pos x="connsiteX2060" y="connsiteY2060"/>
                          </a:cxn>
                          <a:cxn ang="0">
                            <a:pos x="connsiteX2061" y="connsiteY2061"/>
                          </a:cxn>
                          <a:cxn ang="0">
                            <a:pos x="connsiteX2062" y="connsiteY2062"/>
                          </a:cxn>
                          <a:cxn ang="0">
                            <a:pos x="connsiteX2063" y="connsiteY2063"/>
                          </a:cxn>
                          <a:cxn ang="0">
                            <a:pos x="connsiteX2064" y="connsiteY2064"/>
                          </a:cxn>
                          <a:cxn ang="0">
                            <a:pos x="connsiteX2065" y="connsiteY2065"/>
                          </a:cxn>
                          <a:cxn ang="0">
                            <a:pos x="connsiteX2066" y="connsiteY2066"/>
                          </a:cxn>
                          <a:cxn ang="0">
                            <a:pos x="connsiteX2067" y="connsiteY2067"/>
                          </a:cxn>
                          <a:cxn ang="0">
                            <a:pos x="connsiteX2068" y="connsiteY2068"/>
                          </a:cxn>
                          <a:cxn ang="0">
                            <a:pos x="connsiteX2069" y="connsiteY2069"/>
                          </a:cxn>
                          <a:cxn ang="0">
                            <a:pos x="connsiteX2070" y="connsiteY2070"/>
                          </a:cxn>
                          <a:cxn ang="0">
                            <a:pos x="connsiteX2071" y="connsiteY2071"/>
                          </a:cxn>
                          <a:cxn ang="0">
                            <a:pos x="connsiteX2072" y="connsiteY2072"/>
                          </a:cxn>
                          <a:cxn ang="0">
                            <a:pos x="connsiteX2073" y="connsiteY2073"/>
                          </a:cxn>
                          <a:cxn ang="0">
                            <a:pos x="connsiteX2074" y="connsiteY2074"/>
                          </a:cxn>
                          <a:cxn ang="0">
                            <a:pos x="connsiteX2075" y="connsiteY2075"/>
                          </a:cxn>
                          <a:cxn ang="0">
                            <a:pos x="connsiteX2076" y="connsiteY2076"/>
                          </a:cxn>
                          <a:cxn ang="0">
                            <a:pos x="connsiteX2077" y="connsiteY2077"/>
                          </a:cxn>
                          <a:cxn ang="0">
                            <a:pos x="connsiteX2078" y="connsiteY2078"/>
                          </a:cxn>
                          <a:cxn ang="0">
                            <a:pos x="connsiteX2079" y="connsiteY2079"/>
                          </a:cxn>
                          <a:cxn ang="0">
                            <a:pos x="connsiteX2080" y="connsiteY2080"/>
                          </a:cxn>
                          <a:cxn ang="0">
                            <a:pos x="connsiteX2081" y="connsiteY2081"/>
                          </a:cxn>
                          <a:cxn ang="0">
                            <a:pos x="connsiteX2082" y="connsiteY2082"/>
                          </a:cxn>
                          <a:cxn ang="0">
                            <a:pos x="connsiteX2083" y="connsiteY2083"/>
                          </a:cxn>
                          <a:cxn ang="0">
                            <a:pos x="connsiteX2084" y="connsiteY2084"/>
                          </a:cxn>
                          <a:cxn ang="0">
                            <a:pos x="connsiteX2085" y="connsiteY2085"/>
                          </a:cxn>
                          <a:cxn ang="0">
                            <a:pos x="connsiteX2086" y="connsiteY2086"/>
                          </a:cxn>
                          <a:cxn ang="0">
                            <a:pos x="connsiteX2087" y="connsiteY2087"/>
                          </a:cxn>
                          <a:cxn ang="0">
                            <a:pos x="connsiteX2088" y="connsiteY2088"/>
                          </a:cxn>
                          <a:cxn ang="0">
                            <a:pos x="connsiteX2089" y="connsiteY2089"/>
                          </a:cxn>
                          <a:cxn ang="0">
                            <a:pos x="connsiteX2090" y="connsiteY2090"/>
                          </a:cxn>
                          <a:cxn ang="0">
                            <a:pos x="connsiteX2091" y="connsiteY2091"/>
                          </a:cxn>
                          <a:cxn ang="0">
                            <a:pos x="connsiteX2092" y="connsiteY2092"/>
                          </a:cxn>
                          <a:cxn ang="0">
                            <a:pos x="connsiteX2093" y="connsiteY2093"/>
                          </a:cxn>
                          <a:cxn ang="0">
                            <a:pos x="connsiteX2094" y="connsiteY2094"/>
                          </a:cxn>
                          <a:cxn ang="0">
                            <a:pos x="connsiteX2095" y="connsiteY2095"/>
                          </a:cxn>
                          <a:cxn ang="0">
                            <a:pos x="connsiteX2096" y="connsiteY2096"/>
                          </a:cxn>
                          <a:cxn ang="0">
                            <a:pos x="connsiteX2097" y="connsiteY2097"/>
                          </a:cxn>
                          <a:cxn ang="0">
                            <a:pos x="connsiteX2098" y="connsiteY2098"/>
                          </a:cxn>
                          <a:cxn ang="0">
                            <a:pos x="connsiteX2099" y="connsiteY2099"/>
                          </a:cxn>
                          <a:cxn ang="0">
                            <a:pos x="connsiteX2100" y="connsiteY2100"/>
                          </a:cxn>
                          <a:cxn ang="0">
                            <a:pos x="connsiteX2101" y="connsiteY2101"/>
                          </a:cxn>
                          <a:cxn ang="0">
                            <a:pos x="connsiteX2102" y="connsiteY2102"/>
                          </a:cxn>
                          <a:cxn ang="0">
                            <a:pos x="connsiteX2103" y="connsiteY2103"/>
                          </a:cxn>
                          <a:cxn ang="0">
                            <a:pos x="connsiteX2104" y="connsiteY2104"/>
                          </a:cxn>
                          <a:cxn ang="0">
                            <a:pos x="connsiteX2105" y="connsiteY2105"/>
                          </a:cxn>
                          <a:cxn ang="0">
                            <a:pos x="connsiteX2106" y="connsiteY2106"/>
                          </a:cxn>
                          <a:cxn ang="0">
                            <a:pos x="connsiteX2107" y="connsiteY2107"/>
                          </a:cxn>
                          <a:cxn ang="0">
                            <a:pos x="connsiteX2108" y="connsiteY2108"/>
                          </a:cxn>
                          <a:cxn ang="0">
                            <a:pos x="connsiteX2109" y="connsiteY2109"/>
                          </a:cxn>
                          <a:cxn ang="0">
                            <a:pos x="connsiteX2110" y="connsiteY2110"/>
                          </a:cxn>
                          <a:cxn ang="0">
                            <a:pos x="connsiteX2111" y="connsiteY2111"/>
                          </a:cxn>
                          <a:cxn ang="0">
                            <a:pos x="connsiteX2112" y="connsiteY2112"/>
                          </a:cxn>
                          <a:cxn ang="0">
                            <a:pos x="connsiteX2113" y="connsiteY2113"/>
                          </a:cxn>
                          <a:cxn ang="0">
                            <a:pos x="connsiteX2114" y="connsiteY2114"/>
                          </a:cxn>
                          <a:cxn ang="0">
                            <a:pos x="connsiteX2115" y="connsiteY2115"/>
                          </a:cxn>
                          <a:cxn ang="0">
                            <a:pos x="connsiteX2116" y="connsiteY2116"/>
                          </a:cxn>
                          <a:cxn ang="0">
                            <a:pos x="connsiteX2117" y="connsiteY2117"/>
                          </a:cxn>
                          <a:cxn ang="0">
                            <a:pos x="connsiteX2118" y="connsiteY2118"/>
                          </a:cxn>
                          <a:cxn ang="0">
                            <a:pos x="connsiteX2119" y="connsiteY2119"/>
                          </a:cxn>
                          <a:cxn ang="0">
                            <a:pos x="connsiteX2120" y="connsiteY2120"/>
                          </a:cxn>
                          <a:cxn ang="0">
                            <a:pos x="connsiteX2121" y="connsiteY2121"/>
                          </a:cxn>
                          <a:cxn ang="0">
                            <a:pos x="connsiteX2122" y="connsiteY2122"/>
                          </a:cxn>
                          <a:cxn ang="0">
                            <a:pos x="connsiteX2123" y="connsiteY2123"/>
                          </a:cxn>
                          <a:cxn ang="0">
                            <a:pos x="connsiteX2124" y="connsiteY2124"/>
                          </a:cxn>
                          <a:cxn ang="0">
                            <a:pos x="connsiteX2125" y="connsiteY2125"/>
                          </a:cxn>
                          <a:cxn ang="0">
                            <a:pos x="connsiteX2126" y="connsiteY2126"/>
                          </a:cxn>
                          <a:cxn ang="0">
                            <a:pos x="connsiteX2127" y="connsiteY2127"/>
                          </a:cxn>
                          <a:cxn ang="0">
                            <a:pos x="connsiteX2128" y="connsiteY2128"/>
                          </a:cxn>
                          <a:cxn ang="0">
                            <a:pos x="connsiteX2129" y="connsiteY2129"/>
                          </a:cxn>
                          <a:cxn ang="0">
                            <a:pos x="connsiteX2130" y="connsiteY2130"/>
                          </a:cxn>
                          <a:cxn ang="0">
                            <a:pos x="connsiteX2131" y="connsiteY2131"/>
                          </a:cxn>
                          <a:cxn ang="0">
                            <a:pos x="connsiteX2132" y="connsiteY2132"/>
                          </a:cxn>
                          <a:cxn ang="0">
                            <a:pos x="connsiteX2133" y="connsiteY2133"/>
                          </a:cxn>
                          <a:cxn ang="0">
                            <a:pos x="connsiteX2134" y="connsiteY2134"/>
                          </a:cxn>
                          <a:cxn ang="0">
                            <a:pos x="connsiteX2135" y="connsiteY2135"/>
                          </a:cxn>
                          <a:cxn ang="0">
                            <a:pos x="connsiteX2136" y="connsiteY2136"/>
                          </a:cxn>
                          <a:cxn ang="0">
                            <a:pos x="connsiteX2137" y="connsiteY2137"/>
                          </a:cxn>
                          <a:cxn ang="0">
                            <a:pos x="connsiteX2138" y="connsiteY2138"/>
                          </a:cxn>
                          <a:cxn ang="0">
                            <a:pos x="connsiteX2139" y="connsiteY2139"/>
                          </a:cxn>
                          <a:cxn ang="0">
                            <a:pos x="connsiteX2140" y="connsiteY2140"/>
                          </a:cxn>
                          <a:cxn ang="0">
                            <a:pos x="connsiteX2141" y="connsiteY2141"/>
                          </a:cxn>
                          <a:cxn ang="0">
                            <a:pos x="connsiteX2142" y="connsiteY2142"/>
                          </a:cxn>
                          <a:cxn ang="0">
                            <a:pos x="connsiteX2143" y="connsiteY2143"/>
                          </a:cxn>
                          <a:cxn ang="0">
                            <a:pos x="connsiteX2144" y="connsiteY2144"/>
                          </a:cxn>
                          <a:cxn ang="0">
                            <a:pos x="connsiteX2145" y="connsiteY2145"/>
                          </a:cxn>
                          <a:cxn ang="0">
                            <a:pos x="connsiteX2146" y="connsiteY2146"/>
                          </a:cxn>
                          <a:cxn ang="0">
                            <a:pos x="connsiteX2147" y="connsiteY2147"/>
                          </a:cxn>
                          <a:cxn ang="0">
                            <a:pos x="connsiteX2148" y="connsiteY2148"/>
                          </a:cxn>
                          <a:cxn ang="0">
                            <a:pos x="connsiteX2149" y="connsiteY2149"/>
                          </a:cxn>
                          <a:cxn ang="0">
                            <a:pos x="connsiteX2150" y="connsiteY2150"/>
                          </a:cxn>
                          <a:cxn ang="0">
                            <a:pos x="connsiteX2151" y="connsiteY2151"/>
                          </a:cxn>
                          <a:cxn ang="0">
                            <a:pos x="connsiteX2152" y="connsiteY2152"/>
                          </a:cxn>
                          <a:cxn ang="0">
                            <a:pos x="connsiteX2153" y="connsiteY2153"/>
                          </a:cxn>
                          <a:cxn ang="0">
                            <a:pos x="connsiteX2154" y="connsiteY2154"/>
                          </a:cxn>
                          <a:cxn ang="0">
                            <a:pos x="connsiteX2155" y="connsiteY2155"/>
                          </a:cxn>
                          <a:cxn ang="0">
                            <a:pos x="connsiteX2156" y="connsiteY2156"/>
                          </a:cxn>
                          <a:cxn ang="0">
                            <a:pos x="connsiteX2157" y="connsiteY2157"/>
                          </a:cxn>
                          <a:cxn ang="0">
                            <a:pos x="connsiteX2158" y="connsiteY2158"/>
                          </a:cxn>
                          <a:cxn ang="0">
                            <a:pos x="connsiteX2159" y="connsiteY2159"/>
                          </a:cxn>
                          <a:cxn ang="0">
                            <a:pos x="connsiteX2160" y="connsiteY2160"/>
                          </a:cxn>
                          <a:cxn ang="0">
                            <a:pos x="connsiteX2161" y="connsiteY2161"/>
                          </a:cxn>
                          <a:cxn ang="0">
                            <a:pos x="connsiteX2162" y="connsiteY2162"/>
                          </a:cxn>
                          <a:cxn ang="0">
                            <a:pos x="connsiteX2163" y="connsiteY2163"/>
                          </a:cxn>
                          <a:cxn ang="0">
                            <a:pos x="connsiteX2164" y="connsiteY2164"/>
                          </a:cxn>
                          <a:cxn ang="0">
                            <a:pos x="connsiteX2165" y="connsiteY2165"/>
                          </a:cxn>
                          <a:cxn ang="0">
                            <a:pos x="connsiteX2166" y="connsiteY2166"/>
                          </a:cxn>
                          <a:cxn ang="0">
                            <a:pos x="connsiteX2167" y="connsiteY2167"/>
                          </a:cxn>
                          <a:cxn ang="0">
                            <a:pos x="connsiteX2168" y="connsiteY2168"/>
                          </a:cxn>
                          <a:cxn ang="0">
                            <a:pos x="connsiteX2169" y="connsiteY2169"/>
                          </a:cxn>
                          <a:cxn ang="0">
                            <a:pos x="connsiteX2170" y="connsiteY2170"/>
                          </a:cxn>
                          <a:cxn ang="0">
                            <a:pos x="connsiteX2171" y="connsiteY2171"/>
                          </a:cxn>
                          <a:cxn ang="0">
                            <a:pos x="connsiteX2172" y="connsiteY2172"/>
                          </a:cxn>
                          <a:cxn ang="0">
                            <a:pos x="connsiteX2173" y="connsiteY2173"/>
                          </a:cxn>
                          <a:cxn ang="0">
                            <a:pos x="connsiteX2174" y="connsiteY2174"/>
                          </a:cxn>
                          <a:cxn ang="0">
                            <a:pos x="connsiteX2175" y="connsiteY2175"/>
                          </a:cxn>
                          <a:cxn ang="0">
                            <a:pos x="connsiteX2176" y="connsiteY2176"/>
                          </a:cxn>
                          <a:cxn ang="0">
                            <a:pos x="connsiteX2177" y="connsiteY2177"/>
                          </a:cxn>
                          <a:cxn ang="0">
                            <a:pos x="connsiteX2178" y="connsiteY2178"/>
                          </a:cxn>
                          <a:cxn ang="0">
                            <a:pos x="connsiteX2179" y="connsiteY2179"/>
                          </a:cxn>
                          <a:cxn ang="0">
                            <a:pos x="connsiteX2180" y="connsiteY2180"/>
                          </a:cxn>
                          <a:cxn ang="0">
                            <a:pos x="connsiteX2181" y="connsiteY2181"/>
                          </a:cxn>
                          <a:cxn ang="0">
                            <a:pos x="connsiteX2182" y="connsiteY2182"/>
                          </a:cxn>
                          <a:cxn ang="0">
                            <a:pos x="connsiteX2183" y="connsiteY2183"/>
                          </a:cxn>
                          <a:cxn ang="0">
                            <a:pos x="connsiteX2184" y="connsiteY2184"/>
                          </a:cxn>
                          <a:cxn ang="0">
                            <a:pos x="connsiteX2185" y="connsiteY2185"/>
                          </a:cxn>
                          <a:cxn ang="0">
                            <a:pos x="connsiteX2186" y="connsiteY2186"/>
                          </a:cxn>
                          <a:cxn ang="0">
                            <a:pos x="connsiteX2187" y="connsiteY2187"/>
                          </a:cxn>
                          <a:cxn ang="0">
                            <a:pos x="connsiteX2188" y="connsiteY2188"/>
                          </a:cxn>
                          <a:cxn ang="0">
                            <a:pos x="connsiteX2189" y="connsiteY2189"/>
                          </a:cxn>
                          <a:cxn ang="0">
                            <a:pos x="connsiteX2190" y="connsiteY2190"/>
                          </a:cxn>
                          <a:cxn ang="0">
                            <a:pos x="connsiteX2191" y="connsiteY2191"/>
                          </a:cxn>
                          <a:cxn ang="0">
                            <a:pos x="connsiteX2192" y="connsiteY2192"/>
                          </a:cxn>
                          <a:cxn ang="0">
                            <a:pos x="connsiteX2193" y="connsiteY2193"/>
                          </a:cxn>
                          <a:cxn ang="0">
                            <a:pos x="connsiteX2194" y="connsiteY2194"/>
                          </a:cxn>
                          <a:cxn ang="0">
                            <a:pos x="connsiteX2195" y="connsiteY2195"/>
                          </a:cxn>
                          <a:cxn ang="0">
                            <a:pos x="connsiteX2196" y="connsiteY2196"/>
                          </a:cxn>
                          <a:cxn ang="0">
                            <a:pos x="connsiteX2197" y="connsiteY2197"/>
                          </a:cxn>
                          <a:cxn ang="0">
                            <a:pos x="connsiteX2198" y="connsiteY2198"/>
                          </a:cxn>
                          <a:cxn ang="0">
                            <a:pos x="connsiteX2199" y="connsiteY2199"/>
                          </a:cxn>
                          <a:cxn ang="0">
                            <a:pos x="connsiteX2200" y="connsiteY2200"/>
                          </a:cxn>
                          <a:cxn ang="0">
                            <a:pos x="connsiteX2201" y="connsiteY2201"/>
                          </a:cxn>
                          <a:cxn ang="0">
                            <a:pos x="connsiteX2202" y="connsiteY2202"/>
                          </a:cxn>
                          <a:cxn ang="0">
                            <a:pos x="connsiteX2203" y="connsiteY2203"/>
                          </a:cxn>
                          <a:cxn ang="0">
                            <a:pos x="connsiteX2204" y="connsiteY2204"/>
                          </a:cxn>
                          <a:cxn ang="0">
                            <a:pos x="connsiteX2205" y="connsiteY2205"/>
                          </a:cxn>
                          <a:cxn ang="0">
                            <a:pos x="connsiteX2206" y="connsiteY2206"/>
                          </a:cxn>
                          <a:cxn ang="0">
                            <a:pos x="connsiteX2207" y="connsiteY2207"/>
                          </a:cxn>
                          <a:cxn ang="0">
                            <a:pos x="connsiteX2208" y="connsiteY2208"/>
                          </a:cxn>
                          <a:cxn ang="0">
                            <a:pos x="connsiteX2209" y="connsiteY2209"/>
                          </a:cxn>
                          <a:cxn ang="0">
                            <a:pos x="connsiteX2210" y="connsiteY2210"/>
                          </a:cxn>
                          <a:cxn ang="0">
                            <a:pos x="connsiteX2211" y="connsiteY2211"/>
                          </a:cxn>
                          <a:cxn ang="0">
                            <a:pos x="connsiteX2212" y="connsiteY2212"/>
                          </a:cxn>
                          <a:cxn ang="0">
                            <a:pos x="connsiteX2213" y="connsiteY2213"/>
                          </a:cxn>
                          <a:cxn ang="0">
                            <a:pos x="connsiteX2214" y="connsiteY2214"/>
                          </a:cxn>
                          <a:cxn ang="0">
                            <a:pos x="connsiteX2215" y="connsiteY2215"/>
                          </a:cxn>
                          <a:cxn ang="0">
                            <a:pos x="connsiteX2216" y="connsiteY2216"/>
                          </a:cxn>
                          <a:cxn ang="0">
                            <a:pos x="connsiteX2217" y="connsiteY2217"/>
                          </a:cxn>
                          <a:cxn ang="0">
                            <a:pos x="connsiteX2218" y="connsiteY2218"/>
                          </a:cxn>
                          <a:cxn ang="0">
                            <a:pos x="connsiteX2219" y="connsiteY2219"/>
                          </a:cxn>
                          <a:cxn ang="0">
                            <a:pos x="connsiteX2220" y="connsiteY2220"/>
                          </a:cxn>
                          <a:cxn ang="0">
                            <a:pos x="connsiteX2221" y="connsiteY2221"/>
                          </a:cxn>
                          <a:cxn ang="0">
                            <a:pos x="connsiteX2222" y="connsiteY2222"/>
                          </a:cxn>
                          <a:cxn ang="0">
                            <a:pos x="connsiteX2223" y="connsiteY2223"/>
                          </a:cxn>
                          <a:cxn ang="0">
                            <a:pos x="connsiteX2224" y="connsiteY2224"/>
                          </a:cxn>
                          <a:cxn ang="0">
                            <a:pos x="connsiteX2225" y="connsiteY2225"/>
                          </a:cxn>
                          <a:cxn ang="0">
                            <a:pos x="connsiteX2226" y="connsiteY2226"/>
                          </a:cxn>
                          <a:cxn ang="0">
                            <a:pos x="connsiteX2227" y="connsiteY2227"/>
                          </a:cxn>
                          <a:cxn ang="0">
                            <a:pos x="connsiteX2228" y="connsiteY2228"/>
                          </a:cxn>
                          <a:cxn ang="0">
                            <a:pos x="connsiteX2229" y="connsiteY2229"/>
                          </a:cxn>
                          <a:cxn ang="0">
                            <a:pos x="connsiteX2230" y="connsiteY2230"/>
                          </a:cxn>
                          <a:cxn ang="0">
                            <a:pos x="connsiteX2231" y="connsiteY2231"/>
                          </a:cxn>
                          <a:cxn ang="0">
                            <a:pos x="connsiteX2232" y="connsiteY2232"/>
                          </a:cxn>
                          <a:cxn ang="0">
                            <a:pos x="connsiteX2233" y="connsiteY2233"/>
                          </a:cxn>
                          <a:cxn ang="0">
                            <a:pos x="connsiteX2234" y="connsiteY2234"/>
                          </a:cxn>
                          <a:cxn ang="0">
                            <a:pos x="connsiteX2235" y="connsiteY2235"/>
                          </a:cxn>
                          <a:cxn ang="0">
                            <a:pos x="connsiteX2236" y="connsiteY2236"/>
                          </a:cxn>
                          <a:cxn ang="0">
                            <a:pos x="connsiteX2237" y="connsiteY2237"/>
                          </a:cxn>
                          <a:cxn ang="0">
                            <a:pos x="connsiteX2238" y="connsiteY2238"/>
                          </a:cxn>
                          <a:cxn ang="0">
                            <a:pos x="connsiteX2239" y="connsiteY2239"/>
                          </a:cxn>
                          <a:cxn ang="0">
                            <a:pos x="connsiteX2240" y="connsiteY2240"/>
                          </a:cxn>
                          <a:cxn ang="0">
                            <a:pos x="connsiteX2241" y="connsiteY2241"/>
                          </a:cxn>
                          <a:cxn ang="0">
                            <a:pos x="connsiteX2242" y="connsiteY2242"/>
                          </a:cxn>
                          <a:cxn ang="0">
                            <a:pos x="connsiteX2243" y="connsiteY2243"/>
                          </a:cxn>
                          <a:cxn ang="0">
                            <a:pos x="connsiteX2244" y="connsiteY2244"/>
                          </a:cxn>
                          <a:cxn ang="0">
                            <a:pos x="connsiteX2245" y="connsiteY2245"/>
                          </a:cxn>
                          <a:cxn ang="0">
                            <a:pos x="connsiteX2246" y="connsiteY2246"/>
                          </a:cxn>
                          <a:cxn ang="0">
                            <a:pos x="connsiteX2247" y="connsiteY2247"/>
                          </a:cxn>
                          <a:cxn ang="0">
                            <a:pos x="connsiteX2248" y="connsiteY2248"/>
                          </a:cxn>
                          <a:cxn ang="0">
                            <a:pos x="connsiteX2249" y="connsiteY2249"/>
                          </a:cxn>
                          <a:cxn ang="0">
                            <a:pos x="connsiteX2250" y="connsiteY2250"/>
                          </a:cxn>
                          <a:cxn ang="0">
                            <a:pos x="connsiteX2251" y="connsiteY2251"/>
                          </a:cxn>
                          <a:cxn ang="0">
                            <a:pos x="connsiteX2252" y="connsiteY2252"/>
                          </a:cxn>
                          <a:cxn ang="0">
                            <a:pos x="connsiteX2253" y="connsiteY2253"/>
                          </a:cxn>
                          <a:cxn ang="0">
                            <a:pos x="connsiteX2254" y="connsiteY2254"/>
                          </a:cxn>
                          <a:cxn ang="0">
                            <a:pos x="connsiteX2255" y="connsiteY2255"/>
                          </a:cxn>
                          <a:cxn ang="0">
                            <a:pos x="connsiteX2256" y="connsiteY2256"/>
                          </a:cxn>
                          <a:cxn ang="0">
                            <a:pos x="connsiteX2257" y="connsiteY2257"/>
                          </a:cxn>
                          <a:cxn ang="0">
                            <a:pos x="connsiteX2258" y="connsiteY2258"/>
                          </a:cxn>
                          <a:cxn ang="0">
                            <a:pos x="connsiteX2259" y="connsiteY2259"/>
                          </a:cxn>
                          <a:cxn ang="0">
                            <a:pos x="connsiteX2260" y="connsiteY2260"/>
                          </a:cxn>
                          <a:cxn ang="0">
                            <a:pos x="connsiteX2261" y="connsiteY2261"/>
                          </a:cxn>
                          <a:cxn ang="0">
                            <a:pos x="connsiteX2262" y="connsiteY2262"/>
                          </a:cxn>
                          <a:cxn ang="0">
                            <a:pos x="connsiteX2263" y="connsiteY2263"/>
                          </a:cxn>
                          <a:cxn ang="0">
                            <a:pos x="connsiteX2264" y="connsiteY2264"/>
                          </a:cxn>
                          <a:cxn ang="0">
                            <a:pos x="connsiteX2265" y="connsiteY2265"/>
                          </a:cxn>
                          <a:cxn ang="0">
                            <a:pos x="connsiteX2266" y="connsiteY2266"/>
                          </a:cxn>
                          <a:cxn ang="0">
                            <a:pos x="connsiteX2267" y="connsiteY2267"/>
                          </a:cxn>
                          <a:cxn ang="0">
                            <a:pos x="connsiteX2268" y="connsiteY2268"/>
                          </a:cxn>
                          <a:cxn ang="0">
                            <a:pos x="connsiteX2269" y="connsiteY2269"/>
                          </a:cxn>
                          <a:cxn ang="0">
                            <a:pos x="connsiteX2270" y="connsiteY2270"/>
                          </a:cxn>
                          <a:cxn ang="0">
                            <a:pos x="connsiteX2271" y="connsiteY2271"/>
                          </a:cxn>
                          <a:cxn ang="0">
                            <a:pos x="connsiteX2272" y="connsiteY2272"/>
                          </a:cxn>
                          <a:cxn ang="0">
                            <a:pos x="connsiteX2273" y="connsiteY2273"/>
                          </a:cxn>
                          <a:cxn ang="0">
                            <a:pos x="connsiteX2274" y="connsiteY2274"/>
                          </a:cxn>
                          <a:cxn ang="0">
                            <a:pos x="connsiteX2275" y="connsiteY2275"/>
                          </a:cxn>
                          <a:cxn ang="0">
                            <a:pos x="connsiteX2276" y="connsiteY2276"/>
                          </a:cxn>
                          <a:cxn ang="0">
                            <a:pos x="connsiteX2277" y="connsiteY2277"/>
                          </a:cxn>
                          <a:cxn ang="0">
                            <a:pos x="connsiteX2278" y="connsiteY2278"/>
                          </a:cxn>
                          <a:cxn ang="0">
                            <a:pos x="connsiteX2279" y="connsiteY2279"/>
                          </a:cxn>
                          <a:cxn ang="0">
                            <a:pos x="connsiteX2280" y="connsiteY2280"/>
                          </a:cxn>
                          <a:cxn ang="0">
                            <a:pos x="connsiteX2281" y="connsiteY2281"/>
                          </a:cxn>
                          <a:cxn ang="0">
                            <a:pos x="connsiteX2282" y="connsiteY2282"/>
                          </a:cxn>
                          <a:cxn ang="0">
                            <a:pos x="connsiteX2283" y="connsiteY2283"/>
                          </a:cxn>
                          <a:cxn ang="0">
                            <a:pos x="connsiteX2284" y="connsiteY2284"/>
                          </a:cxn>
                          <a:cxn ang="0">
                            <a:pos x="connsiteX2285" y="connsiteY2285"/>
                          </a:cxn>
                          <a:cxn ang="0">
                            <a:pos x="connsiteX2286" y="connsiteY2286"/>
                          </a:cxn>
                          <a:cxn ang="0">
                            <a:pos x="connsiteX2287" y="connsiteY2287"/>
                          </a:cxn>
                          <a:cxn ang="0">
                            <a:pos x="connsiteX2288" y="connsiteY2288"/>
                          </a:cxn>
                          <a:cxn ang="0">
                            <a:pos x="connsiteX2289" y="connsiteY2289"/>
                          </a:cxn>
                          <a:cxn ang="0">
                            <a:pos x="connsiteX2290" y="connsiteY2290"/>
                          </a:cxn>
                          <a:cxn ang="0">
                            <a:pos x="connsiteX2291" y="connsiteY2291"/>
                          </a:cxn>
                          <a:cxn ang="0">
                            <a:pos x="connsiteX2292" y="connsiteY2292"/>
                          </a:cxn>
                          <a:cxn ang="0">
                            <a:pos x="connsiteX2293" y="connsiteY2293"/>
                          </a:cxn>
                          <a:cxn ang="0">
                            <a:pos x="connsiteX2294" y="connsiteY2294"/>
                          </a:cxn>
                          <a:cxn ang="0">
                            <a:pos x="connsiteX2295" y="connsiteY2295"/>
                          </a:cxn>
                          <a:cxn ang="0">
                            <a:pos x="connsiteX2296" y="connsiteY2296"/>
                          </a:cxn>
                          <a:cxn ang="0">
                            <a:pos x="connsiteX2297" y="connsiteY2297"/>
                          </a:cxn>
                          <a:cxn ang="0">
                            <a:pos x="connsiteX2298" y="connsiteY2298"/>
                          </a:cxn>
                          <a:cxn ang="0">
                            <a:pos x="connsiteX2299" y="connsiteY2299"/>
                          </a:cxn>
                          <a:cxn ang="0">
                            <a:pos x="connsiteX2300" y="connsiteY2300"/>
                          </a:cxn>
                          <a:cxn ang="0">
                            <a:pos x="connsiteX2301" y="connsiteY2301"/>
                          </a:cxn>
                          <a:cxn ang="0">
                            <a:pos x="connsiteX2302" y="connsiteY2302"/>
                          </a:cxn>
                          <a:cxn ang="0">
                            <a:pos x="connsiteX2303" y="connsiteY2303"/>
                          </a:cxn>
                          <a:cxn ang="0">
                            <a:pos x="connsiteX2304" y="connsiteY2304"/>
                          </a:cxn>
                          <a:cxn ang="0">
                            <a:pos x="connsiteX2305" y="connsiteY2305"/>
                          </a:cxn>
                          <a:cxn ang="0">
                            <a:pos x="connsiteX2306" y="connsiteY2306"/>
                          </a:cxn>
                          <a:cxn ang="0">
                            <a:pos x="connsiteX2307" y="connsiteY2307"/>
                          </a:cxn>
                          <a:cxn ang="0">
                            <a:pos x="connsiteX2308" y="connsiteY2308"/>
                          </a:cxn>
                          <a:cxn ang="0">
                            <a:pos x="connsiteX2309" y="connsiteY2309"/>
                          </a:cxn>
                          <a:cxn ang="0">
                            <a:pos x="connsiteX2310" y="connsiteY2310"/>
                          </a:cxn>
                          <a:cxn ang="0">
                            <a:pos x="connsiteX2311" y="connsiteY2311"/>
                          </a:cxn>
                          <a:cxn ang="0">
                            <a:pos x="connsiteX2312" y="connsiteY2312"/>
                          </a:cxn>
                          <a:cxn ang="0">
                            <a:pos x="connsiteX2313" y="connsiteY2313"/>
                          </a:cxn>
                          <a:cxn ang="0">
                            <a:pos x="connsiteX2314" y="connsiteY2314"/>
                          </a:cxn>
                          <a:cxn ang="0">
                            <a:pos x="connsiteX2315" y="connsiteY2315"/>
                          </a:cxn>
                          <a:cxn ang="0">
                            <a:pos x="connsiteX2316" y="connsiteY2316"/>
                          </a:cxn>
                          <a:cxn ang="0">
                            <a:pos x="connsiteX2317" y="connsiteY2317"/>
                          </a:cxn>
                          <a:cxn ang="0">
                            <a:pos x="connsiteX2318" y="connsiteY2318"/>
                          </a:cxn>
                          <a:cxn ang="0">
                            <a:pos x="connsiteX2319" y="connsiteY2319"/>
                          </a:cxn>
                          <a:cxn ang="0">
                            <a:pos x="connsiteX2320" y="connsiteY2320"/>
                          </a:cxn>
                          <a:cxn ang="0">
                            <a:pos x="connsiteX2321" y="connsiteY2321"/>
                          </a:cxn>
                          <a:cxn ang="0">
                            <a:pos x="connsiteX2322" y="connsiteY2322"/>
                          </a:cxn>
                          <a:cxn ang="0">
                            <a:pos x="connsiteX2323" y="connsiteY2323"/>
                          </a:cxn>
                          <a:cxn ang="0">
                            <a:pos x="connsiteX2324" y="connsiteY2324"/>
                          </a:cxn>
                          <a:cxn ang="0">
                            <a:pos x="connsiteX2325" y="connsiteY2325"/>
                          </a:cxn>
                          <a:cxn ang="0">
                            <a:pos x="connsiteX2326" y="connsiteY2326"/>
                          </a:cxn>
                          <a:cxn ang="0">
                            <a:pos x="connsiteX2327" y="connsiteY2327"/>
                          </a:cxn>
                          <a:cxn ang="0">
                            <a:pos x="connsiteX2328" y="connsiteY2328"/>
                          </a:cxn>
                          <a:cxn ang="0">
                            <a:pos x="connsiteX2329" y="connsiteY2329"/>
                          </a:cxn>
                          <a:cxn ang="0">
                            <a:pos x="connsiteX2330" y="connsiteY2330"/>
                          </a:cxn>
                          <a:cxn ang="0">
                            <a:pos x="connsiteX2331" y="connsiteY2331"/>
                          </a:cxn>
                          <a:cxn ang="0">
                            <a:pos x="connsiteX2332" y="connsiteY2332"/>
                          </a:cxn>
                          <a:cxn ang="0">
                            <a:pos x="connsiteX2333" y="connsiteY2333"/>
                          </a:cxn>
                          <a:cxn ang="0">
                            <a:pos x="connsiteX2334" y="connsiteY2334"/>
                          </a:cxn>
                          <a:cxn ang="0">
                            <a:pos x="connsiteX2335" y="connsiteY2335"/>
                          </a:cxn>
                          <a:cxn ang="0">
                            <a:pos x="connsiteX2336" y="connsiteY2336"/>
                          </a:cxn>
                          <a:cxn ang="0">
                            <a:pos x="connsiteX2337" y="connsiteY2337"/>
                          </a:cxn>
                          <a:cxn ang="0">
                            <a:pos x="connsiteX2338" y="connsiteY2338"/>
                          </a:cxn>
                          <a:cxn ang="0">
                            <a:pos x="connsiteX2339" y="connsiteY2339"/>
                          </a:cxn>
                          <a:cxn ang="0">
                            <a:pos x="connsiteX2340" y="connsiteY2340"/>
                          </a:cxn>
                          <a:cxn ang="0">
                            <a:pos x="connsiteX2341" y="connsiteY2341"/>
                          </a:cxn>
                          <a:cxn ang="0">
                            <a:pos x="connsiteX2342" y="connsiteY2342"/>
                          </a:cxn>
                          <a:cxn ang="0">
                            <a:pos x="connsiteX2343" y="connsiteY2343"/>
                          </a:cxn>
                          <a:cxn ang="0">
                            <a:pos x="connsiteX2344" y="connsiteY2344"/>
                          </a:cxn>
                          <a:cxn ang="0">
                            <a:pos x="connsiteX2345" y="connsiteY2345"/>
                          </a:cxn>
                          <a:cxn ang="0">
                            <a:pos x="connsiteX2346" y="connsiteY2346"/>
                          </a:cxn>
                          <a:cxn ang="0">
                            <a:pos x="connsiteX2347" y="connsiteY2347"/>
                          </a:cxn>
                          <a:cxn ang="0">
                            <a:pos x="connsiteX2348" y="connsiteY2348"/>
                          </a:cxn>
                          <a:cxn ang="0">
                            <a:pos x="connsiteX2349" y="connsiteY2349"/>
                          </a:cxn>
                          <a:cxn ang="0">
                            <a:pos x="connsiteX2350" y="connsiteY2350"/>
                          </a:cxn>
                          <a:cxn ang="0">
                            <a:pos x="connsiteX2351" y="connsiteY2351"/>
                          </a:cxn>
                          <a:cxn ang="0">
                            <a:pos x="connsiteX2352" y="connsiteY2352"/>
                          </a:cxn>
                          <a:cxn ang="0">
                            <a:pos x="connsiteX2353" y="connsiteY2353"/>
                          </a:cxn>
                          <a:cxn ang="0">
                            <a:pos x="connsiteX2354" y="connsiteY2354"/>
                          </a:cxn>
                          <a:cxn ang="0">
                            <a:pos x="connsiteX2355" y="connsiteY2355"/>
                          </a:cxn>
                          <a:cxn ang="0">
                            <a:pos x="connsiteX2356" y="connsiteY2356"/>
                          </a:cxn>
                          <a:cxn ang="0">
                            <a:pos x="connsiteX2357" y="connsiteY2357"/>
                          </a:cxn>
                          <a:cxn ang="0">
                            <a:pos x="connsiteX2358" y="connsiteY2358"/>
                          </a:cxn>
                          <a:cxn ang="0">
                            <a:pos x="connsiteX2359" y="connsiteY2359"/>
                          </a:cxn>
                          <a:cxn ang="0">
                            <a:pos x="connsiteX2360" y="connsiteY2360"/>
                          </a:cxn>
                          <a:cxn ang="0">
                            <a:pos x="connsiteX2361" y="connsiteY2361"/>
                          </a:cxn>
                          <a:cxn ang="0">
                            <a:pos x="connsiteX2362" y="connsiteY2362"/>
                          </a:cxn>
                          <a:cxn ang="0">
                            <a:pos x="connsiteX2363" y="connsiteY2363"/>
                          </a:cxn>
                          <a:cxn ang="0">
                            <a:pos x="connsiteX2364" y="connsiteY2364"/>
                          </a:cxn>
                          <a:cxn ang="0">
                            <a:pos x="connsiteX2365" y="connsiteY2365"/>
                          </a:cxn>
                          <a:cxn ang="0">
                            <a:pos x="connsiteX2366" y="connsiteY2366"/>
                          </a:cxn>
                          <a:cxn ang="0">
                            <a:pos x="connsiteX2367" y="connsiteY2367"/>
                          </a:cxn>
                          <a:cxn ang="0">
                            <a:pos x="connsiteX2368" y="connsiteY2368"/>
                          </a:cxn>
                          <a:cxn ang="0">
                            <a:pos x="connsiteX2369" y="connsiteY2369"/>
                          </a:cxn>
                          <a:cxn ang="0">
                            <a:pos x="connsiteX2370" y="connsiteY2370"/>
                          </a:cxn>
                          <a:cxn ang="0">
                            <a:pos x="connsiteX2371" y="connsiteY2371"/>
                          </a:cxn>
                          <a:cxn ang="0">
                            <a:pos x="connsiteX2372" y="connsiteY2372"/>
                          </a:cxn>
                          <a:cxn ang="0">
                            <a:pos x="connsiteX2373" y="connsiteY2373"/>
                          </a:cxn>
                          <a:cxn ang="0">
                            <a:pos x="connsiteX2374" y="connsiteY2374"/>
                          </a:cxn>
                          <a:cxn ang="0">
                            <a:pos x="connsiteX2375" y="connsiteY2375"/>
                          </a:cxn>
                          <a:cxn ang="0">
                            <a:pos x="connsiteX2376" y="connsiteY2376"/>
                          </a:cxn>
                          <a:cxn ang="0">
                            <a:pos x="connsiteX2377" y="connsiteY2377"/>
                          </a:cxn>
                          <a:cxn ang="0">
                            <a:pos x="connsiteX2378" y="connsiteY2378"/>
                          </a:cxn>
                          <a:cxn ang="0">
                            <a:pos x="connsiteX2379" y="connsiteY2379"/>
                          </a:cxn>
                          <a:cxn ang="0">
                            <a:pos x="connsiteX2380" y="connsiteY2380"/>
                          </a:cxn>
                          <a:cxn ang="0">
                            <a:pos x="connsiteX2381" y="connsiteY2381"/>
                          </a:cxn>
                          <a:cxn ang="0">
                            <a:pos x="connsiteX2382" y="connsiteY2382"/>
                          </a:cxn>
                          <a:cxn ang="0">
                            <a:pos x="connsiteX2383" y="connsiteY2383"/>
                          </a:cxn>
                          <a:cxn ang="0">
                            <a:pos x="connsiteX2384" y="connsiteY2384"/>
                          </a:cxn>
                          <a:cxn ang="0">
                            <a:pos x="connsiteX2385" y="connsiteY2385"/>
                          </a:cxn>
                          <a:cxn ang="0">
                            <a:pos x="connsiteX2386" y="connsiteY2386"/>
                          </a:cxn>
                          <a:cxn ang="0">
                            <a:pos x="connsiteX2387" y="connsiteY2387"/>
                          </a:cxn>
                          <a:cxn ang="0">
                            <a:pos x="connsiteX2388" y="connsiteY2388"/>
                          </a:cxn>
                          <a:cxn ang="0">
                            <a:pos x="connsiteX2389" y="connsiteY2389"/>
                          </a:cxn>
                          <a:cxn ang="0">
                            <a:pos x="connsiteX2390" y="connsiteY2390"/>
                          </a:cxn>
                          <a:cxn ang="0">
                            <a:pos x="connsiteX2391" y="connsiteY2391"/>
                          </a:cxn>
                          <a:cxn ang="0">
                            <a:pos x="connsiteX2392" y="connsiteY2392"/>
                          </a:cxn>
                          <a:cxn ang="0">
                            <a:pos x="connsiteX2393" y="connsiteY2393"/>
                          </a:cxn>
                          <a:cxn ang="0">
                            <a:pos x="connsiteX2394" y="connsiteY2394"/>
                          </a:cxn>
                          <a:cxn ang="0">
                            <a:pos x="connsiteX2395" y="connsiteY2395"/>
                          </a:cxn>
                          <a:cxn ang="0">
                            <a:pos x="connsiteX2396" y="connsiteY2396"/>
                          </a:cxn>
                          <a:cxn ang="0">
                            <a:pos x="connsiteX2397" y="connsiteY2397"/>
                          </a:cxn>
                          <a:cxn ang="0">
                            <a:pos x="connsiteX2398" y="connsiteY2398"/>
                          </a:cxn>
                          <a:cxn ang="0">
                            <a:pos x="connsiteX2399" y="connsiteY2399"/>
                          </a:cxn>
                          <a:cxn ang="0">
                            <a:pos x="connsiteX2400" y="connsiteY2400"/>
                          </a:cxn>
                          <a:cxn ang="0">
                            <a:pos x="connsiteX2401" y="connsiteY2401"/>
                          </a:cxn>
                          <a:cxn ang="0">
                            <a:pos x="connsiteX2402" y="connsiteY2402"/>
                          </a:cxn>
                          <a:cxn ang="0">
                            <a:pos x="connsiteX2403" y="connsiteY2403"/>
                          </a:cxn>
                          <a:cxn ang="0">
                            <a:pos x="connsiteX2404" y="connsiteY2404"/>
                          </a:cxn>
                          <a:cxn ang="0">
                            <a:pos x="connsiteX2405" y="connsiteY2405"/>
                          </a:cxn>
                          <a:cxn ang="0">
                            <a:pos x="connsiteX2406" y="connsiteY2406"/>
                          </a:cxn>
                          <a:cxn ang="0">
                            <a:pos x="connsiteX2407" y="connsiteY2407"/>
                          </a:cxn>
                          <a:cxn ang="0">
                            <a:pos x="connsiteX2408" y="connsiteY2408"/>
                          </a:cxn>
                          <a:cxn ang="0">
                            <a:pos x="connsiteX2409" y="connsiteY2409"/>
                          </a:cxn>
                          <a:cxn ang="0">
                            <a:pos x="connsiteX2410" y="connsiteY2410"/>
                          </a:cxn>
                          <a:cxn ang="0">
                            <a:pos x="connsiteX2411" y="connsiteY2411"/>
                          </a:cxn>
                          <a:cxn ang="0">
                            <a:pos x="connsiteX2412" y="connsiteY2412"/>
                          </a:cxn>
                          <a:cxn ang="0">
                            <a:pos x="connsiteX2413" y="connsiteY2413"/>
                          </a:cxn>
                          <a:cxn ang="0">
                            <a:pos x="connsiteX2414" y="connsiteY2414"/>
                          </a:cxn>
                          <a:cxn ang="0">
                            <a:pos x="connsiteX2415" y="connsiteY2415"/>
                          </a:cxn>
                          <a:cxn ang="0">
                            <a:pos x="connsiteX2416" y="connsiteY2416"/>
                          </a:cxn>
                          <a:cxn ang="0">
                            <a:pos x="connsiteX2417" y="connsiteY2417"/>
                          </a:cxn>
                          <a:cxn ang="0">
                            <a:pos x="connsiteX2418" y="connsiteY2418"/>
                          </a:cxn>
                          <a:cxn ang="0">
                            <a:pos x="connsiteX2419" y="connsiteY2419"/>
                          </a:cxn>
                          <a:cxn ang="0">
                            <a:pos x="connsiteX2420" y="connsiteY2420"/>
                          </a:cxn>
                          <a:cxn ang="0">
                            <a:pos x="connsiteX2421" y="connsiteY2421"/>
                          </a:cxn>
                          <a:cxn ang="0">
                            <a:pos x="connsiteX2422" y="connsiteY2422"/>
                          </a:cxn>
                          <a:cxn ang="0">
                            <a:pos x="connsiteX2423" y="connsiteY2423"/>
                          </a:cxn>
                          <a:cxn ang="0">
                            <a:pos x="connsiteX2424" y="connsiteY2424"/>
                          </a:cxn>
                          <a:cxn ang="0">
                            <a:pos x="connsiteX2425" y="connsiteY2425"/>
                          </a:cxn>
                          <a:cxn ang="0">
                            <a:pos x="connsiteX2426" y="connsiteY2426"/>
                          </a:cxn>
                          <a:cxn ang="0">
                            <a:pos x="connsiteX2427" y="connsiteY2427"/>
                          </a:cxn>
                          <a:cxn ang="0">
                            <a:pos x="connsiteX2428" y="connsiteY2428"/>
                          </a:cxn>
                          <a:cxn ang="0">
                            <a:pos x="connsiteX2429" y="connsiteY2429"/>
                          </a:cxn>
                          <a:cxn ang="0">
                            <a:pos x="connsiteX2430" y="connsiteY2430"/>
                          </a:cxn>
                          <a:cxn ang="0">
                            <a:pos x="connsiteX2431" y="connsiteY2431"/>
                          </a:cxn>
                          <a:cxn ang="0">
                            <a:pos x="connsiteX2432" y="connsiteY2432"/>
                          </a:cxn>
                          <a:cxn ang="0">
                            <a:pos x="connsiteX2433" y="connsiteY2433"/>
                          </a:cxn>
                          <a:cxn ang="0">
                            <a:pos x="connsiteX2434" y="connsiteY2434"/>
                          </a:cxn>
                          <a:cxn ang="0">
                            <a:pos x="connsiteX2435" y="connsiteY2435"/>
                          </a:cxn>
                          <a:cxn ang="0">
                            <a:pos x="connsiteX2436" y="connsiteY2436"/>
                          </a:cxn>
                          <a:cxn ang="0">
                            <a:pos x="connsiteX2437" y="connsiteY2437"/>
                          </a:cxn>
                          <a:cxn ang="0">
                            <a:pos x="connsiteX2438" y="connsiteY2438"/>
                          </a:cxn>
                          <a:cxn ang="0">
                            <a:pos x="connsiteX2439" y="connsiteY2439"/>
                          </a:cxn>
                          <a:cxn ang="0">
                            <a:pos x="connsiteX2440" y="connsiteY2440"/>
                          </a:cxn>
                          <a:cxn ang="0">
                            <a:pos x="connsiteX2441" y="connsiteY2441"/>
                          </a:cxn>
                          <a:cxn ang="0">
                            <a:pos x="connsiteX2442" y="connsiteY2442"/>
                          </a:cxn>
                          <a:cxn ang="0">
                            <a:pos x="connsiteX2443" y="connsiteY2443"/>
                          </a:cxn>
                          <a:cxn ang="0">
                            <a:pos x="connsiteX2444" y="connsiteY2444"/>
                          </a:cxn>
                          <a:cxn ang="0">
                            <a:pos x="connsiteX2445" y="connsiteY2445"/>
                          </a:cxn>
                          <a:cxn ang="0">
                            <a:pos x="connsiteX2446" y="connsiteY2446"/>
                          </a:cxn>
                          <a:cxn ang="0">
                            <a:pos x="connsiteX2447" y="connsiteY2447"/>
                          </a:cxn>
                          <a:cxn ang="0">
                            <a:pos x="connsiteX2448" y="connsiteY2448"/>
                          </a:cxn>
                          <a:cxn ang="0">
                            <a:pos x="connsiteX2449" y="connsiteY2449"/>
                          </a:cxn>
                          <a:cxn ang="0">
                            <a:pos x="connsiteX2450" y="connsiteY2450"/>
                          </a:cxn>
                          <a:cxn ang="0">
                            <a:pos x="connsiteX2451" y="connsiteY2451"/>
                          </a:cxn>
                          <a:cxn ang="0">
                            <a:pos x="connsiteX2452" y="connsiteY2452"/>
                          </a:cxn>
                          <a:cxn ang="0">
                            <a:pos x="connsiteX2453" y="connsiteY2453"/>
                          </a:cxn>
                          <a:cxn ang="0">
                            <a:pos x="connsiteX2454" y="connsiteY2454"/>
                          </a:cxn>
                          <a:cxn ang="0">
                            <a:pos x="connsiteX2455" y="connsiteY2455"/>
                          </a:cxn>
                          <a:cxn ang="0">
                            <a:pos x="connsiteX2456" y="connsiteY2456"/>
                          </a:cxn>
                          <a:cxn ang="0">
                            <a:pos x="connsiteX2457" y="connsiteY2457"/>
                          </a:cxn>
                          <a:cxn ang="0">
                            <a:pos x="connsiteX2458" y="connsiteY2458"/>
                          </a:cxn>
                          <a:cxn ang="0">
                            <a:pos x="connsiteX2459" y="connsiteY2459"/>
                          </a:cxn>
                          <a:cxn ang="0">
                            <a:pos x="connsiteX2460" y="connsiteY2460"/>
                          </a:cxn>
                          <a:cxn ang="0">
                            <a:pos x="connsiteX2461" y="connsiteY2461"/>
                          </a:cxn>
                          <a:cxn ang="0">
                            <a:pos x="connsiteX2462" y="connsiteY2462"/>
                          </a:cxn>
                          <a:cxn ang="0">
                            <a:pos x="connsiteX2463" y="connsiteY2463"/>
                          </a:cxn>
                          <a:cxn ang="0">
                            <a:pos x="connsiteX2464" y="connsiteY2464"/>
                          </a:cxn>
                          <a:cxn ang="0">
                            <a:pos x="connsiteX2465" y="connsiteY2465"/>
                          </a:cxn>
                          <a:cxn ang="0">
                            <a:pos x="connsiteX2466" y="connsiteY2466"/>
                          </a:cxn>
                          <a:cxn ang="0">
                            <a:pos x="connsiteX2467" y="connsiteY2467"/>
                          </a:cxn>
                          <a:cxn ang="0">
                            <a:pos x="connsiteX2468" y="connsiteY2468"/>
                          </a:cxn>
                          <a:cxn ang="0">
                            <a:pos x="connsiteX2469" y="connsiteY2469"/>
                          </a:cxn>
                          <a:cxn ang="0">
                            <a:pos x="connsiteX2470" y="connsiteY2470"/>
                          </a:cxn>
                          <a:cxn ang="0">
                            <a:pos x="connsiteX2471" y="connsiteY2471"/>
                          </a:cxn>
                          <a:cxn ang="0">
                            <a:pos x="connsiteX2472" y="connsiteY2472"/>
                          </a:cxn>
                          <a:cxn ang="0">
                            <a:pos x="connsiteX2473" y="connsiteY2473"/>
                          </a:cxn>
                          <a:cxn ang="0">
                            <a:pos x="connsiteX2474" y="connsiteY2474"/>
                          </a:cxn>
                          <a:cxn ang="0">
                            <a:pos x="connsiteX2475" y="connsiteY2475"/>
                          </a:cxn>
                          <a:cxn ang="0">
                            <a:pos x="connsiteX2476" y="connsiteY2476"/>
                          </a:cxn>
                          <a:cxn ang="0">
                            <a:pos x="connsiteX2477" y="connsiteY2477"/>
                          </a:cxn>
                          <a:cxn ang="0">
                            <a:pos x="connsiteX2478" y="connsiteY2478"/>
                          </a:cxn>
                          <a:cxn ang="0">
                            <a:pos x="connsiteX2479" y="connsiteY2479"/>
                          </a:cxn>
                          <a:cxn ang="0">
                            <a:pos x="connsiteX2480" y="connsiteY2480"/>
                          </a:cxn>
                          <a:cxn ang="0">
                            <a:pos x="connsiteX2481" y="connsiteY2481"/>
                          </a:cxn>
                          <a:cxn ang="0">
                            <a:pos x="connsiteX2482" y="connsiteY2482"/>
                          </a:cxn>
                          <a:cxn ang="0">
                            <a:pos x="connsiteX2483" y="connsiteY2483"/>
                          </a:cxn>
                          <a:cxn ang="0">
                            <a:pos x="connsiteX2484" y="connsiteY2484"/>
                          </a:cxn>
                          <a:cxn ang="0">
                            <a:pos x="connsiteX2485" y="connsiteY2485"/>
                          </a:cxn>
                          <a:cxn ang="0">
                            <a:pos x="connsiteX2486" y="connsiteY2486"/>
                          </a:cxn>
                          <a:cxn ang="0">
                            <a:pos x="connsiteX2487" y="connsiteY2487"/>
                          </a:cxn>
                          <a:cxn ang="0">
                            <a:pos x="connsiteX2488" y="connsiteY2488"/>
                          </a:cxn>
                          <a:cxn ang="0">
                            <a:pos x="connsiteX2489" y="connsiteY2489"/>
                          </a:cxn>
                          <a:cxn ang="0">
                            <a:pos x="connsiteX2490" y="connsiteY2490"/>
                          </a:cxn>
                          <a:cxn ang="0">
                            <a:pos x="connsiteX2491" y="connsiteY2491"/>
                          </a:cxn>
                          <a:cxn ang="0">
                            <a:pos x="connsiteX2492" y="connsiteY2492"/>
                          </a:cxn>
                          <a:cxn ang="0">
                            <a:pos x="connsiteX2493" y="connsiteY2493"/>
                          </a:cxn>
                          <a:cxn ang="0">
                            <a:pos x="connsiteX2494" y="connsiteY2494"/>
                          </a:cxn>
                          <a:cxn ang="0">
                            <a:pos x="connsiteX2495" y="connsiteY2495"/>
                          </a:cxn>
                          <a:cxn ang="0">
                            <a:pos x="connsiteX2496" y="connsiteY2496"/>
                          </a:cxn>
                          <a:cxn ang="0">
                            <a:pos x="connsiteX2497" y="connsiteY2497"/>
                          </a:cxn>
                          <a:cxn ang="0">
                            <a:pos x="connsiteX2498" y="connsiteY2498"/>
                          </a:cxn>
                          <a:cxn ang="0">
                            <a:pos x="connsiteX2499" y="connsiteY2499"/>
                          </a:cxn>
                          <a:cxn ang="0">
                            <a:pos x="connsiteX2500" y="connsiteY2500"/>
                          </a:cxn>
                          <a:cxn ang="0">
                            <a:pos x="connsiteX2501" y="connsiteY2501"/>
                          </a:cxn>
                          <a:cxn ang="0">
                            <a:pos x="connsiteX2502" y="connsiteY2502"/>
                          </a:cxn>
                          <a:cxn ang="0">
                            <a:pos x="connsiteX2503" y="connsiteY2503"/>
                          </a:cxn>
                          <a:cxn ang="0">
                            <a:pos x="connsiteX2504" y="connsiteY2504"/>
                          </a:cxn>
                          <a:cxn ang="0">
                            <a:pos x="connsiteX2505" y="connsiteY2505"/>
                          </a:cxn>
                          <a:cxn ang="0">
                            <a:pos x="connsiteX2506" y="connsiteY2506"/>
                          </a:cxn>
                          <a:cxn ang="0">
                            <a:pos x="connsiteX2507" y="connsiteY2507"/>
                          </a:cxn>
                          <a:cxn ang="0">
                            <a:pos x="connsiteX2508" y="connsiteY2508"/>
                          </a:cxn>
                          <a:cxn ang="0">
                            <a:pos x="connsiteX2509" y="connsiteY2509"/>
                          </a:cxn>
                          <a:cxn ang="0">
                            <a:pos x="connsiteX2510" y="connsiteY2510"/>
                          </a:cxn>
                          <a:cxn ang="0">
                            <a:pos x="connsiteX2511" y="connsiteY2511"/>
                          </a:cxn>
                          <a:cxn ang="0">
                            <a:pos x="connsiteX2512" y="connsiteY2512"/>
                          </a:cxn>
                          <a:cxn ang="0">
                            <a:pos x="connsiteX2513" y="connsiteY2513"/>
                          </a:cxn>
                          <a:cxn ang="0">
                            <a:pos x="connsiteX2514" y="connsiteY2514"/>
                          </a:cxn>
                          <a:cxn ang="0">
                            <a:pos x="connsiteX2515" y="connsiteY2515"/>
                          </a:cxn>
                          <a:cxn ang="0">
                            <a:pos x="connsiteX2516" y="connsiteY2516"/>
                          </a:cxn>
                          <a:cxn ang="0">
                            <a:pos x="connsiteX2517" y="connsiteY2517"/>
                          </a:cxn>
                          <a:cxn ang="0">
                            <a:pos x="connsiteX2518" y="connsiteY2518"/>
                          </a:cxn>
                          <a:cxn ang="0">
                            <a:pos x="connsiteX2519" y="connsiteY2519"/>
                          </a:cxn>
                          <a:cxn ang="0">
                            <a:pos x="connsiteX2520" y="connsiteY2520"/>
                          </a:cxn>
                          <a:cxn ang="0">
                            <a:pos x="connsiteX2521" y="connsiteY2521"/>
                          </a:cxn>
                          <a:cxn ang="0">
                            <a:pos x="connsiteX2522" y="connsiteY2522"/>
                          </a:cxn>
                          <a:cxn ang="0">
                            <a:pos x="connsiteX2523" y="connsiteY2523"/>
                          </a:cxn>
                          <a:cxn ang="0">
                            <a:pos x="connsiteX2524" y="connsiteY2524"/>
                          </a:cxn>
                          <a:cxn ang="0">
                            <a:pos x="connsiteX2525" y="connsiteY2525"/>
                          </a:cxn>
                          <a:cxn ang="0">
                            <a:pos x="connsiteX2526" y="connsiteY2526"/>
                          </a:cxn>
                          <a:cxn ang="0">
                            <a:pos x="connsiteX2527" y="connsiteY2527"/>
                          </a:cxn>
                          <a:cxn ang="0">
                            <a:pos x="connsiteX2528" y="connsiteY2528"/>
                          </a:cxn>
                          <a:cxn ang="0">
                            <a:pos x="connsiteX2529" y="connsiteY2529"/>
                          </a:cxn>
                          <a:cxn ang="0">
                            <a:pos x="connsiteX2530" y="connsiteY2530"/>
                          </a:cxn>
                          <a:cxn ang="0">
                            <a:pos x="connsiteX2531" y="connsiteY2531"/>
                          </a:cxn>
                          <a:cxn ang="0">
                            <a:pos x="connsiteX2532" y="connsiteY2532"/>
                          </a:cxn>
                          <a:cxn ang="0">
                            <a:pos x="connsiteX2533" y="connsiteY2533"/>
                          </a:cxn>
                          <a:cxn ang="0">
                            <a:pos x="connsiteX2534" y="connsiteY2534"/>
                          </a:cxn>
                          <a:cxn ang="0">
                            <a:pos x="connsiteX2535" y="connsiteY2535"/>
                          </a:cxn>
                          <a:cxn ang="0">
                            <a:pos x="connsiteX2536" y="connsiteY2536"/>
                          </a:cxn>
                          <a:cxn ang="0">
                            <a:pos x="connsiteX2537" y="connsiteY2537"/>
                          </a:cxn>
                          <a:cxn ang="0">
                            <a:pos x="connsiteX2538" y="connsiteY2538"/>
                          </a:cxn>
                          <a:cxn ang="0">
                            <a:pos x="connsiteX2539" y="connsiteY2539"/>
                          </a:cxn>
                          <a:cxn ang="0">
                            <a:pos x="connsiteX2540" y="connsiteY2540"/>
                          </a:cxn>
                          <a:cxn ang="0">
                            <a:pos x="connsiteX2541" y="connsiteY2541"/>
                          </a:cxn>
                          <a:cxn ang="0">
                            <a:pos x="connsiteX2542" y="connsiteY2542"/>
                          </a:cxn>
                          <a:cxn ang="0">
                            <a:pos x="connsiteX2543" y="connsiteY2543"/>
                          </a:cxn>
                          <a:cxn ang="0">
                            <a:pos x="connsiteX2544" y="connsiteY2544"/>
                          </a:cxn>
                          <a:cxn ang="0">
                            <a:pos x="connsiteX2545" y="connsiteY2545"/>
                          </a:cxn>
                          <a:cxn ang="0">
                            <a:pos x="connsiteX2546" y="connsiteY2546"/>
                          </a:cxn>
                          <a:cxn ang="0">
                            <a:pos x="connsiteX2547" y="connsiteY2547"/>
                          </a:cxn>
                          <a:cxn ang="0">
                            <a:pos x="connsiteX2548" y="connsiteY2548"/>
                          </a:cxn>
                          <a:cxn ang="0">
                            <a:pos x="connsiteX2549" y="connsiteY2549"/>
                          </a:cxn>
                          <a:cxn ang="0">
                            <a:pos x="connsiteX2550" y="connsiteY2550"/>
                          </a:cxn>
                          <a:cxn ang="0">
                            <a:pos x="connsiteX2551" y="connsiteY2551"/>
                          </a:cxn>
                          <a:cxn ang="0">
                            <a:pos x="connsiteX2552" y="connsiteY2552"/>
                          </a:cxn>
                          <a:cxn ang="0">
                            <a:pos x="connsiteX2553" y="connsiteY2553"/>
                          </a:cxn>
                          <a:cxn ang="0">
                            <a:pos x="connsiteX2554" y="connsiteY2554"/>
                          </a:cxn>
                          <a:cxn ang="0">
                            <a:pos x="connsiteX2555" y="connsiteY2555"/>
                          </a:cxn>
                          <a:cxn ang="0">
                            <a:pos x="connsiteX2556" y="connsiteY2556"/>
                          </a:cxn>
                          <a:cxn ang="0">
                            <a:pos x="connsiteX2557" y="connsiteY2557"/>
                          </a:cxn>
                          <a:cxn ang="0">
                            <a:pos x="connsiteX2558" y="connsiteY2558"/>
                          </a:cxn>
                          <a:cxn ang="0">
                            <a:pos x="connsiteX2559" y="connsiteY2559"/>
                          </a:cxn>
                          <a:cxn ang="0">
                            <a:pos x="connsiteX2560" y="connsiteY2560"/>
                          </a:cxn>
                          <a:cxn ang="0">
                            <a:pos x="connsiteX2561" y="connsiteY2561"/>
                          </a:cxn>
                          <a:cxn ang="0">
                            <a:pos x="connsiteX2562" y="connsiteY2562"/>
                          </a:cxn>
                          <a:cxn ang="0">
                            <a:pos x="connsiteX2563" y="connsiteY2563"/>
                          </a:cxn>
                          <a:cxn ang="0">
                            <a:pos x="connsiteX2564" y="connsiteY2564"/>
                          </a:cxn>
                          <a:cxn ang="0">
                            <a:pos x="connsiteX2565" y="connsiteY2565"/>
                          </a:cxn>
                          <a:cxn ang="0">
                            <a:pos x="connsiteX2566" y="connsiteY2566"/>
                          </a:cxn>
                          <a:cxn ang="0">
                            <a:pos x="connsiteX2567" y="connsiteY2567"/>
                          </a:cxn>
                          <a:cxn ang="0">
                            <a:pos x="connsiteX2568" y="connsiteY2568"/>
                          </a:cxn>
                          <a:cxn ang="0">
                            <a:pos x="connsiteX2569" y="connsiteY2569"/>
                          </a:cxn>
                          <a:cxn ang="0">
                            <a:pos x="connsiteX2570" y="connsiteY2570"/>
                          </a:cxn>
                          <a:cxn ang="0">
                            <a:pos x="connsiteX2571" y="connsiteY2571"/>
                          </a:cxn>
                          <a:cxn ang="0">
                            <a:pos x="connsiteX2572" y="connsiteY2572"/>
                          </a:cxn>
                          <a:cxn ang="0">
                            <a:pos x="connsiteX2573" y="connsiteY2573"/>
                          </a:cxn>
                          <a:cxn ang="0">
                            <a:pos x="connsiteX2574" y="connsiteY2574"/>
                          </a:cxn>
                          <a:cxn ang="0">
                            <a:pos x="connsiteX2575" y="connsiteY2575"/>
                          </a:cxn>
                          <a:cxn ang="0">
                            <a:pos x="connsiteX2576" y="connsiteY2576"/>
                          </a:cxn>
                          <a:cxn ang="0">
                            <a:pos x="connsiteX2577" y="connsiteY2577"/>
                          </a:cxn>
                          <a:cxn ang="0">
                            <a:pos x="connsiteX2578" y="connsiteY2578"/>
                          </a:cxn>
                          <a:cxn ang="0">
                            <a:pos x="connsiteX2579" y="connsiteY2579"/>
                          </a:cxn>
                          <a:cxn ang="0">
                            <a:pos x="connsiteX2580" y="connsiteY2580"/>
                          </a:cxn>
                          <a:cxn ang="0">
                            <a:pos x="connsiteX2581" y="connsiteY2581"/>
                          </a:cxn>
                          <a:cxn ang="0">
                            <a:pos x="connsiteX2582" y="connsiteY2582"/>
                          </a:cxn>
                          <a:cxn ang="0">
                            <a:pos x="connsiteX2583" y="connsiteY2583"/>
                          </a:cxn>
                          <a:cxn ang="0">
                            <a:pos x="connsiteX2584" y="connsiteY2584"/>
                          </a:cxn>
                          <a:cxn ang="0">
                            <a:pos x="connsiteX2585" y="connsiteY2585"/>
                          </a:cxn>
                          <a:cxn ang="0">
                            <a:pos x="connsiteX2586" y="connsiteY2586"/>
                          </a:cxn>
                          <a:cxn ang="0">
                            <a:pos x="connsiteX2587" y="connsiteY2587"/>
                          </a:cxn>
                          <a:cxn ang="0">
                            <a:pos x="connsiteX2588" y="connsiteY2588"/>
                          </a:cxn>
                          <a:cxn ang="0">
                            <a:pos x="connsiteX2589" y="connsiteY2589"/>
                          </a:cxn>
                          <a:cxn ang="0">
                            <a:pos x="connsiteX2590" y="connsiteY2590"/>
                          </a:cxn>
                          <a:cxn ang="0">
                            <a:pos x="connsiteX2591" y="connsiteY2591"/>
                          </a:cxn>
                          <a:cxn ang="0">
                            <a:pos x="connsiteX2592" y="connsiteY2592"/>
                          </a:cxn>
                          <a:cxn ang="0">
                            <a:pos x="connsiteX2593" y="connsiteY2593"/>
                          </a:cxn>
                          <a:cxn ang="0">
                            <a:pos x="connsiteX2594" y="connsiteY2594"/>
                          </a:cxn>
                          <a:cxn ang="0">
                            <a:pos x="connsiteX2595" y="connsiteY2595"/>
                          </a:cxn>
                          <a:cxn ang="0">
                            <a:pos x="connsiteX2596" y="connsiteY2596"/>
                          </a:cxn>
                          <a:cxn ang="0">
                            <a:pos x="connsiteX2597" y="connsiteY2597"/>
                          </a:cxn>
                          <a:cxn ang="0">
                            <a:pos x="connsiteX2598" y="connsiteY2598"/>
                          </a:cxn>
                          <a:cxn ang="0">
                            <a:pos x="connsiteX2599" y="connsiteY2599"/>
                          </a:cxn>
                          <a:cxn ang="0">
                            <a:pos x="connsiteX2600" y="connsiteY2600"/>
                          </a:cxn>
                          <a:cxn ang="0">
                            <a:pos x="connsiteX2601" y="connsiteY2601"/>
                          </a:cxn>
                          <a:cxn ang="0">
                            <a:pos x="connsiteX2602" y="connsiteY2602"/>
                          </a:cxn>
                          <a:cxn ang="0">
                            <a:pos x="connsiteX2603" y="connsiteY2603"/>
                          </a:cxn>
                          <a:cxn ang="0">
                            <a:pos x="connsiteX2604" y="connsiteY2604"/>
                          </a:cxn>
                          <a:cxn ang="0">
                            <a:pos x="connsiteX2605" y="connsiteY2605"/>
                          </a:cxn>
                          <a:cxn ang="0">
                            <a:pos x="connsiteX2606" y="connsiteY2606"/>
                          </a:cxn>
                          <a:cxn ang="0">
                            <a:pos x="connsiteX2607" y="connsiteY2607"/>
                          </a:cxn>
                          <a:cxn ang="0">
                            <a:pos x="connsiteX2608" y="connsiteY2608"/>
                          </a:cxn>
                          <a:cxn ang="0">
                            <a:pos x="connsiteX2609" y="connsiteY2609"/>
                          </a:cxn>
                          <a:cxn ang="0">
                            <a:pos x="connsiteX2610" y="connsiteY2610"/>
                          </a:cxn>
                          <a:cxn ang="0">
                            <a:pos x="connsiteX2611" y="connsiteY2611"/>
                          </a:cxn>
                          <a:cxn ang="0">
                            <a:pos x="connsiteX2612" y="connsiteY2612"/>
                          </a:cxn>
                          <a:cxn ang="0">
                            <a:pos x="connsiteX2613" y="connsiteY2613"/>
                          </a:cxn>
                          <a:cxn ang="0">
                            <a:pos x="connsiteX2614" y="connsiteY2614"/>
                          </a:cxn>
                          <a:cxn ang="0">
                            <a:pos x="connsiteX2615" y="connsiteY2615"/>
                          </a:cxn>
                          <a:cxn ang="0">
                            <a:pos x="connsiteX2616" y="connsiteY2616"/>
                          </a:cxn>
                          <a:cxn ang="0">
                            <a:pos x="connsiteX2617" y="connsiteY2617"/>
                          </a:cxn>
                          <a:cxn ang="0">
                            <a:pos x="connsiteX2618" y="connsiteY2618"/>
                          </a:cxn>
                          <a:cxn ang="0">
                            <a:pos x="connsiteX2619" y="connsiteY2619"/>
                          </a:cxn>
                          <a:cxn ang="0">
                            <a:pos x="connsiteX2620" y="connsiteY2620"/>
                          </a:cxn>
                          <a:cxn ang="0">
                            <a:pos x="connsiteX2621" y="connsiteY2621"/>
                          </a:cxn>
                          <a:cxn ang="0">
                            <a:pos x="connsiteX2622" y="connsiteY2622"/>
                          </a:cxn>
                          <a:cxn ang="0">
                            <a:pos x="connsiteX2623" y="connsiteY2623"/>
                          </a:cxn>
                          <a:cxn ang="0">
                            <a:pos x="connsiteX2624" y="connsiteY2624"/>
                          </a:cxn>
                          <a:cxn ang="0">
                            <a:pos x="connsiteX2625" y="connsiteY2625"/>
                          </a:cxn>
                          <a:cxn ang="0">
                            <a:pos x="connsiteX2626" y="connsiteY2626"/>
                          </a:cxn>
                          <a:cxn ang="0">
                            <a:pos x="connsiteX2627" y="connsiteY2627"/>
                          </a:cxn>
                          <a:cxn ang="0">
                            <a:pos x="connsiteX2628" y="connsiteY2628"/>
                          </a:cxn>
                          <a:cxn ang="0">
                            <a:pos x="connsiteX2629" y="connsiteY2629"/>
                          </a:cxn>
                          <a:cxn ang="0">
                            <a:pos x="connsiteX2630" y="connsiteY2630"/>
                          </a:cxn>
                          <a:cxn ang="0">
                            <a:pos x="connsiteX2631" y="connsiteY2631"/>
                          </a:cxn>
                          <a:cxn ang="0">
                            <a:pos x="connsiteX2632" y="connsiteY2632"/>
                          </a:cxn>
                          <a:cxn ang="0">
                            <a:pos x="connsiteX2633" y="connsiteY2633"/>
                          </a:cxn>
                          <a:cxn ang="0">
                            <a:pos x="connsiteX2634" y="connsiteY2634"/>
                          </a:cxn>
                          <a:cxn ang="0">
                            <a:pos x="connsiteX2635" y="connsiteY2635"/>
                          </a:cxn>
                          <a:cxn ang="0">
                            <a:pos x="connsiteX2636" y="connsiteY2636"/>
                          </a:cxn>
                          <a:cxn ang="0">
                            <a:pos x="connsiteX2637" y="connsiteY2637"/>
                          </a:cxn>
                          <a:cxn ang="0">
                            <a:pos x="connsiteX2638" y="connsiteY2638"/>
                          </a:cxn>
                          <a:cxn ang="0">
                            <a:pos x="connsiteX2639" y="connsiteY2639"/>
                          </a:cxn>
                          <a:cxn ang="0">
                            <a:pos x="connsiteX2640" y="connsiteY2640"/>
                          </a:cxn>
                          <a:cxn ang="0">
                            <a:pos x="connsiteX2641" y="connsiteY2641"/>
                          </a:cxn>
                          <a:cxn ang="0">
                            <a:pos x="connsiteX2642" y="connsiteY2642"/>
                          </a:cxn>
                          <a:cxn ang="0">
                            <a:pos x="connsiteX2643" y="connsiteY2643"/>
                          </a:cxn>
                          <a:cxn ang="0">
                            <a:pos x="connsiteX2644" y="connsiteY2644"/>
                          </a:cxn>
                          <a:cxn ang="0">
                            <a:pos x="connsiteX2645" y="connsiteY2645"/>
                          </a:cxn>
                          <a:cxn ang="0">
                            <a:pos x="connsiteX2646" y="connsiteY2646"/>
                          </a:cxn>
                          <a:cxn ang="0">
                            <a:pos x="connsiteX2647" y="connsiteY2647"/>
                          </a:cxn>
                          <a:cxn ang="0">
                            <a:pos x="connsiteX2648" y="connsiteY2648"/>
                          </a:cxn>
                          <a:cxn ang="0">
                            <a:pos x="connsiteX2649" y="connsiteY2649"/>
                          </a:cxn>
                          <a:cxn ang="0">
                            <a:pos x="connsiteX2650" y="connsiteY2650"/>
                          </a:cxn>
                          <a:cxn ang="0">
                            <a:pos x="connsiteX2651" y="connsiteY2651"/>
                          </a:cxn>
                          <a:cxn ang="0">
                            <a:pos x="connsiteX2652" y="connsiteY2652"/>
                          </a:cxn>
                          <a:cxn ang="0">
                            <a:pos x="connsiteX2653" y="connsiteY2653"/>
                          </a:cxn>
                          <a:cxn ang="0">
                            <a:pos x="connsiteX2654" y="connsiteY2654"/>
                          </a:cxn>
                          <a:cxn ang="0">
                            <a:pos x="connsiteX2655" y="connsiteY2655"/>
                          </a:cxn>
                          <a:cxn ang="0">
                            <a:pos x="connsiteX2656" y="connsiteY2656"/>
                          </a:cxn>
                          <a:cxn ang="0">
                            <a:pos x="connsiteX2657" y="connsiteY2657"/>
                          </a:cxn>
                          <a:cxn ang="0">
                            <a:pos x="connsiteX2658" y="connsiteY2658"/>
                          </a:cxn>
                          <a:cxn ang="0">
                            <a:pos x="connsiteX2659" y="connsiteY2659"/>
                          </a:cxn>
                          <a:cxn ang="0">
                            <a:pos x="connsiteX2660" y="connsiteY2660"/>
                          </a:cxn>
                          <a:cxn ang="0">
                            <a:pos x="connsiteX2661" y="connsiteY2661"/>
                          </a:cxn>
                          <a:cxn ang="0">
                            <a:pos x="connsiteX2662" y="connsiteY2662"/>
                          </a:cxn>
                          <a:cxn ang="0">
                            <a:pos x="connsiteX2663" y="connsiteY2663"/>
                          </a:cxn>
                          <a:cxn ang="0">
                            <a:pos x="connsiteX2664" y="connsiteY2664"/>
                          </a:cxn>
                          <a:cxn ang="0">
                            <a:pos x="connsiteX2665" y="connsiteY2665"/>
                          </a:cxn>
                          <a:cxn ang="0">
                            <a:pos x="connsiteX2666" y="connsiteY2666"/>
                          </a:cxn>
                          <a:cxn ang="0">
                            <a:pos x="connsiteX2667" y="connsiteY2667"/>
                          </a:cxn>
                          <a:cxn ang="0">
                            <a:pos x="connsiteX2668" y="connsiteY2668"/>
                          </a:cxn>
                          <a:cxn ang="0">
                            <a:pos x="connsiteX2669" y="connsiteY2669"/>
                          </a:cxn>
                          <a:cxn ang="0">
                            <a:pos x="connsiteX2670" y="connsiteY2670"/>
                          </a:cxn>
                          <a:cxn ang="0">
                            <a:pos x="connsiteX2671" y="connsiteY2671"/>
                          </a:cxn>
                          <a:cxn ang="0">
                            <a:pos x="connsiteX2672" y="connsiteY2672"/>
                          </a:cxn>
                          <a:cxn ang="0">
                            <a:pos x="connsiteX2673" y="connsiteY2673"/>
                          </a:cxn>
                          <a:cxn ang="0">
                            <a:pos x="connsiteX2674" y="connsiteY2674"/>
                          </a:cxn>
                          <a:cxn ang="0">
                            <a:pos x="connsiteX2675" y="connsiteY2675"/>
                          </a:cxn>
                          <a:cxn ang="0">
                            <a:pos x="connsiteX2676" y="connsiteY2676"/>
                          </a:cxn>
                          <a:cxn ang="0">
                            <a:pos x="connsiteX2677" y="connsiteY2677"/>
                          </a:cxn>
                          <a:cxn ang="0">
                            <a:pos x="connsiteX2678" y="connsiteY2678"/>
                          </a:cxn>
                          <a:cxn ang="0">
                            <a:pos x="connsiteX2679" y="connsiteY2679"/>
                          </a:cxn>
                          <a:cxn ang="0">
                            <a:pos x="connsiteX2680" y="connsiteY2680"/>
                          </a:cxn>
                          <a:cxn ang="0">
                            <a:pos x="connsiteX2681" y="connsiteY2681"/>
                          </a:cxn>
                          <a:cxn ang="0">
                            <a:pos x="connsiteX2682" y="connsiteY2682"/>
                          </a:cxn>
                          <a:cxn ang="0">
                            <a:pos x="connsiteX2683" y="connsiteY2683"/>
                          </a:cxn>
                          <a:cxn ang="0">
                            <a:pos x="connsiteX2684" y="connsiteY2684"/>
                          </a:cxn>
                          <a:cxn ang="0">
                            <a:pos x="connsiteX2685" y="connsiteY2685"/>
                          </a:cxn>
                          <a:cxn ang="0">
                            <a:pos x="connsiteX2686" y="connsiteY2686"/>
                          </a:cxn>
                          <a:cxn ang="0">
                            <a:pos x="connsiteX2687" y="connsiteY2687"/>
                          </a:cxn>
                          <a:cxn ang="0">
                            <a:pos x="connsiteX2688" y="connsiteY2688"/>
                          </a:cxn>
                          <a:cxn ang="0">
                            <a:pos x="connsiteX2689" y="connsiteY2689"/>
                          </a:cxn>
                          <a:cxn ang="0">
                            <a:pos x="connsiteX2690" y="connsiteY2690"/>
                          </a:cxn>
                          <a:cxn ang="0">
                            <a:pos x="connsiteX2691" y="connsiteY2691"/>
                          </a:cxn>
                          <a:cxn ang="0">
                            <a:pos x="connsiteX2692" y="connsiteY2692"/>
                          </a:cxn>
                          <a:cxn ang="0">
                            <a:pos x="connsiteX2693" y="connsiteY2693"/>
                          </a:cxn>
                          <a:cxn ang="0">
                            <a:pos x="connsiteX2694" y="connsiteY2694"/>
                          </a:cxn>
                          <a:cxn ang="0">
                            <a:pos x="connsiteX2695" y="connsiteY2695"/>
                          </a:cxn>
                          <a:cxn ang="0">
                            <a:pos x="connsiteX2696" y="connsiteY2696"/>
                          </a:cxn>
                          <a:cxn ang="0">
                            <a:pos x="connsiteX2697" y="connsiteY2697"/>
                          </a:cxn>
                          <a:cxn ang="0">
                            <a:pos x="connsiteX2698" y="connsiteY2698"/>
                          </a:cxn>
                          <a:cxn ang="0">
                            <a:pos x="connsiteX2699" y="connsiteY2699"/>
                          </a:cxn>
                          <a:cxn ang="0">
                            <a:pos x="connsiteX2700" y="connsiteY2700"/>
                          </a:cxn>
                          <a:cxn ang="0">
                            <a:pos x="connsiteX2701" y="connsiteY2701"/>
                          </a:cxn>
                          <a:cxn ang="0">
                            <a:pos x="connsiteX2702" y="connsiteY2702"/>
                          </a:cxn>
                          <a:cxn ang="0">
                            <a:pos x="connsiteX2703" y="connsiteY2703"/>
                          </a:cxn>
                          <a:cxn ang="0">
                            <a:pos x="connsiteX2704" y="connsiteY2704"/>
                          </a:cxn>
                          <a:cxn ang="0">
                            <a:pos x="connsiteX2705" y="connsiteY2705"/>
                          </a:cxn>
                          <a:cxn ang="0">
                            <a:pos x="connsiteX2706" y="connsiteY2706"/>
                          </a:cxn>
                          <a:cxn ang="0">
                            <a:pos x="connsiteX2707" y="connsiteY2707"/>
                          </a:cxn>
                          <a:cxn ang="0">
                            <a:pos x="connsiteX2708" y="connsiteY2708"/>
                          </a:cxn>
                          <a:cxn ang="0">
                            <a:pos x="connsiteX2709" y="connsiteY2709"/>
                          </a:cxn>
                          <a:cxn ang="0">
                            <a:pos x="connsiteX2710" y="connsiteY2710"/>
                          </a:cxn>
                          <a:cxn ang="0">
                            <a:pos x="connsiteX2711" y="connsiteY2711"/>
                          </a:cxn>
                          <a:cxn ang="0">
                            <a:pos x="connsiteX2712" y="connsiteY2712"/>
                          </a:cxn>
                          <a:cxn ang="0">
                            <a:pos x="connsiteX2713" y="connsiteY2713"/>
                          </a:cxn>
                          <a:cxn ang="0">
                            <a:pos x="connsiteX2714" y="connsiteY2714"/>
                          </a:cxn>
                          <a:cxn ang="0">
                            <a:pos x="connsiteX2715" y="connsiteY2715"/>
                          </a:cxn>
                          <a:cxn ang="0">
                            <a:pos x="connsiteX2716" y="connsiteY2716"/>
                          </a:cxn>
                          <a:cxn ang="0">
                            <a:pos x="connsiteX2717" y="connsiteY2717"/>
                          </a:cxn>
                          <a:cxn ang="0">
                            <a:pos x="connsiteX2718" y="connsiteY2718"/>
                          </a:cxn>
                          <a:cxn ang="0">
                            <a:pos x="connsiteX2719" y="connsiteY2719"/>
                          </a:cxn>
                          <a:cxn ang="0">
                            <a:pos x="connsiteX2720" y="connsiteY2720"/>
                          </a:cxn>
                          <a:cxn ang="0">
                            <a:pos x="connsiteX2721" y="connsiteY2721"/>
                          </a:cxn>
                          <a:cxn ang="0">
                            <a:pos x="connsiteX2722" y="connsiteY2722"/>
                          </a:cxn>
                          <a:cxn ang="0">
                            <a:pos x="connsiteX2723" y="connsiteY2723"/>
                          </a:cxn>
                          <a:cxn ang="0">
                            <a:pos x="connsiteX2724" y="connsiteY2724"/>
                          </a:cxn>
                          <a:cxn ang="0">
                            <a:pos x="connsiteX2725" y="connsiteY2725"/>
                          </a:cxn>
                          <a:cxn ang="0">
                            <a:pos x="connsiteX2726" y="connsiteY2726"/>
                          </a:cxn>
                          <a:cxn ang="0">
                            <a:pos x="connsiteX2727" y="connsiteY2727"/>
                          </a:cxn>
                          <a:cxn ang="0">
                            <a:pos x="connsiteX2728" y="connsiteY2728"/>
                          </a:cxn>
                          <a:cxn ang="0">
                            <a:pos x="connsiteX2729" y="connsiteY2729"/>
                          </a:cxn>
                          <a:cxn ang="0">
                            <a:pos x="connsiteX2730" y="connsiteY2730"/>
                          </a:cxn>
                          <a:cxn ang="0">
                            <a:pos x="connsiteX2731" y="connsiteY2731"/>
                          </a:cxn>
                          <a:cxn ang="0">
                            <a:pos x="connsiteX2732" y="connsiteY2732"/>
                          </a:cxn>
                          <a:cxn ang="0">
                            <a:pos x="connsiteX2733" y="connsiteY2733"/>
                          </a:cxn>
                          <a:cxn ang="0">
                            <a:pos x="connsiteX2734" y="connsiteY2734"/>
                          </a:cxn>
                          <a:cxn ang="0">
                            <a:pos x="connsiteX2735" y="connsiteY2735"/>
                          </a:cxn>
                          <a:cxn ang="0">
                            <a:pos x="connsiteX2736" y="connsiteY2736"/>
                          </a:cxn>
                          <a:cxn ang="0">
                            <a:pos x="connsiteX2737" y="connsiteY2737"/>
                          </a:cxn>
                          <a:cxn ang="0">
                            <a:pos x="connsiteX2738" y="connsiteY2738"/>
                          </a:cxn>
                          <a:cxn ang="0">
                            <a:pos x="connsiteX2739" y="connsiteY2739"/>
                          </a:cxn>
                          <a:cxn ang="0">
                            <a:pos x="connsiteX2740" y="connsiteY2740"/>
                          </a:cxn>
                          <a:cxn ang="0">
                            <a:pos x="connsiteX2741" y="connsiteY2741"/>
                          </a:cxn>
                          <a:cxn ang="0">
                            <a:pos x="connsiteX2742" y="connsiteY2742"/>
                          </a:cxn>
                          <a:cxn ang="0">
                            <a:pos x="connsiteX2743" y="connsiteY2743"/>
                          </a:cxn>
                          <a:cxn ang="0">
                            <a:pos x="connsiteX2744" y="connsiteY2744"/>
                          </a:cxn>
                          <a:cxn ang="0">
                            <a:pos x="connsiteX2745" y="connsiteY2745"/>
                          </a:cxn>
                          <a:cxn ang="0">
                            <a:pos x="connsiteX2746" y="connsiteY2746"/>
                          </a:cxn>
                          <a:cxn ang="0">
                            <a:pos x="connsiteX2747" y="connsiteY2747"/>
                          </a:cxn>
                          <a:cxn ang="0">
                            <a:pos x="connsiteX2748" y="connsiteY2748"/>
                          </a:cxn>
                          <a:cxn ang="0">
                            <a:pos x="connsiteX2749" y="connsiteY2749"/>
                          </a:cxn>
                          <a:cxn ang="0">
                            <a:pos x="connsiteX2750" y="connsiteY2750"/>
                          </a:cxn>
                          <a:cxn ang="0">
                            <a:pos x="connsiteX2751" y="connsiteY2751"/>
                          </a:cxn>
                          <a:cxn ang="0">
                            <a:pos x="connsiteX2752" y="connsiteY2752"/>
                          </a:cxn>
                          <a:cxn ang="0">
                            <a:pos x="connsiteX2753" y="connsiteY2753"/>
                          </a:cxn>
                          <a:cxn ang="0">
                            <a:pos x="connsiteX2754" y="connsiteY2754"/>
                          </a:cxn>
                          <a:cxn ang="0">
                            <a:pos x="connsiteX2755" y="connsiteY2755"/>
                          </a:cxn>
                          <a:cxn ang="0">
                            <a:pos x="connsiteX2756" y="connsiteY2756"/>
                          </a:cxn>
                          <a:cxn ang="0">
                            <a:pos x="connsiteX2757" y="connsiteY2757"/>
                          </a:cxn>
                          <a:cxn ang="0">
                            <a:pos x="connsiteX2758" y="connsiteY2758"/>
                          </a:cxn>
                          <a:cxn ang="0">
                            <a:pos x="connsiteX2759" y="connsiteY2759"/>
                          </a:cxn>
                          <a:cxn ang="0">
                            <a:pos x="connsiteX2760" y="connsiteY2760"/>
                          </a:cxn>
                          <a:cxn ang="0">
                            <a:pos x="connsiteX2761" y="connsiteY2761"/>
                          </a:cxn>
                          <a:cxn ang="0">
                            <a:pos x="connsiteX2762" y="connsiteY2762"/>
                          </a:cxn>
                          <a:cxn ang="0">
                            <a:pos x="connsiteX2763" y="connsiteY2763"/>
                          </a:cxn>
                          <a:cxn ang="0">
                            <a:pos x="connsiteX2764" y="connsiteY2764"/>
                          </a:cxn>
                          <a:cxn ang="0">
                            <a:pos x="connsiteX2765" y="connsiteY2765"/>
                          </a:cxn>
                          <a:cxn ang="0">
                            <a:pos x="connsiteX2766" y="connsiteY2766"/>
                          </a:cxn>
                          <a:cxn ang="0">
                            <a:pos x="connsiteX2767" y="connsiteY2767"/>
                          </a:cxn>
                          <a:cxn ang="0">
                            <a:pos x="connsiteX2768" y="connsiteY2768"/>
                          </a:cxn>
                          <a:cxn ang="0">
                            <a:pos x="connsiteX2769" y="connsiteY2769"/>
                          </a:cxn>
                          <a:cxn ang="0">
                            <a:pos x="connsiteX2770" y="connsiteY2770"/>
                          </a:cxn>
                          <a:cxn ang="0">
                            <a:pos x="connsiteX2771" y="connsiteY2771"/>
                          </a:cxn>
                          <a:cxn ang="0">
                            <a:pos x="connsiteX2772" y="connsiteY2772"/>
                          </a:cxn>
                          <a:cxn ang="0">
                            <a:pos x="connsiteX2773" y="connsiteY2773"/>
                          </a:cxn>
                          <a:cxn ang="0">
                            <a:pos x="connsiteX2774" y="connsiteY2774"/>
                          </a:cxn>
                          <a:cxn ang="0">
                            <a:pos x="connsiteX2775" y="connsiteY2775"/>
                          </a:cxn>
                          <a:cxn ang="0">
                            <a:pos x="connsiteX2776" y="connsiteY2776"/>
                          </a:cxn>
                          <a:cxn ang="0">
                            <a:pos x="connsiteX2777" y="connsiteY2777"/>
                          </a:cxn>
                          <a:cxn ang="0">
                            <a:pos x="connsiteX2778" y="connsiteY2778"/>
                          </a:cxn>
                          <a:cxn ang="0">
                            <a:pos x="connsiteX2779" y="connsiteY2779"/>
                          </a:cxn>
                          <a:cxn ang="0">
                            <a:pos x="connsiteX2780" y="connsiteY2780"/>
                          </a:cxn>
                          <a:cxn ang="0">
                            <a:pos x="connsiteX2781" y="connsiteY2781"/>
                          </a:cxn>
                          <a:cxn ang="0">
                            <a:pos x="connsiteX2782" y="connsiteY2782"/>
                          </a:cxn>
                          <a:cxn ang="0">
                            <a:pos x="connsiteX2783" y="connsiteY2783"/>
                          </a:cxn>
                          <a:cxn ang="0">
                            <a:pos x="connsiteX2784" y="connsiteY2784"/>
                          </a:cxn>
                          <a:cxn ang="0">
                            <a:pos x="connsiteX2785" y="connsiteY2785"/>
                          </a:cxn>
                          <a:cxn ang="0">
                            <a:pos x="connsiteX2786" y="connsiteY2786"/>
                          </a:cxn>
                          <a:cxn ang="0">
                            <a:pos x="connsiteX2787" y="connsiteY2787"/>
                          </a:cxn>
                          <a:cxn ang="0">
                            <a:pos x="connsiteX2788" y="connsiteY2788"/>
                          </a:cxn>
                          <a:cxn ang="0">
                            <a:pos x="connsiteX2789" y="connsiteY2789"/>
                          </a:cxn>
                          <a:cxn ang="0">
                            <a:pos x="connsiteX2790" y="connsiteY2790"/>
                          </a:cxn>
                          <a:cxn ang="0">
                            <a:pos x="connsiteX2791" y="connsiteY2791"/>
                          </a:cxn>
                          <a:cxn ang="0">
                            <a:pos x="connsiteX2792" y="connsiteY2792"/>
                          </a:cxn>
                          <a:cxn ang="0">
                            <a:pos x="connsiteX2793" y="connsiteY2793"/>
                          </a:cxn>
                          <a:cxn ang="0">
                            <a:pos x="connsiteX2794" y="connsiteY2794"/>
                          </a:cxn>
                          <a:cxn ang="0">
                            <a:pos x="connsiteX2795" y="connsiteY2795"/>
                          </a:cxn>
                          <a:cxn ang="0">
                            <a:pos x="connsiteX2796" y="connsiteY2796"/>
                          </a:cxn>
                          <a:cxn ang="0">
                            <a:pos x="connsiteX2797" y="connsiteY2797"/>
                          </a:cxn>
                          <a:cxn ang="0">
                            <a:pos x="connsiteX2798" y="connsiteY2798"/>
                          </a:cxn>
                          <a:cxn ang="0">
                            <a:pos x="connsiteX2799" y="connsiteY2799"/>
                          </a:cxn>
                          <a:cxn ang="0">
                            <a:pos x="connsiteX2800" y="connsiteY2800"/>
                          </a:cxn>
                          <a:cxn ang="0">
                            <a:pos x="connsiteX2801" y="connsiteY2801"/>
                          </a:cxn>
                          <a:cxn ang="0">
                            <a:pos x="connsiteX2802" y="connsiteY2802"/>
                          </a:cxn>
                          <a:cxn ang="0">
                            <a:pos x="connsiteX2803" y="connsiteY2803"/>
                          </a:cxn>
                          <a:cxn ang="0">
                            <a:pos x="connsiteX2804" y="connsiteY2804"/>
                          </a:cxn>
                          <a:cxn ang="0">
                            <a:pos x="connsiteX2805" y="connsiteY2805"/>
                          </a:cxn>
                          <a:cxn ang="0">
                            <a:pos x="connsiteX2806" y="connsiteY2806"/>
                          </a:cxn>
                          <a:cxn ang="0">
                            <a:pos x="connsiteX2807" y="connsiteY2807"/>
                          </a:cxn>
                          <a:cxn ang="0">
                            <a:pos x="connsiteX2808" y="connsiteY2808"/>
                          </a:cxn>
                          <a:cxn ang="0">
                            <a:pos x="connsiteX2809" y="connsiteY2809"/>
                          </a:cxn>
                          <a:cxn ang="0">
                            <a:pos x="connsiteX2810" y="connsiteY2810"/>
                          </a:cxn>
                          <a:cxn ang="0">
                            <a:pos x="connsiteX2811" y="connsiteY2811"/>
                          </a:cxn>
                          <a:cxn ang="0">
                            <a:pos x="connsiteX2812" y="connsiteY2812"/>
                          </a:cxn>
                          <a:cxn ang="0">
                            <a:pos x="connsiteX2813" y="connsiteY2813"/>
                          </a:cxn>
                          <a:cxn ang="0">
                            <a:pos x="connsiteX2814" y="connsiteY2814"/>
                          </a:cxn>
                          <a:cxn ang="0">
                            <a:pos x="connsiteX2815" y="connsiteY2815"/>
                          </a:cxn>
                          <a:cxn ang="0">
                            <a:pos x="connsiteX2816" y="connsiteY2816"/>
                          </a:cxn>
                          <a:cxn ang="0">
                            <a:pos x="connsiteX2817" y="connsiteY2817"/>
                          </a:cxn>
                          <a:cxn ang="0">
                            <a:pos x="connsiteX2818" y="connsiteY2818"/>
                          </a:cxn>
                          <a:cxn ang="0">
                            <a:pos x="connsiteX2819" y="connsiteY2819"/>
                          </a:cxn>
                          <a:cxn ang="0">
                            <a:pos x="connsiteX2820" y="connsiteY2820"/>
                          </a:cxn>
                          <a:cxn ang="0">
                            <a:pos x="connsiteX2821" y="connsiteY2821"/>
                          </a:cxn>
                          <a:cxn ang="0">
                            <a:pos x="connsiteX2822" y="connsiteY2822"/>
                          </a:cxn>
                          <a:cxn ang="0">
                            <a:pos x="connsiteX2823" y="connsiteY2823"/>
                          </a:cxn>
                          <a:cxn ang="0">
                            <a:pos x="connsiteX2824" y="connsiteY2824"/>
                          </a:cxn>
                          <a:cxn ang="0">
                            <a:pos x="connsiteX2825" y="connsiteY2825"/>
                          </a:cxn>
                          <a:cxn ang="0">
                            <a:pos x="connsiteX2826" y="connsiteY2826"/>
                          </a:cxn>
                          <a:cxn ang="0">
                            <a:pos x="connsiteX2827" y="connsiteY2827"/>
                          </a:cxn>
                          <a:cxn ang="0">
                            <a:pos x="connsiteX2828" y="connsiteY2828"/>
                          </a:cxn>
                          <a:cxn ang="0">
                            <a:pos x="connsiteX2829" y="connsiteY2829"/>
                          </a:cxn>
                          <a:cxn ang="0">
                            <a:pos x="connsiteX2830" y="connsiteY2830"/>
                          </a:cxn>
                          <a:cxn ang="0">
                            <a:pos x="connsiteX2831" y="connsiteY2831"/>
                          </a:cxn>
                          <a:cxn ang="0">
                            <a:pos x="connsiteX2832" y="connsiteY2832"/>
                          </a:cxn>
                          <a:cxn ang="0">
                            <a:pos x="connsiteX2833" y="connsiteY2833"/>
                          </a:cxn>
                          <a:cxn ang="0">
                            <a:pos x="connsiteX2834" y="connsiteY2834"/>
                          </a:cxn>
                          <a:cxn ang="0">
                            <a:pos x="connsiteX2835" y="connsiteY2835"/>
                          </a:cxn>
                          <a:cxn ang="0">
                            <a:pos x="connsiteX2836" y="connsiteY2836"/>
                          </a:cxn>
                          <a:cxn ang="0">
                            <a:pos x="connsiteX2837" y="connsiteY2837"/>
                          </a:cxn>
                          <a:cxn ang="0">
                            <a:pos x="connsiteX2838" y="connsiteY2838"/>
                          </a:cxn>
                          <a:cxn ang="0">
                            <a:pos x="connsiteX2839" y="connsiteY2839"/>
                          </a:cxn>
                          <a:cxn ang="0">
                            <a:pos x="connsiteX2840" y="connsiteY2840"/>
                          </a:cxn>
                          <a:cxn ang="0">
                            <a:pos x="connsiteX2841" y="connsiteY2841"/>
                          </a:cxn>
                          <a:cxn ang="0">
                            <a:pos x="connsiteX2842" y="connsiteY2842"/>
                          </a:cxn>
                          <a:cxn ang="0">
                            <a:pos x="connsiteX2843" y="connsiteY2843"/>
                          </a:cxn>
                          <a:cxn ang="0">
                            <a:pos x="connsiteX2844" y="connsiteY2844"/>
                          </a:cxn>
                          <a:cxn ang="0">
                            <a:pos x="connsiteX2845" y="connsiteY2845"/>
                          </a:cxn>
                          <a:cxn ang="0">
                            <a:pos x="connsiteX2846" y="connsiteY2846"/>
                          </a:cxn>
                          <a:cxn ang="0">
                            <a:pos x="connsiteX2847" y="connsiteY2847"/>
                          </a:cxn>
                          <a:cxn ang="0">
                            <a:pos x="connsiteX2848" y="connsiteY2848"/>
                          </a:cxn>
                          <a:cxn ang="0">
                            <a:pos x="connsiteX2849" y="connsiteY2849"/>
                          </a:cxn>
                          <a:cxn ang="0">
                            <a:pos x="connsiteX2850" y="connsiteY2850"/>
                          </a:cxn>
                          <a:cxn ang="0">
                            <a:pos x="connsiteX2851" y="connsiteY2851"/>
                          </a:cxn>
                          <a:cxn ang="0">
                            <a:pos x="connsiteX2852" y="connsiteY2852"/>
                          </a:cxn>
                          <a:cxn ang="0">
                            <a:pos x="connsiteX2853" y="connsiteY2853"/>
                          </a:cxn>
                          <a:cxn ang="0">
                            <a:pos x="connsiteX2854" y="connsiteY2854"/>
                          </a:cxn>
                          <a:cxn ang="0">
                            <a:pos x="connsiteX2855" y="connsiteY2855"/>
                          </a:cxn>
                          <a:cxn ang="0">
                            <a:pos x="connsiteX2856" y="connsiteY2856"/>
                          </a:cxn>
                          <a:cxn ang="0">
                            <a:pos x="connsiteX2857" y="connsiteY2857"/>
                          </a:cxn>
                          <a:cxn ang="0">
                            <a:pos x="connsiteX2858" y="connsiteY2858"/>
                          </a:cxn>
                          <a:cxn ang="0">
                            <a:pos x="connsiteX2859" y="connsiteY2859"/>
                          </a:cxn>
                          <a:cxn ang="0">
                            <a:pos x="connsiteX2860" y="connsiteY2860"/>
                          </a:cxn>
                          <a:cxn ang="0">
                            <a:pos x="connsiteX2861" y="connsiteY2861"/>
                          </a:cxn>
                          <a:cxn ang="0">
                            <a:pos x="connsiteX2862" y="connsiteY2862"/>
                          </a:cxn>
                          <a:cxn ang="0">
                            <a:pos x="connsiteX2863" y="connsiteY2863"/>
                          </a:cxn>
                          <a:cxn ang="0">
                            <a:pos x="connsiteX2864" y="connsiteY2864"/>
                          </a:cxn>
                          <a:cxn ang="0">
                            <a:pos x="connsiteX2865" y="connsiteY2865"/>
                          </a:cxn>
                          <a:cxn ang="0">
                            <a:pos x="connsiteX2866" y="connsiteY2866"/>
                          </a:cxn>
                          <a:cxn ang="0">
                            <a:pos x="connsiteX2867" y="connsiteY2867"/>
                          </a:cxn>
                          <a:cxn ang="0">
                            <a:pos x="connsiteX2868" y="connsiteY2868"/>
                          </a:cxn>
                          <a:cxn ang="0">
                            <a:pos x="connsiteX2869" y="connsiteY2869"/>
                          </a:cxn>
                          <a:cxn ang="0">
                            <a:pos x="connsiteX2870" y="connsiteY2870"/>
                          </a:cxn>
                          <a:cxn ang="0">
                            <a:pos x="connsiteX2871" y="connsiteY2871"/>
                          </a:cxn>
                          <a:cxn ang="0">
                            <a:pos x="connsiteX2872" y="connsiteY2872"/>
                          </a:cxn>
                          <a:cxn ang="0">
                            <a:pos x="connsiteX2873" y="connsiteY2873"/>
                          </a:cxn>
                          <a:cxn ang="0">
                            <a:pos x="connsiteX2874" y="connsiteY2874"/>
                          </a:cxn>
                          <a:cxn ang="0">
                            <a:pos x="connsiteX2875" y="connsiteY2875"/>
                          </a:cxn>
                          <a:cxn ang="0">
                            <a:pos x="connsiteX2876" y="connsiteY2876"/>
                          </a:cxn>
                          <a:cxn ang="0">
                            <a:pos x="connsiteX2877" y="connsiteY2877"/>
                          </a:cxn>
                          <a:cxn ang="0">
                            <a:pos x="connsiteX2878" y="connsiteY2878"/>
                          </a:cxn>
                          <a:cxn ang="0">
                            <a:pos x="connsiteX2879" y="connsiteY2879"/>
                          </a:cxn>
                          <a:cxn ang="0">
                            <a:pos x="connsiteX2880" y="connsiteY2880"/>
                          </a:cxn>
                          <a:cxn ang="0">
                            <a:pos x="connsiteX2881" y="connsiteY2881"/>
                          </a:cxn>
                          <a:cxn ang="0">
                            <a:pos x="connsiteX2882" y="connsiteY2882"/>
                          </a:cxn>
                          <a:cxn ang="0">
                            <a:pos x="connsiteX2883" y="connsiteY2883"/>
                          </a:cxn>
                          <a:cxn ang="0">
                            <a:pos x="connsiteX2884" y="connsiteY2884"/>
                          </a:cxn>
                          <a:cxn ang="0">
                            <a:pos x="connsiteX2885" y="connsiteY2885"/>
                          </a:cxn>
                          <a:cxn ang="0">
                            <a:pos x="connsiteX2886" y="connsiteY2886"/>
                          </a:cxn>
                          <a:cxn ang="0">
                            <a:pos x="connsiteX2887" y="connsiteY2887"/>
                          </a:cxn>
                          <a:cxn ang="0">
                            <a:pos x="connsiteX2888" y="connsiteY2888"/>
                          </a:cxn>
                          <a:cxn ang="0">
                            <a:pos x="connsiteX2889" y="connsiteY2889"/>
                          </a:cxn>
                          <a:cxn ang="0">
                            <a:pos x="connsiteX2890" y="connsiteY2890"/>
                          </a:cxn>
                          <a:cxn ang="0">
                            <a:pos x="connsiteX2891" y="connsiteY2891"/>
                          </a:cxn>
                          <a:cxn ang="0">
                            <a:pos x="connsiteX2892" y="connsiteY2892"/>
                          </a:cxn>
                          <a:cxn ang="0">
                            <a:pos x="connsiteX2893" y="connsiteY2893"/>
                          </a:cxn>
                          <a:cxn ang="0">
                            <a:pos x="connsiteX2894" y="connsiteY2894"/>
                          </a:cxn>
                          <a:cxn ang="0">
                            <a:pos x="connsiteX2895" y="connsiteY2895"/>
                          </a:cxn>
                          <a:cxn ang="0">
                            <a:pos x="connsiteX2896" y="connsiteY2896"/>
                          </a:cxn>
                          <a:cxn ang="0">
                            <a:pos x="connsiteX2897" y="connsiteY2897"/>
                          </a:cxn>
                          <a:cxn ang="0">
                            <a:pos x="connsiteX2898" y="connsiteY2898"/>
                          </a:cxn>
                          <a:cxn ang="0">
                            <a:pos x="connsiteX2899" y="connsiteY2899"/>
                          </a:cxn>
                          <a:cxn ang="0">
                            <a:pos x="connsiteX2900" y="connsiteY2900"/>
                          </a:cxn>
                          <a:cxn ang="0">
                            <a:pos x="connsiteX2901" y="connsiteY2901"/>
                          </a:cxn>
                          <a:cxn ang="0">
                            <a:pos x="connsiteX2902" y="connsiteY2902"/>
                          </a:cxn>
                          <a:cxn ang="0">
                            <a:pos x="connsiteX2903" y="connsiteY2903"/>
                          </a:cxn>
                          <a:cxn ang="0">
                            <a:pos x="connsiteX2904" y="connsiteY2904"/>
                          </a:cxn>
                          <a:cxn ang="0">
                            <a:pos x="connsiteX2905" y="connsiteY2905"/>
                          </a:cxn>
                          <a:cxn ang="0">
                            <a:pos x="connsiteX2906" y="connsiteY2906"/>
                          </a:cxn>
                          <a:cxn ang="0">
                            <a:pos x="connsiteX2907" y="connsiteY2907"/>
                          </a:cxn>
                          <a:cxn ang="0">
                            <a:pos x="connsiteX2908" y="connsiteY2908"/>
                          </a:cxn>
                          <a:cxn ang="0">
                            <a:pos x="connsiteX2909" y="connsiteY2909"/>
                          </a:cxn>
                          <a:cxn ang="0">
                            <a:pos x="connsiteX2910" y="connsiteY2910"/>
                          </a:cxn>
                          <a:cxn ang="0">
                            <a:pos x="connsiteX2911" y="connsiteY2911"/>
                          </a:cxn>
                          <a:cxn ang="0">
                            <a:pos x="connsiteX2912" y="connsiteY2912"/>
                          </a:cxn>
                          <a:cxn ang="0">
                            <a:pos x="connsiteX2913" y="connsiteY2913"/>
                          </a:cxn>
                          <a:cxn ang="0">
                            <a:pos x="connsiteX2914" y="connsiteY2914"/>
                          </a:cxn>
                          <a:cxn ang="0">
                            <a:pos x="connsiteX2915" y="connsiteY2915"/>
                          </a:cxn>
                          <a:cxn ang="0">
                            <a:pos x="connsiteX2916" y="connsiteY2916"/>
                          </a:cxn>
                          <a:cxn ang="0">
                            <a:pos x="connsiteX2917" y="connsiteY2917"/>
                          </a:cxn>
                          <a:cxn ang="0">
                            <a:pos x="connsiteX2918" y="connsiteY2918"/>
                          </a:cxn>
                          <a:cxn ang="0">
                            <a:pos x="connsiteX2919" y="connsiteY2919"/>
                          </a:cxn>
                          <a:cxn ang="0">
                            <a:pos x="connsiteX2920" y="connsiteY2920"/>
                          </a:cxn>
                          <a:cxn ang="0">
                            <a:pos x="connsiteX2921" y="connsiteY2921"/>
                          </a:cxn>
                          <a:cxn ang="0">
                            <a:pos x="connsiteX2922" y="connsiteY2922"/>
                          </a:cxn>
                          <a:cxn ang="0">
                            <a:pos x="connsiteX2923" y="connsiteY2923"/>
                          </a:cxn>
                          <a:cxn ang="0">
                            <a:pos x="connsiteX2924" y="connsiteY2924"/>
                          </a:cxn>
                          <a:cxn ang="0">
                            <a:pos x="connsiteX2925" y="connsiteY2925"/>
                          </a:cxn>
                          <a:cxn ang="0">
                            <a:pos x="connsiteX2926" y="connsiteY2926"/>
                          </a:cxn>
                          <a:cxn ang="0">
                            <a:pos x="connsiteX2927" y="connsiteY2927"/>
                          </a:cxn>
                          <a:cxn ang="0">
                            <a:pos x="connsiteX2928" y="connsiteY2928"/>
                          </a:cxn>
                          <a:cxn ang="0">
                            <a:pos x="connsiteX2929" y="connsiteY2929"/>
                          </a:cxn>
                          <a:cxn ang="0">
                            <a:pos x="connsiteX2930" y="connsiteY2930"/>
                          </a:cxn>
                          <a:cxn ang="0">
                            <a:pos x="connsiteX2931" y="connsiteY2931"/>
                          </a:cxn>
                          <a:cxn ang="0">
                            <a:pos x="connsiteX2932" y="connsiteY2932"/>
                          </a:cxn>
                          <a:cxn ang="0">
                            <a:pos x="connsiteX2933" y="connsiteY2933"/>
                          </a:cxn>
                          <a:cxn ang="0">
                            <a:pos x="connsiteX2934" y="connsiteY2934"/>
                          </a:cxn>
                          <a:cxn ang="0">
                            <a:pos x="connsiteX2935" y="connsiteY2935"/>
                          </a:cxn>
                          <a:cxn ang="0">
                            <a:pos x="connsiteX2936" y="connsiteY2936"/>
                          </a:cxn>
                          <a:cxn ang="0">
                            <a:pos x="connsiteX2937" y="connsiteY2937"/>
                          </a:cxn>
                          <a:cxn ang="0">
                            <a:pos x="connsiteX2938" y="connsiteY2938"/>
                          </a:cxn>
                          <a:cxn ang="0">
                            <a:pos x="connsiteX2939" y="connsiteY2939"/>
                          </a:cxn>
                          <a:cxn ang="0">
                            <a:pos x="connsiteX2940" y="connsiteY2940"/>
                          </a:cxn>
                          <a:cxn ang="0">
                            <a:pos x="connsiteX2941" y="connsiteY2941"/>
                          </a:cxn>
                          <a:cxn ang="0">
                            <a:pos x="connsiteX2942" y="connsiteY2942"/>
                          </a:cxn>
                          <a:cxn ang="0">
                            <a:pos x="connsiteX2943" y="connsiteY2943"/>
                          </a:cxn>
                          <a:cxn ang="0">
                            <a:pos x="connsiteX2944" y="connsiteY2944"/>
                          </a:cxn>
                          <a:cxn ang="0">
                            <a:pos x="connsiteX2945" y="connsiteY2945"/>
                          </a:cxn>
                          <a:cxn ang="0">
                            <a:pos x="connsiteX2946" y="connsiteY2946"/>
                          </a:cxn>
                          <a:cxn ang="0">
                            <a:pos x="connsiteX2947" y="connsiteY2947"/>
                          </a:cxn>
                          <a:cxn ang="0">
                            <a:pos x="connsiteX2948" y="connsiteY2948"/>
                          </a:cxn>
                          <a:cxn ang="0">
                            <a:pos x="connsiteX2949" y="connsiteY2949"/>
                          </a:cxn>
                          <a:cxn ang="0">
                            <a:pos x="connsiteX2950" y="connsiteY2950"/>
                          </a:cxn>
                          <a:cxn ang="0">
                            <a:pos x="connsiteX2951" y="connsiteY2951"/>
                          </a:cxn>
                          <a:cxn ang="0">
                            <a:pos x="connsiteX2952" y="connsiteY2952"/>
                          </a:cxn>
                          <a:cxn ang="0">
                            <a:pos x="connsiteX2953" y="connsiteY2953"/>
                          </a:cxn>
                          <a:cxn ang="0">
                            <a:pos x="connsiteX2954" y="connsiteY2954"/>
                          </a:cxn>
                          <a:cxn ang="0">
                            <a:pos x="connsiteX2955" y="connsiteY2955"/>
                          </a:cxn>
                          <a:cxn ang="0">
                            <a:pos x="connsiteX2956" y="connsiteY2956"/>
                          </a:cxn>
                          <a:cxn ang="0">
                            <a:pos x="connsiteX2957" y="connsiteY2957"/>
                          </a:cxn>
                          <a:cxn ang="0">
                            <a:pos x="connsiteX2958" y="connsiteY2958"/>
                          </a:cxn>
                          <a:cxn ang="0">
                            <a:pos x="connsiteX2959" y="connsiteY2959"/>
                          </a:cxn>
                          <a:cxn ang="0">
                            <a:pos x="connsiteX2960" y="connsiteY2960"/>
                          </a:cxn>
                          <a:cxn ang="0">
                            <a:pos x="connsiteX2961" y="connsiteY2961"/>
                          </a:cxn>
                          <a:cxn ang="0">
                            <a:pos x="connsiteX2962" y="connsiteY2962"/>
                          </a:cxn>
                          <a:cxn ang="0">
                            <a:pos x="connsiteX2963" y="connsiteY2963"/>
                          </a:cxn>
                          <a:cxn ang="0">
                            <a:pos x="connsiteX2964" y="connsiteY2964"/>
                          </a:cxn>
                          <a:cxn ang="0">
                            <a:pos x="connsiteX2965" y="connsiteY2965"/>
                          </a:cxn>
                          <a:cxn ang="0">
                            <a:pos x="connsiteX2966" y="connsiteY2966"/>
                          </a:cxn>
                          <a:cxn ang="0">
                            <a:pos x="connsiteX2967" y="connsiteY2967"/>
                          </a:cxn>
                          <a:cxn ang="0">
                            <a:pos x="connsiteX2968" y="connsiteY2968"/>
                          </a:cxn>
                          <a:cxn ang="0">
                            <a:pos x="connsiteX2969" y="connsiteY2969"/>
                          </a:cxn>
                          <a:cxn ang="0">
                            <a:pos x="connsiteX2970" y="connsiteY2970"/>
                          </a:cxn>
                          <a:cxn ang="0">
                            <a:pos x="connsiteX2971" y="connsiteY2971"/>
                          </a:cxn>
                          <a:cxn ang="0">
                            <a:pos x="connsiteX2972" y="connsiteY2972"/>
                          </a:cxn>
                          <a:cxn ang="0">
                            <a:pos x="connsiteX2973" y="connsiteY2973"/>
                          </a:cxn>
                          <a:cxn ang="0">
                            <a:pos x="connsiteX2974" y="connsiteY2974"/>
                          </a:cxn>
                          <a:cxn ang="0">
                            <a:pos x="connsiteX2975" y="connsiteY2975"/>
                          </a:cxn>
                          <a:cxn ang="0">
                            <a:pos x="connsiteX2976" y="connsiteY2976"/>
                          </a:cxn>
                          <a:cxn ang="0">
                            <a:pos x="connsiteX2977" y="connsiteY2977"/>
                          </a:cxn>
                          <a:cxn ang="0">
                            <a:pos x="connsiteX2978" y="connsiteY2978"/>
                          </a:cxn>
                          <a:cxn ang="0">
                            <a:pos x="connsiteX2979" y="connsiteY2979"/>
                          </a:cxn>
                          <a:cxn ang="0">
                            <a:pos x="connsiteX2980" y="connsiteY2980"/>
                          </a:cxn>
                          <a:cxn ang="0">
                            <a:pos x="connsiteX2981" y="connsiteY2981"/>
                          </a:cxn>
                          <a:cxn ang="0">
                            <a:pos x="connsiteX2982" y="connsiteY2982"/>
                          </a:cxn>
                          <a:cxn ang="0">
                            <a:pos x="connsiteX2983" y="connsiteY2983"/>
                          </a:cxn>
                          <a:cxn ang="0">
                            <a:pos x="connsiteX2984" y="connsiteY2984"/>
                          </a:cxn>
                          <a:cxn ang="0">
                            <a:pos x="connsiteX2985" y="connsiteY2985"/>
                          </a:cxn>
                          <a:cxn ang="0">
                            <a:pos x="connsiteX2986" y="connsiteY2986"/>
                          </a:cxn>
                          <a:cxn ang="0">
                            <a:pos x="connsiteX2987" y="connsiteY2987"/>
                          </a:cxn>
                          <a:cxn ang="0">
                            <a:pos x="connsiteX2988" y="connsiteY2988"/>
                          </a:cxn>
                          <a:cxn ang="0">
                            <a:pos x="connsiteX2989" y="connsiteY2989"/>
                          </a:cxn>
                          <a:cxn ang="0">
                            <a:pos x="connsiteX2990" y="connsiteY2990"/>
                          </a:cxn>
                          <a:cxn ang="0">
                            <a:pos x="connsiteX2991" y="connsiteY2991"/>
                          </a:cxn>
                          <a:cxn ang="0">
                            <a:pos x="connsiteX2992" y="connsiteY2992"/>
                          </a:cxn>
                          <a:cxn ang="0">
                            <a:pos x="connsiteX2993" y="connsiteY2993"/>
                          </a:cxn>
                          <a:cxn ang="0">
                            <a:pos x="connsiteX2994" y="connsiteY2994"/>
                          </a:cxn>
                          <a:cxn ang="0">
                            <a:pos x="connsiteX2995" y="connsiteY2995"/>
                          </a:cxn>
                          <a:cxn ang="0">
                            <a:pos x="connsiteX2996" y="connsiteY2996"/>
                          </a:cxn>
                          <a:cxn ang="0">
                            <a:pos x="connsiteX2997" y="connsiteY2997"/>
                          </a:cxn>
                          <a:cxn ang="0">
                            <a:pos x="connsiteX2998" y="connsiteY2998"/>
                          </a:cxn>
                          <a:cxn ang="0">
                            <a:pos x="connsiteX2999" y="connsiteY2999"/>
                          </a:cxn>
                          <a:cxn ang="0">
                            <a:pos x="connsiteX3000" y="connsiteY3000"/>
                          </a:cxn>
                          <a:cxn ang="0">
                            <a:pos x="connsiteX3001" y="connsiteY3001"/>
                          </a:cxn>
                          <a:cxn ang="0">
                            <a:pos x="connsiteX3002" y="connsiteY3002"/>
                          </a:cxn>
                          <a:cxn ang="0">
                            <a:pos x="connsiteX3003" y="connsiteY3003"/>
                          </a:cxn>
                          <a:cxn ang="0">
                            <a:pos x="connsiteX3004" y="connsiteY3004"/>
                          </a:cxn>
                          <a:cxn ang="0">
                            <a:pos x="connsiteX3005" y="connsiteY3005"/>
                          </a:cxn>
                          <a:cxn ang="0">
                            <a:pos x="connsiteX3006" y="connsiteY3006"/>
                          </a:cxn>
                          <a:cxn ang="0">
                            <a:pos x="connsiteX3007" y="connsiteY3007"/>
                          </a:cxn>
                          <a:cxn ang="0">
                            <a:pos x="connsiteX3008" y="connsiteY3008"/>
                          </a:cxn>
                          <a:cxn ang="0">
                            <a:pos x="connsiteX3009" y="connsiteY3009"/>
                          </a:cxn>
                          <a:cxn ang="0">
                            <a:pos x="connsiteX3010" y="connsiteY3010"/>
                          </a:cxn>
                          <a:cxn ang="0">
                            <a:pos x="connsiteX3011" y="connsiteY3011"/>
                          </a:cxn>
                          <a:cxn ang="0">
                            <a:pos x="connsiteX3012" y="connsiteY3012"/>
                          </a:cxn>
                          <a:cxn ang="0">
                            <a:pos x="connsiteX3013" y="connsiteY3013"/>
                          </a:cxn>
                          <a:cxn ang="0">
                            <a:pos x="connsiteX3014" y="connsiteY3014"/>
                          </a:cxn>
                          <a:cxn ang="0">
                            <a:pos x="connsiteX3015" y="connsiteY3015"/>
                          </a:cxn>
                          <a:cxn ang="0">
                            <a:pos x="connsiteX3016" y="connsiteY3016"/>
                          </a:cxn>
                          <a:cxn ang="0">
                            <a:pos x="connsiteX3017" y="connsiteY3017"/>
                          </a:cxn>
                          <a:cxn ang="0">
                            <a:pos x="connsiteX3018" y="connsiteY3018"/>
                          </a:cxn>
                          <a:cxn ang="0">
                            <a:pos x="connsiteX3019" y="connsiteY3019"/>
                          </a:cxn>
                          <a:cxn ang="0">
                            <a:pos x="connsiteX3020" y="connsiteY3020"/>
                          </a:cxn>
                          <a:cxn ang="0">
                            <a:pos x="connsiteX3021" y="connsiteY3021"/>
                          </a:cxn>
                          <a:cxn ang="0">
                            <a:pos x="connsiteX3022" y="connsiteY3022"/>
                          </a:cxn>
                          <a:cxn ang="0">
                            <a:pos x="connsiteX3023" y="connsiteY3023"/>
                          </a:cxn>
                          <a:cxn ang="0">
                            <a:pos x="connsiteX3024" y="connsiteY3024"/>
                          </a:cxn>
                          <a:cxn ang="0">
                            <a:pos x="connsiteX3025" y="connsiteY3025"/>
                          </a:cxn>
                          <a:cxn ang="0">
                            <a:pos x="connsiteX3026" y="connsiteY3026"/>
                          </a:cxn>
                          <a:cxn ang="0">
                            <a:pos x="connsiteX3027" y="connsiteY3027"/>
                          </a:cxn>
                          <a:cxn ang="0">
                            <a:pos x="connsiteX3028" y="connsiteY3028"/>
                          </a:cxn>
                          <a:cxn ang="0">
                            <a:pos x="connsiteX3029" y="connsiteY3029"/>
                          </a:cxn>
                          <a:cxn ang="0">
                            <a:pos x="connsiteX3030" y="connsiteY3030"/>
                          </a:cxn>
                          <a:cxn ang="0">
                            <a:pos x="connsiteX3031" y="connsiteY3031"/>
                          </a:cxn>
                          <a:cxn ang="0">
                            <a:pos x="connsiteX3032" y="connsiteY3032"/>
                          </a:cxn>
                          <a:cxn ang="0">
                            <a:pos x="connsiteX3033" y="connsiteY3033"/>
                          </a:cxn>
                          <a:cxn ang="0">
                            <a:pos x="connsiteX3034" y="connsiteY3034"/>
                          </a:cxn>
                          <a:cxn ang="0">
                            <a:pos x="connsiteX3035" y="connsiteY3035"/>
                          </a:cxn>
                          <a:cxn ang="0">
                            <a:pos x="connsiteX3036" y="connsiteY3036"/>
                          </a:cxn>
                          <a:cxn ang="0">
                            <a:pos x="connsiteX3037" y="connsiteY3037"/>
                          </a:cxn>
                          <a:cxn ang="0">
                            <a:pos x="connsiteX3038" y="connsiteY3038"/>
                          </a:cxn>
                          <a:cxn ang="0">
                            <a:pos x="connsiteX3039" y="connsiteY3039"/>
                          </a:cxn>
                          <a:cxn ang="0">
                            <a:pos x="connsiteX3040" y="connsiteY3040"/>
                          </a:cxn>
                          <a:cxn ang="0">
                            <a:pos x="connsiteX3041" y="connsiteY3041"/>
                          </a:cxn>
                          <a:cxn ang="0">
                            <a:pos x="connsiteX3042" y="connsiteY3042"/>
                          </a:cxn>
                          <a:cxn ang="0">
                            <a:pos x="connsiteX3043" y="connsiteY3043"/>
                          </a:cxn>
                          <a:cxn ang="0">
                            <a:pos x="connsiteX3044" y="connsiteY3044"/>
                          </a:cxn>
                          <a:cxn ang="0">
                            <a:pos x="connsiteX3045" y="connsiteY3045"/>
                          </a:cxn>
                          <a:cxn ang="0">
                            <a:pos x="connsiteX3046" y="connsiteY3046"/>
                          </a:cxn>
                          <a:cxn ang="0">
                            <a:pos x="connsiteX3047" y="connsiteY3047"/>
                          </a:cxn>
                          <a:cxn ang="0">
                            <a:pos x="connsiteX3048" y="connsiteY3048"/>
                          </a:cxn>
                          <a:cxn ang="0">
                            <a:pos x="connsiteX3049" y="connsiteY3049"/>
                          </a:cxn>
                          <a:cxn ang="0">
                            <a:pos x="connsiteX3050" y="connsiteY3050"/>
                          </a:cxn>
                          <a:cxn ang="0">
                            <a:pos x="connsiteX3051" y="connsiteY3051"/>
                          </a:cxn>
                          <a:cxn ang="0">
                            <a:pos x="connsiteX3052" y="connsiteY3052"/>
                          </a:cxn>
                          <a:cxn ang="0">
                            <a:pos x="connsiteX3053" y="connsiteY3053"/>
                          </a:cxn>
                          <a:cxn ang="0">
                            <a:pos x="connsiteX3054" y="connsiteY3054"/>
                          </a:cxn>
                          <a:cxn ang="0">
                            <a:pos x="connsiteX3055" y="connsiteY3055"/>
                          </a:cxn>
                          <a:cxn ang="0">
                            <a:pos x="connsiteX3056" y="connsiteY3056"/>
                          </a:cxn>
                          <a:cxn ang="0">
                            <a:pos x="connsiteX3057" y="connsiteY3057"/>
                          </a:cxn>
                          <a:cxn ang="0">
                            <a:pos x="connsiteX3058" y="connsiteY3058"/>
                          </a:cxn>
                          <a:cxn ang="0">
                            <a:pos x="connsiteX3059" y="connsiteY3059"/>
                          </a:cxn>
                          <a:cxn ang="0">
                            <a:pos x="connsiteX3060" y="connsiteY3060"/>
                          </a:cxn>
                          <a:cxn ang="0">
                            <a:pos x="connsiteX3061" y="connsiteY3061"/>
                          </a:cxn>
                          <a:cxn ang="0">
                            <a:pos x="connsiteX3062" y="connsiteY3062"/>
                          </a:cxn>
                          <a:cxn ang="0">
                            <a:pos x="connsiteX3063" y="connsiteY3063"/>
                          </a:cxn>
                          <a:cxn ang="0">
                            <a:pos x="connsiteX3064" y="connsiteY3064"/>
                          </a:cxn>
                          <a:cxn ang="0">
                            <a:pos x="connsiteX3065" y="connsiteY3065"/>
                          </a:cxn>
                          <a:cxn ang="0">
                            <a:pos x="connsiteX3066" y="connsiteY3066"/>
                          </a:cxn>
                          <a:cxn ang="0">
                            <a:pos x="connsiteX3067" y="connsiteY3067"/>
                          </a:cxn>
                          <a:cxn ang="0">
                            <a:pos x="connsiteX3068" y="connsiteY3068"/>
                          </a:cxn>
                          <a:cxn ang="0">
                            <a:pos x="connsiteX3069" y="connsiteY3069"/>
                          </a:cxn>
                          <a:cxn ang="0">
                            <a:pos x="connsiteX3070" y="connsiteY3070"/>
                          </a:cxn>
                          <a:cxn ang="0">
                            <a:pos x="connsiteX3071" y="connsiteY3071"/>
                          </a:cxn>
                          <a:cxn ang="0">
                            <a:pos x="connsiteX3072" y="connsiteY3072"/>
                          </a:cxn>
                          <a:cxn ang="0">
                            <a:pos x="connsiteX3073" y="connsiteY3073"/>
                          </a:cxn>
                          <a:cxn ang="0">
                            <a:pos x="connsiteX3074" y="connsiteY3074"/>
                          </a:cxn>
                          <a:cxn ang="0">
                            <a:pos x="connsiteX3075" y="connsiteY3075"/>
                          </a:cxn>
                          <a:cxn ang="0">
                            <a:pos x="connsiteX3076" y="connsiteY3076"/>
                          </a:cxn>
                          <a:cxn ang="0">
                            <a:pos x="connsiteX3077" y="connsiteY3077"/>
                          </a:cxn>
                          <a:cxn ang="0">
                            <a:pos x="connsiteX3078" y="connsiteY3078"/>
                          </a:cxn>
                          <a:cxn ang="0">
                            <a:pos x="connsiteX3079" y="connsiteY3079"/>
                          </a:cxn>
                          <a:cxn ang="0">
                            <a:pos x="connsiteX3080" y="connsiteY3080"/>
                          </a:cxn>
                          <a:cxn ang="0">
                            <a:pos x="connsiteX3081" y="connsiteY3081"/>
                          </a:cxn>
                          <a:cxn ang="0">
                            <a:pos x="connsiteX3082" y="connsiteY3082"/>
                          </a:cxn>
                          <a:cxn ang="0">
                            <a:pos x="connsiteX3083" y="connsiteY3083"/>
                          </a:cxn>
                          <a:cxn ang="0">
                            <a:pos x="connsiteX3084" y="connsiteY3084"/>
                          </a:cxn>
                          <a:cxn ang="0">
                            <a:pos x="connsiteX3085" y="connsiteY3085"/>
                          </a:cxn>
                          <a:cxn ang="0">
                            <a:pos x="connsiteX3086" y="connsiteY3086"/>
                          </a:cxn>
                          <a:cxn ang="0">
                            <a:pos x="connsiteX3087" y="connsiteY3087"/>
                          </a:cxn>
                          <a:cxn ang="0">
                            <a:pos x="connsiteX3088" y="connsiteY3088"/>
                          </a:cxn>
                          <a:cxn ang="0">
                            <a:pos x="connsiteX3089" y="connsiteY3089"/>
                          </a:cxn>
                          <a:cxn ang="0">
                            <a:pos x="connsiteX3090" y="connsiteY3090"/>
                          </a:cxn>
                          <a:cxn ang="0">
                            <a:pos x="connsiteX3091" y="connsiteY3091"/>
                          </a:cxn>
                          <a:cxn ang="0">
                            <a:pos x="connsiteX3092" y="connsiteY3092"/>
                          </a:cxn>
                          <a:cxn ang="0">
                            <a:pos x="connsiteX3093" y="connsiteY3093"/>
                          </a:cxn>
                          <a:cxn ang="0">
                            <a:pos x="connsiteX3094" y="connsiteY3094"/>
                          </a:cxn>
                          <a:cxn ang="0">
                            <a:pos x="connsiteX3095" y="connsiteY3095"/>
                          </a:cxn>
                          <a:cxn ang="0">
                            <a:pos x="connsiteX3096" y="connsiteY3096"/>
                          </a:cxn>
                          <a:cxn ang="0">
                            <a:pos x="connsiteX3097" y="connsiteY3097"/>
                          </a:cxn>
                          <a:cxn ang="0">
                            <a:pos x="connsiteX3098" y="connsiteY3098"/>
                          </a:cxn>
                          <a:cxn ang="0">
                            <a:pos x="connsiteX3099" y="connsiteY3099"/>
                          </a:cxn>
                          <a:cxn ang="0">
                            <a:pos x="connsiteX3100" y="connsiteY3100"/>
                          </a:cxn>
                          <a:cxn ang="0">
                            <a:pos x="connsiteX3101" y="connsiteY3101"/>
                          </a:cxn>
                          <a:cxn ang="0">
                            <a:pos x="connsiteX3102" y="connsiteY3102"/>
                          </a:cxn>
                          <a:cxn ang="0">
                            <a:pos x="connsiteX3103" y="connsiteY3103"/>
                          </a:cxn>
                          <a:cxn ang="0">
                            <a:pos x="connsiteX3104" y="connsiteY3104"/>
                          </a:cxn>
                          <a:cxn ang="0">
                            <a:pos x="connsiteX3105" y="connsiteY3105"/>
                          </a:cxn>
                          <a:cxn ang="0">
                            <a:pos x="connsiteX3106" y="connsiteY3106"/>
                          </a:cxn>
                          <a:cxn ang="0">
                            <a:pos x="connsiteX3107" y="connsiteY3107"/>
                          </a:cxn>
                          <a:cxn ang="0">
                            <a:pos x="connsiteX3108" y="connsiteY3108"/>
                          </a:cxn>
                          <a:cxn ang="0">
                            <a:pos x="connsiteX3109" y="connsiteY3109"/>
                          </a:cxn>
                          <a:cxn ang="0">
                            <a:pos x="connsiteX3110" y="connsiteY3110"/>
                          </a:cxn>
                          <a:cxn ang="0">
                            <a:pos x="connsiteX3111" y="connsiteY3111"/>
                          </a:cxn>
                          <a:cxn ang="0">
                            <a:pos x="connsiteX3112" y="connsiteY3112"/>
                          </a:cxn>
                          <a:cxn ang="0">
                            <a:pos x="connsiteX3113" y="connsiteY3113"/>
                          </a:cxn>
                          <a:cxn ang="0">
                            <a:pos x="connsiteX3114" y="connsiteY3114"/>
                          </a:cxn>
                          <a:cxn ang="0">
                            <a:pos x="connsiteX3115" y="connsiteY3115"/>
                          </a:cxn>
                          <a:cxn ang="0">
                            <a:pos x="connsiteX3116" y="connsiteY3116"/>
                          </a:cxn>
                          <a:cxn ang="0">
                            <a:pos x="connsiteX3117" y="connsiteY3117"/>
                          </a:cxn>
                          <a:cxn ang="0">
                            <a:pos x="connsiteX3118" y="connsiteY3118"/>
                          </a:cxn>
                          <a:cxn ang="0">
                            <a:pos x="connsiteX3119" y="connsiteY3119"/>
                          </a:cxn>
                          <a:cxn ang="0">
                            <a:pos x="connsiteX3120" y="connsiteY3120"/>
                          </a:cxn>
                          <a:cxn ang="0">
                            <a:pos x="connsiteX3121" y="connsiteY3121"/>
                          </a:cxn>
                          <a:cxn ang="0">
                            <a:pos x="connsiteX3122" y="connsiteY3122"/>
                          </a:cxn>
                          <a:cxn ang="0">
                            <a:pos x="connsiteX3123" y="connsiteY3123"/>
                          </a:cxn>
                          <a:cxn ang="0">
                            <a:pos x="connsiteX3124" y="connsiteY3124"/>
                          </a:cxn>
                          <a:cxn ang="0">
                            <a:pos x="connsiteX3125" y="connsiteY3125"/>
                          </a:cxn>
                          <a:cxn ang="0">
                            <a:pos x="connsiteX3126" y="connsiteY3126"/>
                          </a:cxn>
                          <a:cxn ang="0">
                            <a:pos x="connsiteX3127" y="connsiteY3127"/>
                          </a:cxn>
                          <a:cxn ang="0">
                            <a:pos x="connsiteX3128" y="connsiteY3128"/>
                          </a:cxn>
                          <a:cxn ang="0">
                            <a:pos x="connsiteX3129" y="connsiteY3129"/>
                          </a:cxn>
                          <a:cxn ang="0">
                            <a:pos x="connsiteX3130" y="connsiteY3130"/>
                          </a:cxn>
                          <a:cxn ang="0">
                            <a:pos x="connsiteX3131" y="connsiteY3131"/>
                          </a:cxn>
                          <a:cxn ang="0">
                            <a:pos x="connsiteX3132" y="connsiteY3132"/>
                          </a:cxn>
                          <a:cxn ang="0">
                            <a:pos x="connsiteX3133" y="connsiteY3133"/>
                          </a:cxn>
                          <a:cxn ang="0">
                            <a:pos x="connsiteX3134" y="connsiteY3134"/>
                          </a:cxn>
                          <a:cxn ang="0">
                            <a:pos x="connsiteX3135" y="connsiteY3135"/>
                          </a:cxn>
                          <a:cxn ang="0">
                            <a:pos x="connsiteX3136" y="connsiteY3136"/>
                          </a:cxn>
                          <a:cxn ang="0">
                            <a:pos x="connsiteX3137" y="connsiteY3137"/>
                          </a:cxn>
                          <a:cxn ang="0">
                            <a:pos x="connsiteX3138" y="connsiteY3138"/>
                          </a:cxn>
                          <a:cxn ang="0">
                            <a:pos x="connsiteX3139" y="connsiteY3139"/>
                          </a:cxn>
                          <a:cxn ang="0">
                            <a:pos x="connsiteX3140" y="connsiteY3140"/>
                          </a:cxn>
                          <a:cxn ang="0">
                            <a:pos x="connsiteX3141" y="connsiteY3141"/>
                          </a:cxn>
                          <a:cxn ang="0">
                            <a:pos x="connsiteX3142" y="connsiteY3142"/>
                          </a:cxn>
                          <a:cxn ang="0">
                            <a:pos x="connsiteX3143" y="connsiteY3143"/>
                          </a:cxn>
                          <a:cxn ang="0">
                            <a:pos x="connsiteX3144" y="connsiteY3144"/>
                          </a:cxn>
                          <a:cxn ang="0">
                            <a:pos x="connsiteX3145" y="connsiteY3145"/>
                          </a:cxn>
                          <a:cxn ang="0">
                            <a:pos x="connsiteX3146" y="connsiteY3146"/>
                          </a:cxn>
                          <a:cxn ang="0">
                            <a:pos x="connsiteX3147" y="connsiteY3147"/>
                          </a:cxn>
                          <a:cxn ang="0">
                            <a:pos x="connsiteX3148" y="connsiteY3148"/>
                          </a:cxn>
                          <a:cxn ang="0">
                            <a:pos x="connsiteX3149" y="connsiteY3149"/>
                          </a:cxn>
                          <a:cxn ang="0">
                            <a:pos x="connsiteX3150" y="connsiteY3150"/>
                          </a:cxn>
                          <a:cxn ang="0">
                            <a:pos x="connsiteX3151" y="connsiteY3151"/>
                          </a:cxn>
                          <a:cxn ang="0">
                            <a:pos x="connsiteX3152" y="connsiteY3152"/>
                          </a:cxn>
                          <a:cxn ang="0">
                            <a:pos x="connsiteX3153" y="connsiteY3153"/>
                          </a:cxn>
                          <a:cxn ang="0">
                            <a:pos x="connsiteX3154" y="connsiteY3154"/>
                          </a:cxn>
                          <a:cxn ang="0">
                            <a:pos x="connsiteX3155" y="connsiteY3155"/>
                          </a:cxn>
                          <a:cxn ang="0">
                            <a:pos x="connsiteX3156" y="connsiteY3156"/>
                          </a:cxn>
                          <a:cxn ang="0">
                            <a:pos x="connsiteX3157" y="connsiteY3157"/>
                          </a:cxn>
                          <a:cxn ang="0">
                            <a:pos x="connsiteX3158" y="connsiteY3158"/>
                          </a:cxn>
                          <a:cxn ang="0">
                            <a:pos x="connsiteX3159" y="connsiteY3159"/>
                          </a:cxn>
                          <a:cxn ang="0">
                            <a:pos x="connsiteX3160" y="connsiteY3160"/>
                          </a:cxn>
                          <a:cxn ang="0">
                            <a:pos x="connsiteX3161" y="connsiteY3161"/>
                          </a:cxn>
                          <a:cxn ang="0">
                            <a:pos x="connsiteX3162" y="connsiteY3162"/>
                          </a:cxn>
                          <a:cxn ang="0">
                            <a:pos x="connsiteX3163" y="connsiteY3163"/>
                          </a:cxn>
                          <a:cxn ang="0">
                            <a:pos x="connsiteX3164" y="connsiteY3164"/>
                          </a:cxn>
                          <a:cxn ang="0">
                            <a:pos x="connsiteX3165" y="connsiteY3165"/>
                          </a:cxn>
                          <a:cxn ang="0">
                            <a:pos x="connsiteX3166" y="connsiteY3166"/>
                          </a:cxn>
                          <a:cxn ang="0">
                            <a:pos x="connsiteX3167" y="connsiteY3167"/>
                          </a:cxn>
                          <a:cxn ang="0">
                            <a:pos x="connsiteX3168" y="connsiteY3168"/>
                          </a:cxn>
                          <a:cxn ang="0">
                            <a:pos x="connsiteX3169" y="connsiteY3169"/>
                          </a:cxn>
                          <a:cxn ang="0">
                            <a:pos x="connsiteX3170" y="connsiteY3170"/>
                          </a:cxn>
                          <a:cxn ang="0">
                            <a:pos x="connsiteX3171" y="connsiteY3171"/>
                          </a:cxn>
                          <a:cxn ang="0">
                            <a:pos x="connsiteX3172" y="connsiteY3172"/>
                          </a:cxn>
                          <a:cxn ang="0">
                            <a:pos x="connsiteX3173" y="connsiteY3173"/>
                          </a:cxn>
                          <a:cxn ang="0">
                            <a:pos x="connsiteX3174" y="connsiteY3174"/>
                          </a:cxn>
                          <a:cxn ang="0">
                            <a:pos x="connsiteX3175" y="connsiteY3175"/>
                          </a:cxn>
                          <a:cxn ang="0">
                            <a:pos x="connsiteX3176" y="connsiteY3176"/>
                          </a:cxn>
                          <a:cxn ang="0">
                            <a:pos x="connsiteX3177" y="connsiteY3177"/>
                          </a:cxn>
                          <a:cxn ang="0">
                            <a:pos x="connsiteX3178" y="connsiteY3178"/>
                          </a:cxn>
                          <a:cxn ang="0">
                            <a:pos x="connsiteX3179" y="connsiteY3179"/>
                          </a:cxn>
                          <a:cxn ang="0">
                            <a:pos x="connsiteX3180" y="connsiteY3180"/>
                          </a:cxn>
                          <a:cxn ang="0">
                            <a:pos x="connsiteX3181" y="connsiteY3181"/>
                          </a:cxn>
                          <a:cxn ang="0">
                            <a:pos x="connsiteX3182" y="connsiteY3182"/>
                          </a:cxn>
                          <a:cxn ang="0">
                            <a:pos x="connsiteX3183" y="connsiteY3183"/>
                          </a:cxn>
                          <a:cxn ang="0">
                            <a:pos x="connsiteX3184" y="connsiteY3184"/>
                          </a:cxn>
                          <a:cxn ang="0">
                            <a:pos x="connsiteX3185" y="connsiteY3185"/>
                          </a:cxn>
                          <a:cxn ang="0">
                            <a:pos x="connsiteX3186" y="connsiteY3186"/>
                          </a:cxn>
                          <a:cxn ang="0">
                            <a:pos x="connsiteX3187" y="connsiteY3187"/>
                          </a:cxn>
                          <a:cxn ang="0">
                            <a:pos x="connsiteX3188" y="connsiteY3188"/>
                          </a:cxn>
                          <a:cxn ang="0">
                            <a:pos x="connsiteX3189" y="connsiteY3189"/>
                          </a:cxn>
                          <a:cxn ang="0">
                            <a:pos x="connsiteX3190" y="connsiteY3190"/>
                          </a:cxn>
                          <a:cxn ang="0">
                            <a:pos x="connsiteX3191" y="connsiteY3191"/>
                          </a:cxn>
                          <a:cxn ang="0">
                            <a:pos x="connsiteX3192" y="connsiteY3192"/>
                          </a:cxn>
                          <a:cxn ang="0">
                            <a:pos x="connsiteX3193" y="connsiteY3193"/>
                          </a:cxn>
                          <a:cxn ang="0">
                            <a:pos x="connsiteX3194" y="connsiteY3194"/>
                          </a:cxn>
                          <a:cxn ang="0">
                            <a:pos x="connsiteX3195" y="connsiteY3195"/>
                          </a:cxn>
                          <a:cxn ang="0">
                            <a:pos x="connsiteX3196" y="connsiteY3196"/>
                          </a:cxn>
                        </a:cxnLst>
                        <a:rect l="l" t="t" r="r" b="b"/>
                        <a:pathLst>
                          <a:path w="6116787" h="3083905">
                            <a:moveTo>
                              <a:pt x="5727802" y="1543873"/>
                            </a:moveTo>
                            <a:lnTo>
                              <a:pt x="5748650" y="1520282"/>
                            </a:lnTo>
                            <a:lnTo>
                              <a:pt x="5749748" y="1510406"/>
                            </a:lnTo>
                            <a:lnTo>
                              <a:pt x="5755783" y="1502725"/>
                            </a:lnTo>
                            <a:lnTo>
                              <a:pt x="5754685" y="1492301"/>
                            </a:lnTo>
                            <a:lnTo>
                              <a:pt x="5734386" y="1472001"/>
                            </a:lnTo>
                            <a:lnTo>
                              <a:pt x="5732191" y="1448958"/>
                            </a:lnTo>
                            <a:lnTo>
                              <a:pt x="5737677" y="1448958"/>
                            </a:lnTo>
                            <a:lnTo>
                              <a:pt x="5742067" y="1446215"/>
                            </a:lnTo>
                            <a:lnTo>
                              <a:pt x="5745907" y="1451702"/>
                            </a:lnTo>
                            <a:lnTo>
                              <a:pt x="5754137" y="1446764"/>
                            </a:lnTo>
                            <a:lnTo>
                              <a:pt x="5753040" y="1430305"/>
                            </a:lnTo>
                            <a:lnTo>
                              <a:pt x="5758526" y="1435242"/>
                            </a:lnTo>
                            <a:lnTo>
                              <a:pt x="5760172" y="1428659"/>
                            </a:lnTo>
                            <a:lnTo>
                              <a:pt x="5761818" y="1436340"/>
                            </a:lnTo>
                            <a:lnTo>
                              <a:pt x="5769499" y="1445666"/>
                            </a:lnTo>
                            <a:lnTo>
                              <a:pt x="5774437" y="1443472"/>
                            </a:lnTo>
                            <a:lnTo>
                              <a:pt x="5779923" y="1428110"/>
                            </a:lnTo>
                            <a:lnTo>
                              <a:pt x="5784312" y="1427561"/>
                            </a:lnTo>
                            <a:lnTo>
                              <a:pt x="5785410" y="1429207"/>
                            </a:lnTo>
                            <a:lnTo>
                              <a:pt x="5783215" y="1451702"/>
                            </a:lnTo>
                            <a:lnTo>
                              <a:pt x="5777728" y="1456639"/>
                            </a:lnTo>
                            <a:lnTo>
                              <a:pt x="5772791" y="1456639"/>
                            </a:lnTo>
                            <a:lnTo>
                              <a:pt x="5768401" y="1454445"/>
                            </a:lnTo>
                            <a:lnTo>
                              <a:pt x="5778277" y="1478585"/>
                            </a:lnTo>
                            <a:lnTo>
                              <a:pt x="5783215" y="1478585"/>
                            </a:lnTo>
                            <a:lnTo>
                              <a:pt x="5786507" y="1488460"/>
                            </a:lnTo>
                            <a:lnTo>
                              <a:pt x="5786507" y="1499982"/>
                            </a:lnTo>
                            <a:lnTo>
                              <a:pt x="5793090" y="1503822"/>
                            </a:lnTo>
                            <a:lnTo>
                              <a:pt x="5802417" y="1503822"/>
                            </a:lnTo>
                            <a:lnTo>
                              <a:pt x="5815585" y="1507114"/>
                            </a:lnTo>
                            <a:lnTo>
                              <a:pt x="5828752" y="1502725"/>
                            </a:lnTo>
                            <a:lnTo>
                              <a:pt x="5832044" y="1497239"/>
                            </a:lnTo>
                            <a:lnTo>
                              <a:pt x="5839176" y="1496141"/>
                            </a:lnTo>
                            <a:lnTo>
                              <a:pt x="5853440" y="1498336"/>
                            </a:lnTo>
                            <a:lnTo>
                              <a:pt x="5860573" y="1497239"/>
                            </a:lnTo>
                            <a:lnTo>
                              <a:pt x="5868254" y="1506566"/>
                            </a:lnTo>
                            <a:lnTo>
                              <a:pt x="5875386" y="1507114"/>
                            </a:lnTo>
                            <a:lnTo>
                              <a:pt x="5882519" y="1510406"/>
                            </a:lnTo>
                            <a:lnTo>
                              <a:pt x="5881422" y="1522476"/>
                            </a:lnTo>
                            <a:lnTo>
                              <a:pt x="5885262" y="1529608"/>
                            </a:lnTo>
                            <a:lnTo>
                              <a:pt x="5883067" y="1547165"/>
                            </a:lnTo>
                            <a:lnTo>
                              <a:pt x="5898978" y="1560881"/>
                            </a:lnTo>
                            <a:lnTo>
                              <a:pt x="5902269" y="1566367"/>
                            </a:lnTo>
                            <a:lnTo>
                              <a:pt x="5903367" y="1570756"/>
                            </a:lnTo>
                            <a:lnTo>
                              <a:pt x="5910499" y="1571305"/>
                            </a:lnTo>
                            <a:lnTo>
                              <a:pt x="5917083" y="1574597"/>
                            </a:lnTo>
                            <a:lnTo>
                              <a:pt x="5920375" y="1574048"/>
                            </a:lnTo>
                            <a:lnTo>
                              <a:pt x="5915437" y="1569659"/>
                            </a:lnTo>
                            <a:lnTo>
                              <a:pt x="5919826" y="1562527"/>
                            </a:lnTo>
                            <a:lnTo>
                              <a:pt x="5921472" y="1566367"/>
                            </a:lnTo>
                            <a:lnTo>
                              <a:pt x="5928604" y="1568013"/>
                            </a:lnTo>
                            <a:lnTo>
                              <a:pt x="5928604" y="1556492"/>
                            </a:lnTo>
                            <a:lnTo>
                              <a:pt x="5930799" y="1552103"/>
                            </a:lnTo>
                            <a:lnTo>
                              <a:pt x="5931896" y="1554846"/>
                            </a:lnTo>
                            <a:lnTo>
                              <a:pt x="5930799" y="1565819"/>
                            </a:lnTo>
                            <a:lnTo>
                              <a:pt x="5925313" y="1572951"/>
                            </a:lnTo>
                            <a:lnTo>
                              <a:pt x="5936286" y="1581729"/>
                            </a:lnTo>
                            <a:lnTo>
                              <a:pt x="5943417" y="1581729"/>
                            </a:lnTo>
                            <a:lnTo>
                              <a:pt x="5947807" y="1584472"/>
                            </a:lnTo>
                            <a:lnTo>
                              <a:pt x="5945612" y="1588313"/>
                            </a:lnTo>
                            <a:lnTo>
                              <a:pt x="5953293" y="1594897"/>
                            </a:lnTo>
                            <a:lnTo>
                              <a:pt x="5953293" y="1602578"/>
                            </a:lnTo>
                            <a:lnTo>
                              <a:pt x="5961523" y="1602578"/>
                            </a:lnTo>
                            <a:lnTo>
                              <a:pt x="5964815" y="1595994"/>
                            </a:lnTo>
                            <a:lnTo>
                              <a:pt x="5963718" y="1605869"/>
                            </a:lnTo>
                            <a:lnTo>
                              <a:pt x="5970849" y="1608613"/>
                            </a:lnTo>
                            <a:lnTo>
                              <a:pt x="5976884" y="1604772"/>
                            </a:lnTo>
                            <a:lnTo>
                              <a:pt x="5979628" y="1597091"/>
                            </a:lnTo>
                            <a:lnTo>
                              <a:pt x="5980177" y="1587764"/>
                            </a:lnTo>
                            <a:lnTo>
                              <a:pt x="5983468" y="1592153"/>
                            </a:lnTo>
                            <a:lnTo>
                              <a:pt x="5977434" y="1610258"/>
                            </a:lnTo>
                            <a:lnTo>
                              <a:pt x="5982920" y="1615745"/>
                            </a:lnTo>
                            <a:lnTo>
                              <a:pt x="5988406" y="1617391"/>
                            </a:lnTo>
                            <a:lnTo>
                              <a:pt x="5992247" y="1615745"/>
                            </a:lnTo>
                            <a:lnTo>
                              <a:pt x="5997184" y="1610807"/>
                            </a:lnTo>
                            <a:lnTo>
                              <a:pt x="5997184" y="1599834"/>
                            </a:lnTo>
                            <a:lnTo>
                              <a:pt x="5990600" y="1598737"/>
                            </a:lnTo>
                            <a:lnTo>
                              <a:pt x="5990052" y="1595445"/>
                            </a:lnTo>
                            <a:lnTo>
                              <a:pt x="5996087" y="1593799"/>
                            </a:lnTo>
                            <a:lnTo>
                              <a:pt x="6002671" y="1596542"/>
                            </a:lnTo>
                            <a:lnTo>
                              <a:pt x="6008157" y="1603675"/>
                            </a:lnTo>
                            <a:lnTo>
                              <a:pt x="6016935" y="1600932"/>
                            </a:lnTo>
                            <a:lnTo>
                              <a:pt x="6010352" y="1588313"/>
                            </a:lnTo>
                            <a:lnTo>
                              <a:pt x="6010352" y="1586118"/>
                            </a:lnTo>
                            <a:lnTo>
                              <a:pt x="6006511" y="1581729"/>
                            </a:lnTo>
                            <a:lnTo>
                              <a:pt x="5998281" y="1583375"/>
                            </a:lnTo>
                            <a:lnTo>
                              <a:pt x="5997733" y="1581729"/>
                            </a:lnTo>
                            <a:lnTo>
                              <a:pt x="5993893" y="1579535"/>
                            </a:lnTo>
                            <a:lnTo>
                              <a:pt x="5993344" y="1575694"/>
                            </a:lnTo>
                            <a:lnTo>
                              <a:pt x="6000476" y="1575146"/>
                            </a:lnTo>
                            <a:lnTo>
                              <a:pt x="6002671" y="1571305"/>
                            </a:lnTo>
                            <a:lnTo>
                              <a:pt x="5998281" y="1566367"/>
                            </a:lnTo>
                            <a:lnTo>
                              <a:pt x="5988955" y="1569110"/>
                            </a:lnTo>
                            <a:lnTo>
                              <a:pt x="5994441" y="1563624"/>
                            </a:lnTo>
                            <a:lnTo>
                              <a:pt x="6003219" y="1564173"/>
                            </a:lnTo>
                            <a:lnTo>
                              <a:pt x="6005963" y="1560881"/>
                            </a:lnTo>
                            <a:lnTo>
                              <a:pt x="6005963" y="1554846"/>
                            </a:lnTo>
                            <a:lnTo>
                              <a:pt x="6011997" y="1559235"/>
                            </a:lnTo>
                            <a:lnTo>
                              <a:pt x="6027360" y="1546068"/>
                            </a:lnTo>
                            <a:lnTo>
                              <a:pt x="6019679" y="1531803"/>
                            </a:lnTo>
                            <a:lnTo>
                              <a:pt x="6012546" y="1532352"/>
                            </a:lnTo>
                            <a:lnTo>
                              <a:pt x="6005414" y="1529608"/>
                            </a:lnTo>
                            <a:lnTo>
                              <a:pt x="6022970" y="1528511"/>
                            </a:lnTo>
                            <a:lnTo>
                              <a:pt x="6021325" y="1521379"/>
                            </a:lnTo>
                            <a:lnTo>
                              <a:pt x="6024068" y="1513149"/>
                            </a:lnTo>
                            <a:lnTo>
                              <a:pt x="6034492" y="1505468"/>
                            </a:lnTo>
                            <a:lnTo>
                              <a:pt x="6043819" y="1503822"/>
                            </a:lnTo>
                            <a:lnTo>
                              <a:pt x="6063021" y="1508211"/>
                            </a:lnTo>
                            <a:lnTo>
                              <a:pt x="6065764" y="1503822"/>
                            </a:lnTo>
                            <a:lnTo>
                              <a:pt x="6063570" y="1497787"/>
                            </a:lnTo>
                            <a:lnTo>
                              <a:pt x="6053145" y="1491204"/>
                            </a:lnTo>
                            <a:lnTo>
                              <a:pt x="6050951" y="1480231"/>
                            </a:lnTo>
                            <a:lnTo>
                              <a:pt x="6054243" y="1474744"/>
                            </a:lnTo>
                            <a:lnTo>
                              <a:pt x="6060827" y="1484071"/>
                            </a:lnTo>
                            <a:lnTo>
                              <a:pt x="6068508" y="1488460"/>
                            </a:lnTo>
                            <a:lnTo>
                              <a:pt x="6073446" y="1495044"/>
                            </a:lnTo>
                            <a:lnTo>
                              <a:pt x="6081675" y="1496141"/>
                            </a:lnTo>
                            <a:lnTo>
                              <a:pt x="6083869" y="1489558"/>
                            </a:lnTo>
                            <a:lnTo>
                              <a:pt x="6082772" y="1482974"/>
                            </a:lnTo>
                            <a:lnTo>
                              <a:pt x="6084967" y="1467612"/>
                            </a:lnTo>
                            <a:lnTo>
                              <a:pt x="6093745" y="1463772"/>
                            </a:lnTo>
                            <a:lnTo>
                              <a:pt x="6100328" y="1456639"/>
                            </a:lnTo>
                            <a:lnTo>
                              <a:pt x="6106912" y="1456091"/>
                            </a:lnTo>
                            <a:lnTo>
                              <a:pt x="6113496" y="1457737"/>
                            </a:lnTo>
                            <a:lnTo>
                              <a:pt x="6116788" y="1449507"/>
                            </a:lnTo>
                            <a:lnTo>
                              <a:pt x="6110204" y="1447861"/>
                            </a:lnTo>
                            <a:lnTo>
                              <a:pt x="6107461" y="1450056"/>
                            </a:lnTo>
                            <a:lnTo>
                              <a:pt x="6101426" y="1445666"/>
                            </a:lnTo>
                            <a:lnTo>
                              <a:pt x="6096488" y="1444569"/>
                            </a:lnTo>
                            <a:lnTo>
                              <a:pt x="6098134" y="1439631"/>
                            </a:lnTo>
                            <a:lnTo>
                              <a:pt x="6092099" y="1433596"/>
                            </a:lnTo>
                            <a:lnTo>
                              <a:pt x="6083869" y="1441826"/>
                            </a:lnTo>
                            <a:lnTo>
                              <a:pt x="6080577" y="1437437"/>
                            </a:lnTo>
                            <a:lnTo>
                              <a:pt x="6084967" y="1434145"/>
                            </a:lnTo>
                            <a:lnTo>
                              <a:pt x="6086064" y="1430853"/>
                            </a:lnTo>
                            <a:lnTo>
                              <a:pt x="6069605" y="1418234"/>
                            </a:lnTo>
                            <a:lnTo>
                              <a:pt x="6065764" y="1410005"/>
                            </a:lnTo>
                            <a:lnTo>
                              <a:pt x="6054792" y="1401775"/>
                            </a:lnTo>
                            <a:lnTo>
                              <a:pt x="6050402" y="1394094"/>
                            </a:lnTo>
                            <a:lnTo>
                              <a:pt x="6049854" y="1388608"/>
                            </a:lnTo>
                            <a:lnTo>
                              <a:pt x="6042721" y="1384219"/>
                            </a:lnTo>
                            <a:lnTo>
                              <a:pt x="6039978" y="1378732"/>
                            </a:lnTo>
                            <a:lnTo>
                              <a:pt x="6038881" y="1371600"/>
                            </a:lnTo>
                            <a:lnTo>
                              <a:pt x="6005414" y="1365016"/>
                            </a:lnTo>
                            <a:lnTo>
                              <a:pt x="5998830" y="1367211"/>
                            </a:lnTo>
                            <a:lnTo>
                              <a:pt x="6014192" y="1371600"/>
                            </a:lnTo>
                            <a:lnTo>
                              <a:pt x="6010900" y="1376538"/>
                            </a:lnTo>
                            <a:lnTo>
                              <a:pt x="6003768" y="1377635"/>
                            </a:lnTo>
                            <a:lnTo>
                              <a:pt x="5983468" y="1367760"/>
                            </a:lnTo>
                            <a:lnTo>
                              <a:pt x="5985663" y="1377635"/>
                            </a:lnTo>
                            <a:lnTo>
                              <a:pt x="5983468" y="1383122"/>
                            </a:lnTo>
                            <a:lnTo>
                              <a:pt x="5980725" y="1383122"/>
                            </a:lnTo>
                            <a:lnTo>
                              <a:pt x="5977982" y="1376538"/>
                            </a:lnTo>
                            <a:lnTo>
                              <a:pt x="5974141" y="1371600"/>
                            </a:lnTo>
                            <a:lnTo>
                              <a:pt x="5976336" y="1365016"/>
                            </a:lnTo>
                            <a:lnTo>
                              <a:pt x="5982371" y="1362822"/>
                            </a:lnTo>
                            <a:lnTo>
                              <a:pt x="5974141" y="1358981"/>
                            </a:lnTo>
                            <a:lnTo>
                              <a:pt x="5970301" y="1358981"/>
                            </a:lnTo>
                            <a:lnTo>
                              <a:pt x="5968655" y="1354592"/>
                            </a:lnTo>
                            <a:lnTo>
                              <a:pt x="5963718" y="1352946"/>
                            </a:lnTo>
                            <a:lnTo>
                              <a:pt x="5964266" y="1357884"/>
                            </a:lnTo>
                            <a:lnTo>
                              <a:pt x="5961523" y="1365565"/>
                            </a:lnTo>
                            <a:lnTo>
                              <a:pt x="5958780" y="1363919"/>
                            </a:lnTo>
                            <a:lnTo>
                              <a:pt x="5957133" y="1360079"/>
                            </a:lnTo>
                            <a:lnTo>
                              <a:pt x="5948355" y="1356787"/>
                            </a:lnTo>
                            <a:lnTo>
                              <a:pt x="5940674" y="1357884"/>
                            </a:lnTo>
                            <a:lnTo>
                              <a:pt x="5933542" y="1361176"/>
                            </a:lnTo>
                            <a:lnTo>
                              <a:pt x="5936286" y="1366114"/>
                            </a:lnTo>
                            <a:lnTo>
                              <a:pt x="5937931" y="1361725"/>
                            </a:lnTo>
                            <a:lnTo>
                              <a:pt x="5946709" y="1358981"/>
                            </a:lnTo>
                            <a:lnTo>
                              <a:pt x="5947258" y="1362273"/>
                            </a:lnTo>
                            <a:lnTo>
                              <a:pt x="5942320" y="1364468"/>
                            </a:lnTo>
                            <a:lnTo>
                              <a:pt x="5952196" y="1368308"/>
                            </a:lnTo>
                            <a:lnTo>
                              <a:pt x="5948355" y="1401775"/>
                            </a:lnTo>
                            <a:lnTo>
                              <a:pt x="5953293" y="1403421"/>
                            </a:lnTo>
                            <a:lnTo>
                              <a:pt x="5956036" y="1400129"/>
                            </a:lnTo>
                            <a:lnTo>
                              <a:pt x="5958780" y="1402873"/>
                            </a:lnTo>
                            <a:lnTo>
                              <a:pt x="5962620" y="1411102"/>
                            </a:lnTo>
                            <a:lnTo>
                              <a:pt x="5961523" y="1424818"/>
                            </a:lnTo>
                            <a:lnTo>
                              <a:pt x="5956585" y="1424818"/>
                            </a:lnTo>
                            <a:lnTo>
                              <a:pt x="5953293" y="1430305"/>
                            </a:lnTo>
                            <a:lnTo>
                              <a:pt x="5953842" y="1424818"/>
                            </a:lnTo>
                            <a:lnTo>
                              <a:pt x="5955488" y="1422075"/>
                            </a:lnTo>
                            <a:lnTo>
                              <a:pt x="5955488" y="1412199"/>
                            </a:lnTo>
                            <a:lnTo>
                              <a:pt x="5946709" y="1408359"/>
                            </a:lnTo>
                            <a:lnTo>
                              <a:pt x="5940126" y="1410005"/>
                            </a:lnTo>
                            <a:lnTo>
                              <a:pt x="5938480" y="1402873"/>
                            </a:lnTo>
                            <a:lnTo>
                              <a:pt x="5939029" y="1398483"/>
                            </a:lnTo>
                            <a:lnTo>
                              <a:pt x="5930799" y="1392997"/>
                            </a:lnTo>
                            <a:lnTo>
                              <a:pt x="5927507" y="1387511"/>
                            </a:lnTo>
                            <a:lnTo>
                              <a:pt x="5929153" y="1379281"/>
                            </a:lnTo>
                            <a:lnTo>
                              <a:pt x="5915985" y="1329355"/>
                            </a:lnTo>
                            <a:lnTo>
                              <a:pt x="5917632" y="1323868"/>
                            </a:lnTo>
                            <a:lnTo>
                              <a:pt x="5922020" y="1329355"/>
                            </a:lnTo>
                            <a:lnTo>
                              <a:pt x="5923118" y="1337036"/>
                            </a:lnTo>
                            <a:lnTo>
                              <a:pt x="5924215" y="1333744"/>
                            </a:lnTo>
                            <a:lnTo>
                              <a:pt x="5922570" y="1327709"/>
                            </a:lnTo>
                            <a:lnTo>
                              <a:pt x="5905561" y="1314542"/>
                            </a:lnTo>
                            <a:lnTo>
                              <a:pt x="5902818" y="1306312"/>
                            </a:lnTo>
                            <a:lnTo>
                              <a:pt x="5902269" y="1299728"/>
                            </a:lnTo>
                            <a:lnTo>
                              <a:pt x="5884713" y="1290950"/>
                            </a:lnTo>
                            <a:lnTo>
                              <a:pt x="5881422" y="1292596"/>
                            </a:lnTo>
                            <a:lnTo>
                              <a:pt x="5884165" y="1299728"/>
                            </a:lnTo>
                            <a:lnTo>
                              <a:pt x="5894040" y="1312896"/>
                            </a:lnTo>
                            <a:lnTo>
                              <a:pt x="5896783" y="1312347"/>
                            </a:lnTo>
                            <a:lnTo>
                              <a:pt x="5900075" y="1317833"/>
                            </a:lnTo>
                            <a:lnTo>
                              <a:pt x="5901172" y="1323868"/>
                            </a:lnTo>
                            <a:lnTo>
                              <a:pt x="5874837" y="1305763"/>
                            </a:lnTo>
                            <a:lnTo>
                              <a:pt x="5868803" y="1304117"/>
                            </a:lnTo>
                            <a:lnTo>
                              <a:pt x="5861670" y="1299728"/>
                            </a:lnTo>
                            <a:lnTo>
                              <a:pt x="5865511" y="1295888"/>
                            </a:lnTo>
                            <a:lnTo>
                              <a:pt x="5872094" y="1293693"/>
                            </a:lnTo>
                            <a:lnTo>
                              <a:pt x="5872643" y="1287110"/>
                            </a:lnTo>
                            <a:lnTo>
                              <a:pt x="5874289" y="1283269"/>
                            </a:lnTo>
                            <a:lnTo>
                              <a:pt x="5860024" y="1280526"/>
                            </a:lnTo>
                            <a:lnTo>
                              <a:pt x="5851795" y="1280526"/>
                            </a:lnTo>
                            <a:lnTo>
                              <a:pt x="5846857" y="1276685"/>
                            </a:lnTo>
                            <a:lnTo>
                              <a:pt x="5839724" y="1273942"/>
                            </a:lnTo>
                            <a:lnTo>
                              <a:pt x="5843017" y="1269004"/>
                            </a:lnTo>
                            <a:lnTo>
                              <a:pt x="5846857" y="1267907"/>
                            </a:lnTo>
                            <a:lnTo>
                              <a:pt x="5844662" y="1264067"/>
                            </a:lnTo>
                            <a:lnTo>
                              <a:pt x="5843017" y="1257483"/>
                            </a:lnTo>
                            <a:lnTo>
                              <a:pt x="5832044" y="1257483"/>
                            </a:lnTo>
                            <a:lnTo>
                              <a:pt x="5833141" y="1253094"/>
                            </a:lnTo>
                            <a:lnTo>
                              <a:pt x="5827655" y="1245962"/>
                            </a:lnTo>
                            <a:lnTo>
                              <a:pt x="5822168" y="1247059"/>
                            </a:lnTo>
                            <a:lnTo>
                              <a:pt x="5821620" y="1243767"/>
                            </a:lnTo>
                            <a:lnTo>
                              <a:pt x="5813939" y="1238281"/>
                            </a:lnTo>
                            <a:lnTo>
                              <a:pt x="5800771" y="1243767"/>
                            </a:lnTo>
                            <a:lnTo>
                              <a:pt x="5800223" y="1240475"/>
                            </a:lnTo>
                            <a:lnTo>
                              <a:pt x="5801869" y="1234440"/>
                            </a:lnTo>
                            <a:lnTo>
                              <a:pt x="5800771" y="1230600"/>
                            </a:lnTo>
                            <a:lnTo>
                              <a:pt x="5797479" y="1224016"/>
                            </a:lnTo>
                            <a:lnTo>
                              <a:pt x="5789798" y="1216335"/>
                            </a:lnTo>
                            <a:lnTo>
                              <a:pt x="5795833" y="1226210"/>
                            </a:lnTo>
                            <a:lnTo>
                              <a:pt x="5786507" y="1221273"/>
                            </a:lnTo>
                            <a:lnTo>
                              <a:pt x="5782117" y="1221273"/>
                            </a:lnTo>
                            <a:lnTo>
                              <a:pt x="5776082" y="1214689"/>
                            </a:lnTo>
                            <a:lnTo>
                              <a:pt x="5770047" y="1192195"/>
                            </a:lnTo>
                            <a:lnTo>
                              <a:pt x="5765658" y="1192195"/>
                            </a:lnTo>
                            <a:lnTo>
                              <a:pt x="5749199" y="1185062"/>
                            </a:lnTo>
                            <a:lnTo>
                              <a:pt x="5744262" y="1179027"/>
                            </a:lnTo>
                            <a:lnTo>
                              <a:pt x="5735483" y="1179027"/>
                            </a:lnTo>
                            <a:lnTo>
                              <a:pt x="5727802" y="1175736"/>
                            </a:lnTo>
                            <a:lnTo>
                              <a:pt x="5727802" y="1175736"/>
                            </a:lnTo>
                            <a:lnTo>
                              <a:pt x="5727253" y="1175187"/>
                            </a:lnTo>
                            <a:lnTo>
                              <a:pt x="5680070" y="1131296"/>
                            </a:lnTo>
                            <a:lnTo>
                              <a:pt x="5672389" y="1128553"/>
                            </a:lnTo>
                            <a:lnTo>
                              <a:pt x="5667452" y="1121420"/>
                            </a:lnTo>
                            <a:lnTo>
                              <a:pt x="5664160" y="1123615"/>
                            </a:lnTo>
                            <a:lnTo>
                              <a:pt x="5639471" y="1111545"/>
                            </a:lnTo>
                            <a:lnTo>
                              <a:pt x="5629047" y="1100572"/>
                            </a:lnTo>
                            <a:lnTo>
                              <a:pt x="5624109" y="1101121"/>
                            </a:lnTo>
                            <a:lnTo>
                              <a:pt x="5609845" y="1095086"/>
                            </a:lnTo>
                            <a:lnTo>
                              <a:pt x="5601066" y="1093988"/>
                            </a:lnTo>
                            <a:lnTo>
                              <a:pt x="5580767" y="1074786"/>
                            </a:lnTo>
                            <a:lnTo>
                              <a:pt x="5536875" y="1072591"/>
                            </a:lnTo>
                            <a:lnTo>
                              <a:pt x="5533584" y="1075883"/>
                            </a:lnTo>
                            <a:lnTo>
                              <a:pt x="5523708" y="1078078"/>
                            </a:lnTo>
                            <a:lnTo>
                              <a:pt x="5517124" y="1073689"/>
                            </a:lnTo>
                            <a:lnTo>
                              <a:pt x="5507249" y="1070945"/>
                            </a:lnTo>
                            <a:lnTo>
                              <a:pt x="5497374" y="1073140"/>
                            </a:lnTo>
                            <a:lnTo>
                              <a:pt x="5482011" y="1070945"/>
                            </a:lnTo>
                            <a:lnTo>
                              <a:pt x="5473782" y="1075883"/>
                            </a:lnTo>
                            <a:lnTo>
                              <a:pt x="5463357" y="1073689"/>
                            </a:lnTo>
                            <a:lnTo>
                              <a:pt x="5445801" y="1063813"/>
                            </a:lnTo>
                            <a:lnTo>
                              <a:pt x="5440315" y="1064910"/>
                            </a:lnTo>
                            <a:lnTo>
                              <a:pt x="5375575" y="1053389"/>
                            </a:lnTo>
                            <a:lnTo>
                              <a:pt x="5369540" y="1057778"/>
                            </a:lnTo>
                            <a:lnTo>
                              <a:pt x="5367894" y="1066008"/>
                            </a:lnTo>
                            <a:lnTo>
                              <a:pt x="5370637" y="1073140"/>
                            </a:lnTo>
                            <a:lnTo>
                              <a:pt x="5370089" y="1087953"/>
                            </a:lnTo>
                            <a:lnTo>
                              <a:pt x="5357470" y="1092342"/>
                            </a:lnTo>
                            <a:lnTo>
                              <a:pt x="5354727" y="1100572"/>
                            </a:lnTo>
                            <a:lnTo>
                              <a:pt x="5374478" y="1106058"/>
                            </a:lnTo>
                            <a:lnTo>
                              <a:pt x="5382159" y="1130198"/>
                            </a:lnTo>
                            <a:lnTo>
                              <a:pt x="5386548" y="1134588"/>
                            </a:lnTo>
                            <a:lnTo>
                              <a:pt x="5386548" y="1141171"/>
                            </a:lnTo>
                            <a:lnTo>
                              <a:pt x="5390389" y="1155985"/>
                            </a:lnTo>
                            <a:lnTo>
                              <a:pt x="5369540" y="1181771"/>
                            </a:lnTo>
                            <a:lnTo>
                              <a:pt x="5355276" y="1190549"/>
                            </a:lnTo>
                            <a:lnTo>
                              <a:pt x="5339913" y="1190000"/>
                            </a:lnTo>
                            <a:lnTo>
                              <a:pt x="5334427" y="1186708"/>
                            </a:lnTo>
                            <a:lnTo>
                              <a:pt x="5325649" y="1163666"/>
                            </a:lnTo>
                            <a:lnTo>
                              <a:pt x="5315225" y="1157082"/>
                            </a:lnTo>
                            <a:lnTo>
                              <a:pt x="5314128" y="1153241"/>
                            </a:lnTo>
                            <a:lnTo>
                              <a:pt x="5307544" y="1148852"/>
                            </a:lnTo>
                            <a:lnTo>
                              <a:pt x="5291634" y="1147206"/>
                            </a:lnTo>
                            <a:lnTo>
                              <a:pt x="5287244" y="1143366"/>
                            </a:lnTo>
                            <a:lnTo>
                              <a:pt x="5283952" y="1104412"/>
                            </a:lnTo>
                            <a:lnTo>
                              <a:pt x="5271333" y="1100572"/>
                            </a:lnTo>
                            <a:lnTo>
                              <a:pt x="5272980" y="1094537"/>
                            </a:lnTo>
                            <a:lnTo>
                              <a:pt x="5277918" y="1091794"/>
                            </a:lnTo>
                            <a:lnTo>
                              <a:pt x="5276820" y="1089050"/>
                            </a:lnTo>
                            <a:lnTo>
                              <a:pt x="5268042" y="1083564"/>
                            </a:lnTo>
                            <a:lnTo>
                              <a:pt x="5263104" y="1085210"/>
                            </a:lnTo>
                            <a:lnTo>
                              <a:pt x="5238415" y="1113739"/>
                            </a:lnTo>
                            <a:lnTo>
                              <a:pt x="5232929" y="1115385"/>
                            </a:lnTo>
                            <a:lnTo>
                              <a:pt x="5228540" y="1113191"/>
                            </a:lnTo>
                            <a:lnTo>
                              <a:pt x="5213178" y="1113739"/>
                            </a:lnTo>
                            <a:lnTo>
                              <a:pt x="5197816" y="1104412"/>
                            </a:lnTo>
                            <a:lnTo>
                              <a:pt x="5176968" y="1102218"/>
                            </a:lnTo>
                            <a:lnTo>
                              <a:pt x="5168190" y="1104412"/>
                            </a:lnTo>
                            <a:lnTo>
                              <a:pt x="5166543" y="1107156"/>
                            </a:lnTo>
                            <a:lnTo>
                              <a:pt x="5164897" y="1105510"/>
                            </a:lnTo>
                            <a:lnTo>
                              <a:pt x="5148438" y="1106607"/>
                            </a:lnTo>
                            <a:lnTo>
                              <a:pt x="5138014" y="1100572"/>
                            </a:lnTo>
                            <a:lnTo>
                              <a:pt x="5128687" y="1083015"/>
                            </a:lnTo>
                            <a:lnTo>
                              <a:pt x="5114423" y="1091245"/>
                            </a:lnTo>
                            <a:lnTo>
                              <a:pt x="5093574" y="1089050"/>
                            </a:lnTo>
                            <a:lnTo>
                              <a:pt x="5081504" y="1095634"/>
                            </a:lnTo>
                            <a:lnTo>
                              <a:pt x="5071080" y="1091245"/>
                            </a:lnTo>
                            <a:lnTo>
                              <a:pt x="5066691" y="1091794"/>
                            </a:lnTo>
                            <a:lnTo>
                              <a:pt x="5062850" y="1094537"/>
                            </a:lnTo>
                            <a:lnTo>
                              <a:pt x="5060107" y="1100572"/>
                            </a:lnTo>
                            <a:lnTo>
                              <a:pt x="5054621" y="1099475"/>
                            </a:lnTo>
                            <a:lnTo>
                              <a:pt x="5052975" y="1111545"/>
                            </a:lnTo>
                            <a:lnTo>
                              <a:pt x="5041453" y="1110996"/>
                            </a:lnTo>
                            <a:lnTo>
                              <a:pt x="5037613" y="1119226"/>
                            </a:lnTo>
                            <a:lnTo>
                              <a:pt x="5030480" y="1126907"/>
                            </a:lnTo>
                            <a:lnTo>
                              <a:pt x="5024994" y="1125261"/>
                            </a:lnTo>
                            <a:lnTo>
                              <a:pt x="5026092" y="1113739"/>
                            </a:lnTo>
                            <a:lnTo>
                              <a:pt x="5023897" y="1106607"/>
                            </a:lnTo>
                            <a:lnTo>
                              <a:pt x="5017862" y="1108802"/>
                            </a:lnTo>
                            <a:lnTo>
                              <a:pt x="5014021" y="1107156"/>
                            </a:lnTo>
                            <a:lnTo>
                              <a:pt x="5002500" y="1093440"/>
                            </a:lnTo>
                            <a:lnTo>
                              <a:pt x="4994819" y="1089050"/>
                            </a:lnTo>
                            <a:lnTo>
                              <a:pt x="4980006" y="1089050"/>
                            </a:lnTo>
                            <a:lnTo>
                              <a:pt x="4976714" y="1083015"/>
                            </a:lnTo>
                            <a:lnTo>
                              <a:pt x="4965193" y="1080272"/>
                            </a:lnTo>
                            <a:lnTo>
                              <a:pt x="4965193" y="1074786"/>
                            </a:lnTo>
                            <a:lnTo>
                              <a:pt x="4978909" y="1033638"/>
                            </a:lnTo>
                            <a:lnTo>
                              <a:pt x="4977263" y="1013338"/>
                            </a:lnTo>
                            <a:lnTo>
                              <a:pt x="4970130" y="999622"/>
                            </a:lnTo>
                            <a:lnTo>
                              <a:pt x="4970130" y="996330"/>
                            </a:lnTo>
                            <a:lnTo>
                              <a:pt x="4945441" y="964509"/>
                            </a:lnTo>
                            <a:lnTo>
                              <a:pt x="4939406" y="960669"/>
                            </a:lnTo>
                            <a:lnTo>
                              <a:pt x="4933371" y="952988"/>
                            </a:lnTo>
                            <a:lnTo>
                              <a:pt x="4925142" y="950244"/>
                            </a:lnTo>
                            <a:lnTo>
                              <a:pt x="4897161" y="948050"/>
                            </a:lnTo>
                            <a:lnTo>
                              <a:pt x="4888932" y="944210"/>
                            </a:lnTo>
                            <a:lnTo>
                              <a:pt x="4829130" y="947501"/>
                            </a:lnTo>
                            <a:lnTo>
                              <a:pt x="4825290" y="950244"/>
                            </a:lnTo>
                            <a:lnTo>
                              <a:pt x="4810476" y="948599"/>
                            </a:lnTo>
                            <a:lnTo>
                              <a:pt x="4804989" y="952988"/>
                            </a:lnTo>
                            <a:lnTo>
                              <a:pt x="4797858" y="953536"/>
                            </a:lnTo>
                            <a:lnTo>
                              <a:pt x="4779752" y="949147"/>
                            </a:lnTo>
                            <a:lnTo>
                              <a:pt x="4775363" y="950244"/>
                            </a:lnTo>
                            <a:lnTo>
                              <a:pt x="4768779" y="956280"/>
                            </a:lnTo>
                            <a:lnTo>
                              <a:pt x="4759453" y="958474"/>
                            </a:lnTo>
                            <a:lnTo>
                              <a:pt x="4753417" y="955731"/>
                            </a:lnTo>
                            <a:lnTo>
                              <a:pt x="4739153" y="956280"/>
                            </a:lnTo>
                            <a:lnTo>
                              <a:pt x="4734215" y="958474"/>
                            </a:lnTo>
                            <a:lnTo>
                              <a:pt x="4728728" y="956828"/>
                            </a:lnTo>
                            <a:lnTo>
                              <a:pt x="4712269" y="965606"/>
                            </a:lnTo>
                            <a:lnTo>
                              <a:pt x="4704040" y="965058"/>
                            </a:lnTo>
                            <a:lnTo>
                              <a:pt x="4699102" y="969996"/>
                            </a:lnTo>
                            <a:lnTo>
                              <a:pt x="4681545" y="952988"/>
                            </a:lnTo>
                            <a:lnTo>
                              <a:pt x="4672767" y="952439"/>
                            </a:lnTo>
                            <a:lnTo>
                              <a:pt x="4668927" y="949696"/>
                            </a:lnTo>
                            <a:lnTo>
                              <a:pt x="4684289" y="944210"/>
                            </a:lnTo>
                            <a:lnTo>
                              <a:pt x="4689227" y="937077"/>
                            </a:lnTo>
                            <a:lnTo>
                              <a:pt x="4690324" y="927750"/>
                            </a:lnTo>
                            <a:lnTo>
                              <a:pt x="4666732" y="905805"/>
                            </a:lnTo>
                            <a:lnTo>
                              <a:pt x="4663441" y="900318"/>
                            </a:lnTo>
                            <a:lnTo>
                              <a:pt x="4662343" y="894832"/>
                            </a:lnTo>
                            <a:lnTo>
                              <a:pt x="4635460" y="901416"/>
                            </a:lnTo>
                            <a:lnTo>
                              <a:pt x="4628876" y="901416"/>
                            </a:lnTo>
                            <a:lnTo>
                              <a:pt x="4626133" y="894832"/>
                            </a:lnTo>
                            <a:lnTo>
                              <a:pt x="4626133" y="889346"/>
                            </a:lnTo>
                            <a:lnTo>
                              <a:pt x="4614063" y="882213"/>
                            </a:lnTo>
                            <a:lnTo>
                              <a:pt x="4610771" y="873435"/>
                            </a:lnTo>
                            <a:lnTo>
                              <a:pt x="4605284" y="872886"/>
                            </a:lnTo>
                            <a:lnTo>
                              <a:pt x="4592666" y="865205"/>
                            </a:lnTo>
                            <a:lnTo>
                              <a:pt x="4588825" y="870692"/>
                            </a:lnTo>
                            <a:lnTo>
                              <a:pt x="4582242" y="871240"/>
                            </a:lnTo>
                            <a:lnTo>
                              <a:pt x="4578401" y="867948"/>
                            </a:lnTo>
                            <a:lnTo>
                              <a:pt x="4567977" y="865205"/>
                            </a:lnTo>
                            <a:lnTo>
                              <a:pt x="4564136" y="867400"/>
                            </a:lnTo>
                            <a:lnTo>
                              <a:pt x="4564136" y="863011"/>
                            </a:lnTo>
                            <a:lnTo>
                              <a:pt x="4577304" y="843260"/>
                            </a:lnTo>
                            <a:lnTo>
                              <a:pt x="4581693" y="839968"/>
                            </a:lnTo>
                            <a:lnTo>
                              <a:pt x="4589923" y="846552"/>
                            </a:lnTo>
                            <a:lnTo>
                              <a:pt x="4593763" y="852587"/>
                            </a:lnTo>
                            <a:lnTo>
                              <a:pt x="4603090" y="847100"/>
                            </a:lnTo>
                            <a:lnTo>
                              <a:pt x="4602541" y="832836"/>
                            </a:lnTo>
                            <a:lnTo>
                              <a:pt x="4593763" y="809244"/>
                            </a:lnTo>
                            <a:lnTo>
                              <a:pt x="4572915" y="795528"/>
                            </a:lnTo>
                            <a:lnTo>
                              <a:pt x="4562491" y="793882"/>
                            </a:lnTo>
                            <a:lnTo>
                              <a:pt x="4558650" y="789493"/>
                            </a:lnTo>
                            <a:lnTo>
                              <a:pt x="4544385" y="783458"/>
                            </a:lnTo>
                            <a:lnTo>
                              <a:pt x="4531218" y="785652"/>
                            </a:lnTo>
                            <a:lnTo>
                              <a:pt x="4530669" y="787298"/>
                            </a:lnTo>
                            <a:lnTo>
                              <a:pt x="4527926" y="783458"/>
                            </a:lnTo>
                            <a:lnTo>
                              <a:pt x="4502689" y="782909"/>
                            </a:lnTo>
                            <a:lnTo>
                              <a:pt x="4495556" y="786201"/>
                            </a:lnTo>
                            <a:lnTo>
                              <a:pt x="4479646" y="781812"/>
                            </a:lnTo>
                            <a:lnTo>
                              <a:pt x="4470319" y="774131"/>
                            </a:lnTo>
                            <a:lnTo>
                              <a:pt x="4459346" y="774131"/>
                            </a:lnTo>
                            <a:lnTo>
                              <a:pt x="4444533" y="759318"/>
                            </a:lnTo>
                            <a:lnTo>
                              <a:pt x="4440144" y="760964"/>
                            </a:lnTo>
                            <a:lnTo>
                              <a:pt x="4412712" y="757123"/>
                            </a:lnTo>
                            <a:lnTo>
                              <a:pt x="4396253" y="747248"/>
                            </a:lnTo>
                            <a:lnTo>
                              <a:pt x="4367724" y="745602"/>
                            </a:lnTo>
                            <a:lnTo>
                              <a:pt x="4358945" y="742310"/>
                            </a:lnTo>
                            <a:lnTo>
                              <a:pt x="4290365" y="739018"/>
                            </a:lnTo>
                            <a:lnTo>
                              <a:pt x="4284330" y="734629"/>
                            </a:lnTo>
                            <a:lnTo>
                              <a:pt x="4281587" y="729691"/>
                            </a:lnTo>
                            <a:lnTo>
                              <a:pt x="4274455" y="725851"/>
                            </a:lnTo>
                            <a:lnTo>
                              <a:pt x="4262933" y="724205"/>
                            </a:lnTo>
                            <a:lnTo>
                              <a:pt x="4257447" y="731337"/>
                            </a:lnTo>
                            <a:lnTo>
                              <a:pt x="4256349" y="736275"/>
                            </a:lnTo>
                            <a:lnTo>
                              <a:pt x="4263482" y="742310"/>
                            </a:lnTo>
                            <a:lnTo>
                              <a:pt x="4264031" y="748345"/>
                            </a:lnTo>
                            <a:lnTo>
                              <a:pt x="4269517" y="756575"/>
                            </a:lnTo>
                            <a:lnTo>
                              <a:pt x="4264031" y="759318"/>
                            </a:lnTo>
                            <a:lnTo>
                              <a:pt x="4253058" y="772485"/>
                            </a:lnTo>
                            <a:lnTo>
                              <a:pt x="4250315" y="788944"/>
                            </a:lnTo>
                            <a:lnTo>
                              <a:pt x="4239890" y="805404"/>
                            </a:lnTo>
                            <a:lnTo>
                              <a:pt x="4231661" y="807050"/>
                            </a:lnTo>
                            <a:lnTo>
                              <a:pt x="4222334" y="815828"/>
                            </a:lnTo>
                            <a:lnTo>
                              <a:pt x="4217396" y="825155"/>
                            </a:lnTo>
                            <a:lnTo>
                              <a:pt x="4216848" y="830092"/>
                            </a:lnTo>
                            <a:lnTo>
                              <a:pt x="4220688" y="839419"/>
                            </a:lnTo>
                            <a:lnTo>
                              <a:pt x="4221785" y="845454"/>
                            </a:lnTo>
                            <a:lnTo>
                              <a:pt x="4215201" y="845454"/>
                            </a:lnTo>
                            <a:lnTo>
                              <a:pt x="4215750" y="859170"/>
                            </a:lnTo>
                            <a:lnTo>
                              <a:pt x="4219042" y="869046"/>
                            </a:lnTo>
                            <a:lnTo>
                              <a:pt x="4225626" y="876178"/>
                            </a:lnTo>
                            <a:lnTo>
                              <a:pt x="4226723" y="880019"/>
                            </a:lnTo>
                            <a:lnTo>
                              <a:pt x="4227272" y="888797"/>
                            </a:lnTo>
                            <a:lnTo>
                              <a:pt x="4225626" y="894283"/>
                            </a:lnTo>
                            <a:lnTo>
                              <a:pt x="4219042" y="894283"/>
                            </a:lnTo>
                            <a:lnTo>
                              <a:pt x="4205326" y="886054"/>
                            </a:lnTo>
                            <a:lnTo>
                              <a:pt x="4200937" y="898672"/>
                            </a:lnTo>
                            <a:lnTo>
                              <a:pt x="4191061" y="894832"/>
                            </a:lnTo>
                            <a:lnTo>
                              <a:pt x="4187769" y="899770"/>
                            </a:lnTo>
                            <a:lnTo>
                              <a:pt x="4186124" y="896478"/>
                            </a:lnTo>
                            <a:lnTo>
                              <a:pt x="4172956" y="907451"/>
                            </a:lnTo>
                            <a:lnTo>
                              <a:pt x="4169665" y="912937"/>
                            </a:lnTo>
                            <a:lnTo>
                              <a:pt x="4163629" y="917875"/>
                            </a:lnTo>
                            <a:lnTo>
                              <a:pt x="4161435" y="925556"/>
                            </a:lnTo>
                            <a:lnTo>
                              <a:pt x="4153205" y="925007"/>
                            </a:lnTo>
                            <a:lnTo>
                              <a:pt x="4149364" y="929396"/>
                            </a:lnTo>
                            <a:lnTo>
                              <a:pt x="4145524" y="924458"/>
                            </a:lnTo>
                            <a:lnTo>
                              <a:pt x="4140586" y="923361"/>
                            </a:lnTo>
                            <a:lnTo>
                              <a:pt x="4137295" y="919521"/>
                            </a:lnTo>
                            <a:lnTo>
                              <a:pt x="4137295" y="912937"/>
                            </a:lnTo>
                            <a:lnTo>
                              <a:pt x="4131808" y="911291"/>
                            </a:lnTo>
                            <a:lnTo>
                              <a:pt x="4129065" y="903610"/>
                            </a:lnTo>
                            <a:lnTo>
                              <a:pt x="4123030" y="900318"/>
                            </a:lnTo>
                            <a:lnTo>
                              <a:pt x="4118092" y="899770"/>
                            </a:lnTo>
                            <a:lnTo>
                              <a:pt x="4098341" y="886054"/>
                            </a:lnTo>
                            <a:lnTo>
                              <a:pt x="4089563" y="886602"/>
                            </a:lnTo>
                            <a:lnTo>
                              <a:pt x="4078041" y="882762"/>
                            </a:lnTo>
                            <a:lnTo>
                              <a:pt x="4074201" y="876727"/>
                            </a:lnTo>
                            <a:lnTo>
                              <a:pt x="4068166" y="876727"/>
                            </a:lnTo>
                            <a:lnTo>
                              <a:pt x="4060485" y="871240"/>
                            </a:lnTo>
                            <a:lnTo>
                              <a:pt x="4039088" y="873435"/>
                            </a:lnTo>
                            <a:lnTo>
                              <a:pt x="4031955" y="886602"/>
                            </a:lnTo>
                            <a:lnTo>
                              <a:pt x="4030310" y="893186"/>
                            </a:lnTo>
                            <a:lnTo>
                              <a:pt x="4031955" y="902513"/>
                            </a:lnTo>
                            <a:lnTo>
                              <a:pt x="4031955" y="906902"/>
                            </a:lnTo>
                            <a:lnTo>
                              <a:pt x="4024823" y="896478"/>
                            </a:lnTo>
                            <a:lnTo>
                              <a:pt x="4021532" y="899770"/>
                            </a:lnTo>
                            <a:lnTo>
                              <a:pt x="4002878" y="896478"/>
                            </a:lnTo>
                            <a:lnTo>
                              <a:pt x="3994648" y="899770"/>
                            </a:lnTo>
                            <a:lnTo>
                              <a:pt x="3988613" y="898124"/>
                            </a:lnTo>
                            <a:lnTo>
                              <a:pt x="3979286" y="884956"/>
                            </a:lnTo>
                            <a:lnTo>
                              <a:pt x="3973251" y="881116"/>
                            </a:lnTo>
                            <a:lnTo>
                              <a:pt x="3966668" y="865205"/>
                            </a:lnTo>
                            <a:lnTo>
                              <a:pt x="3959535" y="858073"/>
                            </a:lnTo>
                            <a:lnTo>
                              <a:pt x="3954597" y="833933"/>
                            </a:lnTo>
                            <a:lnTo>
                              <a:pt x="3952952" y="831190"/>
                            </a:lnTo>
                            <a:lnTo>
                              <a:pt x="3949111" y="833933"/>
                            </a:lnTo>
                            <a:lnTo>
                              <a:pt x="3928811" y="882762"/>
                            </a:lnTo>
                            <a:lnTo>
                              <a:pt x="3927165" y="926653"/>
                            </a:lnTo>
                            <a:lnTo>
                              <a:pt x="3922227" y="929945"/>
                            </a:lnTo>
                            <a:lnTo>
                              <a:pt x="3915644" y="945307"/>
                            </a:lnTo>
                            <a:lnTo>
                              <a:pt x="3911804" y="949696"/>
                            </a:lnTo>
                            <a:lnTo>
                              <a:pt x="3910158" y="962863"/>
                            </a:lnTo>
                            <a:lnTo>
                              <a:pt x="3903574" y="971093"/>
                            </a:lnTo>
                            <a:lnTo>
                              <a:pt x="3900831" y="980968"/>
                            </a:lnTo>
                            <a:lnTo>
                              <a:pt x="3892601" y="977128"/>
                            </a:lnTo>
                            <a:lnTo>
                              <a:pt x="3886017" y="955182"/>
                            </a:lnTo>
                            <a:lnTo>
                              <a:pt x="3882726" y="952988"/>
                            </a:lnTo>
                            <a:lnTo>
                              <a:pt x="3882177" y="961766"/>
                            </a:lnTo>
                            <a:lnTo>
                              <a:pt x="3877239" y="962863"/>
                            </a:lnTo>
                            <a:lnTo>
                              <a:pt x="3873399" y="957377"/>
                            </a:lnTo>
                            <a:lnTo>
                              <a:pt x="3867913" y="957926"/>
                            </a:lnTo>
                            <a:lnTo>
                              <a:pt x="3862975" y="954634"/>
                            </a:lnTo>
                            <a:lnTo>
                              <a:pt x="3859683" y="949696"/>
                            </a:lnTo>
                            <a:lnTo>
                              <a:pt x="3859683" y="944210"/>
                            </a:lnTo>
                            <a:lnTo>
                              <a:pt x="3853099" y="937077"/>
                            </a:lnTo>
                            <a:lnTo>
                              <a:pt x="3848710" y="941466"/>
                            </a:lnTo>
                            <a:lnTo>
                              <a:pt x="3847064" y="937626"/>
                            </a:lnTo>
                            <a:lnTo>
                              <a:pt x="3843772" y="934334"/>
                            </a:lnTo>
                            <a:lnTo>
                              <a:pt x="3839383" y="917875"/>
                            </a:lnTo>
                            <a:lnTo>
                              <a:pt x="3834445" y="915132"/>
                            </a:lnTo>
                            <a:lnTo>
                              <a:pt x="3832251" y="917326"/>
                            </a:lnTo>
                            <a:lnTo>
                              <a:pt x="3825118" y="892637"/>
                            </a:lnTo>
                            <a:lnTo>
                              <a:pt x="3822924" y="889894"/>
                            </a:lnTo>
                            <a:lnTo>
                              <a:pt x="3822924" y="882213"/>
                            </a:lnTo>
                            <a:lnTo>
                              <a:pt x="3818535" y="869046"/>
                            </a:lnTo>
                            <a:lnTo>
                              <a:pt x="3817437" y="871789"/>
                            </a:lnTo>
                            <a:lnTo>
                              <a:pt x="3811402" y="876727"/>
                            </a:lnTo>
                            <a:lnTo>
                              <a:pt x="3807013" y="871240"/>
                            </a:lnTo>
                            <a:lnTo>
                              <a:pt x="3808659" y="865205"/>
                            </a:lnTo>
                            <a:lnTo>
                              <a:pt x="3807013" y="859170"/>
                            </a:lnTo>
                            <a:lnTo>
                              <a:pt x="3804270" y="856976"/>
                            </a:lnTo>
                            <a:lnTo>
                              <a:pt x="3802076" y="841614"/>
                            </a:lnTo>
                            <a:lnTo>
                              <a:pt x="3815792" y="821314"/>
                            </a:lnTo>
                            <a:lnTo>
                              <a:pt x="3819632" y="824606"/>
                            </a:lnTo>
                            <a:lnTo>
                              <a:pt x="3822924" y="823509"/>
                            </a:lnTo>
                            <a:lnTo>
                              <a:pt x="3820729" y="820766"/>
                            </a:lnTo>
                            <a:lnTo>
                              <a:pt x="3821278" y="816376"/>
                            </a:lnTo>
                            <a:lnTo>
                              <a:pt x="3828959" y="813084"/>
                            </a:lnTo>
                            <a:lnTo>
                              <a:pt x="3832799" y="808147"/>
                            </a:lnTo>
                            <a:lnTo>
                              <a:pt x="3828959" y="809244"/>
                            </a:lnTo>
                            <a:lnTo>
                              <a:pt x="3828410" y="806501"/>
                            </a:lnTo>
                            <a:lnTo>
                              <a:pt x="3832251" y="802660"/>
                            </a:lnTo>
                            <a:lnTo>
                              <a:pt x="3830605" y="801014"/>
                            </a:lnTo>
                            <a:lnTo>
                              <a:pt x="3830605" y="794431"/>
                            </a:lnTo>
                            <a:lnTo>
                              <a:pt x="3836640" y="781263"/>
                            </a:lnTo>
                            <a:lnTo>
                              <a:pt x="3821827" y="770839"/>
                            </a:lnTo>
                            <a:lnTo>
                              <a:pt x="3822375" y="766999"/>
                            </a:lnTo>
                            <a:lnTo>
                              <a:pt x="3827862" y="760964"/>
                            </a:lnTo>
                            <a:lnTo>
                              <a:pt x="3821278" y="755477"/>
                            </a:lnTo>
                            <a:lnTo>
                              <a:pt x="3822375" y="749442"/>
                            </a:lnTo>
                            <a:lnTo>
                              <a:pt x="3827313" y="746150"/>
                            </a:lnTo>
                            <a:lnTo>
                              <a:pt x="3826765" y="737372"/>
                            </a:lnTo>
                            <a:lnTo>
                              <a:pt x="3828959" y="735726"/>
                            </a:lnTo>
                            <a:lnTo>
                              <a:pt x="3826215" y="734629"/>
                            </a:lnTo>
                            <a:lnTo>
                              <a:pt x="3825118" y="729691"/>
                            </a:lnTo>
                            <a:lnTo>
                              <a:pt x="3826215" y="725302"/>
                            </a:lnTo>
                            <a:lnTo>
                              <a:pt x="3824570" y="718718"/>
                            </a:lnTo>
                            <a:lnTo>
                              <a:pt x="3829508" y="717621"/>
                            </a:lnTo>
                            <a:lnTo>
                              <a:pt x="3830605" y="715975"/>
                            </a:lnTo>
                            <a:lnTo>
                              <a:pt x="3830605" y="709940"/>
                            </a:lnTo>
                            <a:lnTo>
                              <a:pt x="3832799" y="706648"/>
                            </a:lnTo>
                            <a:lnTo>
                              <a:pt x="3830605" y="703905"/>
                            </a:lnTo>
                            <a:lnTo>
                              <a:pt x="3830056" y="700065"/>
                            </a:lnTo>
                            <a:lnTo>
                              <a:pt x="3819632" y="692384"/>
                            </a:lnTo>
                            <a:lnTo>
                              <a:pt x="3816340" y="685251"/>
                            </a:lnTo>
                            <a:lnTo>
                              <a:pt x="3810854" y="679216"/>
                            </a:lnTo>
                            <a:lnTo>
                              <a:pt x="3810854" y="674827"/>
                            </a:lnTo>
                            <a:lnTo>
                              <a:pt x="3794395" y="665500"/>
                            </a:lnTo>
                            <a:lnTo>
                              <a:pt x="3795492" y="660563"/>
                            </a:lnTo>
                            <a:lnTo>
                              <a:pt x="3793846" y="655076"/>
                            </a:lnTo>
                            <a:lnTo>
                              <a:pt x="3786165" y="654528"/>
                            </a:lnTo>
                            <a:lnTo>
                              <a:pt x="3782873" y="651236"/>
                            </a:lnTo>
                            <a:lnTo>
                              <a:pt x="3785067" y="649041"/>
                            </a:lnTo>
                            <a:lnTo>
                              <a:pt x="3780679" y="643555"/>
                            </a:lnTo>
                            <a:lnTo>
                              <a:pt x="3769157" y="638068"/>
                            </a:lnTo>
                            <a:lnTo>
                              <a:pt x="3762025" y="640263"/>
                            </a:lnTo>
                            <a:lnTo>
                              <a:pt x="3751600" y="639166"/>
                            </a:lnTo>
                            <a:lnTo>
                              <a:pt x="3739531" y="633131"/>
                            </a:lnTo>
                            <a:lnTo>
                              <a:pt x="3736787" y="636422"/>
                            </a:lnTo>
                            <a:lnTo>
                              <a:pt x="3735690" y="642457"/>
                            </a:lnTo>
                            <a:lnTo>
                              <a:pt x="3730753" y="642457"/>
                            </a:lnTo>
                            <a:lnTo>
                              <a:pt x="3723620" y="650687"/>
                            </a:lnTo>
                            <a:lnTo>
                              <a:pt x="3721425" y="647944"/>
                            </a:lnTo>
                            <a:lnTo>
                              <a:pt x="3720877" y="644652"/>
                            </a:lnTo>
                            <a:lnTo>
                              <a:pt x="3708258" y="629290"/>
                            </a:lnTo>
                            <a:lnTo>
                              <a:pt x="3703321" y="633131"/>
                            </a:lnTo>
                            <a:lnTo>
                              <a:pt x="3697285" y="629839"/>
                            </a:lnTo>
                            <a:lnTo>
                              <a:pt x="3692348" y="631485"/>
                            </a:lnTo>
                            <a:lnTo>
                              <a:pt x="3686861" y="624901"/>
                            </a:lnTo>
                            <a:lnTo>
                              <a:pt x="3683569" y="627644"/>
                            </a:lnTo>
                            <a:lnTo>
                              <a:pt x="3680277" y="623255"/>
                            </a:lnTo>
                            <a:lnTo>
                              <a:pt x="3677534" y="628741"/>
                            </a:lnTo>
                            <a:lnTo>
                              <a:pt x="3671499" y="623255"/>
                            </a:lnTo>
                            <a:lnTo>
                              <a:pt x="3669304" y="612831"/>
                            </a:lnTo>
                            <a:lnTo>
                              <a:pt x="3666561" y="610088"/>
                            </a:lnTo>
                            <a:lnTo>
                              <a:pt x="3663818" y="613928"/>
                            </a:lnTo>
                            <a:lnTo>
                              <a:pt x="3656137" y="604053"/>
                            </a:lnTo>
                            <a:lnTo>
                              <a:pt x="3652297" y="605699"/>
                            </a:lnTo>
                            <a:lnTo>
                              <a:pt x="3645713" y="601858"/>
                            </a:lnTo>
                            <a:lnTo>
                              <a:pt x="3632546" y="600212"/>
                            </a:lnTo>
                            <a:lnTo>
                              <a:pt x="3624316" y="593080"/>
                            </a:lnTo>
                            <a:lnTo>
                              <a:pt x="3619927" y="593080"/>
                            </a:lnTo>
                            <a:lnTo>
                              <a:pt x="3618830" y="602407"/>
                            </a:lnTo>
                            <a:lnTo>
                              <a:pt x="3619927" y="609539"/>
                            </a:lnTo>
                            <a:lnTo>
                              <a:pt x="3618281" y="612831"/>
                            </a:lnTo>
                            <a:lnTo>
                              <a:pt x="3607857" y="611185"/>
                            </a:lnTo>
                            <a:lnTo>
                              <a:pt x="3601273" y="600761"/>
                            </a:lnTo>
                            <a:lnTo>
                              <a:pt x="3593044" y="645201"/>
                            </a:lnTo>
                            <a:lnTo>
                              <a:pt x="3596335" y="646847"/>
                            </a:lnTo>
                            <a:lnTo>
                              <a:pt x="3594141" y="650687"/>
                            </a:lnTo>
                            <a:lnTo>
                              <a:pt x="3594141" y="654528"/>
                            </a:lnTo>
                            <a:lnTo>
                              <a:pt x="3604565" y="686897"/>
                            </a:lnTo>
                            <a:lnTo>
                              <a:pt x="3602371" y="692384"/>
                            </a:lnTo>
                            <a:lnTo>
                              <a:pt x="3596884" y="698419"/>
                            </a:lnTo>
                            <a:lnTo>
                              <a:pt x="3577682" y="701162"/>
                            </a:lnTo>
                            <a:lnTo>
                              <a:pt x="3567806" y="709940"/>
                            </a:lnTo>
                            <a:lnTo>
                              <a:pt x="3563417" y="706648"/>
                            </a:lnTo>
                            <a:lnTo>
                              <a:pt x="3561223" y="710489"/>
                            </a:lnTo>
                            <a:lnTo>
                              <a:pt x="3557931" y="707746"/>
                            </a:lnTo>
                            <a:lnTo>
                              <a:pt x="3546958" y="710489"/>
                            </a:lnTo>
                            <a:lnTo>
                              <a:pt x="3539826" y="707197"/>
                            </a:lnTo>
                            <a:lnTo>
                              <a:pt x="3517331" y="710489"/>
                            </a:lnTo>
                            <a:lnTo>
                              <a:pt x="3514588" y="713232"/>
                            </a:lnTo>
                            <a:lnTo>
                              <a:pt x="3500323" y="705551"/>
                            </a:lnTo>
                            <a:lnTo>
                              <a:pt x="3474537" y="700065"/>
                            </a:lnTo>
                            <a:lnTo>
                              <a:pt x="3474537" y="705551"/>
                            </a:lnTo>
                            <a:lnTo>
                              <a:pt x="3472891" y="708294"/>
                            </a:lnTo>
                            <a:lnTo>
                              <a:pt x="3420222" y="681411"/>
                            </a:lnTo>
                            <a:lnTo>
                              <a:pt x="3416930" y="675924"/>
                            </a:lnTo>
                            <a:lnTo>
                              <a:pt x="3416382" y="667146"/>
                            </a:lnTo>
                            <a:lnTo>
                              <a:pt x="3417479" y="663306"/>
                            </a:lnTo>
                            <a:lnTo>
                              <a:pt x="3415833" y="654528"/>
                            </a:lnTo>
                            <a:lnTo>
                              <a:pt x="3416930" y="649041"/>
                            </a:lnTo>
                            <a:lnTo>
                              <a:pt x="3421868" y="646298"/>
                            </a:lnTo>
                            <a:lnTo>
                              <a:pt x="3429000" y="646847"/>
                            </a:lnTo>
                            <a:lnTo>
                              <a:pt x="3430098" y="642457"/>
                            </a:lnTo>
                            <a:lnTo>
                              <a:pt x="3434487" y="642457"/>
                            </a:lnTo>
                            <a:lnTo>
                              <a:pt x="3432292" y="636971"/>
                            </a:lnTo>
                            <a:lnTo>
                              <a:pt x="3427354" y="633131"/>
                            </a:lnTo>
                            <a:lnTo>
                              <a:pt x="3408700" y="633679"/>
                            </a:lnTo>
                            <a:lnTo>
                              <a:pt x="3401568" y="629839"/>
                            </a:lnTo>
                            <a:lnTo>
                              <a:pt x="3388950" y="633131"/>
                            </a:lnTo>
                            <a:lnTo>
                              <a:pt x="3371942" y="629839"/>
                            </a:lnTo>
                            <a:lnTo>
                              <a:pt x="3363712" y="624352"/>
                            </a:lnTo>
                            <a:lnTo>
                              <a:pt x="3356031" y="624901"/>
                            </a:lnTo>
                            <a:lnTo>
                              <a:pt x="3347802" y="621060"/>
                            </a:lnTo>
                            <a:lnTo>
                              <a:pt x="3338475" y="621060"/>
                            </a:lnTo>
                            <a:lnTo>
                              <a:pt x="3312140" y="612831"/>
                            </a:lnTo>
                            <a:lnTo>
                              <a:pt x="3299521" y="616671"/>
                            </a:lnTo>
                            <a:lnTo>
                              <a:pt x="3299521" y="622158"/>
                            </a:lnTo>
                            <a:lnTo>
                              <a:pt x="3272089" y="630936"/>
                            </a:lnTo>
                            <a:lnTo>
                              <a:pt x="3256727" y="628741"/>
                            </a:lnTo>
                            <a:lnTo>
                              <a:pt x="3233136" y="638617"/>
                            </a:lnTo>
                            <a:lnTo>
                              <a:pt x="3243011" y="654528"/>
                            </a:lnTo>
                            <a:lnTo>
                              <a:pt x="3245206" y="663306"/>
                            </a:lnTo>
                            <a:lnTo>
                              <a:pt x="3227649" y="677570"/>
                            </a:lnTo>
                            <a:lnTo>
                              <a:pt x="3217225" y="673181"/>
                            </a:lnTo>
                            <a:lnTo>
                              <a:pt x="3218871" y="668792"/>
                            </a:lnTo>
                            <a:lnTo>
                              <a:pt x="3228747" y="670438"/>
                            </a:lnTo>
                            <a:lnTo>
                              <a:pt x="3231490" y="663306"/>
                            </a:lnTo>
                            <a:lnTo>
                              <a:pt x="3220517" y="660563"/>
                            </a:lnTo>
                            <a:lnTo>
                              <a:pt x="3222712" y="653979"/>
                            </a:lnTo>
                            <a:lnTo>
                              <a:pt x="3218871" y="647944"/>
                            </a:lnTo>
                            <a:lnTo>
                              <a:pt x="3226003" y="631485"/>
                            </a:lnTo>
                            <a:lnTo>
                              <a:pt x="3226003" y="621609"/>
                            </a:lnTo>
                            <a:lnTo>
                              <a:pt x="3222712" y="612282"/>
                            </a:lnTo>
                            <a:lnTo>
                              <a:pt x="3218871" y="608990"/>
                            </a:lnTo>
                            <a:lnTo>
                              <a:pt x="3217225" y="596920"/>
                            </a:lnTo>
                            <a:lnTo>
                              <a:pt x="3204058" y="570586"/>
                            </a:lnTo>
                            <a:lnTo>
                              <a:pt x="3207350" y="589239"/>
                            </a:lnTo>
                            <a:lnTo>
                              <a:pt x="3206252" y="601309"/>
                            </a:lnTo>
                            <a:lnTo>
                              <a:pt x="3201315" y="610636"/>
                            </a:lnTo>
                            <a:lnTo>
                              <a:pt x="3190342" y="613928"/>
                            </a:lnTo>
                            <a:lnTo>
                              <a:pt x="3169494" y="612282"/>
                            </a:lnTo>
                            <a:lnTo>
                              <a:pt x="3162910" y="613928"/>
                            </a:lnTo>
                            <a:lnTo>
                              <a:pt x="3161264" y="610088"/>
                            </a:lnTo>
                            <a:lnTo>
                              <a:pt x="3147548" y="598566"/>
                            </a:lnTo>
                            <a:lnTo>
                              <a:pt x="3143707" y="580461"/>
                            </a:lnTo>
                            <a:lnTo>
                              <a:pt x="3146999" y="573329"/>
                            </a:lnTo>
                            <a:lnTo>
                              <a:pt x="3148645" y="579912"/>
                            </a:lnTo>
                            <a:lnTo>
                              <a:pt x="3155229" y="570586"/>
                            </a:lnTo>
                            <a:lnTo>
                              <a:pt x="3155778" y="566196"/>
                            </a:lnTo>
                            <a:lnTo>
                              <a:pt x="3138770" y="570586"/>
                            </a:lnTo>
                            <a:lnTo>
                              <a:pt x="3133832" y="577169"/>
                            </a:lnTo>
                            <a:lnTo>
                              <a:pt x="3132186" y="582656"/>
                            </a:lnTo>
                            <a:lnTo>
                              <a:pt x="3129443" y="585399"/>
                            </a:lnTo>
                            <a:lnTo>
                              <a:pt x="3126151" y="578267"/>
                            </a:lnTo>
                            <a:lnTo>
                              <a:pt x="3118470" y="575523"/>
                            </a:lnTo>
                            <a:lnTo>
                              <a:pt x="3110789" y="568940"/>
                            </a:lnTo>
                            <a:lnTo>
                              <a:pt x="3091587" y="574426"/>
                            </a:lnTo>
                            <a:lnTo>
                              <a:pt x="3089941" y="583753"/>
                            </a:lnTo>
                            <a:lnTo>
                              <a:pt x="3078968" y="599115"/>
                            </a:lnTo>
                            <a:lnTo>
                              <a:pt x="3078419" y="605699"/>
                            </a:lnTo>
                            <a:lnTo>
                              <a:pt x="3087198" y="624352"/>
                            </a:lnTo>
                            <a:lnTo>
                              <a:pt x="3091038" y="621609"/>
                            </a:lnTo>
                            <a:lnTo>
                              <a:pt x="3087746" y="619415"/>
                            </a:lnTo>
                            <a:lnTo>
                              <a:pt x="3087746" y="613928"/>
                            </a:lnTo>
                            <a:lnTo>
                              <a:pt x="3092135" y="618317"/>
                            </a:lnTo>
                            <a:lnTo>
                              <a:pt x="3105303" y="617769"/>
                            </a:lnTo>
                            <a:lnTo>
                              <a:pt x="3110240" y="611185"/>
                            </a:lnTo>
                            <a:lnTo>
                              <a:pt x="3117373" y="607344"/>
                            </a:lnTo>
                            <a:lnTo>
                              <a:pt x="3120664" y="601858"/>
                            </a:lnTo>
                            <a:lnTo>
                              <a:pt x="3126151" y="605699"/>
                            </a:lnTo>
                            <a:lnTo>
                              <a:pt x="3131637" y="617220"/>
                            </a:lnTo>
                            <a:lnTo>
                              <a:pt x="3110789" y="627096"/>
                            </a:lnTo>
                            <a:lnTo>
                              <a:pt x="3105851" y="636422"/>
                            </a:lnTo>
                            <a:lnTo>
                              <a:pt x="3103108" y="634776"/>
                            </a:lnTo>
                            <a:lnTo>
                              <a:pt x="3086100" y="649041"/>
                            </a:lnTo>
                            <a:lnTo>
                              <a:pt x="3078419" y="649041"/>
                            </a:lnTo>
                            <a:lnTo>
                              <a:pt x="3066349" y="634228"/>
                            </a:lnTo>
                            <a:lnTo>
                              <a:pt x="3074579" y="650138"/>
                            </a:lnTo>
                            <a:lnTo>
                              <a:pt x="3072384" y="651236"/>
                            </a:lnTo>
                            <a:lnTo>
                              <a:pt x="3068544" y="647395"/>
                            </a:lnTo>
                            <a:lnTo>
                              <a:pt x="3069641" y="652333"/>
                            </a:lnTo>
                            <a:lnTo>
                              <a:pt x="3066898" y="657819"/>
                            </a:lnTo>
                            <a:lnTo>
                              <a:pt x="3042758" y="664952"/>
                            </a:lnTo>
                            <a:lnTo>
                              <a:pt x="3035077" y="664403"/>
                            </a:lnTo>
                            <a:lnTo>
                              <a:pt x="3033979" y="670438"/>
                            </a:lnTo>
                            <a:lnTo>
                              <a:pt x="3035625" y="674827"/>
                            </a:lnTo>
                            <a:lnTo>
                              <a:pt x="3023007" y="673181"/>
                            </a:lnTo>
                            <a:lnTo>
                              <a:pt x="3009291" y="685800"/>
                            </a:lnTo>
                            <a:lnTo>
                              <a:pt x="3005999" y="683605"/>
                            </a:lnTo>
                            <a:lnTo>
                              <a:pt x="2986248" y="681960"/>
                            </a:lnTo>
                            <a:lnTo>
                              <a:pt x="2981310" y="686897"/>
                            </a:lnTo>
                            <a:lnTo>
                              <a:pt x="2962656" y="681411"/>
                            </a:lnTo>
                            <a:lnTo>
                              <a:pt x="2954975" y="687995"/>
                            </a:lnTo>
                            <a:lnTo>
                              <a:pt x="2956072" y="697321"/>
                            </a:lnTo>
                            <a:lnTo>
                              <a:pt x="2960462" y="709392"/>
                            </a:lnTo>
                            <a:lnTo>
                              <a:pt x="2984053" y="720913"/>
                            </a:lnTo>
                            <a:lnTo>
                              <a:pt x="2979115" y="723108"/>
                            </a:lnTo>
                            <a:lnTo>
                              <a:pt x="2956621" y="714878"/>
                            </a:lnTo>
                            <a:lnTo>
                              <a:pt x="2950038" y="710489"/>
                            </a:lnTo>
                            <a:lnTo>
                              <a:pt x="2945100" y="717621"/>
                            </a:lnTo>
                            <a:lnTo>
                              <a:pt x="2940711" y="720913"/>
                            </a:lnTo>
                            <a:lnTo>
                              <a:pt x="2936322" y="728594"/>
                            </a:lnTo>
                            <a:lnTo>
                              <a:pt x="2929189" y="733532"/>
                            </a:lnTo>
                            <a:lnTo>
                              <a:pt x="2922057" y="734080"/>
                            </a:lnTo>
                            <a:lnTo>
                              <a:pt x="2895174" y="759318"/>
                            </a:lnTo>
                            <a:lnTo>
                              <a:pt x="2897917" y="756026"/>
                            </a:lnTo>
                            <a:lnTo>
                              <a:pt x="2895174" y="754380"/>
                            </a:lnTo>
                            <a:lnTo>
                              <a:pt x="2886944" y="756575"/>
                            </a:lnTo>
                            <a:lnTo>
                              <a:pt x="2884749" y="760964"/>
                            </a:lnTo>
                            <a:lnTo>
                              <a:pt x="2880360" y="759866"/>
                            </a:lnTo>
                            <a:lnTo>
                              <a:pt x="2879812" y="754929"/>
                            </a:lnTo>
                            <a:lnTo>
                              <a:pt x="2894625" y="741213"/>
                            </a:lnTo>
                            <a:lnTo>
                              <a:pt x="2901208" y="738470"/>
                            </a:lnTo>
                            <a:lnTo>
                              <a:pt x="2903403" y="734080"/>
                            </a:lnTo>
                            <a:lnTo>
                              <a:pt x="2912181" y="728594"/>
                            </a:lnTo>
                            <a:lnTo>
                              <a:pt x="2919314" y="730240"/>
                            </a:lnTo>
                            <a:lnTo>
                              <a:pt x="2934127" y="714329"/>
                            </a:lnTo>
                            <a:lnTo>
                              <a:pt x="2945100" y="690738"/>
                            </a:lnTo>
                            <a:lnTo>
                              <a:pt x="2948392" y="686897"/>
                            </a:lnTo>
                            <a:lnTo>
                              <a:pt x="2956072" y="666049"/>
                            </a:lnTo>
                            <a:lnTo>
                              <a:pt x="2962108" y="667146"/>
                            </a:lnTo>
                            <a:lnTo>
                              <a:pt x="2978018" y="661111"/>
                            </a:lnTo>
                            <a:lnTo>
                              <a:pt x="2979664" y="651236"/>
                            </a:lnTo>
                            <a:lnTo>
                              <a:pt x="2989540" y="635874"/>
                            </a:lnTo>
                            <a:lnTo>
                              <a:pt x="2991186" y="624352"/>
                            </a:lnTo>
                            <a:lnTo>
                              <a:pt x="3025750" y="621060"/>
                            </a:lnTo>
                            <a:lnTo>
                              <a:pt x="3030139" y="625998"/>
                            </a:lnTo>
                            <a:lnTo>
                              <a:pt x="3048793" y="592531"/>
                            </a:lnTo>
                            <a:lnTo>
                              <a:pt x="3050987" y="580461"/>
                            </a:lnTo>
                            <a:lnTo>
                              <a:pt x="3070738" y="561807"/>
                            </a:lnTo>
                            <a:lnTo>
                              <a:pt x="3081163" y="556870"/>
                            </a:lnTo>
                            <a:lnTo>
                              <a:pt x="3095427" y="539862"/>
                            </a:lnTo>
                            <a:lnTo>
                              <a:pt x="3099816" y="525597"/>
                            </a:lnTo>
                            <a:lnTo>
                              <a:pt x="3113532" y="511881"/>
                            </a:lnTo>
                            <a:lnTo>
                              <a:pt x="3112984" y="509138"/>
                            </a:lnTo>
                            <a:lnTo>
                              <a:pt x="3114630" y="503652"/>
                            </a:lnTo>
                            <a:lnTo>
                              <a:pt x="3122311" y="502554"/>
                            </a:lnTo>
                            <a:lnTo>
                              <a:pt x="3127248" y="497616"/>
                            </a:lnTo>
                            <a:lnTo>
                              <a:pt x="3124505" y="495971"/>
                            </a:lnTo>
                            <a:lnTo>
                              <a:pt x="3128894" y="494325"/>
                            </a:lnTo>
                            <a:lnTo>
                              <a:pt x="3131637" y="496519"/>
                            </a:lnTo>
                            <a:lnTo>
                              <a:pt x="3138770" y="493776"/>
                            </a:lnTo>
                            <a:lnTo>
                              <a:pt x="3140964" y="484449"/>
                            </a:lnTo>
                            <a:lnTo>
                              <a:pt x="3145353" y="484998"/>
                            </a:lnTo>
                            <a:lnTo>
                              <a:pt x="3155229" y="474574"/>
                            </a:lnTo>
                            <a:lnTo>
                              <a:pt x="3167299" y="481706"/>
                            </a:lnTo>
                            <a:lnTo>
                              <a:pt x="3167848" y="475671"/>
                            </a:lnTo>
                            <a:lnTo>
                              <a:pt x="3171139" y="470184"/>
                            </a:lnTo>
                            <a:lnTo>
                              <a:pt x="3167848" y="463601"/>
                            </a:lnTo>
                            <a:lnTo>
                              <a:pt x="3188696" y="455920"/>
                            </a:lnTo>
                            <a:lnTo>
                              <a:pt x="3178820" y="453177"/>
                            </a:lnTo>
                            <a:lnTo>
                              <a:pt x="3181015" y="448788"/>
                            </a:lnTo>
                            <a:lnTo>
                              <a:pt x="3195828" y="441107"/>
                            </a:lnTo>
                            <a:lnTo>
                              <a:pt x="3194182" y="448788"/>
                            </a:lnTo>
                            <a:lnTo>
                              <a:pt x="3199120" y="441107"/>
                            </a:lnTo>
                            <a:lnTo>
                              <a:pt x="3204058" y="441107"/>
                            </a:lnTo>
                            <a:lnTo>
                              <a:pt x="3207898" y="435620"/>
                            </a:lnTo>
                            <a:lnTo>
                              <a:pt x="3204058" y="432328"/>
                            </a:lnTo>
                            <a:lnTo>
                              <a:pt x="3210093" y="426293"/>
                            </a:lnTo>
                            <a:lnTo>
                              <a:pt x="3216676" y="426842"/>
                            </a:lnTo>
                            <a:lnTo>
                              <a:pt x="3221614" y="418612"/>
                            </a:lnTo>
                            <a:lnTo>
                              <a:pt x="3223809" y="407640"/>
                            </a:lnTo>
                            <a:lnTo>
                              <a:pt x="3231490" y="398861"/>
                            </a:lnTo>
                            <a:lnTo>
                              <a:pt x="3234233" y="392826"/>
                            </a:lnTo>
                            <a:lnTo>
                              <a:pt x="3238074" y="388437"/>
                            </a:lnTo>
                            <a:lnTo>
                              <a:pt x="3238074" y="375818"/>
                            </a:lnTo>
                            <a:lnTo>
                              <a:pt x="3236428" y="374721"/>
                            </a:lnTo>
                            <a:lnTo>
                              <a:pt x="3233684" y="365394"/>
                            </a:lnTo>
                            <a:lnTo>
                              <a:pt x="3239719" y="368137"/>
                            </a:lnTo>
                            <a:lnTo>
                              <a:pt x="3238622" y="354970"/>
                            </a:lnTo>
                            <a:lnTo>
                              <a:pt x="3229844" y="354970"/>
                            </a:lnTo>
                            <a:lnTo>
                              <a:pt x="3220517" y="346192"/>
                            </a:lnTo>
                            <a:lnTo>
                              <a:pt x="3219968" y="336316"/>
                            </a:lnTo>
                            <a:lnTo>
                              <a:pt x="3212287" y="337414"/>
                            </a:lnTo>
                            <a:lnTo>
                              <a:pt x="3211190" y="343449"/>
                            </a:lnTo>
                            <a:lnTo>
                              <a:pt x="3208996" y="346740"/>
                            </a:lnTo>
                            <a:lnTo>
                              <a:pt x="3205155" y="340705"/>
                            </a:lnTo>
                            <a:lnTo>
                              <a:pt x="3205155" y="337962"/>
                            </a:lnTo>
                            <a:lnTo>
                              <a:pt x="3201863" y="329184"/>
                            </a:lnTo>
                            <a:lnTo>
                              <a:pt x="3204058" y="325344"/>
                            </a:lnTo>
                            <a:lnTo>
                              <a:pt x="3195280" y="318211"/>
                            </a:lnTo>
                            <a:lnTo>
                              <a:pt x="3190891" y="310530"/>
                            </a:lnTo>
                            <a:lnTo>
                              <a:pt x="3192536" y="306141"/>
                            </a:lnTo>
                            <a:lnTo>
                              <a:pt x="3197474" y="307787"/>
                            </a:lnTo>
                            <a:lnTo>
                              <a:pt x="3208996" y="322052"/>
                            </a:lnTo>
                            <a:lnTo>
                              <a:pt x="3230941" y="335219"/>
                            </a:lnTo>
                            <a:lnTo>
                              <a:pt x="3226003" y="346740"/>
                            </a:lnTo>
                            <a:lnTo>
                              <a:pt x="3230941" y="345643"/>
                            </a:lnTo>
                            <a:lnTo>
                              <a:pt x="3243011" y="312176"/>
                            </a:lnTo>
                            <a:lnTo>
                              <a:pt x="3243011" y="301752"/>
                            </a:lnTo>
                            <a:lnTo>
                              <a:pt x="3240817" y="293522"/>
                            </a:lnTo>
                            <a:lnTo>
                              <a:pt x="3236428" y="295717"/>
                            </a:lnTo>
                            <a:lnTo>
                              <a:pt x="3230941" y="293522"/>
                            </a:lnTo>
                            <a:lnTo>
                              <a:pt x="3227649" y="274320"/>
                            </a:lnTo>
                            <a:lnTo>
                              <a:pt x="3228198" y="266639"/>
                            </a:lnTo>
                            <a:lnTo>
                              <a:pt x="3217225" y="246339"/>
                            </a:lnTo>
                            <a:lnTo>
                              <a:pt x="3211190" y="249631"/>
                            </a:lnTo>
                            <a:lnTo>
                              <a:pt x="3215031" y="258958"/>
                            </a:lnTo>
                            <a:lnTo>
                              <a:pt x="3208996" y="264444"/>
                            </a:lnTo>
                            <a:lnTo>
                              <a:pt x="3207898" y="269382"/>
                            </a:lnTo>
                            <a:lnTo>
                              <a:pt x="3204607" y="269931"/>
                            </a:lnTo>
                            <a:lnTo>
                              <a:pt x="3199669" y="256764"/>
                            </a:lnTo>
                            <a:lnTo>
                              <a:pt x="3192536" y="247437"/>
                            </a:lnTo>
                            <a:lnTo>
                              <a:pt x="3197474" y="245242"/>
                            </a:lnTo>
                            <a:lnTo>
                              <a:pt x="3200217" y="233721"/>
                            </a:lnTo>
                            <a:lnTo>
                              <a:pt x="3182661" y="215616"/>
                            </a:lnTo>
                            <a:lnTo>
                              <a:pt x="3177723" y="217261"/>
                            </a:lnTo>
                            <a:lnTo>
                              <a:pt x="3176626" y="209580"/>
                            </a:lnTo>
                            <a:lnTo>
                              <a:pt x="3166202" y="194219"/>
                            </a:lnTo>
                            <a:lnTo>
                              <a:pt x="3152486" y="185989"/>
                            </a:lnTo>
                            <a:lnTo>
                              <a:pt x="3155229" y="181600"/>
                            </a:lnTo>
                            <a:lnTo>
                              <a:pt x="3152486" y="176662"/>
                            </a:lnTo>
                            <a:lnTo>
                              <a:pt x="3145902" y="175016"/>
                            </a:lnTo>
                            <a:lnTo>
                              <a:pt x="3142610" y="178857"/>
                            </a:lnTo>
                            <a:lnTo>
                              <a:pt x="3139867" y="175016"/>
                            </a:lnTo>
                            <a:lnTo>
                              <a:pt x="3139867" y="166787"/>
                            </a:lnTo>
                            <a:lnTo>
                              <a:pt x="3128894" y="169530"/>
                            </a:lnTo>
                            <a:lnTo>
                              <a:pt x="3109143" y="165689"/>
                            </a:lnTo>
                            <a:lnTo>
                              <a:pt x="3097622" y="175016"/>
                            </a:lnTo>
                            <a:lnTo>
                              <a:pt x="3094330" y="172822"/>
                            </a:lnTo>
                            <a:lnTo>
                              <a:pt x="3087746" y="175016"/>
                            </a:lnTo>
                            <a:lnTo>
                              <a:pt x="3074030" y="163495"/>
                            </a:lnTo>
                            <a:lnTo>
                              <a:pt x="3065800" y="170078"/>
                            </a:lnTo>
                            <a:lnTo>
                              <a:pt x="3060863" y="168981"/>
                            </a:lnTo>
                            <a:lnTo>
                              <a:pt x="3041660" y="172822"/>
                            </a:lnTo>
                            <a:lnTo>
                              <a:pt x="3037271" y="168981"/>
                            </a:lnTo>
                            <a:lnTo>
                              <a:pt x="3030688" y="174468"/>
                            </a:lnTo>
                            <a:lnTo>
                              <a:pt x="3031785" y="169530"/>
                            </a:lnTo>
                            <a:lnTo>
                              <a:pt x="3035077" y="165689"/>
                            </a:lnTo>
                            <a:lnTo>
                              <a:pt x="3033979" y="162946"/>
                            </a:lnTo>
                            <a:lnTo>
                              <a:pt x="3029590" y="161849"/>
                            </a:lnTo>
                            <a:lnTo>
                              <a:pt x="3027944" y="166787"/>
                            </a:lnTo>
                            <a:lnTo>
                              <a:pt x="3020263" y="168981"/>
                            </a:lnTo>
                            <a:lnTo>
                              <a:pt x="3016972" y="181051"/>
                            </a:lnTo>
                            <a:lnTo>
                              <a:pt x="3024104" y="179405"/>
                            </a:lnTo>
                            <a:lnTo>
                              <a:pt x="3019715" y="186538"/>
                            </a:lnTo>
                            <a:lnTo>
                              <a:pt x="3014777" y="186538"/>
                            </a:lnTo>
                            <a:lnTo>
                              <a:pt x="3014777" y="194219"/>
                            </a:lnTo>
                            <a:lnTo>
                              <a:pt x="3010936" y="201351"/>
                            </a:lnTo>
                            <a:lnTo>
                              <a:pt x="3003804" y="204643"/>
                            </a:lnTo>
                            <a:lnTo>
                              <a:pt x="3001061" y="202997"/>
                            </a:lnTo>
                            <a:lnTo>
                              <a:pt x="2998867" y="210129"/>
                            </a:lnTo>
                            <a:lnTo>
                              <a:pt x="2983504" y="209580"/>
                            </a:lnTo>
                            <a:lnTo>
                              <a:pt x="2978018" y="212872"/>
                            </a:lnTo>
                            <a:lnTo>
                              <a:pt x="2967594" y="209580"/>
                            </a:lnTo>
                            <a:lnTo>
                              <a:pt x="2953878" y="209580"/>
                            </a:lnTo>
                            <a:lnTo>
                              <a:pt x="2953878" y="205740"/>
                            </a:lnTo>
                            <a:lnTo>
                              <a:pt x="2952781" y="204643"/>
                            </a:lnTo>
                            <a:lnTo>
                              <a:pt x="2964302" y="197510"/>
                            </a:lnTo>
                            <a:lnTo>
                              <a:pt x="2967594" y="199705"/>
                            </a:lnTo>
                            <a:lnTo>
                              <a:pt x="2981310" y="165689"/>
                            </a:lnTo>
                            <a:lnTo>
                              <a:pt x="2990637" y="162946"/>
                            </a:lnTo>
                            <a:lnTo>
                              <a:pt x="2997769" y="148133"/>
                            </a:lnTo>
                            <a:lnTo>
                              <a:pt x="2995026" y="145938"/>
                            </a:lnTo>
                            <a:lnTo>
                              <a:pt x="2992831" y="142098"/>
                            </a:lnTo>
                            <a:lnTo>
                              <a:pt x="2993929" y="139355"/>
                            </a:lnTo>
                            <a:lnTo>
                              <a:pt x="2998867" y="139903"/>
                            </a:lnTo>
                            <a:lnTo>
                              <a:pt x="2998867" y="135514"/>
                            </a:lnTo>
                            <a:lnTo>
                              <a:pt x="2995026" y="133320"/>
                            </a:lnTo>
                            <a:lnTo>
                              <a:pt x="2995026" y="128382"/>
                            </a:lnTo>
                            <a:lnTo>
                              <a:pt x="2995575" y="125639"/>
                            </a:lnTo>
                            <a:lnTo>
                              <a:pt x="2978018" y="119604"/>
                            </a:lnTo>
                            <a:lnTo>
                              <a:pt x="2974178" y="121798"/>
                            </a:lnTo>
                            <a:lnTo>
                              <a:pt x="2970886" y="115214"/>
                            </a:lnTo>
                            <a:lnTo>
                              <a:pt x="2964302" y="113020"/>
                            </a:lnTo>
                            <a:lnTo>
                              <a:pt x="2958816" y="113020"/>
                            </a:lnTo>
                            <a:lnTo>
                              <a:pt x="2953329" y="118506"/>
                            </a:lnTo>
                            <a:lnTo>
                              <a:pt x="2948392" y="112471"/>
                            </a:lnTo>
                            <a:lnTo>
                              <a:pt x="2937419" y="118506"/>
                            </a:lnTo>
                            <a:lnTo>
                              <a:pt x="2940162" y="107533"/>
                            </a:lnTo>
                            <a:lnTo>
                              <a:pt x="2939613" y="97658"/>
                            </a:lnTo>
                            <a:lnTo>
                              <a:pt x="2935773" y="110825"/>
                            </a:lnTo>
                            <a:lnTo>
                              <a:pt x="2922606" y="109728"/>
                            </a:lnTo>
                            <a:lnTo>
                              <a:pt x="2884201" y="128930"/>
                            </a:lnTo>
                            <a:lnTo>
                              <a:pt x="2892430" y="115214"/>
                            </a:lnTo>
                            <a:lnTo>
                              <a:pt x="2897368" y="113020"/>
                            </a:lnTo>
                            <a:lnTo>
                              <a:pt x="2913827" y="86685"/>
                            </a:lnTo>
                            <a:lnTo>
                              <a:pt x="2922606" y="79553"/>
                            </a:lnTo>
                            <a:lnTo>
                              <a:pt x="2928640" y="79004"/>
                            </a:lnTo>
                            <a:lnTo>
                              <a:pt x="2935224" y="66385"/>
                            </a:lnTo>
                            <a:lnTo>
                              <a:pt x="2935224" y="61996"/>
                            </a:lnTo>
                            <a:lnTo>
                              <a:pt x="2945100" y="60899"/>
                            </a:lnTo>
                            <a:lnTo>
                              <a:pt x="2951135" y="65288"/>
                            </a:lnTo>
                            <a:lnTo>
                              <a:pt x="2945100" y="55961"/>
                            </a:lnTo>
                            <a:lnTo>
                              <a:pt x="2937967" y="29627"/>
                            </a:lnTo>
                            <a:lnTo>
                              <a:pt x="2931932" y="26883"/>
                            </a:lnTo>
                            <a:lnTo>
                              <a:pt x="2928640" y="32370"/>
                            </a:lnTo>
                            <a:lnTo>
                              <a:pt x="2916571" y="30724"/>
                            </a:lnTo>
                            <a:lnTo>
                              <a:pt x="2905049" y="23043"/>
                            </a:lnTo>
                            <a:lnTo>
                              <a:pt x="2894076" y="4389"/>
                            </a:lnTo>
                            <a:lnTo>
                              <a:pt x="2889139" y="11521"/>
                            </a:lnTo>
                            <a:lnTo>
                              <a:pt x="2884749" y="9876"/>
                            </a:lnTo>
                            <a:lnTo>
                              <a:pt x="2884201" y="8230"/>
                            </a:lnTo>
                            <a:lnTo>
                              <a:pt x="2884201" y="3292"/>
                            </a:lnTo>
                            <a:lnTo>
                              <a:pt x="2878166" y="0"/>
                            </a:lnTo>
                            <a:lnTo>
                              <a:pt x="2871033" y="1097"/>
                            </a:lnTo>
                            <a:lnTo>
                              <a:pt x="2861158" y="9327"/>
                            </a:lnTo>
                            <a:lnTo>
                              <a:pt x="2857317" y="16459"/>
                            </a:lnTo>
                            <a:lnTo>
                              <a:pt x="2852928" y="18105"/>
                            </a:lnTo>
                            <a:lnTo>
                              <a:pt x="2836469" y="14813"/>
                            </a:lnTo>
                            <a:lnTo>
                              <a:pt x="2834275" y="24140"/>
                            </a:lnTo>
                            <a:lnTo>
                              <a:pt x="2806294" y="60899"/>
                            </a:lnTo>
                            <a:lnTo>
                              <a:pt x="2803002" y="69129"/>
                            </a:lnTo>
                            <a:lnTo>
                              <a:pt x="2788737" y="81747"/>
                            </a:lnTo>
                            <a:lnTo>
                              <a:pt x="2787091" y="86685"/>
                            </a:lnTo>
                            <a:lnTo>
                              <a:pt x="2768986" y="115214"/>
                            </a:lnTo>
                            <a:lnTo>
                              <a:pt x="2767889" y="121798"/>
                            </a:lnTo>
                            <a:lnTo>
                              <a:pt x="2768438" y="126736"/>
                            </a:lnTo>
                            <a:lnTo>
                              <a:pt x="2765695" y="132222"/>
                            </a:lnTo>
                            <a:lnTo>
                              <a:pt x="2761854" y="132222"/>
                            </a:lnTo>
                            <a:lnTo>
                              <a:pt x="2761305" y="137709"/>
                            </a:lnTo>
                            <a:lnTo>
                              <a:pt x="2755270" y="150876"/>
                            </a:lnTo>
                            <a:lnTo>
                              <a:pt x="2756368" y="151973"/>
                            </a:lnTo>
                            <a:lnTo>
                              <a:pt x="2756368" y="158557"/>
                            </a:lnTo>
                            <a:lnTo>
                              <a:pt x="2759111" y="163495"/>
                            </a:lnTo>
                            <a:lnTo>
                              <a:pt x="2768438" y="166787"/>
                            </a:lnTo>
                            <a:lnTo>
                              <a:pt x="2770084" y="176662"/>
                            </a:lnTo>
                            <a:lnTo>
                              <a:pt x="2774473" y="179954"/>
                            </a:lnTo>
                            <a:lnTo>
                              <a:pt x="2773924" y="182697"/>
                            </a:lnTo>
                            <a:lnTo>
                              <a:pt x="2766243" y="181051"/>
                            </a:lnTo>
                            <a:lnTo>
                              <a:pt x="2764597" y="176113"/>
                            </a:lnTo>
                            <a:lnTo>
                              <a:pt x="2764597" y="193121"/>
                            </a:lnTo>
                            <a:lnTo>
                              <a:pt x="2766792" y="195316"/>
                            </a:lnTo>
                            <a:lnTo>
                              <a:pt x="2766243" y="195864"/>
                            </a:lnTo>
                            <a:lnTo>
                              <a:pt x="2735519" y="210129"/>
                            </a:lnTo>
                            <a:lnTo>
                              <a:pt x="2722352" y="209032"/>
                            </a:lnTo>
                            <a:lnTo>
                              <a:pt x="2713025" y="213421"/>
                            </a:lnTo>
                            <a:lnTo>
                              <a:pt x="2679009" y="206837"/>
                            </a:lnTo>
                            <a:lnTo>
                              <a:pt x="2681752" y="212324"/>
                            </a:lnTo>
                            <a:lnTo>
                              <a:pt x="2681204" y="215616"/>
                            </a:lnTo>
                            <a:lnTo>
                              <a:pt x="2685593" y="220005"/>
                            </a:lnTo>
                            <a:lnTo>
                              <a:pt x="2686690" y="228234"/>
                            </a:lnTo>
                            <a:lnTo>
                              <a:pt x="2693823" y="229332"/>
                            </a:lnTo>
                            <a:lnTo>
                              <a:pt x="2699309" y="235367"/>
                            </a:lnTo>
                            <a:lnTo>
                              <a:pt x="2698760" y="240304"/>
                            </a:lnTo>
                            <a:lnTo>
                              <a:pt x="2711379" y="240304"/>
                            </a:lnTo>
                            <a:lnTo>
                              <a:pt x="2716317" y="243596"/>
                            </a:lnTo>
                            <a:lnTo>
                              <a:pt x="2716866" y="249083"/>
                            </a:lnTo>
                            <a:lnTo>
                              <a:pt x="2714122" y="257861"/>
                            </a:lnTo>
                            <a:lnTo>
                              <a:pt x="2714122" y="271577"/>
                            </a:lnTo>
                            <a:lnTo>
                              <a:pt x="2711379" y="278709"/>
                            </a:lnTo>
                            <a:lnTo>
                              <a:pt x="2702601" y="274320"/>
                            </a:lnTo>
                            <a:lnTo>
                              <a:pt x="2702601" y="266639"/>
                            </a:lnTo>
                            <a:lnTo>
                              <a:pt x="2700955" y="262799"/>
                            </a:lnTo>
                            <a:lnTo>
                              <a:pt x="2686690" y="260604"/>
                            </a:lnTo>
                            <a:lnTo>
                              <a:pt x="2686690" y="257861"/>
                            </a:lnTo>
                            <a:lnTo>
                              <a:pt x="2688885" y="250728"/>
                            </a:lnTo>
                            <a:lnTo>
                              <a:pt x="2687239" y="246888"/>
                            </a:lnTo>
                            <a:lnTo>
                              <a:pt x="2675718" y="249631"/>
                            </a:lnTo>
                            <a:lnTo>
                              <a:pt x="2675718" y="241950"/>
                            </a:lnTo>
                            <a:lnTo>
                              <a:pt x="2671877" y="241402"/>
                            </a:lnTo>
                            <a:lnTo>
                              <a:pt x="2646640" y="259507"/>
                            </a:lnTo>
                            <a:lnTo>
                              <a:pt x="2649383" y="266639"/>
                            </a:lnTo>
                            <a:lnTo>
                              <a:pt x="2648834" y="271028"/>
                            </a:lnTo>
                            <a:lnTo>
                              <a:pt x="2645542" y="271577"/>
                            </a:lnTo>
                            <a:lnTo>
                              <a:pt x="2643896" y="267736"/>
                            </a:lnTo>
                            <a:lnTo>
                              <a:pt x="2635667" y="268834"/>
                            </a:lnTo>
                            <a:lnTo>
                              <a:pt x="2632375" y="276515"/>
                            </a:lnTo>
                            <a:lnTo>
                              <a:pt x="2637313" y="277063"/>
                            </a:lnTo>
                            <a:lnTo>
                              <a:pt x="2639507" y="279806"/>
                            </a:lnTo>
                            <a:lnTo>
                              <a:pt x="2640056" y="285293"/>
                            </a:lnTo>
                            <a:lnTo>
                              <a:pt x="2636764" y="286939"/>
                            </a:lnTo>
                            <a:lnTo>
                              <a:pt x="2627986" y="284744"/>
                            </a:lnTo>
                            <a:lnTo>
                              <a:pt x="2616464" y="293522"/>
                            </a:lnTo>
                            <a:lnTo>
                              <a:pt x="2616464" y="284744"/>
                            </a:lnTo>
                            <a:lnTo>
                              <a:pt x="2615916" y="282001"/>
                            </a:lnTo>
                            <a:lnTo>
                              <a:pt x="2612075" y="284744"/>
                            </a:lnTo>
                            <a:lnTo>
                              <a:pt x="2605492" y="295168"/>
                            </a:lnTo>
                            <a:lnTo>
                              <a:pt x="2600005" y="295168"/>
                            </a:lnTo>
                            <a:lnTo>
                              <a:pt x="2591227" y="302849"/>
                            </a:lnTo>
                            <a:lnTo>
                              <a:pt x="2589032" y="301203"/>
                            </a:lnTo>
                            <a:lnTo>
                              <a:pt x="2595067" y="292425"/>
                            </a:lnTo>
                            <a:lnTo>
                              <a:pt x="2596165" y="286939"/>
                            </a:lnTo>
                            <a:lnTo>
                              <a:pt x="2589032" y="285841"/>
                            </a:lnTo>
                            <a:lnTo>
                              <a:pt x="2587935" y="282001"/>
                            </a:lnTo>
                            <a:lnTo>
                              <a:pt x="2585192" y="286390"/>
                            </a:lnTo>
                            <a:lnTo>
                              <a:pt x="2572024" y="289682"/>
                            </a:lnTo>
                            <a:lnTo>
                              <a:pt x="2567087" y="300106"/>
                            </a:lnTo>
                            <a:lnTo>
                              <a:pt x="2561052" y="302849"/>
                            </a:lnTo>
                            <a:lnTo>
                              <a:pt x="2558308" y="297912"/>
                            </a:lnTo>
                            <a:lnTo>
                              <a:pt x="2571476" y="283098"/>
                            </a:lnTo>
                            <a:lnTo>
                              <a:pt x="2575316" y="268834"/>
                            </a:lnTo>
                            <a:lnTo>
                              <a:pt x="2564344" y="260604"/>
                            </a:lnTo>
                            <a:lnTo>
                              <a:pt x="2544592" y="261153"/>
                            </a:lnTo>
                            <a:lnTo>
                              <a:pt x="2541301" y="264444"/>
                            </a:lnTo>
                            <a:lnTo>
                              <a:pt x="2541301" y="268834"/>
                            </a:lnTo>
                            <a:lnTo>
                              <a:pt x="2518807" y="262250"/>
                            </a:lnTo>
                            <a:lnTo>
                              <a:pt x="2517160" y="267188"/>
                            </a:lnTo>
                            <a:lnTo>
                              <a:pt x="2510028" y="273223"/>
                            </a:lnTo>
                            <a:lnTo>
                              <a:pt x="2503993" y="266090"/>
                            </a:lnTo>
                            <a:lnTo>
                              <a:pt x="2485339" y="267188"/>
                            </a:lnTo>
                            <a:lnTo>
                              <a:pt x="2484242" y="269931"/>
                            </a:lnTo>
                            <a:lnTo>
                              <a:pt x="2489728" y="273223"/>
                            </a:lnTo>
                            <a:lnTo>
                              <a:pt x="2489180" y="275966"/>
                            </a:lnTo>
                            <a:lnTo>
                              <a:pt x="2471623" y="279806"/>
                            </a:lnTo>
                            <a:lnTo>
                              <a:pt x="2470526" y="277612"/>
                            </a:lnTo>
                            <a:lnTo>
                              <a:pt x="2472172" y="272125"/>
                            </a:lnTo>
                            <a:lnTo>
                              <a:pt x="2467783" y="273223"/>
                            </a:lnTo>
                            <a:lnTo>
                              <a:pt x="2458456" y="282550"/>
                            </a:lnTo>
                            <a:lnTo>
                              <a:pt x="2455713" y="274320"/>
                            </a:lnTo>
                            <a:lnTo>
                              <a:pt x="2452970" y="277063"/>
                            </a:lnTo>
                            <a:lnTo>
                              <a:pt x="2452970" y="289682"/>
                            </a:lnTo>
                            <a:lnTo>
                              <a:pt x="2455164" y="292425"/>
                            </a:lnTo>
                            <a:lnTo>
                              <a:pt x="2468332" y="285293"/>
                            </a:lnTo>
                            <a:lnTo>
                              <a:pt x="2469978" y="293522"/>
                            </a:lnTo>
                            <a:lnTo>
                              <a:pt x="2472721" y="297363"/>
                            </a:lnTo>
                            <a:lnTo>
                              <a:pt x="2473269" y="295717"/>
                            </a:lnTo>
                            <a:lnTo>
                              <a:pt x="2473269" y="291328"/>
                            </a:lnTo>
                            <a:lnTo>
                              <a:pt x="2478207" y="289682"/>
                            </a:lnTo>
                            <a:lnTo>
                              <a:pt x="2478207" y="293522"/>
                            </a:lnTo>
                            <a:lnTo>
                              <a:pt x="2479304" y="297363"/>
                            </a:lnTo>
                            <a:lnTo>
                              <a:pt x="2474915" y="305044"/>
                            </a:lnTo>
                            <a:lnTo>
                              <a:pt x="2410176" y="325344"/>
                            </a:lnTo>
                            <a:lnTo>
                              <a:pt x="2407981" y="323698"/>
                            </a:lnTo>
                            <a:lnTo>
                              <a:pt x="2405787" y="329184"/>
                            </a:lnTo>
                            <a:lnTo>
                              <a:pt x="2405787" y="337414"/>
                            </a:lnTo>
                            <a:lnTo>
                              <a:pt x="2405787" y="335219"/>
                            </a:lnTo>
                            <a:lnTo>
                              <a:pt x="2397557" y="334122"/>
                            </a:lnTo>
                            <a:lnTo>
                              <a:pt x="2388230" y="339608"/>
                            </a:lnTo>
                            <a:lnTo>
                              <a:pt x="2378355" y="335219"/>
                            </a:lnTo>
                            <a:lnTo>
                              <a:pt x="2366284" y="343997"/>
                            </a:lnTo>
                            <a:lnTo>
                              <a:pt x="2353117" y="343449"/>
                            </a:lnTo>
                            <a:lnTo>
                              <a:pt x="2342693" y="353324"/>
                            </a:lnTo>
                            <a:lnTo>
                              <a:pt x="2351471" y="359359"/>
                            </a:lnTo>
                            <a:lnTo>
                              <a:pt x="2338304" y="362102"/>
                            </a:lnTo>
                            <a:lnTo>
                              <a:pt x="2328977" y="370881"/>
                            </a:lnTo>
                            <a:lnTo>
                              <a:pt x="2318004" y="361005"/>
                            </a:lnTo>
                            <a:lnTo>
                              <a:pt x="2313615" y="367589"/>
                            </a:lnTo>
                            <a:lnTo>
                              <a:pt x="2305386" y="369235"/>
                            </a:lnTo>
                            <a:lnTo>
                              <a:pt x="2304837" y="371978"/>
                            </a:lnTo>
                            <a:lnTo>
                              <a:pt x="2308129" y="371978"/>
                            </a:lnTo>
                            <a:lnTo>
                              <a:pt x="2309775" y="376367"/>
                            </a:lnTo>
                            <a:lnTo>
                              <a:pt x="2298253" y="380208"/>
                            </a:lnTo>
                            <a:lnTo>
                              <a:pt x="2296607" y="385145"/>
                            </a:lnTo>
                            <a:lnTo>
                              <a:pt x="2290024" y="387340"/>
                            </a:lnTo>
                            <a:lnTo>
                              <a:pt x="2282343" y="400507"/>
                            </a:lnTo>
                            <a:lnTo>
                              <a:pt x="2275210" y="405994"/>
                            </a:lnTo>
                            <a:lnTo>
                              <a:pt x="2274113" y="408737"/>
                            </a:lnTo>
                            <a:lnTo>
                              <a:pt x="2275210" y="413126"/>
                            </a:lnTo>
                            <a:lnTo>
                              <a:pt x="2273016" y="416418"/>
                            </a:lnTo>
                            <a:lnTo>
                              <a:pt x="2263140" y="420258"/>
                            </a:lnTo>
                            <a:lnTo>
                              <a:pt x="2260397" y="414772"/>
                            </a:lnTo>
                            <a:lnTo>
                              <a:pt x="2238451" y="412029"/>
                            </a:lnTo>
                            <a:lnTo>
                              <a:pt x="2229673" y="418612"/>
                            </a:lnTo>
                            <a:lnTo>
                              <a:pt x="2245584" y="427939"/>
                            </a:lnTo>
                            <a:lnTo>
                              <a:pt x="2260397" y="429036"/>
                            </a:lnTo>
                            <a:lnTo>
                              <a:pt x="2258203" y="433426"/>
                            </a:lnTo>
                            <a:lnTo>
                              <a:pt x="2251070" y="440009"/>
                            </a:lnTo>
                            <a:lnTo>
                              <a:pt x="2247230" y="437815"/>
                            </a:lnTo>
                            <a:lnTo>
                              <a:pt x="2245584" y="433974"/>
                            </a:lnTo>
                            <a:lnTo>
                              <a:pt x="2240097" y="437815"/>
                            </a:lnTo>
                            <a:lnTo>
                              <a:pt x="2241743" y="441107"/>
                            </a:lnTo>
                            <a:lnTo>
                              <a:pt x="2229673" y="467441"/>
                            </a:lnTo>
                            <a:lnTo>
                              <a:pt x="2225284" y="467441"/>
                            </a:lnTo>
                            <a:lnTo>
                              <a:pt x="2223090" y="475122"/>
                            </a:lnTo>
                            <a:lnTo>
                              <a:pt x="2227479" y="480609"/>
                            </a:lnTo>
                            <a:lnTo>
                              <a:pt x="2223090" y="484998"/>
                            </a:lnTo>
                            <a:lnTo>
                              <a:pt x="2216506" y="473476"/>
                            </a:lnTo>
                            <a:lnTo>
                              <a:pt x="2207179" y="468539"/>
                            </a:lnTo>
                            <a:lnTo>
                              <a:pt x="2205533" y="461955"/>
                            </a:lnTo>
                            <a:lnTo>
                              <a:pt x="2194560" y="456468"/>
                            </a:lnTo>
                            <a:lnTo>
                              <a:pt x="2193463" y="457566"/>
                            </a:lnTo>
                            <a:lnTo>
                              <a:pt x="2197303" y="466344"/>
                            </a:lnTo>
                            <a:lnTo>
                              <a:pt x="2187428" y="472379"/>
                            </a:lnTo>
                            <a:lnTo>
                              <a:pt x="2189074" y="478414"/>
                            </a:lnTo>
                            <a:lnTo>
                              <a:pt x="2186331" y="480609"/>
                            </a:lnTo>
                            <a:lnTo>
                              <a:pt x="2186879" y="483900"/>
                            </a:lnTo>
                            <a:lnTo>
                              <a:pt x="2207179" y="486644"/>
                            </a:lnTo>
                            <a:lnTo>
                              <a:pt x="2211568" y="491033"/>
                            </a:lnTo>
                            <a:lnTo>
                              <a:pt x="2220346" y="495971"/>
                            </a:lnTo>
                            <a:lnTo>
                              <a:pt x="2217603" y="498165"/>
                            </a:lnTo>
                            <a:lnTo>
                              <a:pt x="2218152" y="503652"/>
                            </a:lnTo>
                            <a:lnTo>
                              <a:pt x="2220346" y="505846"/>
                            </a:lnTo>
                            <a:lnTo>
                              <a:pt x="2218700" y="508589"/>
                            </a:lnTo>
                            <a:lnTo>
                              <a:pt x="2209922" y="506943"/>
                            </a:lnTo>
                            <a:lnTo>
                              <a:pt x="2207728" y="509687"/>
                            </a:lnTo>
                            <a:lnTo>
                              <a:pt x="2199498" y="513527"/>
                            </a:lnTo>
                            <a:lnTo>
                              <a:pt x="2201144" y="517916"/>
                            </a:lnTo>
                            <a:lnTo>
                              <a:pt x="2194560" y="518465"/>
                            </a:lnTo>
                            <a:lnTo>
                              <a:pt x="2192914" y="520659"/>
                            </a:lnTo>
                            <a:lnTo>
                              <a:pt x="2192914" y="527792"/>
                            </a:lnTo>
                            <a:lnTo>
                              <a:pt x="2197303" y="532181"/>
                            </a:lnTo>
                            <a:lnTo>
                              <a:pt x="2222541" y="539862"/>
                            </a:lnTo>
                            <a:lnTo>
                              <a:pt x="2228027" y="562905"/>
                            </a:lnTo>
                            <a:lnTo>
                              <a:pt x="2231868" y="565648"/>
                            </a:lnTo>
                            <a:lnTo>
                              <a:pt x="2228576" y="570037"/>
                            </a:lnTo>
                            <a:lnTo>
                              <a:pt x="2220346" y="566745"/>
                            </a:lnTo>
                            <a:lnTo>
                              <a:pt x="2219798" y="569488"/>
                            </a:lnTo>
                            <a:lnTo>
                              <a:pt x="2221992" y="574426"/>
                            </a:lnTo>
                            <a:lnTo>
                              <a:pt x="2218700" y="576072"/>
                            </a:lnTo>
                            <a:lnTo>
                              <a:pt x="2219798" y="579912"/>
                            </a:lnTo>
                            <a:lnTo>
                              <a:pt x="2223638" y="582107"/>
                            </a:lnTo>
                            <a:lnTo>
                              <a:pt x="2223090" y="585948"/>
                            </a:lnTo>
                            <a:lnTo>
                              <a:pt x="2216506" y="589788"/>
                            </a:lnTo>
                            <a:lnTo>
                              <a:pt x="2201144" y="590885"/>
                            </a:lnTo>
                            <a:lnTo>
                              <a:pt x="2192914" y="596920"/>
                            </a:lnTo>
                            <a:lnTo>
                              <a:pt x="2184685" y="595823"/>
                            </a:lnTo>
                            <a:lnTo>
                              <a:pt x="2179198" y="598566"/>
                            </a:lnTo>
                            <a:lnTo>
                              <a:pt x="2177004" y="604601"/>
                            </a:lnTo>
                            <a:lnTo>
                              <a:pt x="2168226" y="611734"/>
                            </a:lnTo>
                            <a:lnTo>
                              <a:pt x="2155607" y="608990"/>
                            </a:lnTo>
                            <a:lnTo>
                              <a:pt x="2153961" y="604601"/>
                            </a:lnTo>
                            <a:lnTo>
                              <a:pt x="2151766" y="604053"/>
                            </a:lnTo>
                            <a:lnTo>
                              <a:pt x="2078248" y="619963"/>
                            </a:lnTo>
                            <a:lnTo>
                              <a:pt x="2072213" y="616671"/>
                            </a:lnTo>
                            <a:lnTo>
                              <a:pt x="2059046" y="618866"/>
                            </a:lnTo>
                            <a:lnTo>
                              <a:pt x="2046976" y="616671"/>
                            </a:lnTo>
                            <a:lnTo>
                              <a:pt x="2021739" y="624901"/>
                            </a:lnTo>
                            <a:lnTo>
                              <a:pt x="2021739" y="627644"/>
                            </a:lnTo>
                            <a:lnTo>
                              <a:pt x="2020093" y="629839"/>
                            </a:lnTo>
                            <a:lnTo>
                              <a:pt x="2011863" y="625450"/>
                            </a:lnTo>
                            <a:lnTo>
                              <a:pt x="2005828" y="628741"/>
                            </a:lnTo>
                            <a:lnTo>
                              <a:pt x="2004731" y="631485"/>
                            </a:lnTo>
                            <a:lnTo>
                              <a:pt x="1993758" y="634228"/>
                            </a:lnTo>
                            <a:lnTo>
                              <a:pt x="1994855" y="640812"/>
                            </a:lnTo>
                            <a:lnTo>
                              <a:pt x="1997050" y="646847"/>
                            </a:lnTo>
                            <a:lnTo>
                              <a:pt x="1999793" y="645749"/>
                            </a:lnTo>
                            <a:lnTo>
                              <a:pt x="2000890" y="642457"/>
                            </a:lnTo>
                            <a:lnTo>
                              <a:pt x="2004182" y="643555"/>
                            </a:lnTo>
                            <a:lnTo>
                              <a:pt x="2002536" y="648492"/>
                            </a:lnTo>
                            <a:lnTo>
                              <a:pt x="1993758" y="655625"/>
                            </a:lnTo>
                            <a:lnTo>
                              <a:pt x="1993758" y="660014"/>
                            </a:lnTo>
                            <a:lnTo>
                              <a:pt x="1988820" y="657271"/>
                            </a:lnTo>
                            <a:lnTo>
                              <a:pt x="1986077" y="662208"/>
                            </a:lnTo>
                            <a:lnTo>
                              <a:pt x="1988820" y="668244"/>
                            </a:lnTo>
                            <a:lnTo>
                              <a:pt x="1995404" y="669341"/>
                            </a:lnTo>
                            <a:lnTo>
                              <a:pt x="1994307" y="675924"/>
                            </a:lnTo>
                            <a:lnTo>
                              <a:pt x="1986077" y="681411"/>
                            </a:lnTo>
                            <a:lnTo>
                              <a:pt x="1998147" y="691286"/>
                            </a:lnTo>
                            <a:lnTo>
                              <a:pt x="1997599" y="694578"/>
                            </a:lnTo>
                            <a:lnTo>
                              <a:pt x="2001439" y="697870"/>
                            </a:lnTo>
                            <a:lnTo>
                              <a:pt x="2004182" y="697321"/>
                            </a:lnTo>
                            <a:lnTo>
                              <a:pt x="2008023" y="712135"/>
                            </a:lnTo>
                            <a:lnTo>
                              <a:pt x="2011315" y="716524"/>
                            </a:lnTo>
                            <a:lnTo>
                              <a:pt x="2009120" y="720364"/>
                            </a:lnTo>
                            <a:lnTo>
                              <a:pt x="2008571" y="725302"/>
                            </a:lnTo>
                            <a:lnTo>
                              <a:pt x="2005828" y="729691"/>
                            </a:lnTo>
                            <a:lnTo>
                              <a:pt x="2002536" y="740664"/>
                            </a:lnTo>
                            <a:lnTo>
                              <a:pt x="2003633" y="751088"/>
                            </a:lnTo>
                            <a:lnTo>
                              <a:pt x="2006925" y="756575"/>
                            </a:lnTo>
                            <a:lnTo>
                              <a:pt x="2006925" y="768645"/>
                            </a:lnTo>
                            <a:lnTo>
                              <a:pt x="2009668" y="775777"/>
                            </a:lnTo>
                            <a:lnTo>
                              <a:pt x="2018995" y="786750"/>
                            </a:lnTo>
                            <a:lnTo>
                              <a:pt x="2044781" y="791688"/>
                            </a:lnTo>
                            <a:lnTo>
                              <a:pt x="2055754" y="799917"/>
                            </a:lnTo>
                            <a:lnTo>
                              <a:pt x="2060143" y="799917"/>
                            </a:lnTo>
                            <a:lnTo>
                              <a:pt x="2064532" y="810890"/>
                            </a:lnTo>
                            <a:lnTo>
                              <a:pt x="2061241" y="818571"/>
                            </a:lnTo>
                            <a:lnTo>
                              <a:pt x="2058497" y="821863"/>
                            </a:lnTo>
                            <a:lnTo>
                              <a:pt x="2066179" y="824057"/>
                            </a:lnTo>
                            <a:lnTo>
                              <a:pt x="2070019" y="828995"/>
                            </a:lnTo>
                            <a:lnTo>
                              <a:pt x="2075505" y="839968"/>
                            </a:lnTo>
                            <a:lnTo>
                              <a:pt x="2082089" y="843808"/>
                            </a:lnTo>
                            <a:lnTo>
                              <a:pt x="2095805" y="848198"/>
                            </a:lnTo>
                            <a:lnTo>
                              <a:pt x="2101840" y="853135"/>
                            </a:lnTo>
                            <a:lnTo>
                              <a:pt x="2104035" y="848198"/>
                            </a:lnTo>
                            <a:lnTo>
                              <a:pt x="2112264" y="871240"/>
                            </a:lnTo>
                            <a:lnTo>
                              <a:pt x="2108972" y="891540"/>
                            </a:lnTo>
                            <a:lnTo>
                              <a:pt x="2101840" y="898124"/>
                            </a:lnTo>
                            <a:lnTo>
                              <a:pt x="2100743" y="909645"/>
                            </a:lnTo>
                            <a:lnTo>
                              <a:pt x="2095805" y="919521"/>
                            </a:lnTo>
                            <a:lnTo>
                              <a:pt x="2098548" y="930494"/>
                            </a:lnTo>
                            <a:lnTo>
                              <a:pt x="2097451" y="939272"/>
                            </a:lnTo>
                            <a:lnTo>
                              <a:pt x="2107875" y="954634"/>
                            </a:lnTo>
                            <a:lnTo>
                              <a:pt x="2115556" y="1009498"/>
                            </a:lnTo>
                            <a:lnTo>
                              <a:pt x="2112813" y="1018276"/>
                            </a:lnTo>
                            <a:lnTo>
                              <a:pt x="2105680" y="1028151"/>
                            </a:lnTo>
                            <a:lnTo>
                              <a:pt x="2097451" y="1030346"/>
                            </a:lnTo>
                            <a:lnTo>
                              <a:pt x="2092513" y="1028151"/>
                            </a:lnTo>
                            <a:lnTo>
                              <a:pt x="2091416" y="1033638"/>
                            </a:lnTo>
                            <a:lnTo>
                              <a:pt x="2097451" y="1047354"/>
                            </a:lnTo>
                            <a:lnTo>
                              <a:pt x="2095256" y="1053389"/>
                            </a:lnTo>
                            <a:lnTo>
                              <a:pt x="2078248" y="1046805"/>
                            </a:lnTo>
                            <a:lnTo>
                              <a:pt x="2066179" y="1046256"/>
                            </a:lnTo>
                            <a:lnTo>
                              <a:pt x="2059046" y="1038027"/>
                            </a:lnTo>
                            <a:lnTo>
                              <a:pt x="2057400" y="997976"/>
                            </a:lnTo>
                            <a:lnTo>
                              <a:pt x="2062887" y="978225"/>
                            </a:lnTo>
                            <a:lnTo>
                              <a:pt x="2060143" y="973836"/>
                            </a:lnTo>
                            <a:lnTo>
                              <a:pt x="2059595" y="925556"/>
                            </a:lnTo>
                            <a:lnTo>
                              <a:pt x="2064532" y="917326"/>
                            </a:lnTo>
                            <a:lnTo>
                              <a:pt x="2086478" y="903610"/>
                            </a:lnTo>
                            <a:lnTo>
                              <a:pt x="2090319" y="882762"/>
                            </a:lnTo>
                            <a:lnTo>
                              <a:pt x="2095805" y="881116"/>
                            </a:lnTo>
                            <a:lnTo>
                              <a:pt x="2097451" y="869046"/>
                            </a:lnTo>
                            <a:lnTo>
                              <a:pt x="2081540" y="858622"/>
                            </a:lnTo>
                            <a:lnTo>
                              <a:pt x="2042038" y="867948"/>
                            </a:lnTo>
                            <a:lnTo>
                              <a:pt x="2031065" y="862462"/>
                            </a:lnTo>
                            <a:lnTo>
                              <a:pt x="2023384" y="854232"/>
                            </a:lnTo>
                            <a:lnTo>
                              <a:pt x="2021739" y="855878"/>
                            </a:lnTo>
                            <a:lnTo>
                              <a:pt x="2004731" y="829544"/>
                            </a:lnTo>
                            <a:lnTo>
                              <a:pt x="2004731" y="823509"/>
                            </a:lnTo>
                            <a:lnTo>
                              <a:pt x="1971812" y="803758"/>
                            </a:lnTo>
                            <a:lnTo>
                              <a:pt x="1966326" y="796077"/>
                            </a:lnTo>
                            <a:lnTo>
                              <a:pt x="1947672" y="787298"/>
                            </a:lnTo>
                            <a:lnTo>
                              <a:pt x="1901587" y="787847"/>
                            </a:lnTo>
                            <a:lnTo>
                              <a:pt x="1891711" y="802660"/>
                            </a:lnTo>
                            <a:lnTo>
                              <a:pt x="1876898" y="809244"/>
                            </a:lnTo>
                            <a:lnTo>
                              <a:pt x="1874155" y="822411"/>
                            </a:lnTo>
                            <a:lnTo>
                              <a:pt x="1892808" y="822960"/>
                            </a:lnTo>
                            <a:lnTo>
                              <a:pt x="1902135" y="831190"/>
                            </a:lnTo>
                            <a:lnTo>
                              <a:pt x="1899392" y="840516"/>
                            </a:lnTo>
                            <a:lnTo>
                              <a:pt x="1891711" y="849295"/>
                            </a:lnTo>
                            <a:lnTo>
                              <a:pt x="1879092" y="853684"/>
                            </a:lnTo>
                            <a:lnTo>
                              <a:pt x="1868119" y="861914"/>
                            </a:lnTo>
                            <a:lnTo>
                              <a:pt x="1854403" y="865754"/>
                            </a:lnTo>
                            <a:lnTo>
                              <a:pt x="1854403" y="855878"/>
                            </a:lnTo>
                            <a:lnTo>
                              <a:pt x="1836847" y="832836"/>
                            </a:lnTo>
                            <a:lnTo>
                              <a:pt x="1829715" y="833933"/>
                            </a:lnTo>
                            <a:lnTo>
                              <a:pt x="1823131" y="843260"/>
                            </a:lnTo>
                            <a:lnTo>
                              <a:pt x="1827520" y="848198"/>
                            </a:lnTo>
                            <a:lnTo>
                              <a:pt x="1835750" y="881664"/>
                            </a:lnTo>
                            <a:lnTo>
                              <a:pt x="1839590" y="882762"/>
                            </a:lnTo>
                            <a:lnTo>
                              <a:pt x="1855501" y="895929"/>
                            </a:lnTo>
                            <a:lnTo>
                              <a:pt x="1864828" y="900318"/>
                            </a:lnTo>
                            <a:lnTo>
                              <a:pt x="1871411" y="908548"/>
                            </a:lnTo>
                            <a:lnTo>
                              <a:pt x="1877446" y="909645"/>
                            </a:lnTo>
                            <a:lnTo>
                              <a:pt x="1881287" y="914034"/>
                            </a:lnTo>
                            <a:lnTo>
                              <a:pt x="1887871" y="910194"/>
                            </a:lnTo>
                            <a:lnTo>
                              <a:pt x="1894454" y="903062"/>
                            </a:lnTo>
                            <a:lnTo>
                              <a:pt x="1892808" y="913486"/>
                            </a:lnTo>
                            <a:lnTo>
                              <a:pt x="1896100" y="918423"/>
                            </a:lnTo>
                            <a:lnTo>
                              <a:pt x="1903781" y="915680"/>
                            </a:lnTo>
                            <a:lnTo>
                              <a:pt x="1904878" y="935980"/>
                            </a:lnTo>
                            <a:lnTo>
                              <a:pt x="1913656" y="946404"/>
                            </a:lnTo>
                            <a:lnTo>
                              <a:pt x="1913656" y="952988"/>
                            </a:lnTo>
                            <a:lnTo>
                              <a:pt x="1902684" y="951890"/>
                            </a:lnTo>
                            <a:lnTo>
                              <a:pt x="1896649" y="948050"/>
                            </a:lnTo>
                            <a:lnTo>
                              <a:pt x="1891162" y="942564"/>
                            </a:lnTo>
                            <a:lnTo>
                              <a:pt x="1888968" y="935431"/>
                            </a:lnTo>
                            <a:lnTo>
                              <a:pt x="1882384" y="929945"/>
                            </a:lnTo>
                            <a:lnTo>
                              <a:pt x="1805575" y="912937"/>
                            </a:lnTo>
                            <a:lnTo>
                              <a:pt x="1791859" y="897575"/>
                            </a:lnTo>
                            <a:lnTo>
                              <a:pt x="1793504" y="894832"/>
                            </a:lnTo>
                            <a:lnTo>
                              <a:pt x="1802831" y="893186"/>
                            </a:lnTo>
                            <a:lnTo>
                              <a:pt x="1803380" y="875630"/>
                            </a:lnTo>
                            <a:lnTo>
                              <a:pt x="1795150" y="860268"/>
                            </a:lnTo>
                            <a:lnTo>
                              <a:pt x="1795150" y="853135"/>
                            </a:lnTo>
                            <a:lnTo>
                              <a:pt x="1798991" y="836676"/>
                            </a:lnTo>
                            <a:lnTo>
                              <a:pt x="1792956" y="828995"/>
                            </a:lnTo>
                            <a:lnTo>
                              <a:pt x="1798991" y="822960"/>
                            </a:lnTo>
                            <a:lnTo>
                              <a:pt x="1808318" y="796625"/>
                            </a:lnTo>
                            <a:lnTo>
                              <a:pt x="1801734" y="766999"/>
                            </a:lnTo>
                            <a:lnTo>
                              <a:pt x="1807769" y="763158"/>
                            </a:lnTo>
                            <a:lnTo>
                              <a:pt x="1801185" y="753831"/>
                            </a:lnTo>
                            <a:lnTo>
                              <a:pt x="1799539" y="746699"/>
                            </a:lnTo>
                            <a:lnTo>
                              <a:pt x="1800637" y="740664"/>
                            </a:lnTo>
                            <a:lnTo>
                              <a:pt x="1789664" y="729691"/>
                            </a:lnTo>
                            <a:lnTo>
                              <a:pt x="1786372" y="722559"/>
                            </a:lnTo>
                            <a:lnTo>
                              <a:pt x="1775948" y="728045"/>
                            </a:lnTo>
                            <a:lnTo>
                              <a:pt x="1784726" y="794979"/>
                            </a:lnTo>
                            <a:lnTo>
                              <a:pt x="1779788" y="805404"/>
                            </a:lnTo>
                            <a:lnTo>
                              <a:pt x="1723279" y="848198"/>
                            </a:lnTo>
                            <a:lnTo>
                              <a:pt x="1723279" y="863559"/>
                            </a:lnTo>
                            <a:lnTo>
                              <a:pt x="1721084" y="871240"/>
                            </a:lnTo>
                            <a:lnTo>
                              <a:pt x="1710111" y="882762"/>
                            </a:lnTo>
                            <a:lnTo>
                              <a:pt x="1710111" y="889346"/>
                            </a:lnTo>
                            <a:lnTo>
                              <a:pt x="1740286" y="932688"/>
                            </a:lnTo>
                            <a:lnTo>
                              <a:pt x="1743578" y="955182"/>
                            </a:lnTo>
                            <a:lnTo>
                              <a:pt x="1758940" y="984809"/>
                            </a:lnTo>
                            <a:lnTo>
                              <a:pt x="1750162" y="1024860"/>
                            </a:lnTo>
                            <a:lnTo>
                              <a:pt x="1740286" y="1036930"/>
                            </a:lnTo>
                            <a:lnTo>
                              <a:pt x="1738640" y="1057778"/>
                            </a:lnTo>
                            <a:lnTo>
                              <a:pt x="1734251" y="1064910"/>
                            </a:lnTo>
                            <a:lnTo>
                              <a:pt x="1730959" y="1087405"/>
                            </a:lnTo>
                            <a:lnTo>
                              <a:pt x="1745224" y="1117580"/>
                            </a:lnTo>
                            <a:lnTo>
                              <a:pt x="1738640" y="1145012"/>
                            </a:lnTo>
                            <a:lnTo>
                              <a:pt x="1744127" y="1156533"/>
                            </a:lnTo>
                            <a:lnTo>
                              <a:pt x="1752356" y="1158179"/>
                            </a:lnTo>
                            <a:lnTo>
                              <a:pt x="1763329" y="1154339"/>
                            </a:lnTo>
                            <a:lnTo>
                              <a:pt x="1771559" y="1154339"/>
                            </a:lnTo>
                            <a:lnTo>
                              <a:pt x="1790761" y="1159825"/>
                            </a:lnTo>
                            <a:lnTo>
                              <a:pt x="1792956" y="1153790"/>
                            </a:lnTo>
                            <a:lnTo>
                              <a:pt x="1808866" y="1143366"/>
                            </a:lnTo>
                            <a:lnTo>
                              <a:pt x="1824777" y="1143914"/>
                            </a:lnTo>
                            <a:lnTo>
                              <a:pt x="1885676" y="1180673"/>
                            </a:lnTo>
                            <a:lnTo>
                              <a:pt x="1888419" y="1187806"/>
                            </a:lnTo>
                            <a:lnTo>
                              <a:pt x="1887871" y="1206459"/>
                            </a:lnTo>
                            <a:lnTo>
                              <a:pt x="1900489" y="1233343"/>
                            </a:lnTo>
                            <a:lnTo>
                              <a:pt x="1903232" y="1233891"/>
                            </a:lnTo>
                            <a:lnTo>
                              <a:pt x="1904330" y="1242121"/>
                            </a:lnTo>
                            <a:lnTo>
                              <a:pt x="1899940" y="1247607"/>
                            </a:lnTo>
                            <a:lnTo>
                              <a:pt x="1890065" y="1249253"/>
                            </a:lnTo>
                            <a:lnTo>
                              <a:pt x="1882933" y="1254740"/>
                            </a:lnTo>
                            <a:lnTo>
                              <a:pt x="1880189" y="1262969"/>
                            </a:lnTo>
                            <a:lnTo>
                              <a:pt x="1881287" y="1292047"/>
                            </a:lnTo>
                            <a:lnTo>
                              <a:pt x="1883481" y="1298082"/>
                            </a:lnTo>
                            <a:lnTo>
                              <a:pt x="1891711" y="1296985"/>
                            </a:lnTo>
                            <a:lnTo>
                              <a:pt x="1904878" y="1303020"/>
                            </a:lnTo>
                            <a:lnTo>
                              <a:pt x="1917497" y="1303020"/>
                            </a:lnTo>
                            <a:lnTo>
                              <a:pt x="1931213" y="1311250"/>
                            </a:lnTo>
                            <a:lnTo>
                              <a:pt x="1929019" y="1313993"/>
                            </a:lnTo>
                            <a:lnTo>
                              <a:pt x="1912011" y="1317285"/>
                            </a:lnTo>
                            <a:lnTo>
                              <a:pt x="1902684" y="1314542"/>
                            </a:lnTo>
                            <a:lnTo>
                              <a:pt x="1886773" y="1315090"/>
                            </a:lnTo>
                            <a:lnTo>
                              <a:pt x="1881835" y="1304117"/>
                            </a:lnTo>
                            <a:lnTo>
                              <a:pt x="1867571" y="1296985"/>
                            </a:lnTo>
                            <a:lnTo>
                              <a:pt x="1866473" y="1289304"/>
                            </a:lnTo>
                            <a:lnTo>
                              <a:pt x="1869765" y="1286012"/>
                            </a:lnTo>
                            <a:lnTo>
                              <a:pt x="1871411" y="1261872"/>
                            </a:lnTo>
                            <a:lnTo>
                              <a:pt x="1876349" y="1250351"/>
                            </a:lnTo>
                            <a:lnTo>
                              <a:pt x="1873606" y="1247059"/>
                            </a:lnTo>
                            <a:lnTo>
                              <a:pt x="1869217" y="1248705"/>
                            </a:lnTo>
                            <a:lnTo>
                              <a:pt x="1868119" y="1242121"/>
                            </a:lnTo>
                            <a:lnTo>
                              <a:pt x="1870863" y="1232794"/>
                            </a:lnTo>
                            <a:lnTo>
                              <a:pt x="1871960" y="1231697"/>
                            </a:lnTo>
                            <a:lnTo>
                              <a:pt x="1871411" y="1226210"/>
                            </a:lnTo>
                            <a:lnTo>
                              <a:pt x="1872508" y="1220724"/>
                            </a:lnTo>
                            <a:lnTo>
                              <a:pt x="1871411" y="1216335"/>
                            </a:lnTo>
                            <a:lnTo>
                              <a:pt x="1867022" y="1210300"/>
                            </a:lnTo>
                            <a:lnTo>
                              <a:pt x="1860439" y="1207008"/>
                            </a:lnTo>
                            <a:lnTo>
                              <a:pt x="1857147" y="1200973"/>
                            </a:lnTo>
                            <a:lnTo>
                              <a:pt x="1851112" y="1197133"/>
                            </a:lnTo>
                            <a:lnTo>
                              <a:pt x="1848368" y="1190549"/>
                            </a:lnTo>
                            <a:lnTo>
                              <a:pt x="1849466" y="1182319"/>
                            </a:lnTo>
                            <a:lnTo>
                              <a:pt x="1845076" y="1170249"/>
                            </a:lnTo>
                            <a:lnTo>
                              <a:pt x="1795150" y="1180673"/>
                            </a:lnTo>
                            <a:lnTo>
                              <a:pt x="1762780" y="1198778"/>
                            </a:lnTo>
                            <a:lnTo>
                              <a:pt x="1763878" y="1213592"/>
                            </a:lnTo>
                            <a:lnTo>
                              <a:pt x="1757843" y="1228405"/>
                            </a:lnTo>
                            <a:lnTo>
                              <a:pt x="1759489" y="1236086"/>
                            </a:lnTo>
                            <a:lnTo>
                              <a:pt x="1763329" y="1238281"/>
                            </a:lnTo>
                            <a:lnTo>
                              <a:pt x="1765524" y="1244864"/>
                            </a:lnTo>
                            <a:lnTo>
                              <a:pt x="1770461" y="1249802"/>
                            </a:lnTo>
                            <a:lnTo>
                              <a:pt x="1769364" y="1256386"/>
                            </a:lnTo>
                            <a:lnTo>
                              <a:pt x="1773753" y="1261872"/>
                            </a:lnTo>
                            <a:lnTo>
                              <a:pt x="1776496" y="1282720"/>
                            </a:lnTo>
                            <a:lnTo>
                              <a:pt x="1773753" y="1300826"/>
                            </a:lnTo>
                            <a:lnTo>
                              <a:pt x="1743578" y="1333744"/>
                            </a:lnTo>
                            <a:lnTo>
                              <a:pt x="1739738" y="1361725"/>
                            </a:lnTo>
                            <a:lnTo>
                              <a:pt x="1728765" y="1378732"/>
                            </a:lnTo>
                            <a:lnTo>
                              <a:pt x="1711757" y="1390802"/>
                            </a:lnTo>
                            <a:lnTo>
                              <a:pt x="1705173" y="1399032"/>
                            </a:lnTo>
                            <a:lnTo>
                              <a:pt x="1685971" y="1406713"/>
                            </a:lnTo>
                            <a:lnTo>
                              <a:pt x="1683228" y="1411651"/>
                            </a:lnTo>
                            <a:lnTo>
                              <a:pt x="1688165" y="1422624"/>
                            </a:lnTo>
                            <a:lnTo>
                              <a:pt x="1683228" y="1436340"/>
                            </a:lnTo>
                            <a:lnTo>
                              <a:pt x="1674449" y="1439631"/>
                            </a:lnTo>
                            <a:lnTo>
                              <a:pt x="1648115" y="1427561"/>
                            </a:lnTo>
                            <a:lnTo>
                              <a:pt x="1634399" y="1425915"/>
                            </a:lnTo>
                            <a:lnTo>
                              <a:pt x="1617940" y="1429756"/>
                            </a:lnTo>
                            <a:lnTo>
                              <a:pt x="1601480" y="1427013"/>
                            </a:lnTo>
                            <a:lnTo>
                              <a:pt x="1598737" y="1424270"/>
                            </a:lnTo>
                            <a:lnTo>
                              <a:pt x="1598737" y="1417686"/>
                            </a:lnTo>
                            <a:lnTo>
                              <a:pt x="1600932" y="1413845"/>
                            </a:lnTo>
                            <a:lnTo>
                              <a:pt x="1598737" y="1396838"/>
                            </a:lnTo>
                            <a:lnTo>
                              <a:pt x="1589410" y="1395192"/>
                            </a:lnTo>
                            <a:lnTo>
                              <a:pt x="1587764" y="1390254"/>
                            </a:lnTo>
                            <a:lnTo>
                              <a:pt x="1589410" y="1387511"/>
                            </a:lnTo>
                            <a:lnTo>
                              <a:pt x="1596543" y="1384219"/>
                            </a:lnTo>
                            <a:lnTo>
                              <a:pt x="1604772" y="1389705"/>
                            </a:lnTo>
                            <a:lnTo>
                              <a:pt x="1607515" y="1395740"/>
                            </a:lnTo>
                            <a:lnTo>
                              <a:pt x="1615745" y="1395192"/>
                            </a:lnTo>
                            <a:lnTo>
                              <a:pt x="1620134" y="1388608"/>
                            </a:lnTo>
                            <a:lnTo>
                              <a:pt x="1626718" y="1388608"/>
                            </a:lnTo>
                            <a:lnTo>
                              <a:pt x="1632753" y="1377086"/>
                            </a:lnTo>
                            <a:lnTo>
                              <a:pt x="1638788" y="1382024"/>
                            </a:lnTo>
                            <a:lnTo>
                              <a:pt x="1648115" y="1377635"/>
                            </a:lnTo>
                            <a:lnTo>
                              <a:pt x="1650309" y="1373795"/>
                            </a:lnTo>
                            <a:lnTo>
                              <a:pt x="1653601" y="1371600"/>
                            </a:lnTo>
                            <a:lnTo>
                              <a:pt x="1660185" y="1372697"/>
                            </a:lnTo>
                            <a:lnTo>
                              <a:pt x="1670060" y="1369406"/>
                            </a:lnTo>
                            <a:lnTo>
                              <a:pt x="1674449" y="1364468"/>
                            </a:lnTo>
                            <a:lnTo>
                              <a:pt x="1670060" y="1358981"/>
                            </a:lnTo>
                            <a:lnTo>
                              <a:pt x="1657990" y="1358981"/>
                            </a:lnTo>
                            <a:lnTo>
                              <a:pt x="1653601" y="1361725"/>
                            </a:lnTo>
                            <a:lnTo>
                              <a:pt x="1648663" y="1357335"/>
                            </a:lnTo>
                            <a:lnTo>
                              <a:pt x="1649212" y="1348009"/>
                            </a:lnTo>
                            <a:lnTo>
                              <a:pt x="1662379" y="1356238"/>
                            </a:lnTo>
                            <a:lnTo>
                              <a:pt x="1676644" y="1353495"/>
                            </a:lnTo>
                            <a:lnTo>
                              <a:pt x="1678839" y="1351300"/>
                            </a:lnTo>
                            <a:lnTo>
                              <a:pt x="1679387" y="1339230"/>
                            </a:lnTo>
                            <a:lnTo>
                              <a:pt x="1685422" y="1339230"/>
                            </a:lnTo>
                            <a:lnTo>
                              <a:pt x="1690360" y="1332647"/>
                            </a:lnTo>
                            <a:lnTo>
                              <a:pt x="1696395" y="1310701"/>
                            </a:lnTo>
                            <a:lnTo>
                              <a:pt x="1708465" y="1305763"/>
                            </a:lnTo>
                            <a:lnTo>
                              <a:pt x="1713952" y="1298082"/>
                            </a:lnTo>
                            <a:lnTo>
                              <a:pt x="1711208" y="1293145"/>
                            </a:lnTo>
                            <a:lnTo>
                              <a:pt x="1715049" y="1286012"/>
                            </a:lnTo>
                            <a:lnTo>
                              <a:pt x="1713403" y="1254740"/>
                            </a:lnTo>
                            <a:lnTo>
                              <a:pt x="1716146" y="1243218"/>
                            </a:lnTo>
                            <a:lnTo>
                              <a:pt x="1726570" y="1226759"/>
                            </a:lnTo>
                            <a:lnTo>
                              <a:pt x="1725473" y="1207008"/>
                            </a:lnTo>
                            <a:lnTo>
                              <a:pt x="1690360" y="1165311"/>
                            </a:lnTo>
                            <a:lnTo>
                              <a:pt x="1693652" y="1134039"/>
                            </a:lnTo>
                            <a:lnTo>
                              <a:pt x="1692006" y="1125261"/>
                            </a:lnTo>
                            <a:lnTo>
                              <a:pt x="1696944" y="1115934"/>
                            </a:lnTo>
                            <a:lnTo>
                              <a:pt x="1693652" y="1099475"/>
                            </a:lnTo>
                            <a:lnTo>
                              <a:pt x="1698041" y="1089599"/>
                            </a:lnTo>
                            <a:lnTo>
                              <a:pt x="1698041" y="1075883"/>
                            </a:lnTo>
                            <a:lnTo>
                              <a:pt x="1695298" y="1070945"/>
                            </a:lnTo>
                            <a:lnTo>
                              <a:pt x="1695298" y="1067654"/>
                            </a:lnTo>
                            <a:lnTo>
                              <a:pt x="1693652" y="1064362"/>
                            </a:lnTo>
                            <a:lnTo>
                              <a:pt x="1692555" y="1057778"/>
                            </a:lnTo>
                            <a:lnTo>
                              <a:pt x="1694200" y="1047902"/>
                            </a:lnTo>
                            <a:lnTo>
                              <a:pt x="1693652" y="1044062"/>
                            </a:lnTo>
                            <a:lnTo>
                              <a:pt x="1689263" y="1039124"/>
                            </a:lnTo>
                            <a:lnTo>
                              <a:pt x="1688165" y="1030346"/>
                            </a:lnTo>
                            <a:lnTo>
                              <a:pt x="1690909" y="1022116"/>
                            </a:lnTo>
                            <a:lnTo>
                              <a:pt x="1699687" y="1014435"/>
                            </a:lnTo>
                            <a:lnTo>
                              <a:pt x="1698590" y="987003"/>
                            </a:lnTo>
                            <a:lnTo>
                              <a:pt x="1701333" y="976579"/>
                            </a:lnTo>
                            <a:lnTo>
                              <a:pt x="1701333" y="962863"/>
                            </a:lnTo>
                            <a:lnTo>
                              <a:pt x="1692006" y="940369"/>
                            </a:lnTo>
                            <a:lnTo>
                              <a:pt x="1693652" y="924458"/>
                            </a:lnTo>
                            <a:lnTo>
                              <a:pt x="1672804" y="904707"/>
                            </a:lnTo>
                            <a:lnTo>
                              <a:pt x="1663477" y="887700"/>
                            </a:lnTo>
                            <a:lnTo>
                              <a:pt x="1664025" y="878921"/>
                            </a:lnTo>
                            <a:lnTo>
                              <a:pt x="1665123" y="876727"/>
                            </a:lnTo>
                            <a:lnTo>
                              <a:pt x="1676095" y="870143"/>
                            </a:lnTo>
                            <a:lnTo>
                              <a:pt x="1677193" y="863011"/>
                            </a:lnTo>
                            <a:lnTo>
                              <a:pt x="1682679" y="856427"/>
                            </a:lnTo>
                            <a:lnTo>
                              <a:pt x="1682131" y="844357"/>
                            </a:lnTo>
                            <a:lnTo>
                              <a:pt x="1696944" y="803209"/>
                            </a:lnTo>
                            <a:lnTo>
                              <a:pt x="1696395" y="747248"/>
                            </a:lnTo>
                            <a:lnTo>
                              <a:pt x="1693652" y="742859"/>
                            </a:lnTo>
                            <a:lnTo>
                              <a:pt x="1696395" y="739018"/>
                            </a:lnTo>
                            <a:lnTo>
                              <a:pt x="1666220" y="725302"/>
                            </a:lnTo>
                            <a:lnTo>
                              <a:pt x="1656344" y="716524"/>
                            </a:lnTo>
                            <a:lnTo>
                              <a:pt x="1595445" y="719816"/>
                            </a:lnTo>
                            <a:lnTo>
                              <a:pt x="1587764" y="715975"/>
                            </a:lnTo>
                            <a:lnTo>
                              <a:pt x="1592702" y="709940"/>
                            </a:lnTo>
                            <a:lnTo>
                              <a:pt x="1573500" y="712135"/>
                            </a:lnTo>
                            <a:lnTo>
                              <a:pt x="1570208" y="718718"/>
                            </a:lnTo>
                            <a:lnTo>
                              <a:pt x="1536741" y="853684"/>
                            </a:lnTo>
                            <a:lnTo>
                              <a:pt x="1496690" y="905805"/>
                            </a:lnTo>
                            <a:lnTo>
                              <a:pt x="1478036" y="915132"/>
                            </a:lnTo>
                            <a:lnTo>
                              <a:pt x="1473647" y="940918"/>
                            </a:lnTo>
                            <a:lnTo>
                              <a:pt x="1476939" y="942015"/>
                            </a:lnTo>
                            <a:lnTo>
                              <a:pt x="1484620" y="929945"/>
                            </a:lnTo>
                            <a:lnTo>
                              <a:pt x="1486266" y="931591"/>
                            </a:lnTo>
                            <a:lnTo>
                              <a:pt x="1486266" y="942015"/>
                            </a:lnTo>
                            <a:lnTo>
                              <a:pt x="1482974" y="948599"/>
                            </a:lnTo>
                            <a:lnTo>
                              <a:pt x="1470904" y="957377"/>
                            </a:lnTo>
                            <a:lnTo>
                              <a:pt x="1467612" y="969447"/>
                            </a:lnTo>
                            <a:lnTo>
                              <a:pt x="1471453" y="977676"/>
                            </a:lnTo>
                            <a:lnTo>
                              <a:pt x="1480780" y="974385"/>
                            </a:lnTo>
                            <a:lnTo>
                              <a:pt x="1486266" y="968898"/>
                            </a:lnTo>
                            <a:lnTo>
                              <a:pt x="1496141" y="969996"/>
                            </a:lnTo>
                            <a:lnTo>
                              <a:pt x="1501079" y="980968"/>
                            </a:lnTo>
                            <a:lnTo>
                              <a:pt x="1497239" y="989747"/>
                            </a:lnTo>
                            <a:lnTo>
                              <a:pt x="1497239" y="1018276"/>
                            </a:lnTo>
                            <a:lnTo>
                              <a:pt x="1491752" y="1027054"/>
                            </a:lnTo>
                            <a:lnTo>
                              <a:pt x="1493398" y="1041867"/>
                            </a:lnTo>
                            <a:lnTo>
                              <a:pt x="1497787" y="1050646"/>
                            </a:lnTo>
                            <a:lnTo>
                              <a:pt x="1492850" y="1061070"/>
                            </a:lnTo>
                            <a:lnTo>
                              <a:pt x="1485717" y="1061070"/>
                            </a:lnTo>
                            <a:lnTo>
                              <a:pt x="1481877" y="1054486"/>
                            </a:lnTo>
                            <a:lnTo>
                              <a:pt x="1480231" y="1100023"/>
                            </a:lnTo>
                            <a:lnTo>
                              <a:pt x="1484620" y="1109899"/>
                            </a:lnTo>
                            <a:lnTo>
                              <a:pt x="1484620" y="1100572"/>
                            </a:lnTo>
                            <a:lnTo>
                              <a:pt x="1494496" y="1096183"/>
                            </a:lnTo>
                            <a:lnTo>
                              <a:pt x="1518636" y="1114837"/>
                            </a:lnTo>
                            <a:lnTo>
                              <a:pt x="1523573" y="1112093"/>
                            </a:lnTo>
                            <a:lnTo>
                              <a:pt x="1527414" y="1112642"/>
                            </a:lnTo>
                            <a:lnTo>
                              <a:pt x="1525219" y="1127455"/>
                            </a:lnTo>
                            <a:lnTo>
                              <a:pt x="1541679" y="1168055"/>
                            </a:lnTo>
                            <a:lnTo>
                              <a:pt x="1552651" y="1175736"/>
                            </a:lnTo>
                            <a:lnTo>
                              <a:pt x="1560332" y="1173541"/>
                            </a:lnTo>
                            <a:lnTo>
                              <a:pt x="1560881" y="1177930"/>
                            </a:lnTo>
                            <a:lnTo>
                              <a:pt x="1564721" y="1182319"/>
                            </a:lnTo>
                            <a:lnTo>
                              <a:pt x="1557040" y="1193292"/>
                            </a:lnTo>
                            <a:lnTo>
                              <a:pt x="1542776" y="1240475"/>
                            </a:lnTo>
                            <a:lnTo>
                              <a:pt x="1532900" y="1247607"/>
                            </a:lnTo>
                            <a:lnTo>
                              <a:pt x="1529608" y="1242121"/>
                            </a:lnTo>
                            <a:lnTo>
                              <a:pt x="1530157" y="1232794"/>
                            </a:lnTo>
                            <a:lnTo>
                              <a:pt x="1523573" y="1224016"/>
                            </a:lnTo>
                            <a:lnTo>
                              <a:pt x="1510955" y="1216335"/>
                            </a:lnTo>
                            <a:lnTo>
                              <a:pt x="1479682" y="1180673"/>
                            </a:lnTo>
                            <a:lnTo>
                              <a:pt x="1468161" y="1178479"/>
                            </a:lnTo>
                            <a:lnTo>
                              <a:pt x="1451153" y="1165311"/>
                            </a:lnTo>
                            <a:lnTo>
                              <a:pt x="1433048" y="1158179"/>
                            </a:lnTo>
                            <a:lnTo>
                              <a:pt x="1433596" y="1152144"/>
                            </a:lnTo>
                            <a:lnTo>
                              <a:pt x="1439083" y="1152144"/>
                            </a:lnTo>
                            <a:lnTo>
                              <a:pt x="1435791" y="1149401"/>
                            </a:lnTo>
                            <a:lnTo>
                              <a:pt x="1423721" y="1146658"/>
                            </a:lnTo>
                            <a:lnTo>
                              <a:pt x="1408359" y="1135136"/>
                            </a:lnTo>
                            <a:lnTo>
                              <a:pt x="1399032" y="1131296"/>
                            </a:lnTo>
                            <a:lnTo>
                              <a:pt x="1377086" y="1110447"/>
                            </a:lnTo>
                            <a:lnTo>
                              <a:pt x="1345265" y="1097280"/>
                            </a:lnTo>
                            <a:lnTo>
                              <a:pt x="1339779" y="1097280"/>
                            </a:lnTo>
                            <a:lnTo>
                              <a:pt x="1326063" y="1088502"/>
                            </a:lnTo>
                            <a:lnTo>
                              <a:pt x="1279977" y="1086307"/>
                            </a:lnTo>
                            <a:lnTo>
                              <a:pt x="1277234" y="1081918"/>
                            </a:lnTo>
                            <a:lnTo>
                              <a:pt x="1265164" y="1077529"/>
                            </a:lnTo>
                            <a:lnTo>
                              <a:pt x="1256386" y="1077529"/>
                            </a:lnTo>
                            <a:lnTo>
                              <a:pt x="1252545" y="1079724"/>
                            </a:lnTo>
                            <a:lnTo>
                              <a:pt x="1251997" y="1086856"/>
                            </a:lnTo>
                            <a:lnTo>
                              <a:pt x="1248705" y="1092342"/>
                            </a:lnTo>
                            <a:lnTo>
                              <a:pt x="1234989" y="1101669"/>
                            </a:lnTo>
                            <a:lnTo>
                              <a:pt x="1234989" y="1107704"/>
                            </a:lnTo>
                            <a:lnTo>
                              <a:pt x="1254740" y="1157082"/>
                            </a:lnTo>
                            <a:lnTo>
                              <a:pt x="1254740" y="1152144"/>
                            </a:lnTo>
                            <a:lnTo>
                              <a:pt x="1258032" y="1153241"/>
                            </a:lnTo>
                            <a:lnTo>
                              <a:pt x="1252545" y="1180673"/>
                            </a:lnTo>
                            <a:lnTo>
                              <a:pt x="1239378" y="1196035"/>
                            </a:lnTo>
                            <a:lnTo>
                              <a:pt x="1217981" y="1198230"/>
                            </a:lnTo>
                            <a:lnTo>
                              <a:pt x="1217981" y="1208105"/>
                            </a:lnTo>
                            <a:lnTo>
                              <a:pt x="1220724" y="1214689"/>
                            </a:lnTo>
                            <a:lnTo>
                              <a:pt x="1221821" y="1221273"/>
                            </a:lnTo>
                            <a:lnTo>
                              <a:pt x="1214140" y="1231697"/>
                            </a:lnTo>
                            <a:lnTo>
                              <a:pt x="1205911" y="1236086"/>
                            </a:lnTo>
                            <a:lnTo>
                              <a:pt x="1196584" y="1231697"/>
                            </a:lnTo>
                            <a:lnTo>
                              <a:pt x="1188903" y="1224016"/>
                            </a:lnTo>
                            <a:lnTo>
                              <a:pt x="1188903" y="1211397"/>
                            </a:lnTo>
                            <a:lnTo>
                              <a:pt x="1191646" y="1204265"/>
                            </a:lnTo>
                            <a:lnTo>
                              <a:pt x="1196584" y="1198778"/>
                            </a:lnTo>
                            <a:lnTo>
                              <a:pt x="1201522" y="1194938"/>
                            </a:lnTo>
                            <a:lnTo>
                              <a:pt x="1186708" y="1173541"/>
                            </a:lnTo>
                            <a:lnTo>
                              <a:pt x="1187806" y="1167506"/>
                            </a:lnTo>
                            <a:lnTo>
                              <a:pt x="1180673" y="1166409"/>
                            </a:lnTo>
                            <a:lnTo>
                              <a:pt x="1153790" y="1178479"/>
                            </a:lnTo>
                            <a:lnTo>
                              <a:pt x="1146658" y="1188903"/>
                            </a:lnTo>
                            <a:lnTo>
                              <a:pt x="1136782" y="1193292"/>
                            </a:lnTo>
                            <a:lnTo>
                              <a:pt x="1123066" y="1214689"/>
                            </a:lnTo>
                            <a:lnTo>
                              <a:pt x="1114288" y="1215238"/>
                            </a:lnTo>
                            <a:lnTo>
                              <a:pt x="1110448" y="1209751"/>
                            </a:lnTo>
                            <a:lnTo>
                              <a:pt x="1100023" y="1207008"/>
                            </a:lnTo>
                            <a:lnTo>
                              <a:pt x="1087405" y="1210300"/>
                            </a:lnTo>
                            <a:lnTo>
                              <a:pt x="1075883" y="1203716"/>
                            </a:lnTo>
                            <a:lnTo>
                              <a:pt x="1059424" y="1213592"/>
                            </a:lnTo>
                            <a:lnTo>
                              <a:pt x="1051743" y="1213043"/>
                            </a:lnTo>
                            <a:lnTo>
                              <a:pt x="1035284" y="1226759"/>
                            </a:lnTo>
                            <a:lnTo>
                              <a:pt x="1032541" y="1233343"/>
                            </a:lnTo>
                            <a:lnTo>
                              <a:pt x="1030346" y="1253642"/>
                            </a:lnTo>
                            <a:lnTo>
                              <a:pt x="1023762" y="1253642"/>
                            </a:lnTo>
                            <a:lnTo>
                              <a:pt x="1018276" y="1249253"/>
                            </a:lnTo>
                            <a:lnTo>
                              <a:pt x="1012790" y="1241572"/>
                            </a:lnTo>
                            <a:lnTo>
                              <a:pt x="1005109" y="1247059"/>
                            </a:lnTo>
                            <a:lnTo>
                              <a:pt x="996879" y="1237183"/>
                            </a:lnTo>
                            <a:lnTo>
                              <a:pt x="996879" y="1219078"/>
                            </a:lnTo>
                            <a:lnTo>
                              <a:pt x="993038" y="1214689"/>
                            </a:lnTo>
                            <a:lnTo>
                              <a:pt x="993038" y="1209751"/>
                            </a:lnTo>
                            <a:lnTo>
                              <a:pt x="997976" y="1198778"/>
                            </a:lnTo>
                            <a:lnTo>
                              <a:pt x="999074" y="1188903"/>
                            </a:lnTo>
                            <a:lnTo>
                              <a:pt x="994684" y="1180673"/>
                            </a:lnTo>
                            <a:lnTo>
                              <a:pt x="991393" y="1179027"/>
                            </a:lnTo>
                            <a:lnTo>
                              <a:pt x="990844" y="1184514"/>
                            </a:lnTo>
                            <a:lnTo>
                              <a:pt x="988101" y="1185062"/>
                            </a:lnTo>
                            <a:lnTo>
                              <a:pt x="988649" y="1178479"/>
                            </a:lnTo>
                            <a:lnTo>
                              <a:pt x="994136" y="1174638"/>
                            </a:lnTo>
                            <a:lnTo>
                              <a:pt x="1011144" y="1173541"/>
                            </a:lnTo>
                            <a:lnTo>
                              <a:pt x="1018825" y="1169152"/>
                            </a:lnTo>
                            <a:lnTo>
                              <a:pt x="1020470" y="1167506"/>
                            </a:lnTo>
                            <a:lnTo>
                              <a:pt x="1004011" y="1172444"/>
                            </a:lnTo>
                            <a:lnTo>
                              <a:pt x="999622" y="1171346"/>
                            </a:lnTo>
                            <a:lnTo>
                              <a:pt x="989198" y="1172444"/>
                            </a:lnTo>
                            <a:lnTo>
                              <a:pt x="974385" y="1179576"/>
                            </a:lnTo>
                            <a:lnTo>
                              <a:pt x="975482" y="1185062"/>
                            </a:lnTo>
                            <a:lnTo>
                              <a:pt x="969447" y="1187257"/>
                            </a:lnTo>
                            <a:lnTo>
                              <a:pt x="967801" y="1190000"/>
                            </a:lnTo>
                            <a:lnTo>
                              <a:pt x="970544" y="1204265"/>
                            </a:lnTo>
                            <a:lnTo>
                              <a:pt x="962315" y="1208105"/>
                            </a:lnTo>
                            <a:lnTo>
                              <a:pt x="956828" y="1205362"/>
                            </a:lnTo>
                            <a:lnTo>
                              <a:pt x="954085" y="1198778"/>
                            </a:lnTo>
                            <a:lnTo>
                              <a:pt x="957377" y="1193292"/>
                            </a:lnTo>
                            <a:lnTo>
                              <a:pt x="952439" y="1193292"/>
                            </a:lnTo>
                            <a:lnTo>
                              <a:pt x="937077" y="1210300"/>
                            </a:lnTo>
                            <a:lnTo>
                              <a:pt x="943661" y="1209203"/>
                            </a:lnTo>
                            <a:lnTo>
                              <a:pt x="945856" y="1215238"/>
                            </a:lnTo>
                            <a:lnTo>
                              <a:pt x="944758" y="1227856"/>
                            </a:lnTo>
                            <a:lnTo>
                              <a:pt x="939272" y="1232794"/>
                            </a:lnTo>
                            <a:lnTo>
                              <a:pt x="935431" y="1234440"/>
                            </a:lnTo>
                            <a:lnTo>
                              <a:pt x="926653" y="1217432"/>
                            </a:lnTo>
                            <a:lnTo>
                              <a:pt x="908548" y="1222370"/>
                            </a:lnTo>
                            <a:lnTo>
                              <a:pt x="910194" y="1225113"/>
                            </a:lnTo>
                            <a:lnTo>
                              <a:pt x="884408" y="1237183"/>
                            </a:lnTo>
                            <a:lnTo>
                              <a:pt x="882213" y="1235537"/>
                            </a:lnTo>
                            <a:lnTo>
                              <a:pt x="808696" y="1287658"/>
                            </a:lnTo>
                            <a:lnTo>
                              <a:pt x="802660" y="1287110"/>
                            </a:lnTo>
                            <a:lnTo>
                              <a:pt x="802112" y="1298082"/>
                            </a:lnTo>
                            <a:lnTo>
                              <a:pt x="804855" y="1299728"/>
                            </a:lnTo>
                            <a:lnTo>
                              <a:pt x="798271" y="1304666"/>
                            </a:lnTo>
                            <a:lnTo>
                              <a:pt x="784007" y="1306861"/>
                            </a:lnTo>
                            <a:lnTo>
                              <a:pt x="777423" y="1312347"/>
                            </a:lnTo>
                            <a:lnTo>
                              <a:pt x="773034" y="1310152"/>
                            </a:lnTo>
                            <a:lnTo>
                              <a:pt x="760415" y="1349106"/>
                            </a:lnTo>
                            <a:lnTo>
                              <a:pt x="762061" y="1366114"/>
                            </a:lnTo>
                            <a:lnTo>
                              <a:pt x="757123" y="1374892"/>
                            </a:lnTo>
                            <a:lnTo>
                              <a:pt x="746150" y="1380927"/>
                            </a:lnTo>
                            <a:lnTo>
                              <a:pt x="738470" y="1379830"/>
                            </a:lnTo>
                            <a:lnTo>
                              <a:pt x="724754" y="1385865"/>
                            </a:lnTo>
                            <a:lnTo>
                              <a:pt x="721462" y="1400129"/>
                            </a:lnTo>
                            <a:lnTo>
                              <a:pt x="716524" y="1379830"/>
                            </a:lnTo>
                            <a:lnTo>
                              <a:pt x="707746" y="1385316"/>
                            </a:lnTo>
                            <a:lnTo>
                              <a:pt x="701162" y="1385316"/>
                            </a:lnTo>
                            <a:lnTo>
                              <a:pt x="695676" y="1380927"/>
                            </a:lnTo>
                            <a:lnTo>
                              <a:pt x="684703" y="1358981"/>
                            </a:lnTo>
                            <a:lnTo>
                              <a:pt x="662757" y="1335938"/>
                            </a:lnTo>
                            <a:lnTo>
                              <a:pt x="659465" y="1326063"/>
                            </a:lnTo>
                            <a:lnTo>
                              <a:pt x="658917" y="1315090"/>
                            </a:lnTo>
                            <a:lnTo>
                              <a:pt x="666598" y="1314542"/>
                            </a:lnTo>
                            <a:lnTo>
                              <a:pt x="671536" y="1307958"/>
                            </a:lnTo>
                            <a:lnTo>
                              <a:pt x="674279" y="1298631"/>
                            </a:lnTo>
                            <a:lnTo>
                              <a:pt x="722010" y="1287110"/>
                            </a:lnTo>
                            <a:lnTo>
                              <a:pt x="716524" y="1276137"/>
                            </a:lnTo>
                            <a:lnTo>
                              <a:pt x="712684" y="1250899"/>
                            </a:lnTo>
                            <a:lnTo>
                              <a:pt x="705551" y="1254740"/>
                            </a:lnTo>
                            <a:lnTo>
                              <a:pt x="699516" y="1241572"/>
                            </a:lnTo>
                            <a:lnTo>
                              <a:pt x="695127" y="1238281"/>
                            </a:lnTo>
                            <a:lnTo>
                              <a:pt x="694578" y="1227308"/>
                            </a:lnTo>
                            <a:lnTo>
                              <a:pt x="687446" y="1221273"/>
                            </a:lnTo>
                            <a:lnTo>
                              <a:pt x="669890" y="1215786"/>
                            </a:lnTo>
                            <a:lnTo>
                              <a:pt x="636971" y="1214689"/>
                            </a:lnTo>
                            <a:lnTo>
                              <a:pt x="629290" y="1217432"/>
                            </a:lnTo>
                            <a:lnTo>
                              <a:pt x="594177" y="1200973"/>
                            </a:lnTo>
                            <a:lnTo>
                              <a:pt x="595823" y="1207557"/>
                            </a:lnTo>
                            <a:lnTo>
                              <a:pt x="628193" y="1236086"/>
                            </a:lnTo>
                            <a:lnTo>
                              <a:pt x="629290" y="1269004"/>
                            </a:lnTo>
                            <a:lnTo>
                              <a:pt x="625998" y="1282720"/>
                            </a:lnTo>
                            <a:lnTo>
                              <a:pt x="627096" y="1294242"/>
                            </a:lnTo>
                            <a:lnTo>
                              <a:pt x="616672" y="1337584"/>
                            </a:lnTo>
                            <a:lnTo>
                              <a:pt x="617769" y="1349106"/>
                            </a:lnTo>
                            <a:lnTo>
                              <a:pt x="621061" y="1351849"/>
                            </a:lnTo>
                            <a:lnTo>
                              <a:pt x="629839" y="1351849"/>
                            </a:lnTo>
                            <a:lnTo>
                              <a:pt x="635874" y="1357335"/>
                            </a:lnTo>
                            <a:lnTo>
                              <a:pt x="642458" y="1370503"/>
                            </a:lnTo>
                            <a:lnTo>
                              <a:pt x="641909" y="1378732"/>
                            </a:lnTo>
                            <a:lnTo>
                              <a:pt x="638617" y="1387511"/>
                            </a:lnTo>
                            <a:lnTo>
                              <a:pt x="640812" y="1395192"/>
                            </a:lnTo>
                            <a:lnTo>
                              <a:pt x="638068" y="1407810"/>
                            </a:lnTo>
                            <a:lnTo>
                              <a:pt x="631485" y="1418783"/>
                            </a:lnTo>
                            <a:lnTo>
                              <a:pt x="627096" y="1435242"/>
                            </a:lnTo>
                            <a:lnTo>
                              <a:pt x="630936" y="1447312"/>
                            </a:lnTo>
                            <a:lnTo>
                              <a:pt x="628742" y="1472001"/>
                            </a:lnTo>
                            <a:lnTo>
                              <a:pt x="622158" y="1461577"/>
                            </a:lnTo>
                            <a:lnTo>
                              <a:pt x="619963" y="1453896"/>
                            </a:lnTo>
                            <a:lnTo>
                              <a:pt x="615026" y="1447312"/>
                            </a:lnTo>
                            <a:lnTo>
                              <a:pt x="609539" y="1447861"/>
                            </a:lnTo>
                            <a:lnTo>
                              <a:pt x="600761" y="1456091"/>
                            </a:lnTo>
                            <a:lnTo>
                              <a:pt x="605699" y="1445666"/>
                            </a:lnTo>
                            <a:lnTo>
                              <a:pt x="606247" y="1437437"/>
                            </a:lnTo>
                            <a:lnTo>
                              <a:pt x="589240" y="1424818"/>
                            </a:lnTo>
                            <a:lnTo>
                              <a:pt x="572780" y="1424818"/>
                            </a:lnTo>
                            <a:lnTo>
                              <a:pt x="559064" y="1412199"/>
                            </a:lnTo>
                            <a:lnTo>
                              <a:pt x="553029" y="1418783"/>
                            </a:lnTo>
                            <a:lnTo>
                              <a:pt x="550286" y="1425915"/>
                            </a:lnTo>
                            <a:lnTo>
                              <a:pt x="526146" y="1455542"/>
                            </a:lnTo>
                            <a:lnTo>
                              <a:pt x="509687" y="1462674"/>
                            </a:lnTo>
                            <a:lnTo>
                              <a:pt x="503652" y="1462674"/>
                            </a:lnTo>
                            <a:lnTo>
                              <a:pt x="494873" y="1468709"/>
                            </a:lnTo>
                            <a:lnTo>
                              <a:pt x="490484" y="1478585"/>
                            </a:lnTo>
                            <a:lnTo>
                              <a:pt x="474574" y="1492850"/>
                            </a:lnTo>
                            <a:lnTo>
                              <a:pt x="465796" y="1495593"/>
                            </a:lnTo>
                            <a:lnTo>
                              <a:pt x="467990" y="1522476"/>
                            </a:lnTo>
                            <a:lnTo>
                              <a:pt x="505298" y="1594897"/>
                            </a:lnTo>
                            <a:lnTo>
                              <a:pt x="505298" y="1599286"/>
                            </a:lnTo>
                            <a:lnTo>
                              <a:pt x="493228" y="1591056"/>
                            </a:lnTo>
                            <a:lnTo>
                              <a:pt x="489387" y="1592702"/>
                            </a:lnTo>
                            <a:lnTo>
                              <a:pt x="469636" y="1585570"/>
                            </a:lnTo>
                            <a:lnTo>
                              <a:pt x="470185" y="1589410"/>
                            </a:lnTo>
                            <a:lnTo>
                              <a:pt x="468539" y="1591605"/>
                            </a:lnTo>
                            <a:lnTo>
                              <a:pt x="446593" y="1584472"/>
                            </a:lnTo>
                            <a:lnTo>
                              <a:pt x="433974" y="1574597"/>
                            </a:lnTo>
                            <a:lnTo>
                              <a:pt x="424099" y="1572951"/>
                            </a:lnTo>
                            <a:lnTo>
                              <a:pt x="417515" y="1569110"/>
                            </a:lnTo>
                            <a:lnTo>
                              <a:pt x="407091" y="1577889"/>
                            </a:lnTo>
                            <a:lnTo>
                              <a:pt x="402153" y="1586667"/>
                            </a:lnTo>
                            <a:lnTo>
                              <a:pt x="399410" y="1572951"/>
                            </a:lnTo>
                            <a:lnTo>
                              <a:pt x="410383" y="1566916"/>
                            </a:lnTo>
                            <a:lnTo>
                              <a:pt x="390632" y="1560881"/>
                            </a:lnTo>
                            <a:lnTo>
                              <a:pt x="387889" y="1552103"/>
                            </a:lnTo>
                            <a:lnTo>
                              <a:pt x="363748" y="1537838"/>
                            </a:lnTo>
                            <a:lnTo>
                              <a:pt x="356616" y="1536192"/>
                            </a:lnTo>
                            <a:lnTo>
                              <a:pt x="354421" y="1550457"/>
                            </a:lnTo>
                            <a:lnTo>
                              <a:pt x="348386" y="1558138"/>
                            </a:lnTo>
                            <a:lnTo>
                              <a:pt x="341803" y="1560881"/>
                            </a:lnTo>
                            <a:lnTo>
                              <a:pt x="347838" y="1577889"/>
                            </a:lnTo>
                            <a:lnTo>
                              <a:pt x="353324" y="1581181"/>
                            </a:lnTo>
                            <a:lnTo>
                              <a:pt x="361005" y="1597091"/>
                            </a:lnTo>
                            <a:lnTo>
                              <a:pt x="371978" y="1608613"/>
                            </a:lnTo>
                            <a:lnTo>
                              <a:pt x="392826" y="1599834"/>
                            </a:lnTo>
                            <a:lnTo>
                              <a:pt x="402153" y="1643177"/>
                            </a:lnTo>
                            <a:lnTo>
                              <a:pt x="405994" y="1648115"/>
                            </a:lnTo>
                            <a:lnTo>
                              <a:pt x="393375" y="1643177"/>
                            </a:lnTo>
                            <a:lnTo>
                              <a:pt x="383500" y="1650309"/>
                            </a:lnTo>
                            <a:lnTo>
                              <a:pt x="381305" y="1655247"/>
                            </a:lnTo>
                            <a:lnTo>
                              <a:pt x="381305" y="1657990"/>
                            </a:lnTo>
                            <a:lnTo>
                              <a:pt x="331927" y="1636593"/>
                            </a:lnTo>
                            <a:lnTo>
                              <a:pt x="325344" y="1623974"/>
                            </a:lnTo>
                            <a:lnTo>
                              <a:pt x="319309" y="1619037"/>
                            </a:lnTo>
                            <a:lnTo>
                              <a:pt x="314371" y="1611904"/>
                            </a:lnTo>
                            <a:lnTo>
                              <a:pt x="307787" y="1608613"/>
                            </a:lnTo>
                            <a:lnTo>
                              <a:pt x="303947" y="1612453"/>
                            </a:lnTo>
                            <a:lnTo>
                              <a:pt x="296814" y="1613002"/>
                            </a:lnTo>
                            <a:lnTo>
                              <a:pt x="284744" y="1603675"/>
                            </a:lnTo>
                            <a:lnTo>
                              <a:pt x="280355" y="1594897"/>
                            </a:lnTo>
                            <a:lnTo>
                              <a:pt x="271577" y="1600383"/>
                            </a:lnTo>
                            <a:lnTo>
                              <a:pt x="273223" y="1594348"/>
                            </a:lnTo>
                            <a:lnTo>
                              <a:pt x="279806" y="1587764"/>
                            </a:lnTo>
                            <a:lnTo>
                              <a:pt x="279258" y="1562527"/>
                            </a:lnTo>
                            <a:lnTo>
                              <a:pt x="272125" y="1556492"/>
                            </a:lnTo>
                            <a:lnTo>
                              <a:pt x="272674" y="1546068"/>
                            </a:lnTo>
                            <a:lnTo>
                              <a:pt x="260056" y="1521379"/>
                            </a:lnTo>
                            <a:lnTo>
                              <a:pt x="263347" y="1515892"/>
                            </a:lnTo>
                            <a:lnTo>
                              <a:pt x="272674" y="1513149"/>
                            </a:lnTo>
                            <a:lnTo>
                              <a:pt x="276515" y="1479682"/>
                            </a:lnTo>
                            <a:lnTo>
                              <a:pt x="275417" y="1472550"/>
                            </a:lnTo>
                            <a:lnTo>
                              <a:pt x="270480" y="1467063"/>
                            </a:lnTo>
                            <a:lnTo>
                              <a:pt x="265542" y="1452799"/>
                            </a:lnTo>
                            <a:lnTo>
                              <a:pt x="262250" y="1449507"/>
                            </a:lnTo>
                            <a:lnTo>
                              <a:pt x="251826" y="1447861"/>
                            </a:lnTo>
                            <a:lnTo>
                              <a:pt x="248534" y="1438534"/>
                            </a:lnTo>
                            <a:lnTo>
                              <a:pt x="241402" y="1437986"/>
                            </a:lnTo>
                            <a:lnTo>
                              <a:pt x="229880" y="1433596"/>
                            </a:lnTo>
                            <a:lnTo>
                              <a:pt x="230977" y="1422624"/>
                            </a:lnTo>
                            <a:lnTo>
                              <a:pt x="229332" y="1419332"/>
                            </a:lnTo>
                            <a:lnTo>
                              <a:pt x="217810" y="1418234"/>
                            </a:lnTo>
                            <a:lnTo>
                              <a:pt x="195316" y="1397386"/>
                            </a:lnTo>
                            <a:lnTo>
                              <a:pt x="199156" y="1393546"/>
                            </a:lnTo>
                            <a:lnTo>
                              <a:pt x="189281" y="1383122"/>
                            </a:lnTo>
                            <a:lnTo>
                              <a:pt x="185989" y="1372697"/>
                            </a:lnTo>
                            <a:lnTo>
                              <a:pt x="181051" y="1364468"/>
                            </a:lnTo>
                            <a:lnTo>
                              <a:pt x="170627" y="1361176"/>
                            </a:lnTo>
                            <a:lnTo>
                              <a:pt x="175016" y="1355141"/>
                            </a:lnTo>
                            <a:lnTo>
                              <a:pt x="189281" y="1352946"/>
                            </a:lnTo>
                            <a:lnTo>
                              <a:pt x="201900" y="1361176"/>
                            </a:lnTo>
                            <a:lnTo>
                              <a:pt x="202997" y="1368857"/>
                            </a:lnTo>
                            <a:lnTo>
                              <a:pt x="210129" y="1378732"/>
                            </a:lnTo>
                            <a:lnTo>
                              <a:pt x="229332" y="1391900"/>
                            </a:lnTo>
                            <a:lnTo>
                              <a:pt x="231526" y="1389705"/>
                            </a:lnTo>
                            <a:lnTo>
                              <a:pt x="234269" y="1383670"/>
                            </a:lnTo>
                            <a:lnTo>
                              <a:pt x="239756" y="1393546"/>
                            </a:lnTo>
                            <a:lnTo>
                              <a:pt x="245791" y="1398483"/>
                            </a:lnTo>
                            <a:lnTo>
                              <a:pt x="250180" y="1394094"/>
                            </a:lnTo>
                            <a:lnTo>
                              <a:pt x="253472" y="1396289"/>
                            </a:lnTo>
                            <a:lnTo>
                              <a:pt x="256764" y="1391900"/>
                            </a:lnTo>
                            <a:lnTo>
                              <a:pt x="260604" y="1392997"/>
                            </a:lnTo>
                            <a:lnTo>
                              <a:pt x="264993" y="1410005"/>
                            </a:lnTo>
                            <a:lnTo>
                              <a:pt x="275417" y="1406164"/>
                            </a:lnTo>
                            <a:lnTo>
                              <a:pt x="288036" y="1410005"/>
                            </a:lnTo>
                            <a:lnTo>
                              <a:pt x="291877" y="1416589"/>
                            </a:lnTo>
                            <a:lnTo>
                              <a:pt x="300655" y="1416589"/>
                            </a:lnTo>
                            <a:lnTo>
                              <a:pt x="306141" y="1422624"/>
                            </a:lnTo>
                            <a:lnTo>
                              <a:pt x="338511" y="1434145"/>
                            </a:lnTo>
                            <a:lnTo>
                              <a:pt x="357713" y="1435242"/>
                            </a:lnTo>
                            <a:lnTo>
                              <a:pt x="375270" y="1442375"/>
                            </a:lnTo>
                            <a:lnTo>
                              <a:pt x="381305" y="1448958"/>
                            </a:lnTo>
                            <a:lnTo>
                              <a:pt x="427391" y="1453896"/>
                            </a:lnTo>
                            <a:lnTo>
                              <a:pt x="436169" y="1449507"/>
                            </a:lnTo>
                            <a:lnTo>
                              <a:pt x="444947" y="1448410"/>
                            </a:lnTo>
                            <a:lnTo>
                              <a:pt x="474574" y="1435242"/>
                            </a:lnTo>
                            <a:lnTo>
                              <a:pt x="515173" y="1385316"/>
                            </a:lnTo>
                            <a:lnTo>
                              <a:pt x="523403" y="1352398"/>
                            </a:lnTo>
                            <a:lnTo>
                              <a:pt x="516819" y="1349106"/>
                            </a:lnTo>
                            <a:lnTo>
                              <a:pt x="515173" y="1346363"/>
                            </a:lnTo>
                            <a:lnTo>
                              <a:pt x="510235" y="1305763"/>
                            </a:lnTo>
                            <a:lnTo>
                              <a:pt x="503652" y="1296436"/>
                            </a:lnTo>
                            <a:lnTo>
                              <a:pt x="495422" y="1291499"/>
                            </a:lnTo>
                            <a:lnTo>
                              <a:pt x="491582" y="1294242"/>
                            </a:lnTo>
                            <a:lnTo>
                              <a:pt x="486095" y="1288755"/>
                            </a:lnTo>
                            <a:lnTo>
                              <a:pt x="486095" y="1282720"/>
                            </a:lnTo>
                            <a:lnTo>
                              <a:pt x="474574" y="1269553"/>
                            </a:lnTo>
                            <a:lnTo>
                              <a:pt x="471830" y="1263518"/>
                            </a:lnTo>
                            <a:lnTo>
                              <a:pt x="463052" y="1256386"/>
                            </a:lnTo>
                            <a:lnTo>
                              <a:pt x="465796" y="1265713"/>
                            </a:lnTo>
                            <a:lnTo>
                              <a:pt x="460858" y="1267907"/>
                            </a:lnTo>
                            <a:lnTo>
                              <a:pt x="438912" y="1249802"/>
                            </a:lnTo>
                            <a:lnTo>
                              <a:pt x="437815" y="1255288"/>
                            </a:lnTo>
                            <a:lnTo>
                              <a:pt x="435072" y="1251997"/>
                            </a:lnTo>
                            <a:lnTo>
                              <a:pt x="432877" y="1243218"/>
                            </a:lnTo>
                            <a:lnTo>
                              <a:pt x="424099" y="1232794"/>
                            </a:lnTo>
                            <a:lnTo>
                              <a:pt x="429585" y="1244864"/>
                            </a:lnTo>
                            <a:lnTo>
                              <a:pt x="414772" y="1240475"/>
                            </a:lnTo>
                            <a:lnTo>
                              <a:pt x="409834" y="1232794"/>
                            </a:lnTo>
                            <a:lnTo>
                              <a:pt x="408737" y="1227856"/>
                            </a:lnTo>
                            <a:lnTo>
                              <a:pt x="315468" y="1148304"/>
                            </a:lnTo>
                            <a:lnTo>
                              <a:pt x="291877" y="1142817"/>
                            </a:lnTo>
                            <a:lnTo>
                              <a:pt x="294071" y="1146658"/>
                            </a:lnTo>
                            <a:lnTo>
                              <a:pt x="291877" y="1149950"/>
                            </a:lnTo>
                            <a:lnTo>
                              <a:pt x="288036" y="1149950"/>
                            </a:lnTo>
                            <a:lnTo>
                              <a:pt x="242499" y="1133490"/>
                            </a:lnTo>
                            <a:lnTo>
                              <a:pt x="239756" y="1138428"/>
                            </a:lnTo>
                            <a:lnTo>
                              <a:pt x="227686" y="1139525"/>
                            </a:lnTo>
                            <a:lnTo>
                              <a:pt x="222748" y="1143366"/>
                            </a:lnTo>
                            <a:lnTo>
                              <a:pt x="220553" y="1137331"/>
                            </a:lnTo>
                            <a:lnTo>
                              <a:pt x="217810" y="1134588"/>
                            </a:lnTo>
                            <a:lnTo>
                              <a:pt x="218908" y="1125809"/>
                            </a:lnTo>
                            <a:lnTo>
                              <a:pt x="217810" y="1123615"/>
                            </a:lnTo>
                            <a:lnTo>
                              <a:pt x="204094" y="1134588"/>
                            </a:lnTo>
                            <a:lnTo>
                              <a:pt x="207386" y="1121420"/>
                            </a:lnTo>
                            <a:lnTo>
                              <a:pt x="200254" y="1125809"/>
                            </a:lnTo>
                            <a:lnTo>
                              <a:pt x="201351" y="1118677"/>
                            </a:lnTo>
                            <a:lnTo>
                              <a:pt x="199156" y="1117580"/>
                            </a:lnTo>
                            <a:lnTo>
                              <a:pt x="193670" y="1117580"/>
                            </a:lnTo>
                            <a:lnTo>
                              <a:pt x="183794" y="1121420"/>
                            </a:lnTo>
                            <a:lnTo>
                              <a:pt x="185440" y="1117031"/>
                            </a:lnTo>
                            <a:lnTo>
                              <a:pt x="184892" y="1112093"/>
                            </a:lnTo>
                            <a:lnTo>
                              <a:pt x="182697" y="1107704"/>
                            </a:lnTo>
                            <a:lnTo>
                              <a:pt x="171724" y="1108802"/>
                            </a:lnTo>
                            <a:lnTo>
                              <a:pt x="176113" y="1088502"/>
                            </a:lnTo>
                            <a:lnTo>
                              <a:pt x="178857" y="1097280"/>
                            </a:lnTo>
                            <a:lnTo>
                              <a:pt x="183246" y="1100572"/>
                            </a:lnTo>
                            <a:lnTo>
                              <a:pt x="186538" y="1100023"/>
                            </a:lnTo>
                            <a:lnTo>
                              <a:pt x="190927" y="1104961"/>
                            </a:lnTo>
                            <a:lnTo>
                              <a:pt x="199156" y="1104412"/>
                            </a:lnTo>
                            <a:lnTo>
                              <a:pt x="204094" y="1106607"/>
                            </a:lnTo>
                            <a:lnTo>
                              <a:pt x="210129" y="1095634"/>
                            </a:lnTo>
                            <a:lnTo>
                              <a:pt x="211226" y="1088502"/>
                            </a:lnTo>
                            <a:lnTo>
                              <a:pt x="199156" y="1083564"/>
                            </a:lnTo>
                            <a:lnTo>
                              <a:pt x="193670" y="1085759"/>
                            </a:lnTo>
                            <a:lnTo>
                              <a:pt x="188732" y="1081370"/>
                            </a:lnTo>
                            <a:lnTo>
                              <a:pt x="187635" y="1077529"/>
                            </a:lnTo>
                            <a:lnTo>
                              <a:pt x="166238" y="1067105"/>
                            </a:lnTo>
                            <a:lnTo>
                              <a:pt x="170078" y="1073140"/>
                            </a:lnTo>
                            <a:lnTo>
                              <a:pt x="169530" y="1083564"/>
                            </a:lnTo>
                            <a:lnTo>
                              <a:pt x="163495" y="1084113"/>
                            </a:lnTo>
                            <a:lnTo>
                              <a:pt x="160752" y="1081370"/>
                            </a:lnTo>
                            <a:lnTo>
                              <a:pt x="159654" y="1086307"/>
                            </a:lnTo>
                            <a:lnTo>
                              <a:pt x="160752" y="1093988"/>
                            </a:lnTo>
                            <a:lnTo>
                              <a:pt x="158008" y="1098377"/>
                            </a:lnTo>
                            <a:lnTo>
                              <a:pt x="151425" y="1098377"/>
                            </a:lnTo>
                            <a:lnTo>
                              <a:pt x="144292" y="1090696"/>
                            </a:lnTo>
                            <a:lnTo>
                              <a:pt x="130576" y="1084113"/>
                            </a:lnTo>
                            <a:lnTo>
                              <a:pt x="129479" y="1085210"/>
                            </a:lnTo>
                            <a:lnTo>
                              <a:pt x="129479" y="1085210"/>
                            </a:lnTo>
                            <a:lnTo>
                              <a:pt x="131125" y="1087953"/>
                            </a:lnTo>
                            <a:lnTo>
                              <a:pt x="130576" y="1095634"/>
                            </a:lnTo>
                            <a:lnTo>
                              <a:pt x="126187" y="1107704"/>
                            </a:lnTo>
                            <a:lnTo>
                              <a:pt x="117958" y="1109899"/>
                            </a:lnTo>
                            <a:lnTo>
                              <a:pt x="103144" y="1100572"/>
                            </a:lnTo>
                            <a:lnTo>
                              <a:pt x="98755" y="1121420"/>
                            </a:lnTo>
                            <a:lnTo>
                              <a:pt x="93817" y="1126358"/>
                            </a:lnTo>
                            <a:lnTo>
                              <a:pt x="72421" y="1139525"/>
                            </a:lnTo>
                            <a:lnTo>
                              <a:pt x="70775" y="1142817"/>
                            </a:lnTo>
                            <a:lnTo>
                              <a:pt x="70226" y="1150498"/>
                            </a:lnTo>
                            <a:lnTo>
                              <a:pt x="69129" y="1152693"/>
                            </a:lnTo>
                            <a:lnTo>
                              <a:pt x="63094" y="1158728"/>
                            </a:lnTo>
                            <a:lnTo>
                              <a:pt x="60899" y="1159276"/>
                            </a:lnTo>
                            <a:lnTo>
                              <a:pt x="60899" y="1159276"/>
                            </a:lnTo>
                            <a:lnTo>
                              <a:pt x="40599" y="1178479"/>
                            </a:lnTo>
                            <a:lnTo>
                              <a:pt x="47183" y="1181771"/>
                            </a:lnTo>
                            <a:lnTo>
                              <a:pt x="47183" y="1184514"/>
                            </a:lnTo>
                            <a:lnTo>
                              <a:pt x="38953" y="1210849"/>
                            </a:lnTo>
                            <a:lnTo>
                              <a:pt x="43891" y="1241572"/>
                            </a:lnTo>
                            <a:lnTo>
                              <a:pt x="47183" y="1247059"/>
                            </a:lnTo>
                            <a:lnTo>
                              <a:pt x="53767" y="1251997"/>
                            </a:lnTo>
                            <a:lnTo>
                              <a:pt x="63642" y="1253094"/>
                            </a:lnTo>
                            <a:lnTo>
                              <a:pt x="73518" y="1258580"/>
                            </a:lnTo>
                            <a:lnTo>
                              <a:pt x="93817" y="1294242"/>
                            </a:lnTo>
                            <a:lnTo>
                              <a:pt x="96012" y="1309604"/>
                            </a:lnTo>
                            <a:lnTo>
                              <a:pt x="66385" y="1373246"/>
                            </a:lnTo>
                            <a:lnTo>
                              <a:pt x="67483" y="1387511"/>
                            </a:lnTo>
                            <a:lnTo>
                              <a:pt x="101498" y="1489009"/>
                            </a:lnTo>
                            <a:lnTo>
                              <a:pt x="91623" y="1497787"/>
                            </a:lnTo>
                            <a:lnTo>
                              <a:pt x="87234" y="1524122"/>
                            </a:lnTo>
                            <a:lnTo>
                              <a:pt x="89428" y="1530706"/>
                            </a:lnTo>
                            <a:lnTo>
                              <a:pt x="90526" y="1543324"/>
                            </a:lnTo>
                            <a:lnTo>
                              <a:pt x="86137" y="1551005"/>
                            </a:lnTo>
                            <a:lnTo>
                              <a:pt x="86685" y="1564721"/>
                            </a:lnTo>
                            <a:lnTo>
                              <a:pt x="97658" y="1568013"/>
                            </a:lnTo>
                            <a:lnTo>
                              <a:pt x="103144" y="1580083"/>
                            </a:lnTo>
                            <a:lnTo>
                              <a:pt x="102047" y="1593251"/>
                            </a:lnTo>
                            <a:lnTo>
                              <a:pt x="106985" y="1604772"/>
                            </a:lnTo>
                            <a:lnTo>
                              <a:pt x="117958" y="1615196"/>
                            </a:lnTo>
                            <a:lnTo>
                              <a:pt x="119055" y="1627815"/>
                            </a:lnTo>
                            <a:lnTo>
                              <a:pt x="104790" y="1661831"/>
                            </a:lnTo>
                            <a:lnTo>
                              <a:pt x="109180" y="1674449"/>
                            </a:lnTo>
                            <a:lnTo>
                              <a:pt x="114666" y="1683228"/>
                            </a:lnTo>
                            <a:lnTo>
                              <a:pt x="135514" y="1698590"/>
                            </a:lnTo>
                            <a:lnTo>
                              <a:pt x="138257" y="1710111"/>
                            </a:lnTo>
                            <a:lnTo>
                              <a:pt x="145390" y="1722181"/>
                            </a:lnTo>
                            <a:lnTo>
                              <a:pt x="148133" y="1718889"/>
                            </a:lnTo>
                            <a:lnTo>
                              <a:pt x="147584" y="1745224"/>
                            </a:lnTo>
                            <a:lnTo>
                              <a:pt x="6584" y="1913656"/>
                            </a:lnTo>
                            <a:lnTo>
                              <a:pt x="6584" y="1913656"/>
                            </a:lnTo>
                            <a:lnTo>
                              <a:pt x="23043" y="1916400"/>
                            </a:lnTo>
                            <a:lnTo>
                              <a:pt x="30724" y="1907621"/>
                            </a:lnTo>
                            <a:lnTo>
                              <a:pt x="43343" y="1900489"/>
                            </a:lnTo>
                            <a:lnTo>
                              <a:pt x="44440" y="1905427"/>
                            </a:lnTo>
                            <a:lnTo>
                              <a:pt x="42794" y="1909267"/>
                            </a:lnTo>
                            <a:lnTo>
                              <a:pt x="42794" y="1921337"/>
                            </a:lnTo>
                            <a:lnTo>
                              <a:pt x="40051" y="1916400"/>
                            </a:lnTo>
                            <a:lnTo>
                              <a:pt x="36759" y="1914754"/>
                            </a:lnTo>
                            <a:lnTo>
                              <a:pt x="36759" y="1925178"/>
                            </a:lnTo>
                            <a:lnTo>
                              <a:pt x="40051" y="1931213"/>
                            </a:lnTo>
                            <a:lnTo>
                              <a:pt x="43891" y="1931213"/>
                            </a:lnTo>
                            <a:lnTo>
                              <a:pt x="59802" y="1943832"/>
                            </a:lnTo>
                            <a:lnTo>
                              <a:pt x="80650" y="1940540"/>
                            </a:lnTo>
                            <a:lnTo>
                              <a:pt x="87234" y="1943283"/>
                            </a:lnTo>
                            <a:lnTo>
                              <a:pt x="93817" y="1948221"/>
                            </a:lnTo>
                            <a:lnTo>
                              <a:pt x="93269" y="1954256"/>
                            </a:lnTo>
                            <a:lnTo>
                              <a:pt x="97658" y="1956999"/>
                            </a:lnTo>
                            <a:lnTo>
                              <a:pt x="102596" y="1957548"/>
                            </a:lnTo>
                            <a:lnTo>
                              <a:pt x="103693" y="1960839"/>
                            </a:lnTo>
                            <a:lnTo>
                              <a:pt x="99304" y="1963583"/>
                            </a:lnTo>
                            <a:lnTo>
                              <a:pt x="61996" y="1957548"/>
                            </a:lnTo>
                            <a:lnTo>
                              <a:pt x="58156" y="1961937"/>
                            </a:lnTo>
                            <a:lnTo>
                              <a:pt x="56510" y="1966874"/>
                            </a:lnTo>
                            <a:lnTo>
                              <a:pt x="46634" y="1972910"/>
                            </a:lnTo>
                            <a:lnTo>
                              <a:pt x="41697" y="1969618"/>
                            </a:lnTo>
                            <a:lnTo>
                              <a:pt x="37308" y="1971264"/>
                            </a:lnTo>
                            <a:lnTo>
                              <a:pt x="34564" y="1978396"/>
                            </a:lnTo>
                            <a:lnTo>
                              <a:pt x="30175" y="1980590"/>
                            </a:lnTo>
                            <a:lnTo>
                              <a:pt x="26335" y="1976201"/>
                            </a:lnTo>
                            <a:lnTo>
                              <a:pt x="21397" y="1973458"/>
                            </a:lnTo>
                            <a:lnTo>
                              <a:pt x="19202" y="1980042"/>
                            </a:lnTo>
                            <a:lnTo>
                              <a:pt x="20848" y="1990466"/>
                            </a:lnTo>
                            <a:lnTo>
                              <a:pt x="25237" y="1991563"/>
                            </a:lnTo>
                            <a:lnTo>
                              <a:pt x="29078" y="1995952"/>
                            </a:lnTo>
                            <a:lnTo>
                              <a:pt x="30724" y="2001439"/>
                            </a:lnTo>
                            <a:lnTo>
                              <a:pt x="28529" y="2006377"/>
                            </a:lnTo>
                            <a:lnTo>
                              <a:pt x="20848" y="2014058"/>
                            </a:lnTo>
                            <a:lnTo>
                              <a:pt x="10424" y="2033809"/>
                            </a:lnTo>
                            <a:lnTo>
                              <a:pt x="12619" y="2043135"/>
                            </a:lnTo>
                            <a:lnTo>
                              <a:pt x="10973" y="2055206"/>
                            </a:lnTo>
                            <a:lnTo>
                              <a:pt x="14265" y="2062886"/>
                            </a:lnTo>
                            <a:lnTo>
                              <a:pt x="14265" y="2067276"/>
                            </a:lnTo>
                            <a:lnTo>
                              <a:pt x="12070" y="2072762"/>
                            </a:lnTo>
                            <a:lnTo>
                              <a:pt x="2743" y="2080992"/>
                            </a:lnTo>
                            <a:lnTo>
                              <a:pt x="1097" y="2085929"/>
                            </a:lnTo>
                            <a:lnTo>
                              <a:pt x="3292" y="2090867"/>
                            </a:lnTo>
                            <a:lnTo>
                              <a:pt x="18654" y="2090867"/>
                            </a:lnTo>
                            <a:lnTo>
                              <a:pt x="25786" y="2102937"/>
                            </a:lnTo>
                            <a:lnTo>
                              <a:pt x="25237" y="2113361"/>
                            </a:lnTo>
                            <a:lnTo>
                              <a:pt x="18654" y="2113361"/>
                            </a:lnTo>
                            <a:lnTo>
                              <a:pt x="7132" y="2100743"/>
                            </a:lnTo>
                            <a:lnTo>
                              <a:pt x="7132" y="2110618"/>
                            </a:lnTo>
                            <a:lnTo>
                              <a:pt x="0" y="2125980"/>
                            </a:lnTo>
                            <a:lnTo>
                              <a:pt x="1097" y="2131467"/>
                            </a:lnTo>
                            <a:lnTo>
                              <a:pt x="4389" y="2135307"/>
                            </a:lnTo>
                            <a:lnTo>
                              <a:pt x="7132" y="2140245"/>
                            </a:lnTo>
                            <a:lnTo>
                              <a:pt x="11521" y="2143537"/>
                            </a:lnTo>
                            <a:lnTo>
                              <a:pt x="14813" y="2148474"/>
                            </a:lnTo>
                            <a:lnTo>
                              <a:pt x="15911" y="2153412"/>
                            </a:lnTo>
                            <a:lnTo>
                              <a:pt x="9876" y="2174809"/>
                            </a:lnTo>
                            <a:lnTo>
                              <a:pt x="15362" y="2177004"/>
                            </a:lnTo>
                            <a:lnTo>
                              <a:pt x="19751" y="2180295"/>
                            </a:lnTo>
                            <a:lnTo>
                              <a:pt x="19751" y="2185782"/>
                            </a:lnTo>
                            <a:lnTo>
                              <a:pt x="32370" y="2211019"/>
                            </a:lnTo>
                            <a:lnTo>
                              <a:pt x="31821" y="2227479"/>
                            </a:lnTo>
                            <a:lnTo>
                              <a:pt x="33467" y="2232416"/>
                            </a:lnTo>
                            <a:lnTo>
                              <a:pt x="44989" y="2230770"/>
                            </a:lnTo>
                            <a:lnTo>
                              <a:pt x="49378" y="2232965"/>
                            </a:lnTo>
                            <a:lnTo>
                              <a:pt x="52669" y="2237903"/>
                            </a:lnTo>
                            <a:lnTo>
                              <a:pt x="63642" y="2236257"/>
                            </a:lnTo>
                            <a:lnTo>
                              <a:pt x="69129" y="2237354"/>
                            </a:lnTo>
                            <a:lnTo>
                              <a:pt x="77358" y="2243389"/>
                            </a:lnTo>
                            <a:lnTo>
                              <a:pt x="76261" y="2257105"/>
                            </a:lnTo>
                            <a:lnTo>
                              <a:pt x="86137" y="2251619"/>
                            </a:lnTo>
                            <a:lnTo>
                              <a:pt x="91074" y="2251070"/>
                            </a:lnTo>
                            <a:lnTo>
                              <a:pt x="95464" y="2247230"/>
                            </a:lnTo>
                            <a:lnTo>
                              <a:pt x="111374" y="2247230"/>
                            </a:lnTo>
                            <a:lnTo>
                              <a:pt x="116312" y="2250521"/>
                            </a:lnTo>
                            <a:lnTo>
                              <a:pt x="126736" y="2263140"/>
                            </a:lnTo>
                            <a:lnTo>
                              <a:pt x="132222" y="2264237"/>
                            </a:lnTo>
                            <a:lnTo>
                              <a:pt x="132771" y="2271918"/>
                            </a:lnTo>
                            <a:lnTo>
                              <a:pt x="131125" y="2277405"/>
                            </a:lnTo>
                            <a:lnTo>
                              <a:pt x="131125" y="2282891"/>
                            </a:lnTo>
                            <a:lnTo>
                              <a:pt x="134965" y="2287280"/>
                            </a:lnTo>
                            <a:lnTo>
                              <a:pt x="136612" y="2292767"/>
                            </a:lnTo>
                            <a:lnTo>
                              <a:pt x="134417" y="2303191"/>
                            </a:lnTo>
                            <a:lnTo>
                              <a:pt x="130028" y="2306483"/>
                            </a:lnTo>
                            <a:lnTo>
                              <a:pt x="128382" y="2311969"/>
                            </a:lnTo>
                            <a:lnTo>
                              <a:pt x="130028" y="2316907"/>
                            </a:lnTo>
                            <a:lnTo>
                              <a:pt x="137709" y="2325136"/>
                            </a:lnTo>
                            <a:lnTo>
                              <a:pt x="151425" y="2355312"/>
                            </a:lnTo>
                            <a:lnTo>
                              <a:pt x="161300" y="2360798"/>
                            </a:lnTo>
                            <a:lnTo>
                              <a:pt x="164592" y="2365187"/>
                            </a:lnTo>
                            <a:lnTo>
                              <a:pt x="165689" y="2370674"/>
                            </a:lnTo>
                            <a:lnTo>
                              <a:pt x="165141" y="2376160"/>
                            </a:lnTo>
                            <a:lnTo>
                              <a:pt x="167335" y="2381098"/>
                            </a:lnTo>
                            <a:lnTo>
                              <a:pt x="183794" y="2378903"/>
                            </a:lnTo>
                            <a:lnTo>
                              <a:pt x="187635" y="2382744"/>
                            </a:lnTo>
                            <a:lnTo>
                              <a:pt x="193121" y="2384390"/>
                            </a:lnTo>
                            <a:lnTo>
                              <a:pt x="191476" y="2389327"/>
                            </a:lnTo>
                            <a:lnTo>
                              <a:pt x="194767" y="2393716"/>
                            </a:lnTo>
                            <a:lnTo>
                              <a:pt x="201351" y="2394814"/>
                            </a:lnTo>
                            <a:lnTo>
                              <a:pt x="201900" y="2404141"/>
                            </a:lnTo>
                            <a:lnTo>
                              <a:pt x="181051" y="2422246"/>
                            </a:lnTo>
                            <a:lnTo>
                              <a:pt x="169530" y="2420600"/>
                            </a:lnTo>
                            <a:lnTo>
                              <a:pt x="161300" y="2413467"/>
                            </a:lnTo>
                            <a:lnTo>
                              <a:pt x="155814" y="2412919"/>
                            </a:lnTo>
                            <a:lnTo>
                              <a:pt x="150876" y="2415113"/>
                            </a:lnTo>
                            <a:lnTo>
                              <a:pt x="150328" y="2420600"/>
                            </a:lnTo>
                            <a:lnTo>
                              <a:pt x="145390" y="2422794"/>
                            </a:lnTo>
                            <a:lnTo>
                              <a:pt x="145390" y="2428281"/>
                            </a:lnTo>
                            <a:lnTo>
                              <a:pt x="153619" y="2435413"/>
                            </a:lnTo>
                            <a:lnTo>
                              <a:pt x="155265" y="2440899"/>
                            </a:lnTo>
                            <a:lnTo>
                              <a:pt x="153071" y="2446386"/>
                            </a:lnTo>
                            <a:lnTo>
                              <a:pt x="156911" y="2450226"/>
                            </a:lnTo>
                            <a:lnTo>
                              <a:pt x="155814" y="2455713"/>
                            </a:lnTo>
                            <a:lnTo>
                              <a:pt x="160752" y="2458456"/>
                            </a:lnTo>
                            <a:lnTo>
                              <a:pt x="162397" y="2463942"/>
                            </a:lnTo>
                            <a:lnTo>
                              <a:pt x="161849" y="2469429"/>
                            </a:lnTo>
                            <a:lnTo>
                              <a:pt x="165689" y="2484242"/>
                            </a:lnTo>
                            <a:lnTo>
                              <a:pt x="165141" y="2484242"/>
                            </a:lnTo>
                            <a:lnTo>
                              <a:pt x="169530" y="2488083"/>
                            </a:lnTo>
                            <a:lnTo>
                              <a:pt x="174468" y="2489180"/>
                            </a:lnTo>
                            <a:lnTo>
                              <a:pt x="179405" y="2486985"/>
                            </a:lnTo>
                            <a:lnTo>
                              <a:pt x="183246" y="2482596"/>
                            </a:lnTo>
                            <a:lnTo>
                              <a:pt x="184343" y="2477110"/>
                            </a:lnTo>
                            <a:lnTo>
                              <a:pt x="189281" y="2473818"/>
                            </a:lnTo>
                            <a:lnTo>
                              <a:pt x="206289" y="2476012"/>
                            </a:lnTo>
                            <a:lnTo>
                              <a:pt x="217261" y="2472721"/>
                            </a:lnTo>
                            <a:lnTo>
                              <a:pt x="228234" y="2474367"/>
                            </a:lnTo>
                            <a:lnTo>
                              <a:pt x="239207" y="2471623"/>
                            </a:lnTo>
                            <a:lnTo>
                              <a:pt x="247985" y="2478756"/>
                            </a:lnTo>
                            <a:lnTo>
                              <a:pt x="250729" y="2483693"/>
                            </a:lnTo>
                            <a:lnTo>
                              <a:pt x="250729" y="2489180"/>
                            </a:lnTo>
                            <a:lnTo>
                              <a:pt x="262799" y="2501799"/>
                            </a:lnTo>
                            <a:lnTo>
                              <a:pt x="262799" y="2507834"/>
                            </a:lnTo>
                            <a:lnTo>
                              <a:pt x="256764" y="2510577"/>
                            </a:lnTo>
                            <a:lnTo>
                              <a:pt x="251826" y="2511125"/>
                            </a:lnTo>
                            <a:lnTo>
                              <a:pt x="254020" y="2516063"/>
                            </a:lnTo>
                            <a:lnTo>
                              <a:pt x="254020" y="2521550"/>
                            </a:lnTo>
                            <a:lnTo>
                              <a:pt x="256764" y="2531974"/>
                            </a:lnTo>
                            <a:lnTo>
                              <a:pt x="266639" y="2538009"/>
                            </a:lnTo>
                            <a:lnTo>
                              <a:pt x="277612" y="2540752"/>
                            </a:lnTo>
                            <a:lnTo>
                              <a:pt x="283098" y="2538557"/>
                            </a:lnTo>
                            <a:lnTo>
                              <a:pt x="288585" y="2538557"/>
                            </a:lnTo>
                            <a:lnTo>
                              <a:pt x="290779" y="2544044"/>
                            </a:lnTo>
                            <a:lnTo>
                              <a:pt x="297363" y="2552273"/>
                            </a:lnTo>
                            <a:lnTo>
                              <a:pt x="302849" y="2570927"/>
                            </a:lnTo>
                            <a:lnTo>
                              <a:pt x="301204" y="2576414"/>
                            </a:lnTo>
                            <a:lnTo>
                              <a:pt x="302849" y="2581351"/>
                            </a:lnTo>
                            <a:lnTo>
                              <a:pt x="312176" y="2588484"/>
                            </a:lnTo>
                            <a:lnTo>
                              <a:pt x="317114" y="2585740"/>
                            </a:lnTo>
                            <a:lnTo>
                              <a:pt x="322600" y="2584643"/>
                            </a:lnTo>
                            <a:lnTo>
                              <a:pt x="328087" y="2585740"/>
                            </a:lnTo>
                            <a:lnTo>
                              <a:pt x="335768" y="2592873"/>
                            </a:lnTo>
                            <a:lnTo>
                              <a:pt x="341254" y="2591227"/>
                            </a:lnTo>
                            <a:lnTo>
                              <a:pt x="346741" y="2593970"/>
                            </a:lnTo>
                            <a:lnTo>
                              <a:pt x="373624" y="2583546"/>
                            </a:lnTo>
                            <a:lnTo>
                              <a:pt x="378562" y="2585192"/>
                            </a:lnTo>
                            <a:lnTo>
                              <a:pt x="396667" y="2613721"/>
                            </a:lnTo>
                            <a:lnTo>
                              <a:pt x="402702" y="2613172"/>
                            </a:lnTo>
                            <a:lnTo>
                              <a:pt x="404896" y="2607686"/>
                            </a:lnTo>
                            <a:lnTo>
                              <a:pt x="410383" y="2608235"/>
                            </a:lnTo>
                            <a:lnTo>
                              <a:pt x="413675" y="2612624"/>
                            </a:lnTo>
                            <a:lnTo>
                              <a:pt x="419161" y="2613721"/>
                            </a:lnTo>
                            <a:lnTo>
                              <a:pt x="424099" y="2615916"/>
                            </a:lnTo>
                            <a:lnTo>
                              <a:pt x="428488" y="2619756"/>
                            </a:lnTo>
                            <a:lnTo>
                              <a:pt x="439461" y="2619207"/>
                            </a:lnTo>
                            <a:lnTo>
                              <a:pt x="448239" y="2625791"/>
                            </a:lnTo>
                            <a:lnTo>
                              <a:pt x="453725" y="2625243"/>
                            </a:lnTo>
                            <a:lnTo>
                              <a:pt x="462504" y="2632923"/>
                            </a:lnTo>
                            <a:lnTo>
                              <a:pt x="473476" y="2633472"/>
                            </a:lnTo>
                            <a:lnTo>
                              <a:pt x="477866" y="2636764"/>
                            </a:lnTo>
                            <a:lnTo>
                              <a:pt x="472928" y="2639507"/>
                            </a:lnTo>
                            <a:lnTo>
                              <a:pt x="478414" y="2655418"/>
                            </a:lnTo>
                            <a:lnTo>
                              <a:pt x="472928" y="2665293"/>
                            </a:lnTo>
                            <a:lnTo>
                              <a:pt x="462504" y="2668036"/>
                            </a:lnTo>
                            <a:lnTo>
                              <a:pt x="465247" y="2672426"/>
                            </a:lnTo>
                            <a:lnTo>
                              <a:pt x="470733" y="2673523"/>
                            </a:lnTo>
                            <a:lnTo>
                              <a:pt x="474025" y="2677912"/>
                            </a:lnTo>
                            <a:lnTo>
                              <a:pt x="463052" y="2681204"/>
                            </a:lnTo>
                            <a:lnTo>
                              <a:pt x="460858" y="2686142"/>
                            </a:lnTo>
                            <a:lnTo>
                              <a:pt x="460309" y="2691079"/>
                            </a:lnTo>
                            <a:lnTo>
                              <a:pt x="463601" y="2695468"/>
                            </a:lnTo>
                            <a:lnTo>
                              <a:pt x="465796" y="2700955"/>
                            </a:lnTo>
                            <a:lnTo>
                              <a:pt x="464698" y="2706441"/>
                            </a:lnTo>
                            <a:lnTo>
                              <a:pt x="469087" y="2709184"/>
                            </a:lnTo>
                            <a:lnTo>
                              <a:pt x="462504" y="2736616"/>
                            </a:lnTo>
                            <a:lnTo>
                              <a:pt x="457017" y="2738262"/>
                            </a:lnTo>
                            <a:lnTo>
                              <a:pt x="446593" y="2736068"/>
                            </a:lnTo>
                            <a:lnTo>
                              <a:pt x="441107" y="2737165"/>
                            </a:lnTo>
                            <a:lnTo>
                              <a:pt x="431231" y="2731679"/>
                            </a:lnTo>
                            <a:lnTo>
                              <a:pt x="420807" y="2744846"/>
                            </a:lnTo>
                            <a:lnTo>
                              <a:pt x="410383" y="2749235"/>
                            </a:lnTo>
                            <a:lnTo>
                              <a:pt x="405445" y="2758562"/>
                            </a:lnTo>
                            <a:lnTo>
                              <a:pt x="406542" y="2775021"/>
                            </a:lnTo>
                            <a:lnTo>
                              <a:pt x="415869" y="2771181"/>
                            </a:lnTo>
                            <a:lnTo>
                              <a:pt x="421904" y="2772278"/>
                            </a:lnTo>
                            <a:lnTo>
                              <a:pt x="426842" y="2768986"/>
                            </a:lnTo>
                            <a:lnTo>
                              <a:pt x="436717" y="2767340"/>
                            </a:lnTo>
                            <a:lnTo>
                              <a:pt x="441107" y="2768438"/>
                            </a:lnTo>
                            <a:lnTo>
                              <a:pt x="441655" y="2772827"/>
                            </a:lnTo>
                            <a:lnTo>
                              <a:pt x="446593" y="2773375"/>
                            </a:lnTo>
                            <a:lnTo>
                              <a:pt x="448788" y="2775570"/>
                            </a:lnTo>
                            <a:lnTo>
                              <a:pt x="447142" y="2778862"/>
                            </a:lnTo>
                            <a:lnTo>
                              <a:pt x="441107" y="2778862"/>
                            </a:lnTo>
                            <a:lnTo>
                              <a:pt x="414223" y="2791480"/>
                            </a:lnTo>
                            <a:lnTo>
                              <a:pt x="414223" y="2794772"/>
                            </a:lnTo>
                            <a:lnTo>
                              <a:pt x="417515" y="2798613"/>
                            </a:lnTo>
                            <a:lnTo>
                              <a:pt x="414223" y="2800259"/>
                            </a:lnTo>
                            <a:lnTo>
                              <a:pt x="407091" y="2798064"/>
                            </a:lnTo>
                            <a:lnTo>
                              <a:pt x="389534" y="2800807"/>
                            </a:lnTo>
                            <a:lnTo>
                              <a:pt x="387889" y="2807391"/>
                            </a:lnTo>
                            <a:lnTo>
                              <a:pt x="393924" y="2812877"/>
                            </a:lnTo>
                            <a:lnTo>
                              <a:pt x="402702" y="2816718"/>
                            </a:lnTo>
                            <a:lnTo>
                              <a:pt x="415869" y="2831531"/>
                            </a:lnTo>
                            <a:lnTo>
                              <a:pt x="414223" y="2832628"/>
                            </a:lnTo>
                            <a:lnTo>
                              <a:pt x="404896" y="2829885"/>
                            </a:lnTo>
                            <a:lnTo>
                              <a:pt x="400507" y="2837566"/>
                            </a:lnTo>
                            <a:lnTo>
                              <a:pt x="396118" y="2836469"/>
                            </a:lnTo>
                            <a:lnTo>
                              <a:pt x="374721" y="2869936"/>
                            </a:lnTo>
                            <a:lnTo>
                              <a:pt x="355519" y="2869387"/>
                            </a:lnTo>
                            <a:lnTo>
                              <a:pt x="353324" y="2872679"/>
                            </a:lnTo>
                            <a:lnTo>
                              <a:pt x="353324" y="2876520"/>
                            </a:lnTo>
                            <a:lnTo>
                              <a:pt x="346741" y="2879812"/>
                            </a:lnTo>
                            <a:lnTo>
                              <a:pt x="363748" y="2890236"/>
                            </a:lnTo>
                            <a:lnTo>
                              <a:pt x="367040" y="2899563"/>
                            </a:lnTo>
                            <a:lnTo>
                              <a:pt x="373624" y="2907244"/>
                            </a:lnTo>
                            <a:lnTo>
                              <a:pt x="380756" y="2908341"/>
                            </a:lnTo>
                            <a:lnTo>
                              <a:pt x="383500" y="2905049"/>
                            </a:lnTo>
                            <a:lnTo>
                              <a:pt x="444398" y="2945648"/>
                            </a:lnTo>
                            <a:lnTo>
                              <a:pt x="453725" y="2959364"/>
                            </a:lnTo>
                            <a:lnTo>
                              <a:pt x="459212" y="2961010"/>
                            </a:lnTo>
                            <a:lnTo>
                              <a:pt x="467990" y="2968691"/>
                            </a:lnTo>
                            <a:lnTo>
                              <a:pt x="483901" y="2964851"/>
                            </a:lnTo>
                            <a:lnTo>
                              <a:pt x="489387" y="2966497"/>
                            </a:lnTo>
                            <a:lnTo>
                              <a:pt x="494873" y="2965948"/>
                            </a:lnTo>
                            <a:lnTo>
                              <a:pt x="505298" y="2969240"/>
                            </a:lnTo>
                            <a:lnTo>
                              <a:pt x="509687" y="2973080"/>
                            </a:lnTo>
                            <a:lnTo>
                              <a:pt x="535473" y="2981859"/>
                            </a:lnTo>
                            <a:lnTo>
                              <a:pt x="557967" y="2980761"/>
                            </a:lnTo>
                            <a:lnTo>
                              <a:pt x="568940" y="2984053"/>
                            </a:lnTo>
                            <a:lnTo>
                              <a:pt x="580461" y="2984053"/>
                            </a:lnTo>
                            <a:lnTo>
                              <a:pt x="613380" y="3006547"/>
                            </a:lnTo>
                            <a:lnTo>
                              <a:pt x="615574" y="3011485"/>
                            </a:lnTo>
                            <a:lnTo>
                              <a:pt x="620512" y="3014228"/>
                            </a:lnTo>
                            <a:lnTo>
                              <a:pt x="640812" y="3005450"/>
                            </a:lnTo>
                            <a:lnTo>
                              <a:pt x="646298" y="3004901"/>
                            </a:lnTo>
                            <a:lnTo>
                              <a:pt x="650138" y="3008742"/>
                            </a:lnTo>
                            <a:lnTo>
                              <a:pt x="655625" y="3007096"/>
                            </a:lnTo>
                            <a:lnTo>
                              <a:pt x="666598" y="3008742"/>
                            </a:lnTo>
                            <a:lnTo>
                              <a:pt x="669341" y="3014228"/>
                            </a:lnTo>
                            <a:lnTo>
                              <a:pt x="674827" y="3015874"/>
                            </a:lnTo>
                            <a:lnTo>
                              <a:pt x="680314" y="3015874"/>
                            </a:lnTo>
                            <a:lnTo>
                              <a:pt x="685252" y="3018069"/>
                            </a:lnTo>
                            <a:lnTo>
                              <a:pt x="687446" y="3023555"/>
                            </a:lnTo>
                            <a:lnTo>
                              <a:pt x="684703" y="3033979"/>
                            </a:lnTo>
                            <a:lnTo>
                              <a:pt x="693481" y="3040563"/>
                            </a:lnTo>
                            <a:lnTo>
                              <a:pt x="703905" y="3043855"/>
                            </a:lnTo>
                            <a:lnTo>
                              <a:pt x="717621" y="3053182"/>
                            </a:lnTo>
                            <a:lnTo>
                              <a:pt x="722559" y="3053182"/>
                            </a:lnTo>
                            <a:lnTo>
                              <a:pt x="730240" y="3060863"/>
                            </a:lnTo>
                            <a:lnTo>
                              <a:pt x="733532" y="3065800"/>
                            </a:lnTo>
                            <a:lnTo>
                              <a:pt x="739018" y="3066349"/>
                            </a:lnTo>
                            <a:lnTo>
                              <a:pt x="744505" y="3081711"/>
                            </a:lnTo>
                            <a:lnTo>
                              <a:pt x="760964" y="3083905"/>
                            </a:lnTo>
                            <a:lnTo>
                              <a:pt x="766450" y="3082808"/>
                            </a:lnTo>
                            <a:lnTo>
                              <a:pt x="769742" y="3078968"/>
                            </a:lnTo>
                            <a:lnTo>
                              <a:pt x="774131" y="3068544"/>
                            </a:lnTo>
                            <a:lnTo>
                              <a:pt x="784007" y="3063606"/>
                            </a:lnTo>
                            <a:lnTo>
                              <a:pt x="790042" y="3050987"/>
                            </a:lnTo>
                            <a:lnTo>
                              <a:pt x="783458" y="3047695"/>
                            </a:lnTo>
                            <a:lnTo>
                              <a:pt x="753832" y="2990088"/>
                            </a:lnTo>
                            <a:lnTo>
                              <a:pt x="753832" y="2975275"/>
                            </a:lnTo>
                            <a:lnTo>
                              <a:pt x="758769" y="2956621"/>
                            </a:lnTo>
                            <a:lnTo>
                              <a:pt x="757123" y="2947843"/>
                            </a:lnTo>
                            <a:lnTo>
                              <a:pt x="751088" y="2962108"/>
                            </a:lnTo>
                            <a:lnTo>
                              <a:pt x="748894" y="2958267"/>
                            </a:lnTo>
                            <a:lnTo>
                              <a:pt x="747248" y="2946197"/>
                            </a:lnTo>
                            <a:lnTo>
                              <a:pt x="732434" y="2922605"/>
                            </a:lnTo>
                            <a:lnTo>
                              <a:pt x="725302" y="2922605"/>
                            </a:lnTo>
                            <a:lnTo>
                              <a:pt x="722010" y="2912730"/>
                            </a:lnTo>
                            <a:lnTo>
                              <a:pt x="728045" y="2903403"/>
                            </a:lnTo>
                            <a:lnTo>
                              <a:pt x="728594" y="2895722"/>
                            </a:lnTo>
                            <a:lnTo>
                              <a:pt x="734080" y="2888590"/>
                            </a:lnTo>
                            <a:lnTo>
                              <a:pt x="736275" y="2888590"/>
                            </a:lnTo>
                            <a:lnTo>
                              <a:pt x="737372" y="2886944"/>
                            </a:lnTo>
                            <a:lnTo>
                              <a:pt x="738470" y="2880360"/>
                            </a:lnTo>
                            <a:lnTo>
                              <a:pt x="745053" y="2874325"/>
                            </a:lnTo>
                            <a:lnTo>
                              <a:pt x="749442" y="2850185"/>
                            </a:lnTo>
                            <a:lnTo>
                              <a:pt x="754929" y="2851831"/>
                            </a:lnTo>
                            <a:lnTo>
                              <a:pt x="758769" y="2829885"/>
                            </a:lnTo>
                            <a:lnTo>
                              <a:pt x="751637" y="2819461"/>
                            </a:lnTo>
                            <a:lnTo>
                              <a:pt x="766999" y="2822204"/>
                            </a:lnTo>
                            <a:lnTo>
                              <a:pt x="766450" y="2827142"/>
                            </a:lnTo>
                            <a:lnTo>
                              <a:pt x="773582" y="2844699"/>
                            </a:lnTo>
                            <a:lnTo>
                              <a:pt x="779069" y="2844699"/>
                            </a:lnTo>
                            <a:lnTo>
                              <a:pt x="782909" y="2843053"/>
                            </a:lnTo>
                            <a:lnTo>
                              <a:pt x="785653" y="2843053"/>
                            </a:lnTo>
                            <a:lnTo>
                              <a:pt x="794431" y="2823301"/>
                            </a:lnTo>
                            <a:lnTo>
                              <a:pt x="798271" y="2820558"/>
                            </a:lnTo>
                            <a:lnTo>
                              <a:pt x="793882" y="2819461"/>
                            </a:lnTo>
                            <a:lnTo>
                              <a:pt x="791139" y="2815072"/>
                            </a:lnTo>
                            <a:lnTo>
                              <a:pt x="786201" y="2812877"/>
                            </a:lnTo>
                            <a:lnTo>
                              <a:pt x="780715" y="2812877"/>
                            </a:lnTo>
                            <a:lnTo>
                              <a:pt x="776326" y="2810683"/>
                            </a:lnTo>
                            <a:lnTo>
                              <a:pt x="774131" y="2806294"/>
                            </a:lnTo>
                            <a:lnTo>
                              <a:pt x="778520" y="2801905"/>
                            </a:lnTo>
                            <a:lnTo>
                              <a:pt x="779069" y="2796418"/>
                            </a:lnTo>
                            <a:lnTo>
                              <a:pt x="784555" y="2795321"/>
                            </a:lnTo>
                            <a:lnTo>
                              <a:pt x="790042" y="2798613"/>
                            </a:lnTo>
                            <a:lnTo>
                              <a:pt x="798271" y="2796418"/>
                            </a:lnTo>
                            <a:lnTo>
                              <a:pt x="792785" y="2758013"/>
                            </a:lnTo>
                            <a:lnTo>
                              <a:pt x="787298" y="2756367"/>
                            </a:lnTo>
                            <a:lnTo>
                              <a:pt x="780166" y="2741554"/>
                            </a:lnTo>
                            <a:lnTo>
                              <a:pt x="775777" y="2737714"/>
                            </a:lnTo>
                            <a:lnTo>
                              <a:pt x="759318" y="2739360"/>
                            </a:lnTo>
                            <a:lnTo>
                              <a:pt x="749991" y="2736616"/>
                            </a:lnTo>
                            <a:lnTo>
                              <a:pt x="748894" y="2743200"/>
                            </a:lnTo>
                            <a:lnTo>
                              <a:pt x="740664" y="2734422"/>
                            </a:lnTo>
                            <a:lnTo>
                              <a:pt x="740116" y="2728935"/>
                            </a:lnTo>
                            <a:lnTo>
                              <a:pt x="737372" y="2723998"/>
                            </a:lnTo>
                            <a:lnTo>
                              <a:pt x="740116" y="2719609"/>
                            </a:lnTo>
                            <a:lnTo>
                              <a:pt x="737372" y="2714671"/>
                            </a:lnTo>
                            <a:lnTo>
                              <a:pt x="736824" y="2709733"/>
                            </a:lnTo>
                            <a:lnTo>
                              <a:pt x="717073" y="2703149"/>
                            </a:lnTo>
                            <a:lnTo>
                              <a:pt x="724754" y="2672974"/>
                            </a:lnTo>
                            <a:lnTo>
                              <a:pt x="734080" y="2667488"/>
                            </a:lnTo>
                            <a:lnTo>
                              <a:pt x="737372" y="2662550"/>
                            </a:lnTo>
                            <a:lnTo>
                              <a:pt x="735178" y="2657612"/>
                            </a:lnTo>
                            <a:lnTo>
                              <a:pt x="727497" y="2650480"/>
                            </a:lnTo>
                            <a:lnTo>
                              <a:pt x="734629" y="2619207"/>
                            </a:lnTo>
                            <a:lnTo>
                              <a:pt x="743956" y="2613721"/>
                            </a:lnTo>
                            <a:lnTo>
                              <a:pt x="747248" y="2608783"/>
                            </a:lnTo>
                            <a:lnTo>
                              <a:pt x="746150" y="2603297"/>
                            </a:lnTo>
                            <a:lnTo>
                              <a:pt x="747796" y="2598359"/>
                            </a:lnTo>
                            <a:lnTo>
                              <a:pt x="748345" y="2592873"/>
                            </a:lnTo>
                            <a:lnTo>
                              <a:pt x="750540" y="2587386"/>
                            </a:lnTo>
                            <a:lnTo>
                              <a:pt x="753832" y="2582997"/>
                            </a:lnTo>
                            <a:lnTo>
                              <a:pt x="758769" y="2586289"/>
                            </a:lnTo>
                            <a:lnTo>
                              <a:pt x="760415" y="2591775"/>
                            </a:lnTo>
                            <a:lnTo>
                              <a:pt x="769193" y="2598359"/>
                            </a:lnTo>
                            <a:lnTo>
                              <a:pt x="781264" y="2623597"/>
                            </a:lnTo>
                            <a:lnTo>
                              <a:pt x="786750" y="2625243"/>
                            </a:lnTo>
                            <a:lnTo>
                              <a:pt x="804306" y="2612624"/>
                            </a:lnTo>
                            <a:lnTo>
                              <a:pt x="792785" y="2575865"/>
                            </a:lnTo>
                            <a:lnTo>
                              <a:pt x="798271" y="2576962"/>
                            </a:lnTo>
                            <a:lnTo>
                              <a:pt x="821863" y="2562698"/>
                            </a:lnTo>
                            <a:lnTo>
                              <a:pt x="825155" y="2558308"/>
                            </a:lnTo>
                            <a:lnTo>
                              <a:pt x="825155" y="2546787"/>
                            </a:lnTo>
                            <a:lnTo>
                              <a:pt x="830641" y="2546238"/>
                            </a:lnTo>
                            <a:lnTo>
                              <a:pt x="836128" y="2546238"/>
                            </a:lnTo>
                            <a:lnTo>
                              <a:pt x="841065" y="2544592"/>
                            </a:lnTo>
                            <a:lnTo>
                              <a:pt x="844906" y="2540203"/>
                            </a:lnTo>
                            <a:lnTo>
                              <a:pt x="854781" y="2535814"/>
                            </a:lnTo>
                            <a:lnTo>
                              <a:pt x="858073" y="2531425"/>
                            </a:lnTo>
                            <a:lnTo>
                              <a:pt x="863011" y="2528133"/>
                            </a:lnTo>
                            <a:lnTo>
                              <a:pt x="866303" y="2524293"/>
                            </a:lnTo>
                            <a:lnTo>
                              <a:pt x="867400" y="2518806"/>
                            </a:lnTo>
                            <a:lnTo>
                              <a:pt x="872338" y="2514966"/>
                            </a:lnTo>
                            <a:lnTo>
                              <a:pt x="882762" y="2512223"/>
                            </a:lnTo>
                            <a:lnTo>
                              <a:pt x="893186" y="2512223"/>
                            </a:lnTo>
                            <a:lnTo>
                              <a:pt x="897026" y="2522647"/>
                            </a:lnTo>
                            <a:lnTo>
                              <a:pt x="907999" y="2520452"/>
                            </a:lnTo>
                            <a:lnTo>
                              <a:pt x="911291" y="2524841"/>
                            </a:lnTo>
                            <a:lnTo>
                              <a:pt x="914034" y="2520452"/>
                            </a:lnTo>
                            <a:lnTo>
                              <a:pt x="916229" y="2514417"/>
                            </a:lnTo>
                            <a:lnTo>
                              <a:pt x="919521" y="2510028"/>
                            </a:lnTo>
                            <a:lnTo>
                              <a:pt x="925007" y="2510028"/>
                            </a:lnTo>
                            <a:lnTo>
                              <a:pt x="929945" y="2507834"/>
                            </a:lnTo>
                            <a:lnTo>
                              <a:pt x="935431" y="2508382"/>
                            </a:lnTo>
                            <a:lnTo>
                              <a:pt x="939272" y="2518806"/>
                            </a:lnTo>
                            <a:lnTo>
                              <a:pt x="942564" y="2522647"/>
                            </a:lnTo>
                            <a:lnTo>
                              <a:pt x="953536" y="2520452"/>
                            </a:lnTo>
                            <a:lnTo>
                              <a:pt x="958474" y="2522647"/>
                            </a:lnTo>
                            <a:lnTo>
                              <a:pt x="969447" y="2520452"/>
                            </a:lnTo>
                            <a:lnTo>
                              <a:pt x="974933" y="2520452"/>
                            </a:lnTo>
                            <a:lnTo>
                              <a:pt x="983712" y="2527585"/>
                            </a:lnTo>
                            <a:lnTo>
                              <a:pt x="987552" y="2538009"/>
                            </a:lnTo>
                            <a:lnTo>
                              <a:pt x="1001817" y="2546238"/>
                            </a:lnTo>
                            <a:lnTo>
                              <a:pt x="1005109" y="2550627"/>
                            </a:lnTo>
                            <a:lnTo>
                              <a:pt x="1007303" y="2556114"/>
                            </a:lnTo>
                            <a:lnTo>
                              <a:pt x="1014436" y="2564343"/>
                            </a:lnTo>
                            <a:lnTo>
                              <a:pt x="1014436" y="2575316"/>
                            </a:lnTo>
                            <a:lnTo>
                              <a:pt x="1017727" y="2579705"/>
                            </a:lnTo>
                            <a:lnTo>
                              <a:pt x="1023214" y="2578059"/>
                            </a:lnTo>
                            <a:lnTo>
                              <a:pt x="1022665" y="2561600"/>
                            </a:lnTo>
                            <a:lnTo>
                              <a:pt x="1019922" y="2556663"/>
                            </a:lnTo>
                            <a:lnTo>
                              <a:pt x="1023214" y="2552822"/>
                            </a:lnTo>
                            <a:lnTo>
                              <a:pt x="1028700" y="2551725"/>
                            </a:lnTo>
                            <a:lnTo>
                              <a:pt x="1030895" y="2557211"/>
                            </a:lnTo>
                            <a:lnTo>
                              <a:pt x="1035284" y="2560503"/>
                            </a:lnTo>
                            <a:lnTo>
                              <a:pt x="1036930" y="2565989"/>
                            </a:lnTo>
                            <a:lnTo>
                              <a:pt x="1040770" y="2569281"/>
                            </a:lnTo>
                            <a:lnTo>
                              <a:pt x="1061070" y="2579157"/>
                            </a:lnTo>
                            <a:lnTo>
                              <a:pt x="1067105" y="2577511"/>
                            </a:lnTo>
                            <a:lnTo>
                              <a:pt x="1080272" y="2567635"/>
                            </a:lnTo>
                            <a:lnTo>
                              <a:pt x="1080272" y="2562149"/>
                            </a:lnTo>
                            <a:lnTo>
                              <a:pt x="1085210" y="2559954"/>
                            </a:lnTo>
                            <a:lnTo>
                              <a:pt x="1089050" y="2556114"/>
                            </a:lnTo>
                            <a:lnTo>
                              <a:pt x="1094537" y="2555017"/>
                            </a:lnTo>
                            <a:lnTo>
                              <a:pt x="1099475" y="2556663"/>
                            </a:lnTo>
                            <a:lnTo>
                              <a:pt x="1100023" y="2551725"/>
                            </a:lnTo>
                            <a:lnTo>
                              <a:pt x="1110996" y="2552273"/>
                            </a:lnTo>
                            <a:lnTo>
                              <a:pt x="1115934" y="2549530"/>
                            </a:lnTo>
                            <a:lnTo>
                              <a:pt x="1128553" y="2560503"/>
                            </a:lnTo>
                            <a:lnTo>
                              <a:pt x="1138428" y="2554468"/>
                            </a:lnTo>
                            <a:lnTo>
                              <a:pt x="1140623" y="2549530"/>
                            </a:lnTo>
                            <a:lnTo>
                              <a:pt x="1151596" y="2549530"/>
                            </a:lnTo>
                            <a:lnTo>
                              <a:pt x="1156533" y="2546787"/>
                            </a:lnTo>
                            <a:lnTo>
                              <a:pt x="1166957" y="2550627"/>
                            </a:lnTo>
                            <a:lnTo>
                              <a:pt x="1170249" y="2555017"/>
                            </a:lnTo>
                            <a:lnTo>
                              <a:pt x="1171346" y="2566538"/>
                            </a:lnTo>
                            <a:lnTo>
                              <a:pt x="1178479" y="2574219"/>
                            </a:lnTo>
                            <a:lnTo>
                              <a:pt x="1189452" y="2573122"/>
                            </a:lnTo>
                            <a:lnTo>
                              <a:pt x="1199876" y="2575316"/>
                            </a:lnTo>
                            <a:lnTo>
                              <a:pt x="1199327" y="2575316"/>
                            </a:lnTo>
                            <a:lnTo>
                              <a:pt x="1201522" y="2582997"/>
                            </a:lnTo>
                            <a:lnTo>
                              <a:pt x="1213043" y="2581900"/>
                            </a:lnTo>
                            <a:lnTo>
                              <a:pt x="1217981" y="2579157"/>
                            </a:lnTo>
                            <a:lnTo>
                              <a:pt x="1225662" y="2564343"/>
                            </a:lnTo>
                            <a:lnTo>
                              <a:pt x="1230600" y="2566538"/>
                            </a:lnTo>
                            <a:lnTo>
                              <a:pt x="1237732" y="2574768"/>
                            </a:lnTo>
                            <a:lnTo>
                              <a:pt x="1259678" y="2573122"/>
                            </a:lnTo>
                            <a:lnTo>
                              <a:pt x="1264615" y="2569830"/>
                            </a:lnTo>
                            <a:lnTo>
                              <a:pt x="1275040" y="2565989"/>
                            </a:lnTo>
                            <a:lnTo>
                              <a:pt x="1285464" y="2535266"/>
                            </a:lnTo>
                            <a:lnTo>
                              <a:pt x="1280526" y="2528133"/>
                            </a:lnTo>
                            <a:lnTo>
                              <a:pt x="1260226" y="2526487"/>
                            </a:lnTo>
                            <a:lnTo>
                              <a:pt x="1253642" y="2517709"/>
                            </a:lnTo>
                            <a:lnTo>
                              <a:pt x="1237183" y="2513869"/>
                            </a:lnTo>
                            <a:lnTo>
                              <a:pt x="1237732" y="2507834"/>
                            </a:lnTo>
                            <a:lnTo>
                              <a:pt x="1234989" y="2503444"/>
                            </a:lnTo>
                            <a:lnTo>
                              <a:pt x="1223467" y="2501250"/>
                            </a:lnTo>
                            <a:lnTo>
                              <a:pt x="1224016" y="2495215"/>
                            </a:lnTo>
                            <a:lnTo>
                              <a:pt x="1229503" y="2494118"/>
                            </a:lnTo>
                            <a:lnTo>
                              <a:pt x="1237732" y="2486985"/>
                            </a:lnTo>
                            <a:lnTo>
                              <a:pt x="1258032" y="2477110"/>
                            </a:lnTo>
                            <a:lnTo>
                              <a:pt x="1260775" y="2472172"/>
                            </a:lnTo>
                            <a:lnTo>
                              <a:pt x="1261324" y="2466686"/>
                            </a:lnTo>
                            <a:lnTo>
                              <a:pt x="1248705" y="2448032"/>
                            </a:lnTo>
                            <a:lnTo>
                              <a:pt x="1253642" y="2446386"/>
                            </a:lnTo>
                            <a:lnTo>
                              <a:pt x="1258032" y="2441997"/>
                            </a:lnTo>
                            <a:lnTo>
                              <a:pt x="1259678" y="2437059"/>
                            </a:lnTo>
                            <a:lnTo>
                              <a:pt x="1263518" y="2432670"/>
                            </a:lnTo>
                            <a:lnTo>
                              <a:pt x="1269553" y="2432121"/>
                            </a:lnTo>
                            <a:lnTo>
                              <a:pt x="1275040" y="2433767"/>
                            </a:lnTo>
                            <a:lnTo>
                              <a:pt x="1280526" y="2432670"/>
                            </a:lnTo>
                            <a:lnTo>
                              <a:pt x="1286012" y="2433767"/>
                            </a:lnTo>
                            <a:lnTo>
                              <a:pt x="1296985" y="2433767"/>
                            </a:lnTo>
                            <a:lnTo>
                              <a:pt x="1301923" y="2432121"/>
                            </a:lnTo>
                            <a:lnTo>
                              <a:pt x="1304666" y="2426635"/>
                            </a:lnTo>
                            <a:lnTo>
                              <a:pt x="1301374" y="2422246"/>
                            </a:lnTo>
                            <a:lnTo>
                              <a:pt x="1291499" y="2416759"/>
                            </a:lnTo>
                            <a:lnTo>
                              <a:pt x="1269553" y="2413467"/>
                            </a:lnTo>
                            <a:lnTo>
                              <a:pt x="1266810" y="2408530"/>
                            </a:lnTo>
                            <a:lnTo>
                              <a:pt x="1267907" y="2403043"/>
                            </a:lnTo>
                            <a:lnTo>
                              <a:pt x="1273394" y="2403592"/>
                            </a:lnTo>
                            <a:lnTo>
                              <a:pt x="1278331" y="2401397"/>
                            </a:lnTo>
                            <a:lnTo>
                              <a:pt x="1281074" y="2396460"/>
                            </a:lnTo>
                            <a:lnTo>
                              <a:pt x="1277234" y="2392619"/>
                            </a:lnTo>
                            <a:lnTo>
                              <a:pt x="1272296" y="2395362"/>
                            </a:lnTo>
                            <a:lnTo>
                              <a:pt x="1261324" y="2395362"/>
                            </a:lnTo>
                            <a:lnTo>
                              <a:pt x="1261324" y="2389876"/>
                            </a:lnTo>
                            <a:lnTo>
                              <a:pt x="1262969" y="2384390"/>
                            </a:lnTo>
                            <a:lnTo>
                              <a:pt x="1266261" y="2380549"/>
                            </a:lnTo>
                            <a:lnTo>
                              <a:pt x="1259129" y="2372319"/>
                            </a:lnTo>
                            <a:lnTo>
                              <a:pt x="1270102" y="2371771"/>
                            </a:lnTo>
                            <a:lnTo>
                              <a:pt x="1272845" y="2367382"/>
                            </a:lnTo>
                            <a:lnTo>
                              <a:pt x="1278880" y="2367382"/>
                            </a:lnTo>
                            <a:lnTo>
                              <a:pt x="1282172" y="2371771"/>
                            </a:lnTo>
                            <a:lnTo>
                              <a:pt x="1287658" y="2370674"/>
                            </a:lnTo>
                            <a:lnTo>
                              <a:pt x="1293145" y="2371771"/>
                            </a:lnTo>
                            <a:lnTo>
                              <a:pt x="1298083" y="2369576"/>
                            </a:lnTo>
                            <a:lnTo>
                              <a:pt x="1315090" y="2370674"/>
                            </a:lnTo>
                            <a:lnTo>
                              <a:pt x="1318382" y="2375063"/>
                            </a:lnTo>
                            <a:lnTo>
                              <a:pt x="1325515" y="2366284"/>
                            </a:lnTo>
                            <a:lnTo>
                              <a:pt x="1330452" y="2364639"/>
                            </a:lnTo>
                            <a:lnTo>
                              <a:pt x="1341425" y="2365187"/>
                            </a:lnTo>
                            <a:lnTo>
                              <a:pt x="1345814" y="2361347"/>
                            </a:lnTo>
                            <a:lnTo>
                              <a:pt x="1351300" y="2359701"/>
                            </a:lnTo>
                            <a:lnTo>
                              <a:pt x="1360079" y="2353117"/>
                            </a:lnTo>
                            <a:lnTo>
                              <a:pt x="1365565" y="2354763"/>
                            </a:lnTo>
                            <a:lnTo>
                              <a:pt x="1369406" y="2358603"/>
                            </a:lnTo>
                            <a:lnTo>
                              <a:pt x="1375441" y="2358603"/>
                            </a:lnTo>
                            <a:lnTo>
                              <a:pt x="1377086" y="2353117"/>
                            </a:lnTo>
                            <a:lnTo>
                              <a:pt x="1388059" y="2350374"/>
                            </a:lnTo>
                            <a:lnTo>
                              <a:pt x="1392448" y="2347082"/>
                            </a:lnTo>
                            <a:lnTo>
                              <a:pt x="1397935" y="2347082"/>
                            </a:lnTo>
                            <a:lnTo>
                              <a:pt x="1402873" y="2344887"/>
                            </a:lnTo>
                            <a:lnTo>
                              <a:pt x="1408359" y="2344887"/>
                            </a:lnTo>
                            <a:lnTo>
                              <a:pt x="1413845" y="2346533"/>
                            </a:lnTo>
                            <a:lnTo>
                              <a:pt x="1419880" y="2331171"/>
                            </a:lnTo>
                            <a:lnTo>
                              <a:pt x="1424818" y="2327880"/>
                            </a:lnTo>
                            <a:lnTo>
                              <a:pt x="1430305" y="2326782"/>
                            </a:lnTo>
                            <a:lnTo>
                              <a:pt x="1435243" y="2329526"/>
                            </a:lnTo>
                            <a:lnTo>
                              <a:pt x="1448410" y="2325685"/>
                            </a:lnTo>
                            <a:lnTo>
                              <a:pt x="1447861" y="2326234"/>
                            </a:lnTo>
                            <a:lnTo>
                              <a:pt x="1514795" y="2311420"/>
                            </a:lnTo>
                            <a:lnTo>
                              <a:pt x="1519184" y="2307580"/>
                            </a:lnTo>
                            <a:lnTo>
                              <a:pt x="1524671" y="2308129"/>
                            </a:lnTo>
                            <a:lnTo>
                              <a:pt x="1529608" y="2305934"/>
                            </a:lnTo>
                            <a:lnTo>
                              <a:pt x="1533449" y="2301545"/>
                            </a:lnTo>
                            <a:lnTo>
                              <a:pt x="1532900" y="2291121"/>
                            </a:lnTo>
                            <a:lnTo>
                              <a:pt x="1538387" y="2291669"/>
                            </a:lnTo>
                            <a:lnTo>
                              <a:pt x="1543873" y="2290572"/>
                            </a:lnTo>
                            <a:lnTo>
                              <a:pt x="1547165" y="2285634"/>
                            </a:lnTo>
                            <a:lnTo>
                              <a:pt x="1551554" y="2282891"/>
                            </a:lnTo>
                            <a:lnTo>
                              <a:pt x="1557040" y="2282343"/>
                            </a:lnTo>
                            <a:lnTo>
                              <a:pt x="1560332" y="2277953"/>
                            </a:lnTo>
                            <a:lnTo>
                              <a:pt x="1565819" y="2277405"/>
                            </a:lnTo>
                            <a:lnTo>
                              <a:pt x="1569659" y="2281245"/>
                            </a:lnTo>
                            <a:lnTo>
                              <a:pt x="1575146" y="2280697"/>
                            </a:lnTo>
                            <a:lnTo>
                              <a:pt x="1580632" y="2282343"/>
                            </a:lnTo>
                            <a:lnTo>
                              <a:pt x="1585570" y="2281245"/>
                            </a:lnTo>
                            <a:lnTo>
                              <a:pt x="1591056" y="2282891"/>
                            </a:lnTo>
                            <a:lnTo>
                              <a:pt x="1594897" y="2287829"/>
                            </a:lnTo>
                            <a:lnTo>
                              <a:pt x="1603675" y="2293864"/>
                            </a:lnTo>
                            <a:lnTo>
                              <a:pt x="1612453" y="2287829"/>
                            </a:lnTo>
                            <a:lnTo>
                              <a:pt x="1623975" y="2285634"/>
                            </a:lnTo>
                            <a:lnTo>
                              <a:pt x="1629461" y="2287829"/>
                            </a:lnTo>
                            <a:lnTo>
                              <a:pt x="1633301" y="2291669"/>
                            </a:lnTo>
                            <a:lnTo>
                              <a:pt x="1635496" y="2296607"/>
                            </a:lnTo>
                            <a:lnTo>
                              <a:pt x="1636045" y="2313615"/>
                            </a:lnTo>
                            <a:lnTo>
                              <a:pt x="1637691" y="2318553"/>
                            </a:lnTo>
                            <a:lnTo>
                              <a:pt x="1645920" y="2326234"/>
                            </a:lnTo>
                            <a:lnTo>
                              <a:pt x="1643177" y="2331171"/>
                            </a:lnTo>
                            <a:lnTo>
                              <a:pt x="1643726" y="2342144"/>
                            </a:lnTo>
                            <a:lnTo>
                              <a:pt x="1637142" y="2350923"/>
                            </a:lnTo>
                            <a:lnTo>
                              <a:pt x="1640434" y="2355860"/>
                            </a:lnTo>
                            <a:lnTo>
                              <a:pt x="1641531" y="2361347"/>
                            </a:lnTo>
                            <a:lnTo>
                              <a:pt x="1653052" y="2358055"/>
                            </a:lnTo>
                            <a:lnTo>
                              <a:pt x="1657442" y="2361347"/>
                            </a:lnTo>
                            <a:lnTo>
                              <a:pt x="1662928" y="2360798"/>
                            </a:lnTo>
                            <a:lnTo>
                              <a:pt x="1664574" y="2355312"/>
                            </a:lnTo>
                            <a:lnTo>
                              <a:pt x="1670060" y="2354763"/>
                            </a:lnTo>
                            <a:lnTo>
                              <a:pt x="1675547" y="2356409"/>
                            </a:lnTo>
                            <a:lnTo>
                              <a:pt x="1676644" y="2345436"/>
                            </a:lnTo>
                            <a:lnTo>
                              <a:pt x="1682131" y="2346533"/>
                            </a:lnTo>
                            <a:lnTo>
                              <a:pt x="1685971" y="2356958"/>
                            </a:lnTo>
                            <a:lnTo>
                              <a:pt x="1689811" y="2360798"/>
                            </a:lnTo>
                            <a:lnTo>
                              <a:pt x="1687617" y="2366284"/>
                            </a:lnTo>
                            <a:lnTo>
                              <a:pt x="1687068" y="2371771"/>
                            </a:lnTo>
                            <a:lnTo>
                              <a:pt x="1698041" y="2372868"/>
                            </a:lnTo>
                            <a:lnTo>
                              <a:pt x="1696395" y="2367930"/>
                            </a:lnTo>
                            <a:lnTo>
                              <a:pt x="1693103" y="2363541"/>
                            </a:lnTo>
                            <a:lnTo>
                              <a:pt x="1698041" y="2361347"/>
                            </a:lnTo>
                            <a:lnTo>
                              <a:pt x="1708465" y="2363541"/>
                            </a:lnTo>
                            <a:lnTo>
                              <a:pt x="1713952" y="2366833"/>
                            </a:lnTo>
                            <a:lnTo>
                              <a:pt x="1717792" y="2370674"/>
                            </a:lnTo>
                            <a:lnTo>
                              <a:pt x="1722730" y="2373417"/>
                            </a:lnTo>
                            <a:lnTo>
                              <a:pt x="1728216" y="2373417"/>
                            </a:lnTo>
                            <a:lnTo>
                              <a:pt x="1730959" y="2368479"/>
                            </a:lnTo>
                            <a:lnTo>
                              <a:pt x="1735897" y="2366284"/>
                            </a:lnTo>
                            <a:lnTo>
                              <a:pt x="1737543" y="2371771"/>
                            </a:lnTo>
                            <a:lnTo>
                              <a:pt x="1736995" y="2377257"/>
                            </a:lnTo>
                            <a:lnTo>
                              <a:pt x="1732057" y="2378903"/>
                            </a:lnTo>
                            <a:lnTo>
                              <a:pt x="1727119" y="2382195"/>
                            </a:lnTo>
                            <a:lnTo>
                              <a:pt x="1723827" y="2387133"/>
                            </a:lnTo>
                            <a:lnTo>
                              <a:pt x="1722181" y="2392071"/>
                            </a:lnTo>
                            <a:lnTo>
                              <a:pt x="1723279" y="2397557"/>
                            </a:lnTo>
                            <a:lnTo>
                              <a:pt x="1726022" y="2402495"/>
                            </a:lnTo>
                            <a:lnTo>
                              <a:pt x="1731508" y="2401946"/>
                            </a:lnTo>
                            <a:lnTo>
                              <a:pt x="1734800" y="2397557"/>
                            </a:lnTo>
                            <a:lnTo>
                              <a:pt x="1745224" y="2393716"/>
                            </a:lnTo>
                            <a:lnTo>
                              <a:pt x="1750162" y="2395911"/>
                            </a:lnTo>
                            <a:lnTo>
                              <a:pt x="1755648" y="2395362"/>
                            </a:lnTo>
                            <a:lnTo>
                              <a:pt x="1759489" y="2399203"/>
                            </a:lnTo>
                            <a:lnTo>
                              <a:pt x="1765524" y="2399203"/>
                            </a:lnTo>
                            <a:lnTo>
                              <a:pt x="1763329" y="2394265"/>
                            </a:lnTo>
                            <a:lnTo>
                              <a:pt x="1767170" y="2389327"/>
                            </a:lnTo>
                            <a:lnTo>
                              <a:pt x="1772656" y="2388779"/>
                            </a:lnTo>
                            <a:lnTo>
                              <a:pt x="1779788" y="2381098"/>
                            </a:lnTo>
                            <a:lnTo>
                              <a:pt x="1790761" y="2378903"/>
                            </a:lnTo>
                            <a:lnTo>
                              <a:pt x="1798991" y="2371771"/>
                            </a:lnTo>
                            <a:lnTo>
                              <a:pt x="1802831" y="2361347"/>
                            </a:lnTo>
                            <a:lnTo>
                              <a:pt x="1807220" y="2358603"/>
                            </a:lnTo>
                            <a:lnTo>
                              <a:pt x="1813255" y="2359152"/>
                            </a:lnTo>
                            <a:lnTo>
                              <a:pt x="1829166" y="2354763"/>
                            </a:lnTo>
                            <a:lnTo>
                              <a:pt x="1831909" y="2349825"/>
                            </a:lnTo>
                            <a:lnTo>
                              <a:pt x="1842882" y="2348728"/>
                            </a:lnTo>
                            <a:lnTo>
                              <a:pt x="1852209" y="2343242"/>
                            </a:lnTo>
                            <a:lnTo>
                              <a:pt x="1854403" y="2348179"/>
                            </a:lnTo>
                            <a:lnTo>
                              <a:pt x="1854952" y="2353666"/>
                            </a:lnTo>
                            <a:lnTo>
                              <a:pt x="1852209" y="2358603"/>
                            </a:lnTo>
                            <a:lnTo>
                              <a:pt x="1846723" y="2360249"/>
                            </a:lnTo>
                            <a:lnTo>
                              <a:pt x="1841236" y="2360249"/>
                            </a:lnTo>
                            <a:lnTo>
                              <a:pt x="1840687" y="2365187"/>
                            </a:lnTo>
                            <a:lnTo>
                              <a:pt x="1840687" y="2365187"/>
                            </a:lnTo>
                            <a:lnTo>
                              <a:pt x="1842882" y="2370674"/>
                            </a:lnTo>
                            <a:lnTo>
                              <a:pt x="1846174" y="2371771"/>
                            </a:lnTo>
                            <a:lnTo>
                              <a:pt x="1895003" y="2416759"/>
                            </a:lnTo>
                            <a:lnTo>
                              <a:pt x="1977299" y="2567087"/>
                            </a:lnTo>
                            <a:lnTo>
                              <a:pt x="1987174" y="2559954"/>
                            </a:lnTo>
                            <a:lnTo>
                              <a:pt x="1988820" y="2554468"/>
                            </a:lnTo>
                            <a:lnTo>
                              <a:pt x="1988820" y="2548982"/>
                            </a:lnTo>
                            <a:lnTo>
                              <a:pt x="1995952" y="2539655"/>
                            </a:lnTo>
                            <a:lnTo>
                              <a:pt x="2001439" y="2539106"/>
                            </a:lnTo>
                            <a:lnTo>
                              <a:pt x="2005279" y="2543495"/>
                            </a:lnTo>
                            <a:lnTo>
                              <a:pt x="2010766" y="2545141"/>
                            </a:lnTo>
                            <a:lnTo>
                              <a:pt x="2020093" y="2550627"/>
                            </a:lnTo>
                            <a:lnTo>
                              <a:pt x="2017898" y="2556114"/>
                            </a:lnTo>
                            <a:lnTo>
                              <a:pt x="2020641" y="2560503"/>
                            </a:lnTo>
                            <a:lnTo>
                              <a:pt x="2024482" y="2561600"/>
                            </a:lnTo>
                            <a:lnTo>
                              <a:pt x="2027774" y="2569830"/>
                            </a:lnTo>
                            <a:lnTo>
                              <a:pt x="2044781" y="2568733"/>
                            </a:lnTo>
                            <a:lnTo>
                              <a:pt x="2055754" y="2572024"/>
                            </a:lnTo>
                            <a:lnTo>
                              <a:pt x="2060692" y="2569830"/>
                            </a:lnTo>
                            <a:lnTo>
                              <a:pt x="2072213" y="2570927"/>
                            </a:lnTo>
                            <a:lnTo>
                              <a:pt x="2073859" y="2565441"/>
                            </a:lnTo>
                            <a:lnTo>
                              <a:pt x="2077700" y="2561052"/>
                            </a:lnTo>
                            <a:lnTo>
                              <a:pt x="2082638" y="2562149"/>
                            </a:lnTo>
                            <a:lnTo>
                              <a:pt x="2088124" y="2561600"/>
                            </a:lnTo>
                            <a:lnTo>
                              <a:pt x="2090867" y="2556663"/>
                            </a:lnTo>
                            <a:lnTo>
                              <a:pt x="2095256" y="2553371"/>
                            </a:lnTo>
                            <a:lnTo>
                              <a:pt x="2105680" y="2556663"/>
                            </a:lnTo>
                            <a:lnTo>
                              <a:pt x="2110618" y="2559406"/>
                            </a:lnTo>
                            <a:lnTo>
                              <a:pt x="2113362" y="2564343"/>
                            </a:lnTo>
                            <a:lnTo>
                              <a:pt x="2118299" y="2567087"/>
                            </a:lnTo>
                            <a:lnTo>
                              <a:pt x="2125432" y="2575316"/>
                            </a:lnTo>
                            <a:lnTo>
                              <a:pt x="2130369" y="2577511"/>
                            </a:lnTo>
                            <a:lnTo>
                              <a:pt x="2132564" y="2582449"/>
                            </a:lnTo>
                            <a:lnTo>
                              <a:pt x="2131467" y="2588484"/>
                            </a:lnTo>
                            <a:lnTo>
                              <a:pt x="2132015" y="2593970"/>
                            </a:lnTo>
                            <a:lnTo>
                              <a:pt x="2134759" y="2598359"/>
                            </a:lnTo>
                            <a:lnTo>
                              <a:pt x="2140245" y="2599456"/>
                            </a:lnTo>
                            <a:lnTo>
                              <a:pt x="2155058" y="2607137"/>
                            </a:lnTo>
                            <a:lnTo>
                              <a:pt x="2157253" y="2612075"/>
                            </a:lnTo>
                            <a:lnTo>
                              <a:pt x="2156704" y="2617562"/>
                            </a:lnTo>
                            <a:lnTo>
                              <a:pt x="2161642" y="2619756"/>
                            </a:lnTo>
                            <a:lnTo>
                              <a:pt x="2166031" y="2623597"/>
                            </a:lnTo>
                            <a:lnTo>
                              <a:pt x="2170420" y="2633472"/>
                            </a:lnTo>
                            <a:lnTo>
                              <a:pt x="2174809" y="2636215"/>
                            </a:lnTo>
                            <a:lnTo>
                              <a:pt x="2186331" y="2637861"/>
                            </a:lnTo>
                            <a:lnTo>
                              <a:pt x="2196206" y="2642250"/>
                            </a:lnTo>
                            <a:lnTo>
                              <a:pt x="2207728" y="2643896"/>
                            </a:lnTo>
                            <a:lnTo>
                              <a:pt x="2209374" y="2638410"/>
                            </a:lnTo>
                            <a:lnTo>
                              <a:pt x="2213214" y="2634021"/>
                            </a:lnTo>
                            <a:lnTo>
                              <a:pt x="2223090" y="2630180"/>
                            </a:lnTo>
                            <a:lnTo>
                              <a:pt x="2224735" y="2636215"/>
                            </a:lnTo>
                            <a:lnTo>
                              <a:pt x="2227479" y="2640604"/>
                            </a:lnTo>
                            <a:lnTo>
                              <a:pt x="2231868" y="2643896"/>
                            </a:lnTo>
                            <a:lnTo>
                              <a:pt x="2236806" y="2653772"/>
                            </a:lnTo>
                            <a:lnTo>
                              <a:pt x="2241195" y="2657064"/>
                            </a:lnTo>
                            <a:lnTo>
                              <a:pt x="2243938" y="2662001"/>
                            </a:lnTo>
                            <a:lnTo>
                              <a:pt x="2235708" y="2679558"/>
                            </a:lnTo>
                            <a:lnTo>
                              <a:pt x="2235708" y="2679558"/>
                            </a:lnTo>
                            <a:lnTo>
                              <a:pt x="2252167" y="2684496"/>
                            </a:lnTo>
                            <a:lnTo>
                              <a:pt x="2263140" y="2674071"/>
                            </a:lnTo>
                            <a:lnTo>
                              <a:pt x="2266981" y="2673523"/>
                            </a:lnTo>
                            <a:lnTo>
                              <a:pt x="2274662" y="2659258"/>
                            </a:lnTo>
                            <a:lnTo>
                              <a:pt x="2286183" y="2646639"/>
                            </a:lnTo>
                            <a:lnTo>
                              <a:pt x="2310872" y="2637861"/>
                            </a:lnTo>
                            <a:lnTo>
                              <a:pt x="2372320" y="2595067"/>
                            </a:lnTo>
                            <a:lnTo>
                              <a:pt x="2433219" y="2576962"/>
                            </a:lnTo>
                            <a:lnTo>
                              <a:pt x="2459553" y="2584095"/>
                            </a:lnTo>
                            <a:lnTo>
                              <a:pt x="2468332" y="2591775"/>
                            </a:lnTo>
                            <a:lnTo>
                              <a:pt x="2495215" y="2587935"/>
                            </a:lnTo>
                            <a:lnTo>
                              <a:pt x="2507285" y="2589581"/>
                            </a:lnTo>
                            <a:lnTo>
                              <a:pt x="2531425" y="2615367"/>
                            </a:lnTo>
                            <a:lnTo>
                              <a:pt x="2543495" y="2617013"/>
                            </a:lnTo>
                            <a:lnTo>
                              <a:pt x="2575316" y="2611527"/>
                            </a:lnTo>
                            <a:lnTo>
                              <a:pt x="2584643" y="2615916"/>
                            </a:lnTo>
                            <a:lnTo>
                              <a:pt x="2641153" y="2613721"/>
                            </a:lnTo>
                            <a:lnTo>
                              <a:pt x="2647737" y="2609881"/>
                            </a:lnTo>
                            <a:lnTo>
                              <a:pt x="2644994" y="2596713"/>
                            </a:lnTo>
                            <a:lnTo>
                              <a:pt x="2646640" y="2586838"/>
                            </a:lnTo>
                            <a:lnTo>
                              <a:pt x="2653772" y="2575316"/>
                            </a:lnTo>
                            <a:lnTo>
                              <a:pt x="2653223" y="2564343"/>
                            </a:lnTo>
                            <a:lnTo>
                              <a:pt x="2646091" y="2554468"/>
                            </a:lnTo>
                            <a:lnTo>
                              <a:pt x="2643896" y="2541849"/>
                            </a:lnTo>
                            <a:lnTo>
                              <a:pt x="2644994" y="2529779"/>
                            </a:lnTo>
                            <a:lnTo>
                              <a:pt x="2685593" y="2487534"/>
                            </a:lnTo>
                            <a:lnTo>
                              <a:pt x="2694920" y="2486437"/>
                            </a:lnTo>
                            <a:lnTo>
                              <a:pt x="2708087" y="2490277"/>
                            </a:lnTo>
                            <a:lnTo>
                              <a:pt x="2718511" y="2497958"/>
                            </a:lnTo>
                            <a:lnTo>
                              <a:pt x="2743749" y="2504542"/>
                            </a:lnTo>
                            <a:lnTo>
                              <a:pt x="2751430" y="2514966"/>
                            </a:lnTo>
                            <a:lnTo>
                              <a:pt x="2795870" y="2525390"/>
                            </a:lnTo>
                            <a:lnTo>
                              <a:pt x="2802453" y="2536911"/>
                            </a:lnTo>
                            <a:lnTo>
                              <a:pt x="2805745" y="2571476"/>
                            </a:lnTo>
                            <a:lnTo>
                              <a:pt x="2809586" y="2571476"/>
                            </a:lnTo>
                            <a:lnTo>
                              <a:pt x="2835372" y="2592324"/>
                            </a:lnTo>
                            <a:lnTo>
                              <a:pt x="2858415" y="2599456"/>
                            </a:lnTo>
                            <a:lnTo>
                              <a:pt x="2877617" y="2595616"/>
                            </a:lnTo>
                            <a:lnTo>
                              <a:pt x="2913827" y="2576962"/>
                            </a:lnTo>
                            <a:lnTo>
                              <a:pt x="2967045" y="2594519"/>
                            </a:lnTo>
                            <a:lnTo>
                              <a:pt x="2973629" y="2602200"/>
                            </a:lnTo>
                            <a:lnTo>
                              <a:pt x="2975275" y="2602200"/>
                            </a:lnTo>
                            <a:lnTo>
                              <a:pt x="2993929" y="2614270"/>
                            </a:lnTo>
                            <a:lnTo>
                              <a:pt x="3023007" y="2623597"/>
                            </a:lnTo>
                            <a:lnTo>
                              <a:pt x="3031785" y="2637861"/>
                            </a:lnTo>
                            <a:lnTo>
                              <a:pt x="3050439" y="2648834"/>
                            </a:lnTo>
                            <a:lnTo>
                              <a:pt x="3117921" y="2656515"/>
                            </a:lnTo>
                            <a:lnTo>
                              <a:pt x="3130540" y="2662001"/>
                            </a:lnTo>
                            <a:lnTo>
                              <a:pt x="3210642" y="2640604"/>
                            </a:lnTo>
                            <a:lnTo>
                              <a:pt x="3252338" y="2608783"/>
                            </a:lnTo>
                            <a:lnTo>
                              <a:pt x="3269895" y="2603297"/>
                            </a:lnTo>
                            <a:lnTo>
                              <a:pt x="3286354" y="2609881"/>
                            </a:lnTo>
                            <a:lnTo>
                              <a:pt x="3298424" y="2619756"/>
                            </a:lnTo>
                            <a:lnTo>
                              <a:pt x="3313237" y="2623048"/>
                            </a:lnTo>
                            <a:lnTo>
                              <a:pt x="3324759" y="2620305"/>
                            </a:lnTo>
                            <a:lnTo>
                              <a:pt x="3334086" y="2615367"/>
                            </a:lnTo>
                            <a:lnTo>
                              <a:pt x="3338475" y="2617013"/>
                            </a:lnTo>
                            <a:lnTo>
                              <a:pt x="3338475" y="2617013"/>
                            </a:lnTo>
                            <a:lnTo>
                              <a:pt x="3393339" y="2640604"/>
                            </a:lnTo>
                            <a:lnTo>
                              <a:pt x="3401568" y="2638410"/>
                            </a:lnTo>
                            <a:lnTo>
                              <a:pt x="3446008" y="2609881"/>
                            </a:lnTo>
                            <a:lnTo>
                              <a:pt x="3447105" y="2604943"/>
                            </a:lnTo>
                            <a:lnTo>
                              <a:pt x="3445459" y="2596713"/>
                            </a:lnTo>
                            <a:lnTo>
                              <a:pt x="3447654" y="2587935"/>
                            </a:lnTo>
                            <a:lnTo>
                              <a:pt x="3459175" y="2571476"/>
                            </a:lnTo>
                            <a:lnTo>
                              <a:pt x="3472891" y="2524293"/>
                            </a:lnTo>
                            <a:lnTo>
                              <a:pt x="3484962" y="2517160"/>
                            </a:lnTo>
                            <a:lnTo>
                              <a:pt x="3501969" y="2498507"/>
                            </a:lnTo>
                            <a:lnTo>
                              <a:pt x="3501969" y="2495215"/>
                            </a:lnTo>
                            <a:lnTo>
                              <a:pt x="3498678" y="2488631"/>
                            </a:lnTo>
                            <a:lnTo>
                              <a:pt x="3499775" y="2469429"/>
                            </a:lnTo>
                            <a:lnTo>
                              <a:pt x="3495934" y="2466686"/>
                            </a:lnTo>
                            <a:lnTo>
                              <a:pt x="3475086" y="2470526"/>
                            </a:lnTo>
                            <a:lnTo>
                              <a:pt x="3472891" y="2466686"/>
                            </a:lnTo>
                            <a:lnTo>
                              <a:pt x="3476183" y="2457907"/>
                            </a:lnTo>
                            <a:lnTo>
                              <a:pt x="3492643" y="2441997"/>
                            </a:lnTo>
                            <a:lnTo>
                              <a:pt x="3497580" y="2433219"/>
                            </a:lnTo>
                            <a:lnTo>
                              <a:pt x="3508553" y="2424989"/>
                            </a:lnTo>
                            <a:lnTo>
                              <a:pt x="3610051" y="2406884"/>
                            </a:lnTo>
                            <a:lnTo>
                              <a:pt x="3641872" y="2429378"/>
                            </a:lnTo>
                            <a:lnTo>
                              <a:pt x="3652845" y="2432121"/>
                            </a:lnTo>
                            <a:lnTo>
                              <a:pt x="3666013" y="2430475"/>
                            </a:lnTo>
                            <a:lnTo>
                              <a:pt x="3686312" y="2437608"/>
                            </a:lnTo>
                            <a:lnTo>
                              <a:pt x="3700028" y="2459553"/>
                            </a:lnTo>
                            <a:lnTo>
                              <a:pt x="3700577" y="2467783"/>
                            </a:lnTo>
                            <a:lnTo>
                              <a:pt x="3712647" y="2477110"/>
                            </a:lnTo>
                            <a:lnTo>
                              <a:pt x="3713744" y="2482596"/>
                            </a:lnTo>
                            <a:lnTo>
                              <a:pt x="3714293" y="2479304"/>
                            </a:lnTo>
                            <a:lnTo>
                              <a:pt x="3754892" y="2604943"/>
                            </a:lnTo>
                            <a:lnTo>
                              <a:pt x="3754344" y="2608235"/>
                            </a:lnTo>
                            <a:lnTo>
                              <a:pt x="3754892" y="2608783"/>
                            </a:lnTo>
                            <a:lnTo>
                              <a:pt x="3756538" y="2636215"/>
                            </a:lnTo>
                            <a:lnTo>
                              <a:pt x="3764768" y="2643348"/>
                            </a:lnTo>
                            <a:lnTo>
                              <a:pt x="3780679" y="2644994"/>
                            </a:lnTo>
                            <a:lnTo>
                              <a:pt x="3794943" y="2640056"/>
                            </a:lnTo>
                            <a:lnTo>
                              <a:pt x="3831153" y="2652126"/>
                            </a:lnTo>
                            <a:lnTo>
                              <a:pt x="3853099" y="2672426"/>
                            </a:lnTo>
                            <a:lnTo>
                              <a:pt x="3863523" y="2677363"/>
                            </a:lnTo>
                            <a:lnTo>
                              <a:pt x="3871753" y="2677363"/>
                            </a:lnTo>
                            <a:lnTo>
                              <a:pt x="3875044" y="2683398"/>
                            </a:lnTo>
                            <a:lnTo>
                              <a:pt x="3875044" y="2686142"/>
                            </a:lnTo>
                            <a:lnTo>
                              <a:pt x="3876142" y="2686142"/>
                            </a:lnTo>
                            <a:lnTo>
                              <a:pt x="3877239" y="2696566"/>
                            </a:lnTo>
                            <a:lnTo>
                              <a:pt x="3881629" y="2703149"/>
                            </a:lnTo>
                            <a:lnTo>
                              <a:pt x="3881629" y="2726192"/>
                            </a:lnTo>
                            <a:lnTo>
                              <a:pt x="3893150" y="2745943"/>
                            </a:lnTo>
                            <a:lnTo>
                              <a:pt x="3905220" y="2745395"/>
                            </a:lnTo>
                            <a:lnTo>
                              <a:pt x="3918387" y="2749235"/>
                            </a:lnTo>
                            <a:lnTo>
                              <a:pt x="3930457" y="2747589"/>
                            </a:lnTo>
                            <a:lnTo>
                              <a:pt x="3974897" y="2722352"/>
                            </a:lnTo>
                            <a:lnTo>
                              <a:pt x="3987516" y="2721803"/>
                            </a:lnTo>
                            <a:lnTo>
                              <a:pt x="4032505" y="2703149"/>
                            </a:lnTo>
                            <a:lnTo>
                              <a:pt x="4033053" y="2705344"/>
                            </a:lnTo>
                            <a:lnTo>
                              <a:pt x="4027018" y="2714671"/>
                            </a:lnTo>
                            <a:lnTo>
                              <a:pt x="4027018" y="2727838"/>
                            </a:lnTo>
                            <a:lnTo>
                              <a:pt x="4030858" y="2738811"/>
                            </a:lnTo>
                            <a:lnTo>
                              <a:pt x="4029212" y="2751978"/>
                            </a:lnTo>
                            <a:lnTo>
                              <a:pt x="4011656" y="2767889"/>
                            </a:lnTo>
                            <a:lnTo>
                              <a:pt x="3994648" y="2833726"/>
                            </a:lnTo>
                            <a:lnTo>
                              <a:pt x="3972154" y="2872131"/>
                            </a:lnTo>
                            <a:lnTo>
                              <a:pt x="3968862" y="2885847"/>
                            </a:lnTo>
                            <a:lnTo>
                              <a:pt x="3960632" y="2892430"/>
                            </a:lnTo>
                            <a:lnTo>
                              <a:pt x="3956792" y="2890236"/>
                            </a:lnTo>
                            <a:lnTo>
                              <a:pt x="3922777" y="2881457"/>
                            </a:lnTo>
                            <a:lnTo>
                              <a:pt x="3888760" y="2909987"/>
                            </a:lnTo>
                            <a:lnTo>
                              <a:pt x="3894795" y="2919313"/>
                            </a:lnTo>
                            <a:lnTo>
                              <a:pt x="3898636" y="2978567"/>
                            </a:lnTo>
                            <a:lnTo>
                              <a:pt x="3887663" y="2995575"/>
                            </a:lnTo>
                            <a:lnTo>
                              <a:pt x="3873947" y="3007096"/>
                            </a:lnTo>
                            <a:lnTo>
                              <a:pt x="3874496" y="3023555"/>
                            </a:lnTo>
                            <a:lnTo>
                              <a:pt x="3877239" y="3029041"/>
                            </a:lnTo>
                            <a:lnTo>
                              <a:pt x="3882177" y="3026298"/>
                            </a:lnTo>
                            <a:lnTo>
                              <a:pt x="3881079" y="3020812"/>
                            </a:lnTo>
                            <a:lnTo>
                              <a:pt x="3878885" y="3017520"/>
                            </a:lnTo>
                            <a:lnTo>
                              <a:pt x="3898636" y="3016972"/>
                            </a:lnTo>
                            <a:lnTo>
                              <a:pt x="3902476" y="3010388"/>
                            </a:lnTo>
                            <a:lnTo>
                              <a:pt x="3907414" y="3005999"/>
                            </a:lnTo>
                            <a:lnTo>
                              <a:pt x="3909061" y="3000512"/>
                            </a:lnTo>
                            <a:lnTo>
                              <a:pt x="3917290" y="2991734"/>
                            </a:lnTo>
                            <a:lnTo>
                              <a:pt x="3922777" y="2975275"/>
                            </a:lnTo>
                            <a:lnTo>
                              <a:pt x="3923325" y="2981859"/>
                            </a:lnTo>
                            <a:lnTo>
                              <a:pt x="3929360" y="2982407"/>
                            </a:lnTo>
                            <a:lnTo>
                              <a:pt x="3925520" y="2989540"/>
                            </a:lnTo>
                            <a:lnTo>
                              <a:pt x="3928263" y="2992283"/>
                            </a:lnTo>
                            <a:lnTo>
                              <a:pt x="3936493" y="2986248"/>
                            </a:lnTo>
                            <a:lnTo>
                              <a:pt x="3940881" y="2984602"/>
                            </a:lnTo>
                            <a:lnTo>
                              <a:pt x="3939784" y="3002158"/>
                            </a:lnTo>
                            <a:lnTo>
                              <a:pt x="3940881" y="3004901"/>
                            </a:lnTo>
                            <a:lnTo>
                              <a:pt x="3954597" y="3005450"/>
                            </a:lnTo>
                            <a:lnTo>
                              <a:pt x="3960632" y="3010388"/>
                            </a:lnTo>
                            <a:lnTo>
                              <a:pt x="3963375" y="3009839"/>
                            </a:lnTo>
                            <a:lnTo>
                              <a:pt x="3967216" y="3012582"/>
                            </a:lnTo>
                            <a:lnTo>
                              <a:pt x="3975446" y="3013680"/>
                            </a:lnTo>
                            <a:lnTo>
                              <a:pt x="3991357" y="3008193"/>
                            </a:lnTo>
                            <a:lnTo>
                              <a:pt x="3996294" y="3008193"/>
                            </a:lnTo>
                            <a:lnTo>
                              <a:pt x="4051158" y="2966497"/>
                            </a:lnTo>
                            <a:lnTo>
                              <a:pt x="4066520" y="2943454"/>
                            </a:lnTo>
                            <a:lnTo>
                              <a:pt x="4067617" y="2937967"/>
                            </a:lnTo>
                            <a:lnTo>
                              <a:pt x="4079687" y="2923703"/>
                            </a:lnTo>
                            <a:lnTo>
                              <a:pt x="4087369" y="2919313"/>
                            </a:lnTo>
                            <a:lnTo>
                              <a:pt x="4226723" y="2713025"/>
                            </a:lnTo>
                            <a:lnTo>
                              <a:pt x="4231661" y="2709733"/>
                            </a:lnTo>
                            <a:lnTo>
                              <a:pt x="4237696" y="2703698"/>
                            </a:lnTo>
                            <a:lnTo>
                              <a:pt x="4242085" y="2679009"/>
                            </a:lnTo>
                            <a:lnTo>
                              <a:pt x="4240988" y="2671877"/>
                            </a:lnTo>
                            <a:lnTo>
                              <a:pt x="4248120" y="2651029"/>
                            </a:lnTo>
                            <a:lnTo>
                              <a:pt x="4247023" y="2620853"/>
                            </a:lnTo>
                            <a:lnTo>
                              <a:pt x="4252509" y="2613721"/>
                            </a:lnTo>
                            <a:lnTo>
                              <a:pt x="4251961" y="2608783"/>
                            </a:lnTo>
                            <a:lnTo>
                              <a:pt x="4249217" y="2606040"/>
                            </a:lnTo>
                            <a:lnTo>
                              <a:pt x="4244828" y="2573122"/>
                            </a:lnTo>
                            <a:lnTo>
                              <a:pt x="4249217" y="2565989"/>
                            </a:lnTo>
                            <a:lnTo>
                              <a:pt x="4251961" y="2542398"/>
                            </a:lnTo>
                            <a:lnTo>
                              <a:pt x="4254704" y="2541301"/>
                            </a:lnTo>
                            <a:lnTo>
                              <a:pt x="4255252" y="2538009"/>
                            </a:lnTo>
                            <a:lnTo>
                              <a:pt x="4257996" y="2535266"/>
                            </a:lnTo>
                            <a:lnTo>
                              <a:pt x="4256898" y="2530876"/>
                            </a:lnTo>
                            <a:lnTo>
                              <a:pt x="4265677" y="2517160"/>
                            </a:lnTo>
                            <a:lnTo>
                              <a:pt x="4270614" y="2514417"/>
                            </a:lnTo>
                            <a:lnTo>
                              <a:pt x="4277747" y="2501799"/>
                            </a:lnTo>
                            <a:lnTo>
                              <a:pt x="4278844" y="2494666"/>
                            </a:lnTo>
                            <a:lnTo>
                              <a:pt x="4282136" y="2486437"/>
                            </a:lnTo>
                            <a:lnTo>
                              <a:pt x="4268968" y="2471623"/>
                            </a:lnTo>
                            <a:lnTo>
                              <a:pt x="4273906" y="2459005"/>
                            </a:lnTo>
                            <a:lnTo>
                              <a:pt x="4269517" y="2441997"/>
                            </a:lnTo>
                            <a:lnTo>
                              <a:pt x="4255252" y="2430475"/>
                            </a:lnTo>
                            <a:lnTo>
                              <a:pt x="4247571" y="2431024"/>
                            </a:lnTo>
                            <a:lnTo>
                              <a:pt x="4238793" y="2425538"/>
                            </a:lnTo>
                            <a:lnTo>
                              <a:pt x="4229466" y="2422794"/>
                            </a:lnTo>
                            <a:lnTo>
                              <a:pt x="4223980" y="2423343"/>
                            </a:lnTo>
                            <a:lnTo>
                              <a:pt x="4227820" y="2418954"/>
                            </a:lnTo>
                            <a:lnTo>
                              <a:pt x="4237696" y="2419503"/>
                            </a:lnTo>
                            <a:lnTo>
                              <a:pt x="4245925" y="2425538"/>
                            </a:lnTo>
                            <a:lnTo>
                              <a:pt x="4251961" y="2426635"/>
                            </a:lnTo>
                            <a:lnTo>
                              <a:pt x="4257996" y="2426086"/>
                            </a:lnTo>
                            <a:lnTo>
                              <a:pt x="4271163" y="2433767"/>
                            </a:lnTo>
                            <a:lnTo>
                              <a:pt x="4273906" y="2431573"/>
                            </a:lnTo>
                            <a:lnTo>
                              <a:pt x="4279393" y="2423892"/>
                            </a:lnTo>
                            <a:lnTo>
                              <a:pt x="4278844" y="2416211"/>
                            </a:lnTo>
                            <a:lnTo>
                              <a:pt x="4273906" y="2415113"/>
                            </a:lnTo>
                            <a:lnTo>
                              <a:pt x="4239890" y="2388230"/>
                            </a:lnTo>
                            <a:lnTo>
                              <a:pt x="4238245" y="2383841"/>
                            </a:lnTo>
                            <a:lnTo>
                              <a:pt x="4237696" y="2375063"/>
                            </a:lnTo>
                            <a:lnTo>
                              <a:pt x="4226723" y="2365187"/>
                            </a:lnTo>
                            <a:lnTo>
                              <a:pt x="4220688" y="2362444"/>
                            </a:lnTo>
                            <a:lnTo>
                              <a:pt x="4219042" y="2358603"/>
                            </a:lnTo>
                            <a:lnTo>
                              <a:pt x="4219042" y="2355312"/>
                            </a:lnTo>
                            <a:lnTo>
                              <a:pt x="4211361" y="2355312"/>
                            </a:lnTo>
                            <a:lnTo>
                              <a:pt x="4201485" y="2360249"/>
                            </a:lnTo>
                            <a:lnTo>
                              <a:pt x="4193804" y="2360249"/>
                            </a:lnTo>
                            <a:lnTo>
                              <a:pt x="4179540" y="2353666"/>
                            </a:lnTo>
                            <a:lnTo>
                              <a:pt x="4179540" y="2367930"/>
                            </a:lnTo>
                            <a:lnTo>
                              <a:pt x="4181186" y="2368479"/>
                            </a:lnTo>
                            <a:lnTo>
                              <a:pt x="4172956" y="2399203"/>
                            </a:lnTo>
                            <a:lnTo>
                              <a:pt x="4165275" y="2403592"/>
                            </a:lnTo>
                            <a:lnTo>
                              <a:pt x="4167470" y="2394265"/>
                            </a:lnTo>
                            <a:lnTo>
                              <a:pt x="4172956" y="2383841"/>
                            </a:lnTo>
                            <a:lnTo>
                              <a:pt x="4170213" y="2377257"/>
                            </a:lnTo>
                            <a:lnTo>
                              <a:pt x="4157594" y="2392071"/>
                            </a:lnTo>
                            <a:lnTo>
                              <a:pt x="4135100" y="2400849"/>
                            </a:lnTo>
                            <a:lnTo>
                              <a:pt x="4125224" y="2399203"/>
                            </a:lnTo>
                            <a:lnTo>
                              <a:pt x="4124127" y="2395911"/>
                            </a:lnTo>
                            <a:lnTo>
                              <a:pt x="4130711" y="2393716"/>
                            </a:lnTo>
                            <a:lnTo>
                              <a:pt x="4139489" y="2381098"/>
                            </a:lnTo>
                            <a:lnTo>
                              <a:pt x="4138392" y="2376160"/>
                            </a:lnTo>
                            <a:lnTo>
                              <a:pt x="4131808" y="2372319"/>
                            </a:lnTo>
                            <a:lnTo>
                              <a:pt x="4127967" y="2365736"/>
                            </a:lnTo>
                            <a:lnTo>
                              <a:pt x="4132357" y="2364639"/>
                            </a:lnTo>
                            <a:lnTo>
                              <a:pt x="4138392" y="2357506"/>
                            </a:lnTo>
                            <a:lnTo>
                              <a:pt x="4139489" y="2353666"/>
                            </a:lnTo>
                            <a:lnTo>
                              <a:pt x="4127967" y="2354763"/>
                            </a:lnTo>
                            <a:lnTo>
                              <a:pt x="4121932" y="2358603"/>
                            </a:lnTo>
                            <a:lnTo>
                              <a:pt x="4119189" y="2365187"/>
                            </a:lnTo>
                            <a:lnTo>
                              <a:pt x="4123579" y="2371222"/>
                            </a:lnTo>
                            <a:lnTo>
                              <a:pt x="4121384" y="2376160"/>
                            </a:lnTo>
                            <a:lnTo>
                              <a:pt x="4115898" y="2382744"/>
                            </a:lnTo>
                            <a:lnTo>
                              <a:pt x="4109314" y="2382744"/>
                            </a:lnTo>
                            <a:lnTo>
                              <a:pt x="4106571" y="2388230"/>
                            </a:lnTo>
                            <a:lnTo>
                              <a:pt x="4104376" y="2386584"/>
                            </a:lnTo>
                            <a:lnTo>
                              <a:pt x="4107119" y="2352020"/>
                            </a:lnTo>
                            <a:lnTo>
                              <a:pt x="4106022" y="2348728"/>
                            </a:lnTo>
                            <a:lnTo>
                              <a:pt x="4107119" y="2339950"/>
                            </a:lnTo>
                            <a:lnTo>
                              <a:pt x="4105473" y="2333915"/>
                            </a:lnTo>
                            <a:lnTo>
                              <a:pt x="4098341" y="2332269"/>
                            </a:lnTo>
                            <a:lnTo>
                              <a:pt x="4066520" y="2337207"/>
                            </a:lnTo>
                            <a:lnTo>
                              <a:pt x="4047318" y="2325136"/>
                            </a:lnTo>
                            <a:lnTo>
                              <a:pt x="4050609" y="2311969"/>
                            </a:lnTo>
                            <a:lnTo>
                              <a:pt x="4068715" y="2296607"/>
                            </a:lnTo>
                            <a:lnTo>
                              <a:pt x="4074201" y="2294961"/>
                            </a:lnTo>
                            <a:lnTo>
                              <a:pt x="4087369" y="2283988"/>
                            </a:lnTo>
                            <a:lnTo>
                              <a:pt x="4092306" y="2273564"/>
                            </a:lnTo>
                            <a:lnTo>
                              <a:pt x="4097244" y="2269724"/>
                            </a:lnTo>
                            <a:lnTo>
                              <a:pt x="4101085" y="2268627"/>
                            </a:lnTo>
                            <a:lnTo>
                              <a:pt x="4141135" y="2231868"/>
                            </a:lnTo>
                            <a:lnTo>
                              <a:pt x="4147170" y="2219798"/>
                            </a:lnTo>
                            <a:lnTo>
                              <a:pt x="4153205" y="2215957"/>
                            </a:lnTo>
                            <a:lnTo>
                              <a:pt x="4156497" y="2209373"/>
                            </a:lnTo>
                            <a:lnTo>
                              <a:pt x="4156497" y="2203887"/>
                            </a:lnTo>
                            <a:lnTo>
                              <a:pt x="4166372" y="2192914"/>
                            </a:lnTo>
                            <a:lnTo>
                              <a:pt x="4168018" y="2187428"/>
                            </a:lnTo>
                            <a:lnTo>
                              <a:pt x="4172408" y="2187976"/>
                            </a:lnTo>
                            <a:lnTo>
                              <a:pt x="4176796" y="2179198"/>
                            </a:lnTo>
                            <a:lnTo>
                              <a:pt x="4198194" y="2154509"/>
                            </a:lnTo>
                            <a:lnTo>
                              <a:pt x="4204229" y="2155058"/>
                            </a:lnTo>
                            <a:lnTo>
                              <a:pt x="4217396" y="2140793"/>
                            </a:lnTo>
                            <a:lnTo>
                              <a:pt x="4222334" y="2130369"/>
                            </a:lnTo>
                            <a:lnTo>
                              <a:pt x="4224529" y="2131467"/>
                            </a:lnTo>
                            <a:lnTo>
                              <a:pt x="4240988" y="2119396"/>
                            </a:lnTo>
                            <a:lnTo>
                              <a:pt x="4246474" y="2107875"/>
                            </a:lnTo>
                            <a:lnTo>
                              <a:pt x="4248668" y="2097451"/>
                            </a:lnTo>
                            <a:lnTo>
                              <a:pt x="4345229" y="2008022"/>
                            </a:lnTo>
                            <a:lnTo>
                              <a:pt x="4448373" y="2005828"/>
                            </a:lnTo>
                            <a:lnTo>
                              <a:pt x="4448373" y="2014606"/>
                            </a:lnTo>
                            <a:lnTo>
                              <a:pt x="4451665" y="2020093"/>
                            </a:lnTo>
                            <a:lnTo>
                              <a:pt x="4456055" y="2021190"/>
                            </a:lnTo>
                            <a:lnTo>
                              <a:pt x="4463736" y="2018995"/>
                            </a:lnTo>
                            <a:lnTo>
                              <a:pt x="4465381" y="2015703"/>
                            </a:lnTo>
                            <a:lnTo>
                              <a:pt x="4466479" y="2001987"/>
                            </a:lnTo>
                            <a:lnTo>
                              <a:pt x="4469771" y="1999793"/>
                            </a:lnTo>
                            <a:lnTo>
                              <a:pt x="4508724" y="2014606"/>
                            </a:lnTo>
                            <a:lnTo>
                              <a:pt x="4520794" y="2013509"/>
                            </a:lnTo>
                            <a:lnTo>
                              <a:pt x="4520794" y="2008022"/>
                            </a:lnTo>
                            <a:lnTo>
                              <a:pt x="4526829" y="2004731"/>
                            </a:lnTo>
                            <a:lnTo>
                              <a:pt x="4540545" y="2004731"/>
                            </a:lnTo>
                            <a:lnTo>
                              <a:pt x="4547677" y="2016252"/>
                            </a:lnTo>
                            <a:lnTo>
                              <a:pt x="4551518" y="2016801"/>
                            </a:lnTo>
                            <a:lnTo>
                              <a:pt x="4560296" y="2014606"/>
                            </a:lnTo>
                            <a:lnTo>
                              <a:pt x="4560845" y="2008022"/>
                            </a:lnTo>
                            <a:lnTo>
                              <a:pt x="4558101" y="2008022"/>
                            </a:lnTo>
                            <a:lnTo>
                              <a:pt x="4554810" y="2001987"/>
                            </a:lnTo>
                            <a:lnTo>
                              <a:pt x="4560845" y="1998696"/>
                            </a:lnTo>
                            <a:lnTo>
                              <a:pt x="4569623" y="1998147"/>
                            </a:lnTo>
                            <a:lnTo>
                              <a:pt x="4569074" y="1994306"/>
                            </a:lnTo>
                            <a:lnTo>
                              <a:pt x="4565234" y="1989369"/>
                            </a:lnTo>
                            <a:lnTo>
                              <a:pt x="4566331" y="1984980"/>
                            </a:lnTo>
                            <a:lnTo>
                              <a:pt x="4574012" y="1979493"/>
                            </a:lnTo>
                            <a:lnTo>
                              <a:pt x="4582242" y="1978945"/>
                            </a:lnTo>
                            <a:lnTo>
                              <a:pt x="4613514" y="1989369"/>
                            </a:lnTo>
                            <a:lnTo>
                              <a:pt x="4620647" y="1988820"/>
                            </a:lnTo>
                            <a:lnTo>
                              <a:pt x="4629425" y="1995404"/>
                            </a:lnTo>
                            <a:lnTo>
                              <a:pt x="4629973" y="1998147"/>
                            </a:lnTo>
                            <a:lnTo>
                              <a:pt x="4636557" y="2000342"/>
                            </a:lnTo>
                            <a:lnTo>
                              <a:pt x="4639849" y="1991563"/>
                            </a:lnTo>
                            <a:lnTo>
                              <a:pt x="4646432" y="1989917"/>
                            </a:lnTo>
                            <a:lnTo>
                              <a:pt x="4655760" y="1992112"/>
                            </a:lnTo>
                            <a:lnTo>
                              <a:pt x="4668927" y="2004182"/>
                            </a:lnTo>
                            <a:lnTo>
                              <a:pt x="4671670" y="2010766"/>
                            </a:lnTo>
                            <a:lnTo>
                              <a:pt x="4684837" y="2013509"/>
                            </a:lnTo>
                            <a:lnTo>
                              <a:pt x="4687580" y="2018447"/>
                            </a:lnTo>
                            <a:lnTo>
                              <a:pt x="4679351" y="2022287"/>
                            </a:lnTo>
                            <a:lnTo>
                              <a:pt x="4653565" y="2022836"/>
                            </a:lnTo>
                            <a:lnTo>
                              <a:pt x="4645335" y="2026128"/>
                            </a:lnTo>
                            <a:lnTo>
                              <a:pt x="4646432" y="2030517"/>
                            </a:lnTo>
                            <a:lnTo>
                              <a:pt x="4656308" y="2043684"/>
                            </a:lnTo>
                            <a:lnTo>
                              <a:pt x="4676608" y="2044233"/>
                            </a:lnTo>
                            <a:lnTo>
                              <a:pt x="4685386" y="2041490"/>
                            </a:lnTo>
                            <a:lnTo>
                              <a:pt x="4690324" y="2034357"/>
                            </a:lnTo>
                            <a:lnTo>
                              <a:pt x="4696908" y="2031065"/>
                            </a:lnTo>
                            <a:lnTo>
                              <a:pt x="4701846" y="2036003"/>
                            </a:lnTo>
                            <a:lnTo>
                              <a:pt x="4710075" y="2039844"/>
                            </a:lnTo>
                            <a:lnTo>
                              <a:pt x="4715562" y="2035454"/>
                            </a:lnTo>
                            <a:lnTo>
                              <a:pt x="4719402" y="2028871"/>
                            </a:lnTo>
                            <a:lnTo>
                              <a:pt x="4728728" y="2026676"/>
                            </a:lnTo>
                            <a:lnTo>
                              <a:pt x="4729826" y="2022287"/>
                            </a:lnTo>
                            <a:lnTo>
                              <a:pt x="4738056" y="2017898"/>
                            </a:lnTo>
                            <a:lnTo>
                              <a:pt x="4748480" y="2021190"/>
                            </a:lnTo>
                            <a:lnTo>
                              <a:pt x="4753966" y="2028322"/>
                            </a:lnTo>
                            <a:lnTo>
                              <a:pt x="4760001" y="2028871"/>
                            </a:lnTo>
                            <a:lnTo>
                              <a:pt x="4768779" y="2026128"/>
                            </a:lnTo>
                            <a:lnTo>
                              <a:pt x="4770426" y="2020093"/>
                            </a:lnTo>
                            <a:lnTo>
                              <a:pt x="4780849" y="2021190"/>
                            </a:lnTo>
                            <a:lnTo>
                              <a:pt x="4785239" y="2023933"/>
                            </a:lnTo>
                            <a:lnTo>
                              <a:pt x="4787433" y="2020641"/>
                            </a:lnTo>
                            <a:lnTo>
                              <a:pt x="4794565" y="2020641"/>
                            </a:lnTo>
                            <a:lnTo>
                              <a:pt x="4795663" y="2014606"/>
                            </a:lnTo>
                            <a:lnTo>
                              <a:pt x="4793468" y="2008022"/>
                            </a:lnTo>
                            <a:lnTo>
                              <a:pt x="4788530" y="2001439"/>
                            </a:lnTo>
                            <a:lnTo>
                              <a:pt x="4774266" y="1994855"/>
                            </a:lnTo>
                            <a:lnTo>
                              <a:pt x="4760001" y="1997598"/>
                            </a:lnTo>
                            <a:lnTo>
                              <a:pt x="4760550" y="1992112"/>
                            </a:lnTo>
                            <a:lnTo>
                              <a:pt x="4765488" y="1987723"/>
                            </a:lnTo>
                            <a:lnTo>
                              <a:pt x="4758904" y="1971812"/>
                            </a:lnTo>
                            <a:lnTo>
                              <a:pt x="4762196" y="1968520"/>
                            </a:lnTo>
                            <a:lnTo>
                              <a:pt x="4766036" y="1971812"/>
                            </a:lnTo>
                            <a:lnTo>
                              <a:pt x="4767682" y="1971812"/>
                            </a:lnTo>
                            <a:lnTo>
                              <a:pt x="4784142" y="1936151"/>
                            </a:lnTo>
                            <a:lnTo>
                              <a:pt x="4792920" y="1927921"/>
                            </a:lnTo>
                            <a:lnTo>
                              <a:pt x="4801149" y="1924081"/>
                            </a:lnTo>
                            <a:lnTo>
                              <a:pt x="4825290" y="1900489"/>
                            </a:lnTo>
                            <a:lnTo>
                              <a:pt x="4825838" y="1894454"/>
                            </a:lnTo>
                            <a:lnTo>
                              <a:pt x="4850527" y="1864827"/>
                            </a:lnTo>
                            <a:lnTo>
                              <a:pt x="4854367" y="1846722"/>
                            </a:lnTo>
                            <a:lnTo>
                              <a:pt x="4874118" y="1828617"/>
                            </a:lnTo>
                            <a:lnTo>
                              <a:pt x="4881251" y="1825874"/>
                            </a:lnTo>
                            <a:lnTo>
                              <a:pt x="4887285" y="1820388"/>
                            </a:lnTo>
                            <a:lnTo>
                              <a:pt x="4905939" y="1822034"/>
                            </a:lnTo>
                            <a:lnTo>
                              <a:pt x="4933920" y="1816547"/>
                            </a:lnTo>
                            <a:lnTo>
                              <a:pt x="4937761" y="1813804"/>
                            </a:lnTo>
                            <a:lnTo>
                              <a:pt x="4940504" y="1808866"/>
                            </a:lnTo>
                            <a:lnTo>
                              <a:pt x="4944893" y="1809963"/>
                            </a:lnTo>
                            <a:lnTo>
                              <a:pt x="4954220" y="1815450"/>
                            </a:lnTo>
                            <a:lnTo>
                              <a:pt x="4958609" y="1820936"/>
                            </a:lnTo>
                            <a:lnTo>
                              <a:pt x="4961352" y="1828617"/>
                            </a:lnTo>
                            <a:lnTo>
                              <a:pt x="4971776" y="1828069"/>
                            </a:lnTo>
                            <a:lnTo>
                              <a:pt x="4991527" y="1806672"/>
                            </a:lnTo>
                            <a:lnTo>
                              <a:pt x="4986041" y="1838493"/>
                            </a:lnTo>
                            <a:lnTo>
                              <a:pt x="4980554" y="1843979"/>
                            </a:lnTo>
                            <a:lnTo>
                              <a:pt x="4973971" y="1857146"/>
                            </a:lnTo>
                            <a:lnTo>
                              <a:pt x="4973971" y="1865925"/>
                            </a:lnTo>
                            <a:lnTo>
                              <a:pt x="4977811" y="1871411"/>
                            </a:lnTo>
                            <a:lnTo>
                              <a:pt x="4976714" y="1876898"/>
                            </a:lnTo>
                            <a:lnTo>
                              <a:pt x="4973422" y="1880189"/>
                            </a:lnTo>
                            <a:lnTo>
                              <a:pt x="4971776" y="1884578"/>
                            </a:lnTo>
                            <a:lnTo>
                              <a:pt x="4975068" y="1887322"/>
                            </a:lnTo>
                            <a:lnTo>
                              <a:pt x="4993722" y="1880738"/>
                            </a:lnTo>
                            <a:lnTo>
                              <a:pt x="4983846" y="1908170"/>
                            </a:lnTo>
                            <a:lnTo>
                              <a:pt x="4984395" y="1915302"/>
                            </a:lnTo>
                            <a:lnTo>
                              <a:pt x="4989882" y="1912559"/>
                            </a:lnTo>
                            <a:lnTo>
                              <a:pt x="4998660" y="1903781"/>
                            </a:lnTo>
                            <a:lnTo>
                              <a:pt x="5005243" y="1903781"/>
                            </a:lnTo>
                            <a:lnTo>
                              <a:pt x="5066691" y="1835201"/>
                            </a:lnTo>
                            <a:lnTo>
                              <a:pt x="5077115" y="1834104"/>
                            </a:lnTo>
                            <a:lnTo>
                              <a:pt x="5080956" y="1831909"/>
                            </a:lnTo>
                            <a:lnTo>
                              <a:pt x="5083150" y="1825874"/>
                            </a:lnTo>
                            <a:lnTo>
                              <a:pt x="5087539" y="1829166"/>
                            </a:lnTo>
                            <a:lnTo>
                              <a:pt x="5086991" y="1835201"/>
                            </a:lnTo>
                            <a:lnTo>
                              <a:pt x="5088637" y="1840687"/>
                            </a:lnTo>
                            <a:lnTo>
                              <a:pt x="5093574" y="1839590"/>
                            </a:lnTo>
                            <a:lnTo>
                              <a:pt x="5099610" y="1828069"/>
                            </a:lnTo>
                            <a:lnTo>
                              <a:pt x="5093025" y="1825874"/>
                            </a:lnTo>
                            <a:lnTo>
                              <a:pt x="5090282" y="1819290"/>
                            </a:lnTo>
                            <a:lnTo>
                              <a:pt x="5094123" y="1798991"/>
                            </a:lnTo>
                            <a:lnTo>
                              <a:pt x="5093574" y="1792956"/>
                            </a:lnTo>
                            <a:lnTo>
                              <a:pt x="5100707" y="1781434"/>
                            </a:lnTo>
                            <a:lnTo>
                              <a:pt x="5100707" y="1775399"/>
                            </a:lnTo>
                            <a:lnTo>
                              <a:pt x="5102901" y="1768267"/>
                            </a:lnTo>
                            <a:lnTo>
                              <a:pt x="5113326" y="1758940"/>
                            </a:lnTo>
                            <a:lnTo>
                              <a:pt x="5143501" y="1747967"/>
                            </a:lnTo>
                            <a:lnTo>
                              <a:pt x="5153376" y="1751259"/>
                            </a:lnTo>
                            <a:lnTo>
                              <a:pt x="5164349" y="1761134"/>
                            </a:lnTo>
                            <a:lnTo>
                              <a:pt x="5160508" y="1769913"/>
                            </a:lnTo>
                            <a:lnTo>
                              <a:pt x="5152827" y="1767718"/>
                            </a:lnTo>
                            <a:lnTo>
                              <a:pt x="5133625" y="1785275"/>
                            </a:lnTo>
                            <a:lnTo>
                              <a:pt x="5128139" y="1828617"/>
                            </a:lnTo>
                            <a:lnTo>
                              <a:pt x="5121006" y="1836298"/>
                            </a:lnTo>
                            <a:lnTo>
                              <a:pt x="5121006" y="1848917"/>
                            </a:lnTo>
                            <a:lnTo>
                              <a:pt x="5122652" y="1852757"/>
                            </a:lnTo>
                            <a:lnTo>
                              <a:pt x="5122104" y="1861536"/>
                            </a:lnTo>
                            <a:lnTo>
                              <a:pt x="5116617" y="1867571"/>
                            </a:lnTo>
                            <a:lnTo>
                              <a:pt x="5112776" y="1870314"/>
                            </a:lnTo>
                            <a:lnTo>
                              <a:pt x="5110582" y="1882384"/>
                            </a:lnTo>
                            <a:lnTo>
                              <a:pt x="5116069" y="1886773"/>
                            </a:lnTo>
                            <a:lnTo>
                              <a:pt x="5116069" y="1891162"/>
                            </a:lnTo>
                            <a:lnTo>
                              <a:pt x="5102353" y="1901586"/>
                            </a:lnTo>
                            <a:lnTo>
                              <a:pt x="5094672" y="1900489"/>
                            </a:lnTo>
                            <a:lnTo>
                              <a:pt x="5086442" y="1903232"/>
                            </a:lnTo>
                            <a:lnTo>
                              <a:pt x="5078212" y="1915302"/>
                            </a:lnTo>
                            <a:lnTo>
                              <a:pt x="5068885" y="1915851"/>
                            </a:lnTo>
                            <a:lnTo>
                              <a:pt x="5050780" y="1924081"/>
                            </a:lnTo>
                            <a:lnTo>
                              <a:pt x="5048586" y="1926824"/>
                            </a:lnTo>
                            <a:lnTo>
                              <a:pt x="5048586" y="1935602"/>
                            </a:lnTo>
                            <a:lnTo>
                              <a:pt x="5045294" y="1943832"/>
                            </a:lnTo>
                            <a:lnTo>
                              <a:pt x="5011827" y="1983882"/>
                            </a:lnTo>
                            <a:lnTo>
                              <a:pt x="4994270" y="1993209"/>
                            </a:lnTo>
                            <a:lnTo>
                              <a:pt x="4989882" y="2005828"/>
                            </a:lnTo>
                            <a:lnTo>
                              <a:pt x="4983297" y="2009668"/>
                            </a:lnTo>
                            <a:lnTo>
                              <a:pt x="4970130" y="2026676"/>
                            </a:lnTo>
                            <a:lnTo>
                              <a:pt x="4969033" y="2039295"/>
                            </a:lnTo>
                            <a:lnTo>
                              <a:pt x="4917461" y="2099097"/>
                            </a:lnTo>
                            <a:lnTo>
                              <a:pt x="4904842" y="2105680"/>
                            </a:lnTo>
                            <a:lnTo>
                              <a:pt x="4892223" y="2105680"/>
                            </a:lnTo>
                            <a:lnTo>
                              <a:pt x="4881251" y="2120494"/>
                            </a:lnTo>
                            <a:lnTo>
                              <a:pt x="4867535" y="2116653"/>
                            </a:lnTo>
                            <a:lnTo>
                              <a:pt x="4860402" y="2117751"/>
                            </a:lnTo>
                            <a:lnTo>
                              <a:pt x="4865888" y="2139147"/>
                            </a:lnTo>
                            <a:lnTo>
                              <a:pt x="4857110" y="2167128"/>
                            </a:lnTo>
                            <a:lnTo>
                              <a:pt x="4829130" y="2186331"/>
                            </a:lnTo>
                            <a:lnTo>
                              <a:pt x="4812671" y="2246132"/>
                            </a:lnTo>
                            <a:lnTo>
                              <a:pt x="4822546" y="2372319"/>
                            </a:lnTo>
                            <a:lnTo>
                              <a:pt x="4824192" y="2374514"/>
                            </a:lnTo>
                            <a:lnTo>
                              <a:pt x="4857659" y="2562698"/>
                            </a:lnTo>
                            <a:lnTo>
                              <a:pt x="4911426" y="2503993"/>
                            </a:lnTo>
                            <a:lnTo>
                              <a:pt x="4920752" y="2474367"/>
                            </a:lnTo>
                            <a:lnTo>
                              <a:pt x="4919655" y="2462296"/>
                            </a:lnTo>
                            <a:lnTo>
                              <a:pt x="4922399" y="2457359"/>
                            </a:lnTo>
                            <a:lnTo>
                              <a:pt x="4924593" y="2446935"/>
                            </a:lnTo>
                            <a:lnTo>
                              <a:pt x="4921302" y="2444191"/>
                            </a:lnTo>
                            <a:lnTo>
                              <a:pt x="4924593" y="2438705"/>
                            </a:lnTo>
                            <a:lnTo>
                              <a:pt x="4928982" y="2439254"/>
                            </a:lnTo>
                            <a:lnTo>
                              <a:pt x="4932274" y="2442545"/>
                            </a:lnTo>
                            <a:lnTo>
                              <a:pt x="4949831" y="2427183"/>
                            </a:lnTo>
                            <a:lnTo>
                              <a:pt x="4965741" y="2421148"/>
                            </a:lnTo>
                            <a:lnTo>
                              <a:pt x="4977263" y="2426086"/>
                            </a:lnTo>
                            <a:lnTo>
                              <a:pt x="4976714" y="2421148"/>
                            </a:lnTo>
                            <a:lnTo>
                              <a:pt x="4973971" y="2416759"/>
                            </a:lnTo>
                            <a:lnTo>
                              <a:pt x="4973422" y="2371771"/>
                            </a:lnTo>
                            <a:lnTo>
                              <a:pt x="4999757" y="2344339"/>
                            </a:lnTo>
                            <a:lnTo>
                              <a:pt x="5012376" y="2337207"/>
                            </a:lnTo>
                            <a:lnTo>
                              <a:pt x="5023348" y="2334463"/>
                            </a:lnTo>
                            <a:lnTo>
                              <a:pt x="5027737" y="2340498"/>
                            </a:lnTo>
                            <a:lnTo>
                              <a:pt x="5035967" y="2340498"/>
                            </a:lnTo>
                            <a:lnTo>
                              <a:pt x="5044196" y="2338304"/>
                            </a:lnTo>
                            <a:lnTo>
                              <a:pt x="5054621" y="2327331"/>
                            </a:lnTo>
                            <a:lnTo>
                              <a:pt x="5056815" y="2321296"/>
                            </a:lnTo>
                            <a:lnTo>
                              <a:pt x="5043648" y="2302094"/>
                            </a:lnTo>
                            <a:lnTo>
                              <a:pt x="5038710" y="2283440"/>
                            </a:lnTo>
                            <a:lnTo>
                              <a:pt x="5048586" y="2246132"/>
                            </a:lnTo>
                            <a:lnTo>
                              <a:pt x="5054072" y="2236805"/>
                            </a:lnTo>
                            <a:lnTo>
                              <a:pt x="5065593" y="2229673"/>
                            </a:lnTo>
                            <a:lnTo>
                              <a:pt x="5061205" y="2220895"/>
                            </a:lnTo>
                            <a:lnTo>
                              <a:pt x="5060656" y="2217054"/>
                            </a:lnTo>
                            <a:lnTo>
                              <a:pt x="5082601" y="2211019"/>
                            </a:lnTo>
                            <a:lnTo>
                              <a:pt x="5086991" y="2206082"/>
                            </a:lnTo>
                            <a:lnTo>
                              <a:pt x="5088637" y="2209373"/>
                            </a:lnTo>
                            <a:lnTo>
                              <a:pt x="5084247" y="2217054"/>
                            </a:lnTo>
                            <a:lnTo>
                              <a:pt x="5078761" y="2220895"/>
                            </a:lnTo>
                            <a:lnTo>
                              <a:pt x="5076018" y="2226381"/>
                            </a:lnTo>
                            <a:lnTo>
                              <a:pt x="5083150" y="2239549"/>
                            </a:lnTo>
                            <a:lnTo>
                              <a:pt x="5088637" y="2242840"/>
                            </a:lnTo>
                            <a:lnTo>
                              <a:pt x="5091380" y="2242292"/>
                            </a:lnTo>
                            <a:lnTo>
                              <a:pt x="5098512" y="2231868"/>
                            </a:lnTo>
                            <a:lnTo>
                              <a:pt x="5099610" y="2224187"/>
                            </a:lnTo>
                            <a:lnTo>
                              <a:pt x="5096866" y="2199498"/>
                            </a:lnTo>
                            <a:lnTo>
                              <a:pt x="5092477" y="2194011"/>
                            </a:lnTo>
                            <a:lnTo>
                              <a:pt x="5082601" y="2195109"/>
                            </a:lnTo>
                            <a:lnTo>
                              <a:pt x="5080407" y="2192914"/>
                            </a:lnTo>
                            <a:lnTo>
                              <a:pt x="5079309" y="2154509"/>
                            </a:lnTo>
                            <a:lnTo>
                              <a:pt x="5082601" y="2147926"/>
                            </a:lnTo>
                            <a:lnTo>
                              <a:pt x="5090831" y="2140793"/>
                            </a:lnTo>
                            <a:lnTo>
                              <a:pt x="5097963" y="2127077"/>
                            </a:lnTo>
                            <a:lnTo>
                              <a:pt x="5097415" y="2121042"/>
                            </a:lnTo>
                            <a:lnTo>
                              <a:pt x="5076566" y="2108424"/>
                            </a:lnTo>
                            <a:lnTo>
                              <a:pt x="5068337" y="2110618"/>
                            </a:lnTo>
                            <a:lnTo>
                              <a:pt x="5065593" y="2120494"/>
                            </a:lnTo>
                            <a:lnTo>
                              <a:pt x="5063399" y="2123237"/>
                            </a:lnTo>
                            <a:lnTo>
                              <a:pt x="5058462" y="2121591"/>
                            </a:lnTo>
                            <a:lnTo>
                              <a:pt x="5054072" y="2117751"/>
                            </a:lnTo>
                            <a:lnTo>
                              <a:pt x="5051329" y="2110070"/>
                            </a:lnTo>
                            <a:lnTo>
                              <a:pt x="5051329" y="2097451"/>
                            </a:lnTo>
                            <a:lnTo>
                              <a:pt x="5085894" y="2033809"/>
                            </a:lnTo>
                            <a:lnTo>
                              <a:pt x="5085344" y="2026676"/>
                            </a:lnTo>
                            <a:lnTo>
                              <a:pt x="5087539" y="2022836"/>
                            </a:lnTo>
                            <a:lnTo>
                              <a:pt x="5094672" y="2025579"/>
                            </a:lnTo>
                            <a:lnTo>
                              <a:pt x="5093025" y="2020641"/>
                            </a:lnTo>
                            <a:lnTo>
                              <a:pt x="5093025" y="2015155"/>
                            </a:lnTo>
                            <a:lnTo>
                              <a:pt x="5099060" y="2011863"/>
                            </a:lnTo>
                            <a:lnTo>
                              <a:pt x="5101255" y="2008022"/>
                            </a:lnTo>
                            <a:lnTo>
                              <a:pt x="5099060" y="1998696"/>
                            </a:lnTo>
                            <a:lnTo>
                              <a:pt x="5099610" y="1989369"/>
                            </a:lnTo>
                            <a:lnTo>
                              <a:pt x="5104547" y="1981139"/>
                            </a:lnTo>
                            <a:lnTo>
                              <a:pt x="5105644" y="1973458"/>
                            </a:lnTo>
                            <a:lnTo>
                              <a:pt x="5109485" y="1968520"/>
                            </a:lnTo>
                            <a:lnTo>
                              <a:pt x="5116617" y="1966326"/>
                            </a:lnTo>
                            <a:lnTo>
                              <a:pt x="5125395" y="1959742"/>
                            </a:lnTo>
                            <a:lnTo>
                              <a:pt x="5131430" y="1963034"/>
                            </a:lnTo>
                            <a:lnTo>
                              <a:pt x="5133625" y="1969618"/>
                            </a:lnTo>
                            <a:lnTo>
                              <a:pt x="5139111" y="1960839"/>
                            </a:lnTo>
                            <a:lnTo>
                              <a:pt x="5147889" y="1955353"/>
                            </a:lnTo>
                            <a:lnTo>
                              <a:pt x="5154474" y="1962485"/>
                            </a:lnTo>
                            <a:lnTo>
                              <a:pt x="5157765" y="1971264"/>
                            </a:lnTo>
                            <a:lnTo>
                              <a:pt x="5164897" y="1972910"/>
                            </a:lnTo>
                            <a:lnTo>
                              <a:pt x="5168190" y="1961388"/>
                            </a:lnTo>
                            <a:lnTo>
                              <a:pt x="5168190" y="1952610"/>
                            </a:lnTo>
                            <a:lnTo>
                              <a:pt x="5174773" y="1944380"/>
                            </a:lnTo>
                            <a:lnTo>
                              <a:pt x="5196719" y="1933407"/>
                            </a:lnTo>
                            <a:lnTo>
                              <a:pt x="5207691" y="1919143"/>
                            </a:lnTo>
                            <a:lnTo>
                              <a:pt x="5210983" y="1921886"/>
                            </a:lnTo>
                            <a:lnTo>
                              <a:pt x="5212629" y="1926824"/>
                            </a:lnTo>
                            <a:lnTo>
                              <a:pt x="5209338" y="1931762"/>
                            </a:lnTo>
                            <a:lnTo>
                              <a:pt x="5211532" y="1944929"/>
                            </a:lnTo>
                            <a:lnTo>
                              <a:pt x="5207691" y="1965777"/>
                            </a:lnTo>
                            <a:lnTo>
                              <a:pt x="5205497" y="1969069"/>
                            </a:lnTo>
                            <a:lnTo>
                              <a:pt x="5205497" y="1972361"/>
                            </a:lnTo>
                            <a:lnTo>
                              <a:pt x="5208240" y="1972361"/>
                            </a:lnTo>
                            <a:lnTo>
                              <a:pt x="5236770" y="1941088"/>
                            </a:lnTo>
                            <a:lnTo>
                              <a:pt x="5237867" y="1937248"/>
                            </a:lnTo>
                            <a:lnTo>
                              <a:pt x="5237318" y="1930116"/>
                            </a:lnTo>
                            <a:lnTo>
                              <a:pt x="5238964" y="1927921"/>
                            </a:lnTo>
                            <a:lnTo>
                              <a:pt x="5244450" y="1932310"/>
                            </a:lnTo>
                            <a:lnTo>
                              <a:pt x="5249936" y="1927372"/>
                            </a:lnTo>
                            <a:lnTo>
                              <a:pt x="5257617" y="1926275"/>
                            </a:lnTo>
                            <a:lnTo>
                              <a:pt x="5269139" y="1917497"/>
                            </a:lnTo>
                            <a:lnTo>
                              <a:pt x="5277368" y="1916400"/>
                            </a:lnTo>
                            <a:lnTo>
                              <a:pt x="5282855" y="1910913"/>
                            </a:lnTo>
                            <a:lnTo>
                              <a:pt x="5286147" y="1913656"/>
                            </a:lnTo>
                            <a:lnTo>
                              <a:pt x="5311384" y="1914754"/>
                            </a:lnTo>
                            <a:lnTo>
                              <a:pt x="5328941" y="1920789"/>
                            </a:lnTo>
                            <a:lnTo>
                              <a:pt x="5338268" y="1927372"/>
                            </a:lnTo>
                            <a:lnTo>
                              <a:pt x="5341011" y="1936151"/>
                            </a:lnTo>
                            <a:lnTo>
                              <a:pt x="5354727" y="1956450"/>
                            </a:lnTo>
                            <a:lnTo>
                              <a:pt x="5355824" y="1960291"/>
                            </a:lnTo>
                            <a:lnTo>
                              <a:pt x="5364054" y="1962485"/>
                            </a:lnTo>
                            <a:lnTo>
                              <a:pt x="5366248" y="1960291"/>
                            </a:lnTo>
                            <a:lnTo>
                              <a:pt x="5366797" y="1948769"/>
                            </a:lnTo>
                            <a:lnTo>
                              <a:pt x="5373930" y="1931213"/>
                            </a:lnTo>
                            <a:lnTo>
                              <a:pt x="5373930" y="1927372"/>
                            </a:lnTo>
                            <a:lnTo>
                              <a:pt x="5372283" y="1925726"/>
                            </a:lnTo>
                            <a:lnTo>
                              <a:pt x="5385999" y="1917497"/>
                            </a:lnTo>
                            <a:lnTo>
                              <a:pt x="5390389" y="1916948"/>
                            </a:lnTo>
                            <a:lnTo>
                              <a:pt x="5392583" y="1911462"/>
                            </a:lnTo>
                            <a:lnTo>
                              <a:pt x="5396424" y="1914754"/>
                            </a:lnTo>
                            <a:lnTo>
                              <a:pt x="5399715" y="1914754"/>
                            </a:lnTo>
                            <a:lnTo>
                              <a:pt x="5409042" y="1902135"/>
                            </a:lnTo>
                            <a:lnTo>
                              <a:pt x="5412334" y="1901586"/>
                            </a:lnTo>
                            <a:lnTo>
                              <a:pt x="5412334" y="1898294"/>
                            </a:lnTo>
                            <a:lnTo>
                              <a:pt x="5418369" y="1893357"/>
                            </a:lnTo>
                            <a:lnTo>
                              <a:pt x="5424404" y="1892259"/>
                            </a:lnTo>
                            <a:lnTo>
                              <a:pt x="5427147" y="1889516"/>
                            </a:lnTo>
                            <a:lnTo>
                              <a:pt x="5430988" y="1888968"/>
                            </a:lnTo>
                            <a:lnTo>
                              <a:pt x="5432085" y="1885676"/>
                            </a:lnTo>
                            <a:lnTo>
                              <a:pt x="5431537" y="1881835"/>
                            </a:lnTo>
                            <a:lnTo>
                              <a:pt x="5427696" y="1879092"/>
                            </a:lnTo>
                            <a:lnTo>
                              <a:pt x="5428794" y="1875252"/>
                            </a:lnTo>
                            <a:lnTo>
                              <a:pt x="5434280" y="1880738"/>
                            </a:lnTo>
                            <a:lnTo>
                              <a:pt x="5438120" y="1881835"/>
                            </a:lnTo>
                            <a:lnTo>
                              <a:pt x="5441960" y="1879641"/>
                            </a:lnTo>
                            <a:lnTo>
                              <a:pt x="5443058" y="1870862"/>
                            </a:lnTo>
                            <a:lnTo>
                              <a:pt x="5441412" y="1866473"/>
                            </a:lnTo>
                            <a:lnTo>
                              <a:pt x="5449093" y="1867571"/>
                            </a:lnTo>
                            <a:lnTo>
                              <a:pt x="5456226" y="1861536"/>
                            </a:lnTo>
                            <a:lnTo>
                              <a:pt x="5458420" y="1861536"/>
                            </a:lnTo>
                            <a:lnTo>
                              <a:pt x="5459517" y="1858792"/>
                            </a:lnTo>
                            <a:lnTo>
                              <a:pt x="5456226" y="1851111"/>
                            </a:lnTo>
                            <a:lnTo>
                              <a:pt x="5458420" y="1849466"/>
                            </a:lnTo>
                            <a:lnTo>
                              <a:pt x="5462809" y="1852757"/>
                            </a:lnTo>
                            <a:lnTo>
                              <a:pt x="5466101" y="1852757"/>
                            </a:lnTo>
                            <a:lnTo>
                              <a:pt x="5470490" y="1850014"/>
                            </a:lnTo>
                            <a:lnTo>
                              <a:pt x="5473782" y="1846722"/>
                            </a:lnTo>
                            <a:lnTo>
                              <a:pt x="5475976" y="1841236"/>
                            </a:lnTo>
                            <a:lnTo>
                              <a:pt x="5478171" y="1841236"/>
                            </a:lnTo>
                            <a:lnTo>
                              <a:pt x="5479817" y="1837395"/>
                            </a:lnTo>
                            <a:lnTo>
                              <a:pt x="5480365" y="1829166"/>
                            </a:lnTo>
                            <a:lnTo>
                              <a:pt x="5482560" y="1824228"/>
                            </a:lnTo>
                            <a:lnTo>
                              <a:pt x="5486949" y="1824777"/>
                            </a:lnTo>
                            <a:lnTo>
                              <a:pt x="5489692" y="1830812"/>
                            </a:lnTo>
                            <a:lnTo>
                              <a:pt x="5492984" y="1831909"/>
                            </a:lnTo>
                            <a:lnTo>
                              <a:pt x="5496824" y="1830263"/>
                            </a:lnTo>
                            <a:lnTo>
                              <a:pt x="5506152" y="1821485"/>
                            </a:lnTo>
                            <a:lnTo>
                              <a:pt x="5524256" y="1815998"/>
                            </a:lnTo>
                            <a:lnTo>
                              <a:pt x="5529743" y="1810512"/>
                            </a:lnTo>
                            <a:lnTo>
                              <a:pt x="5539619" y="1805574"/>
                            </a:lnTo>
                            <a:lnTo>
                              <a:pt x="5542362" y="1800637"/>
                            </a:lnTo>
                            <a:lnTo>
                              <a:pt x="5543459" y="1796247"/>
                            </a:lnTo>
                            <a:lnTo>
                              <a:pt x="5542910" y="1791310"/>
                            </a:lnTo>
                            <a:lnTo>
                              <a:pt x="5548397" y="1790212"/>
                            </a:lnTo>
                            <a:lnTo>
                              <a:pt x="5546202" y="1797345"/>
                            </a:lnTo>
                            <a:lnTo>
                              <a:pt x="5548945" y="1797345"/>
                            </a:lnTo>
                            <a:lnTo>
                              <a:pt x="5565404" y="1789115"/>
                            </a:lnTo>
                            <a:lnTo>
                              <a:pt x="5569245" y="1789115"/>
                            </a:lnTo>
                            <a:lnTo>
                              <a:pt x="5602712" y="1766072"/>
                            </a:lnTo>
                            <a:lnTo>
                              <a:pt x="5621366" y="1760037"/>
                            </a:lnTo>
                            <a:lnTo>
                              <a:pt x="5623561" y="1757294"/>
                            </a:lnTo>
                            <a:lnTo>
                              <a:pt x="5622463" y="1755099"/>
                            </a:lnTo>
                            <a:lnTo>
                              <a:pt x="5619171" y="1752905"/>
                            </a:lnTo>
                            <a:lnTo>
                              <a:pt x="5613136" y="1735348"/>
                            </a:lnTo>
                            <a:lnTo>
                              <a:pt x="5615331" y="1732605"/>
                            </a:lnTo>
                            <a:lnTo>
                              <a:pt x="5625755" y="1751259"/>
                            </a:lnTo>
                            <a:lnTo>
                              <a:pt x="5627949" y="1751259"/>
                            </a:lnTo>
                            <a:lnTo>
                              <a:pt x="5627949" y="1755099"/>
                            </a:lnTo>
                            <a:lnTo>
                              <a:pt x="5630144" y="1757294"/>
                            </a:lnTo>
                            <a:lnTo>
                              <a:pt x="5636728" y="1757843"/>
                            </a:lnTo>
                            <a:lnTo>
                              <a:pt x="5636728" y="1752905"/>
                            </a:lnTo>
                            <a:lnTo>
                              <a:pt x="5633984" y="1748516"/>
                            </a:lnTo>
                            <a:lnTo>
                              <a:pt x="5638374" y="1747967"/>
                            </a:lnTo>
                            <a:lnTo>
                              <a:pt x="5640568" y="1753454"/>
                            </a:lnTo>
                            <a:lnTo>
                              <a:pt x="5644957" y="1758391"/>
                            </a:lnTo>
                            <a:lnTo>
                              <a:pt x="5660868" y="1761683"/>
                            </a:lnTo>
                            <a:lnTo>
                              <a:pt x="5677327" y="1774302"/>
                            </a:lnTo>
                            <a:lnTo>
                              <a:pt x="5687751" y="1778142"/>
                            </a:lnTo>
                            <a:lnTo>
                              <a:pt x="5690495" y="1776496"/>
                            </a:lnTo>
                            <a:lnTo>
                              <a:pt x="5693238" y="1767718"/>
                            </a:lnTo>
                            <a:lnTo>
                              <a:pt x="5698176" y="1767170"/>
                            </a:lnTo>
                            <a:lnTo>
                              <a:pt x="5707502" y="1752356"/>
                            </a:lnTo>
                            <a:lnTo>
                              <a:pt x="5709697" y="1742481"/>
                            </a:lnTo>
                            <a:lnTo>
                              <a:pt x="5706954" y="1735348"/>
                            </a:lnTo>
                            <a:lnTo>
                              <a:pt x="5690495" y="1726570"/>
                            </a:lnTo>
                            <a:lnTo>
                              <a:pt x="5689398" y="1724376"/>
                            </a:lnTo>
                            <a:lnTo>
                              <a:pt x="5688300" y="1719986"/>
                            </a:lnTo>
                            <a:lnTo>
                              <a:pt x="5690495" y="1719438"/>
                            </a:lnTo>
                            <a:lnTo>
                              <a:pt x="5694335" y="1717792"/>
                            </a:lnTo>
                            <a:lnTo>
                              <a:pt x="5702016" y="1718889"/>
                            </a:lnTo>
                            <a:lnTo>
                              <a:pt x="5705857" y="1716146"/>
                            </a:lnTo>
                            <a:lnTo>
                              <a:pt x="5700919" y="1705722"/>
                            </a:lnTo>
                            <a:lnTo>
                              <a:pt x="5695981" y="1705173"/>
                            </a:lnTo>
                            <a:lnTo>
                              <a:pt x="5684460" y="1686519"/>
                            </a:lnTo>
                            <a:lnTo>
                              <a:pt x="5677327" y="1640982"/>
                            </a:lnTo>
                            <a:lnTo>
                              <a:pt x="5669646" y="1644823"/>
                            </a:lnTo>
                            <a:lnTo>
                              <a:pt x="5664160" y="1636593"/>
                            </a:lnTo>
                            <a:lnTo>
                              <a:pt x="5663611" y="1632753"/>
                            </a:lnTo>
                            <a:lnTo>
                              <a:pt x="5669646" y="1630558"/>
                            </a:lnTo>
                            <a:lnTo>
                              <a:pt x="5672389" y="1632753"/>
                            </a:lnTo>
                            <a:lnTo>
                              <a:pt x="5665257" y="1607515"/>
                            </a:lnTo>
                            <a:lnTo>
                              <a:pt x="5660319" y="1615745"/>
                            </a:lnTo>
                            <a:lnTo>
                              <a:pt x="5656479" y="1618488"/>
                            </a:lnTo>
                            <a:lnTo>
                              <a:pt x="5648798" y="1614648"/>
                            </a:lnTo>
                            <a:lnTo>
                              <a:pt x="5643860" y="1608613"/>
                            </a:lnTo>
                            <a:lnTo>
                              <a:pt x="5636179" y="1605869"/>
                            </a:lnTo>
                            <a:lnTo>
                              <a:pt x="5630693" y="1598188"/>
                            </a:lnTo>
                            <a:lnTo>
                              <a:pt x="5630693" y="1575146"/>
                            </a:lnTo>
                            <a:lnTo>
                              <a:pt x="5636179" y="1569659"/>
                            </a:lnTo>
                            <a:lnTo>
                              <a:pt x="5642763" y="1575146"/>
                            </a:lnTo>
                            <a:lnTo>
                              <a:pt x="5654833" y="1578986"/>
                            </a:lnTo>
                            <a:lnTo>
                              <a:pt x="5661416" y="1573500"/>
                            </a:lnTo>
                            <a:lnTo>
                              <a:pt x="5660868" y="1575694"/>
                            </a:lnTo>
                            <a:lnTo>
                              <a:pt x="5664160" y="1581181"/>
                            </a:lnTo>
                            <a:lnTo>
                              <a:pt x="5676230" y="1578986"/>
                            </a:lnTo>
                            <a:lnTo>
                              <a:pt x="5674035" y="1584472"/>
                            </a:lnTo>
                            <a:lnTo>
                              <a:pt x="5674584" y="1588313"/>
                            </a:lnTo>
                            <a:lnTo>
                              <a:pt x="5682265" y="1582278"/>
                            </a:lnTo>
                            <a:lnTo>
                              <a:pt x="5688300" y="1574597"/>
                            </a:lnTo>
                            <a:lnTo>
                              <a:pt x="5708051" y="1567465"/>
                            </a:lnTo>
                            <a:lnTo>
                              <a:pt x="5727253" y="1544970"/>
                            </a:lnTo>
                            <a:close/>
                          </a:path>
                        </a:pathLst>
                      </a:custGeom>
                      <a:grpFill/>
                      <a:ln w="12700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sp>
                  <p:nvSpPr>
                    <p:cNvPr id="30" name="Graphic 7">
                      <a:extLst>
                        <a:ext uri="{FF2B5EF4-FFF2-40B4-BE49-F238E27FC236}">
                          <a16:creationId xmlns:a16="http://schemas.microsoft.com/office/drawing/2014/main" id="{56369FA0-E11D-C4A2-88CB-D050E35EBF6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244243" y="2086821"/>
                      <a:ext cx="63438" cy="128593"/>
                    </a:xfrm>
                    <a:custGeom>
                      <a:avLst/>
                      <a:gdLst>
                        <a:gd name="connsiteX0" fmla="*/ 72969 w 81198"/>
                        <a:gd name="connsiteY0" fmla="*/ 147035 h 164592"/>
                        <a:gd name="connsiteX1" fmla="*/ 81199 w 81198"/>
                        <a:gd name="connsiteY1" fmla="*/ 141001 h 164592"/>
                        <a:gd name="connsiteX2" fmla="*/ 77358 w 81198"/>
                        <a:gd name="connsiteY2" fmla="*/ 133319 h 164592"/>
                        <a:gd name="connsiteX3" fmla="*/ 80101 w 81198"/>
                        <a:gd name="connsiteY3" fmla="*/ 130028 h 164592"/>
                        <a:gd name="connsiteX4" fmla="*/ 78455 w 81198"/>
                        <a:gd name="connsiteY4" fmla="*/ 117958 h 164592"/>
                        <a:gd name="connsiteX5" fmla="*/ 72421 w 81198"/>
                        <a:gd name="connsiteY5" fmla="*/ 114666 h 164592"/>
                        <a:gd name="connsiteX6" fmla="*/ 64739 w 81198"/>
                        <a:gd name="connsiteY6" fmla="*/ 101498 h 164592"/>
                        <a:gd name="connsiteX7" fmla="*/ 65837 w 81198"/>
                        <a:gd name="connsiteY7" fmla="*/ 96561 h 164592"/>
                        <a:gd name="connsiteX8" fmla="*/ 58156 w 81198"/>
                        <a:gd name="connsiteY8" fmla="*/ 86137 h 164592"/>
                        <a:gd name="connsiteX9" fmla="*/ 59253 w 81198"/>
                        <a:gd name="connsiteY9" fmla="*/ 81199 h 164592"/>
                        <a:gd name="connsiteX10" fmla="*/ 58156 w 81198"/>
                        <a:gd name="connsiteY10" fmla="*/ 76810 h 164592"/>
                        <a:gd name="connsiteX11" fmla="*/ 52669 w 81198"/>
                        <a:gd name="connsiteY11" fmla="*/ 72969 h 164592"/>
                        <a:gd name="connsiteX12" fmla="*/ 51572 w 81198"/>
                        <a:gd name="connsiteY12" fmla="*/ 66385 h 164592"/>
                        <a:gd name="connsiteX13" fmla="*/ 58156 w 81198"/>
                        <a:gd name="connsiteY13" fmla="*/ 42794 h 164592"/>
                        <a:gd name="connsiteX14" fmla="*/ 56510 w 81198"/>
                        <a:gd name="connsiteY14" fmla="*/ 34564 h 164592"/>
                        <a:gd name="connsiteX15" fmla="*/ 42245 w 81198"/>
                        <a:gd name="connsiteY15" fmla="*/ 22494 h 164592"/>
                        <a:gd name="connsiteX16" fmla="*/ 25786 w 81198"/>
                        <a:gd name="connsiteY16" fmla="*/ 14265 h 164592"/>
                        <a:gd name="connsiteX17" fmla="*/ 19202 w 81198"/>
                        <a:gd name="connsiteY17" fmla="*/ 4389 h 164592"/>
                        <a:gd name="connsiteX18" fmla="*/ 7681 w 81198"/>
                        <a:gd name="connsiteY18" fmla="*/ 0 h 164592"/>
                        <a:gd name="connsiteX19" fmla="*/ 7681 w 81198"/>
                        <a:gd name="connsiteY19" fmla="*/ 5486 h 164592"/>
                        <a:gd name="connsiteX20" fmla="*/ 21946 w 81198"/>
                        <a:gd name="connsiteY20" fmla="*/ 29078 h 164592"/>
                        <a:gd name="connsiteX21" fmla="*/ 25237 w 81198"/>
                        <a:gd name="connsiteY21" fmla="*/ 23591 h 164592"/>
                        <a:gd name="connsiteX22" fmla="*/ 39502 w 81198"/>
                        <a:gd name="connsiteY22" fmla="*/ 29627 h 164592"/>
                        <a:gd name="connsiteX23" fmla="*/ 49378 w 81198"/>
                        <a:gd name="connsiteY23" fmla="*/ 54864 h 164592"/>
                        <a:gd name="connsiteX24" fmla="*/ 40599 w 81198"/>
                        <a:gd name="connsiteY24" fmla="*/ 60350 h 164592"/>
                        <a:gd name="connsiteX25" fmla="*/ 28529 w 81198"/>
                        <a:gd name="connsiteY25" fmla="*/ 53767 h 164592"/>
                        <a:gd name="connsiteX26" fmla="*/ 27432 w 81198"/>
                        <a:gd name="connsiteY26" fmla="*/ 57059 h 164592"/>
                        <a:gd name="connsiteX27" fmla="*/ 34016 w 81198"/>
                        <a:gd name="connsiteY27" fmla="*/ 66385 h 164592"/>
                        <a:gd name="connsiteX28" fmla="*/ 31821 w 81198"/>
                        <a:gd name="connsiteY28" fmla="*/ 70775 h 164592"/>
                        <a:gd name="connsiteX29" fmla="*/ 21397 w 81198"/>
                        <a:gd name="connsiteY29" fmla="*/ 60899 h 164592"/>
                        <a:gd name="connsiteX30" fmla="*/ 17557 w 81198"/>
                        <a:gd name="connsiteY30" fmla="*/ 40051 h 164592"/>
                        <a:gd name="connsiteX31" fmla="*/ 7681 w 81198"/>
                        <a:gd name="connsiteY31" fmla="*/ 27432 h 164592"/>
                        <a:gd name="connsiteX32" fmla="*/ 5486 w 81198"/>
                        <a:gd name="connsiteY32" fmla="*/ 36759 h 164592"/>
                        <a:gd name="connsiteX33" fmla="*/ 10424 w 81198"/>
                        <a:gd name="connsiteY33" fmla="*/ 57059 h 164592"/>
                        <a:gd name="connsiteX34" fmla="*/ 17557 w 81198"/>
                        <a:gd name="connsiteY34" fmla="*/ 69129 h 164592"/>
                        <a:gd name="connsiteX35" fmla="*/ 17008 w 81198"/>
                        <a:gd name="connsiteY35" fmla="*/ 74066 h 164592"/>
                        <a:gd name="connsiteX36" fmla="*/ 2195 w 81198"/>
                        <a:gd name="connsiteY36" fmla="*/ 60899 h 164592"/>
                        <a:gd name="connsiteX37" fmla="*/ 0 w 81198"/>
                        <a:gd name="connsiteY37" fmla="*/ 63642 h 164592"/>
                        <a:gd name="connsiteX38" fmla="*/ 8778 w 81198"/>
                        <a:gd name="connsiteY38" fmla="*/ 72421 h 164592"/>
                        <a:gd name="connsiteX39" fmla="*/ 13167 w 81198"/>
                        <a:gd name="connsiteY39" fmla="*/ 83942 h 164592"/>
                        <a:gd name="connsiteX40" fmla="*/ 9875 w 81198"/>
                        <a:gd name="connsiteY40" fmla="*/ 91074 h 164592"/>
                        <a:gd name="connsiteX41" fmla="*/ 1646 w 81198"/>
                        <a:gd name="connsiteY41" fmla="*/ 85039 h 164592"/>
                        <a:gd name="connsiteX42" fmla="*/ 2195 w 81198"/>
                        <a:gd name="connsiteY42" fmla="*/ 89428 h 164592"/>
                        <a:gd name="connsiteX43" fmla="*/ 13167 w 81198"/>
                        <a:gd name="connsiteY43" fmla="*/ 103693 h 164592"/>
                        <a:gd name="connsiteX44" fmla="*/ 36759 w 81198"/>
                        <a:gd name="connsiteY44" fmla="*/ 116312 h 164592"/>
                        <a:gd name="connsiteX45" fmla="*/ 49378 w 81198"/>
                        <a:gd name="connsiteY45" fmla="*/ 134965 h 164592"/>
                        <a:gd name="connsiteX46" fmla="*/ 51023 w 81198"/>
                        <a:gd name="connsiteY46" fmla="*/ 147035 h 164592"/>
                        <a:gd name="connsiteX47" fmla="*/ 45537 w 81198"/>
                        <a:gd name="connsiteY47" fmla="*/ 154168 h 164592"/>
                        <a:gd name="connsiteX48" fmla="*/ 45537 w 81198"/>
                        <a:gd name="connsiteY48" fmla="*/ 158557 h 164592"/>
                        <a:gd name="connsiteX49" fmla="*/ 54864 w 81198"/>
                        <a:gd name="connsiteY49" fmla="*/ 159106 h 164592"/>
                        <a:gd name="connsiteX50" fmla="*/ 58156 w 81198"/>
                        <a:gd name="connsiteY50" fmla="*/ 164592 h 164592"/>
                        <a:gd name="connsiteX51" fmla="*/ 66934 w 81198"/>
                        <a:gd name="connsiteY51" fmla="*/ 146487 h 164592"/>
                        <a:gd name="connsiteX52" fmla="*/ 72969 w 81198"/>
                        <a:gd name="connsiteY52" fmla="*/ 147035 h 16459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  <a:cxn ang="0">
                          <a:pos x="connsiteX45" y="connsiteY45"/>
                        </a:cxn>
                        <a:cxn ang="0">
                          <a:pos x="connsiteX46" y="connsiteY46"/>
                        </a:cxn>
                        <a:cxn ang="0">
                          <a:pos x="connsiteX47" y="connsiteY47"/>
                        </a:cxn>
                        <a:cxn ang="0">
                          <a:pos x="connsiteX48" y="connsiteY48"/>
                        </a:cxn>
                        <a:cxn ang="0">
                          <a:pos x="connsiteX49" y="connsiteY49"/>
                        </a:cxn>
                        <a:cxn ang="0">
                          <a:pos x="connsiteX50" y="connsiteY50"/>
                        </a:cxn>
                        <a:cxn ang="0">
                          <a:pos x="connsiteX51" y="connsiteY51"/>
                        </a:cxn>
                        <a:cxn ang="0">
                          <a:pos x="connsiteX52" y="connsiteY52"/>
                        </a:cxn>
                      </a:cxnLst>
                      <a:rect l="l" t="t" r="r" b="b"/>
                      <a:pathLst>
                        <a:path w="81198" h="164592">
                          <a:moveTo>
                            <a:pt x="72969" y="147035"/>
                          </a:moveTo>
                          <a:lnTo>
                            <a:pt x="81199" y="141001"/>
                          </a:lnTo>
                          <a:lnTo>
                            <a:pt x="77358" y="133319"/>
                          </a:lnTo>
                          <a:lnTo>
                            <a:pt x="80101" y="130028"/>
                          </a:lnTo>
                          <a:lnTo>
                            <a:pt x="78455" y="117958"/>
                          </a:lnTo>
                          <a:lnTo>
                            <a:pt x="72421" y="114666"/>
                          </a:lnTo>
                          <a:lnTo>
                            <a:pt x="64739" y="101498"/>
                          </a:lnTo>
                          <a:lnTo>
                            <a:pt x="65837" y="96561"/>
                          </a:lnTo>
                          <a:lnTo>
                            <a:pt x="58156" y="86137"/>
                          </a:lnTo>
                          <a:lnTo>
                            <a:pt x="59253" y="81199"/>
                          </a:lnTo>
                          <a:lnTo>
                            <a:pt x="58156" y="76810"/>
                          </a:lnTo>
                          <a:lnTo>
                            <a:pt x="52669" y="72969"/>
                          </a:lnTo>
                          <a:lnTo>
                            <a:pt x="51572" y="66385"/>
                          </a:lnTo>
                          <a:lnTo>
                            <a:pt x="58156" y="42794"/>
                          </a:lnTo>
                          <a:lnTo>
                            <a:pt x="56510" y="34564"/>
                          </a:lnTo>
                          <a:lnTo>
                            <a:pt x="42245" y="22494"/>
                          </a:lnTo>
                          <a:lnTo>
                            <a:pt x="25786" y="14265"/>
                          </a:lnTo>
                          <a:lnTo>
                            <a:pt x="19202" y="4389"/>
                          </a:lnTo>
                          <a:lnTo>
                            <a:pt x="7681" y="0"/>
                          </a:lnTo>
                          <a:lnTo>
                            <a:pt x="7681" y="5486"/>
                          </a:lnTo>
                          <a:lnTo>
                            <a:pt x="21946" y="29078"/>
                          </a:lnTo>
                          <a:lnTo>
                            <a:pt x="25237" y="23591"/>
                          </a:lnTo>
                          <a:lnTo>
                            <a:pt x="39502" y="29627"/>
                          </a:lnTo>
                          <a:lnTo>
                            <a:pt x="49378" y="54864"/>
                          </a:lnTo>
                          <a:lnTo>
                            <a:pt x="40599" y="60350"/>
                          </a:lnTo>
                          <a:lnTo>
                            <a:pt x="28529" y="53767"/>
                          </a:lnTo>
                          <a:lnTo>
                            <a:pt x="27432" y="57059"/>
                          </a:lnTo>
                          <a:lnTo>
                            <a:pt x="34016" y="66385"/>
                          </a:lnTo>
                          <a:lnTo>
                            <a:pt x="31821" y="70775"/>
                          </a:lnTo>
                          <a:lnTo>
                            <a:pt x="21397" y="60899"/>
                          </a:lnTo>
                          <a:lnTo>
                            <a:pt x="17557" y="40051"/>
                          </a:lnTo>
                          <a:lnTo>
                            <a:pt x="7681" y="27432"/>
                          </a:lnTo>
                          <a:lnTo>
                            <a:pt x="5486" y="36759"/>
                          </a:lnTo>
                          <a:lnTo>
                            <a:pt x="10424" y="57059"/>
                          </a:lnTo>
                          <a:lnTo>
                            <a:pt x="17557" y="69129"/>
                          </a:lnTo>
                          <a:lnTo>
                            <a:pt x="17008" y="74066"/>
                          </a:lnTo>
                          <a:lnTo>
                            <a:pt x="2195" y="60899"/>
                          </a:lnTo>
                          <a:lnTo>
                            <a:pt x="0" y="63642"/>
                          </a:lnTo>
                          <a:lnTo>
                            <a:pt x="8778" y="72421"/>
                          </a:lnTo>
                          <a:lnTo>
                            <a:pt x="13167" y="83942"/>
                          </a:lnTo>
                          <a:lnTo>
                            <a:pt x="9875" y="91074"/>
                          </a:lnTo>
                          <a:lnTo>
                            <a:pt x="1646" y="85039"/>
                          </a:lnTo>
                          <a:lnTo>
                            <a:pt x="2195" y="89428"/>
                          </a:lnTo>
                          <a:lnTo>
                            <a:pt x="13167" y="103693"/>
                          </a:lnTo>
                          <a:lnTo>
                            <a:pt x="36759" y="116312"/>
                          </a:lnTo>
                          <a:lnTo>
                            <a:pt x="49378" y="134965"/>
                          </a:lnTo>
                          <a:lnTo>
                            <a:pt x="51023" y="147035"/>
                          </a:lnTo>
                          <a:lnTo>
                            <a:pt x="45537" y="154168"/>
                          </a:lnTo>
                          <a:lnTo>
                            <a:pt x="45537" y="158557"/>
                          </a:lnTo>
                          <a:lnTo>
                            <a:pt x="54864" y="159106"/>
                          </a:lnTo>
                          <a:lnTo>
                            <a:pt x="58156" y="164592"/>
                          </a:lnTo>
                          <a:lnTo>
                            <a:pt x="66934" y="146487"/>
                          </a:lnTo>
                          <a:lnTo>
                            <a:pt x="72969" y="147035"/>
                          </a:lnTo>
                        </a:path>
                      </a:pathLst>
                    </a:custGeom>
                    <a:grpFill/>
                    <a:ln w="1270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31" name="Graphic 7">
                      <a:extLst>
                        <a:ext uri="{FF2B5EF4-FFF2-40B4-BE49-F238E27FC236}">
                          <a16:creationId xmlns:a16="http://schemas.microsoft.com/office/drawing/2014/main" id="{F6CF02EF-34C9-C6F5-A9A2-7D1FB1C5417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119506" y="2164406"/>
                      <a:ext cx="81442" cy="107161"/>
                    </a:xfrm>
                    <a:custGeom>
                      <a:avLst/>
                      <a:gdLst>
                        <a:gd name="connsiteX0" fmla="*/ 34016 w 104241"/>
                        <a:gd name="connsiteY0" fmla="*/ 1097 h 137160"/>
                        <a:gd name="connsiteX1" fmla="*/ 35113 w 104241"/>
                        <a:gd name="connsiteY1" fmla="*/ 0 h 137160"/>
                        <a:gd name="connsiteX2" fmla="*/ 41697 w 104241"/>
                        <a:gd name="connsiteY2" fmla="*/ 1646 h 137160"/>
                        <a:gd name="connsiteX3" fmla="*/ 49378 w 104241"/>
                        <a:gd name="connsiteY3" fmla="*/ 6584 h 137160"/>
                        <a:gd name="connsiteX4" fmla="*/ 66934 w 104241"/>
                        <a:gd name="connsiteY4" fmla="*/ 28529 h 137160"/>
                        <a:gd name="connsiteX5" fmla="*/ 82296 w 104241"/>
                        <a:gd name="connsiteY5" fmla="*/ 33467 h 137160"/>
                        <a:gd name="connsiteX6" fmla="*/ 91074 w 104241"/>
                        <a:gd name="connsiteY6" fmla="*/ 43891 h 137160"/>
                        <a:gd name="connsiteX7" fmla="*/ 97109 w 104241"/>
                        <a:gd name="connsiteY7" fmla="*/ 61996 h 137160"/>
                        <a:gd name="connsiteX8" fmla="*/ 102047 w 104241"/>
                        <a:gd name="connsiteY8" fmla="*/ 64739 h 137160"/>
                        <a:gd name="connsiteX9" fmla="*/ 102047 w 104241"/>
                        <a:gd name="connsiteY9" fmla="*/ 72420 h 137160"/>
                        <a:gd name="connsiteX10" fmla="*/ 104242 w 104241"/>
                        <a:gd name="connsiteY10" fmla="*/ 78455 h 137160"/>
                        <a:gd name="connsiteX11" fmla="*/ 102596 w 104241"/>
                        <a:gd name="connsiteY11" fmla="*/ 88331 h 137160"/>
                        <a:gd name="connsiteX12" fmla="*/ 97658 w 104241"/>
                        <a:gd name="connsiteY12" fmla="*/ 90526 h 137160"/>
                        <a:gd name="connsiteX13" fmla="*/ 97109 w 104241"/>
                        <a:gd name="connsiteY13" fmla="*/ 100401 h 137160"/>
                        <a:gd name="connsiteX14" fmla="*/ 88331 w 104241"/>
                        <a:gd name="connsiteY14" fmla="*/ 116312 h 137160"/>
                        <a:gd name="connsiteX15" fmla="*/ 82296 w 104241"/>
                        <a:gd name="connsiteY15" fmla="*/ 117409 h 137160"/>
                        <a:gd name="connsiteX16" fmla="*/ 78456 w 104241"/>
                        <a:gd name="connsiteY16" fmla="*/ 114117 h 137160"/>
                        <a:gd name="connsiteX17" fmla="*/ 73518 w 104241"/>
                        <a:gd name="connsiteY17" fmla="*/ 111923 h 137160"/>
                        <a:gd name="connsiteX18" fmla="*/ 65837 w 104241"/>
                        <a:gd name="connsiteY18" fmla="*/ 113020 h 137160"/>
                        <a:gd name="connsiteX19" fmla="*/ 58156 w 104241"/>
                        <a:gd name="connsiteY19" fmla="*/ 116860 h 137160"/>
                        <a:gd name="connsiteX20" fmla="*/ 53767 w 104241"/>
                        <a:gd name="connsiteY20" fmla="*/ 123993 h 137160"/>
                        <a:gd name="connsiteX21" fmla="*/ 52669 w 104241"/>
                        <a:gd name="connsiteY21" fmla="*/ 132222 h 137160"/>
                        <a:gd name="connsiteX22" fmla="*/ 49926 w 104241"/>
                        <a:gd name="connsiteY22" fmla="*/ 135514 h 137160"/>
                        <a:gd name="connsiteX23" fmla="*/ 41697 w 104241"/>
                        <a:gd name="connsiteY23" fmla="*/ 137160 h 137160"/>
                        <a:gd name="connsiteX24" fmla="*/ 36210 w 104241"/>
                        <a:gd name="connsiteY24" fmla="*/ 134965 h 137160"/>
                        <a:gd name="connsiteX25" fmla="*/ 29078 w 104241"/>
                        <a:gd name="connsiteY25" fmla="*/ 88880 h 137160"/>
                        <a:gd name="connsiteX26" fmla="*/ 15362 w 104241"/>
                        <a:gd name="connsiteY26" fmla="*/ 72969 h 137160"/>
                        <a:gd name="connsiteX27" fmla="*/ 18105 w 104241"/>
                        <a:gd name="connsiteY27" fmla="*/ 66934 h 137160"/>
                        <a:gd name="connsiteX28" fmla="*/ 10973 w 104241"/>
                        <a:gd name="connsiteY28" fmla="*/ 55961 h 137160"/>
                        <a:gd name="connsiteX29" fmla="*/ 9876 w 104241"/>
                        <a:gd name="connsiteY29" fmla="*/ 51023 h 137160"/>
                        <a:gd name="connsiteX30" fmla="*/ 4389 w 104241"/>
                        <a:gd name="connsiteY30" fmla="*/ 46634 h 137160"/>
                        <a:gd name="connsiteX31" fmla="*/ 1097 w 104241"/>
                        <a:gd name="connsiteY31" fmla="*/ 49926 h 137160"/>
                        <a:gd name="connsiteX32" fmla="*/ 0 w 104241"/>
                        <a:gd name="connsiteY32" fmla="*/ 28529 h 137160"/>
                        <a:gd name="connsiteX33" fmla="*/ 4389 w 104241"/>
                        <a:gd name="connsiteY33" fmla="*/ 21397 h 137160"/>
                        <a:gd name="connsiteX34" fmla="*/ 4938 w 104241"/>
                        <a:gd name="connsiteY34" fmla="*/ 17556 h 137160"/>
                        <a:gd name="connsiteX35" fmla="*/ 9876 w 104241"/>
                        <a:gd name="connsiteY35" fmla="*/ 13167 h 137160"/>
                        <a:gd name="connsiteX36" fmla="*/ 13716 w 104241"/>
                        <a:gd name="connsiteY36" fmla="*/ 12070 h 137160"/>
                        <a:gd name="connsiteX37" fmla="*/ 17008 w 104241"/>
                        <a:gd name="connsiteY37" fmla="*/ 7132 h 137160"/>
                        <a:gd name="connsiteX38" fmla="*/ 23592 w 104241"/>
                        <a:gd name="connsiteY38" fmla="*/ 1646 h 137160"/>
                        <a:gd name="connsiteX39" fmla="*/ 34016 w 104241"/>
                        <a:gd name="connsiteY39" fmla="*/ 1097 h 13716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</a:cxnLst>
                      <a:rect l="l" t="t" r="r" b="b"/>
                      <a:pathLst>
                        <a:path w="104241" h="137160">
                          <a:moveTo>
                            <a:pt x="34016" y="1097"/>
                          </a:moveTo>
                          <a:lnTo>
                            <a:pt x="35113" y="0"/>
                          </a:lnTo>
                          <a:lnTo>
                            <a:pt x="41697" y="1646"/>
                          </a:lnTo>
                          <a:lnTo>
                            <a:pt x="49378" y="6584"/>
                          </a:lnTo>
                          <a:lnTo>
                            <a:pt x="66934" y="28529"/>
                          </a:lnTo>
                          <a:lnTo>
                            <a:pt x="82296" y="33467"/>
                          </a:lnTo>
                          <a:lnTo>
                            <a:pt x="91074" y="43891"/>
                          </a:lnTo>
                          <a:lnTo>
                            <a:pt x="97109" y="61996"/>
                          </a:lnTo>
                          <a:lnTo>
                            <a:pt x="102047" y="64739"/>
                          </a:lnTo>
                          <a:lnTo>
                            <a:pt x="102047" y="72420"/>
                          </a:lnTo>
                          <a:lnTo>
                            <a:pt x="104242" y="78455"/>
                          </a:lnTo>
                          <a:lnTo>
                            <a:pt x="102596" y="88331"/>
                          </a:lnTo>
                          <a:lnTo>
                            <a:pt x="97658" y="90526"/>
                          </a:lnTo>
                          <a:lnTo>
                            <a:pt x="97109" y="100401"/>
                          </a:lnTo>
                          <a:lnTo>
                            <a:pt x="88331" y="116312"/>
                          </a:lnTo>
                          <a:lnTo>
                            <a:pt x="82296" y="117409"/>
                          </a:lnTo>
                          <a:lnTo>
                            <a:pt x="78456" y="114117"/>
                          </a:lnTo>
                          <a:lnTo>
                            <a:pt x="73518" y="111923"/>
                          </a:lnTo>
                          <a:lnTo>
                            <a:pt x="65837" y="113020"/>
                          </a:lnTo>
                          <a:lnTo>
                            <a:pt x="58156" y="116860"/>
                          </a:lnTo>
                          <a:lnTo>
                            <a:pt x="53767" y="123993"/>
                          </a:lnTo>
                          <a:lnTo>
                            <a:pt x="52669" y="132222"/>
                          </a:lnTo>
                          <a:lnTo>
                            <a:pt x="49926" y="135514"/>
                          </a:lnTo>
                          <a:lnTo>
                            <a:pt x="41697" y="137160"/>
                          </a:lnTo>
                          <a:lnTo>
                            <a:pt x="36210" y="134965"/>
                          </a:lnTo>
                          <a:lnTo>
                            <a:pt x="29078" y="88880"/>
                          </a:lnTo>
                          <a:lnTo>
                            <a:pt x="15362" y="72969"/>
                          </a:lnTo>
                          <a:lnTo>
                            <a:pt x="18105" y="66934"/>
                          </a:lnTo>
                          <a:lnTo>
                            <a:pt x="10973" y="55961"/>
                          </a:lnTo>
                          <a:lnTo>
                            <a:pt x="9876" y="51023"/>
                          </a:lnTo>
                          <a:lnTo>
                            <a:pt x="4389" y="46634"/>
                          </a:lnTo>
                          <a:lnTo>
                            <a:pt x="1097" y="49926"/>
                          </a:lnTo>
                          <a:lnTo>
                            <a:pt x="0" y="28529"/>
                          </a:lnTo>
                          <a:lnTo>
                            <a:pt x="4389" y="21397"/>
                          </a:lnTo>
                          <a:lnTo>
                            <a:pt x="4938" y="17556"/>
                          </a:lnTo>
                          <a:lnTo>
                            <a:pt x="9876" y="13167"/>
                          </a:lnTo>
                          <a:lnTo>
                            <a:pt x="13716" y="12070"/>
                          </a:lnTo>
                          <a:lnTo>
                            <a:pt x="17008" y="7132"/>
                          </a:lnTo>
                          <a:lnTo>
                            <a:pt x="23592" y="1646"/>
                          </a:lnTo>
                          <a:lnTo>
                            <a:pt x="34016" y="1097"/>
                          </a:lnTo>
                        </a:path>
                      </a:pathLst>
                    </a:custGeom>
                    <a:grpFill/>
                    <a:ln w="1270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p:txBody>
                </p:sp>
              </p:grpSp>
            </p:grpSp>
          </p:grpSp>
        </p:grpSp>
      </p:grpSp>
      <p:grpSp>
        <p:nvGrpSpPr>
          <p:cNvPr id="419" name="Group 418">
            <a:extLst>
              <a:ext uri="{FF2B5EF4-FFF2-40B4-BE49-F238E27FC236}">
                <a16:creationId xmlns:a16="http://schemas.microsoft.com/office/drawing/2014/main" id="{1055CEC3-DCCB-E6FA-E6A9-793CC1F531A8}"/>
              </a:ext>
            </a:extLst>
          </p:cNvPr>
          <p:cNvGrpSpPr/>
          <p:nvPr/>
        </p:nvGrpSpPr>
        <p:grpSpPr>
          <a:xfrm>
            <a:off x="7505024" y="2748162"/>
            <a:ext cx="2814000" cy="480760"/>
            <a:chOff x="8607053" y="2028600"/>
            <a:chExt cx="2814000" cy="480760"/>
          </a:xfrm>
        </p:grpSpPr>
        <p:sp>
          <p:nvSpPr>
            <p:cNvPr id="420" name="Ellips 1">
              <a:extLst>
                <a:ext uri="{FF2B5EF4-FFF2-40B4-BE49-F238E27FC236}">
                  <a16:creationId xmlns:a16="http://schemas.microsoft.com/office/drawing/2014/main" id="{7E578E23-9815-F9E2-705F-18E5DC4EA28F}"/>
                </a:ext>
              </a:extLst>
            </p:cNvPr>
            <p:cNvSpPr/>
            <p:nvPr/>
          </p:nvSpPr>
          <p:spPr>
            <a:xfrm>
              <a:off x="8607053" y="2112863"/>
              <a:ext cx="312234" cy="312234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1</a:t>
              </a:r>
            </a:p>
          </p:txBody>
        </p:sp>
        <p:sp>
          <p:nvSpPr>
            <p:cNvPr id="421" name="Rectangle 420">
              <a:extLst>
                <a:ext uri="{FF2B5EF4-FFF2-40B4-BE49-F238E27FC236}">
                  <a16:creationId xmlns:a16="http://schemas.microsoft.com/office/drawing/2014/main" id="{7671F726-6ABC-1F6A-AE2B-811D04C74F04}"/>
                </a:ext>
              </a:extLst>
            </p:cNvPr>
            <p:cNvSpPr/>
            <p:nvPr/>
          </p:nvSpPr>
          <p:spPr>
            <a:xfrm>
              <a:off x="9056064" y="2028600"/>
              <a:ext cx="2364989" cy="48076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Orthopedics</a:t>
              </a:r>
            </a:p>
          </p:txBody>
        </p:sp>
      </p:grpSp>
      <p:grpSp>
        <p:nvGrpSpPr>
          <p:cNvPr id="422" name="Group 421">
            <a:extLst>
              <a:ext uri="{FF2B5EF4-FFF2-40B4-BE49-F238E27FC236}">
                <a16:creationId xmlns:a16="http://schemas.microsoft.com/office/drawing/2014/main" id="{0C44E7EF-3B96-5B4A-323F-C2710D04BE4B}"/>
              </a:ext>
            </a:extLst>
          </p:cNvPr>
          <p:cNvGrpSpPr/>
          <p:nvPr/>
        </p:nvGrpSpPr>
        <p:grpSpPr>
          <a:xfrm>
            <a:off x="7505024" y="3266387"/>
            <a:ext cx="2814000" cy="480760"/>
            <a:chOff x="8607053" y="2843047"/>
            <a:chExt cx="2814000" cy="480760"/>
          </a:xfrm>
        </p:grpSpPr>
        <p:sp>
          <p:nvSpPr>
            <p:cNvPr id="425" name="Ellips 52">
              <a:extLst>
                <a:ext uri="{FF2B5EF4-FFF2-40B4-BE49-F238E27FC236}">
                  <a16:creationId xmlns:a16="http://schemas.microsoft.com/office/drawing/2014/main" id="{971B92A8-9764-D637-0CA2-9875CB9A0188}"/>
                </a:ext>
              </a:extLst>
            </p:cNvPr>
            <p:cNvSpPr/>
            <p:nvPr/>
          </p:nvSpPr>
          <p:spPr>
            <a:xfrm>
              <a:off x="8607053" y="2927310"/>
              <a:ext cx="312234" cy="312234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2</a:t>
              </a:r>
            </a:p>
          </p:txBody>
        </p:sp>
        <p:sp>
          <p:nvSpPr>
            <p:cNvPr id="426" name="Rectangle 466">
              <a:extLst>
                <a:ext uri="{FF2B5EF4-FFF2-40B4-BE49-F238E27FC236}">
                  <a16:creationId xmlns:a16="http://schemas.microsoft.com/office/drawing/2014/main" id="{5CB493DF-1E35-9FAE-38FA-8248D4100118}"/>
                </a:ext>
              </a:extLst>
            </p:cNvPr>
            <p:cNvSpPr/>
            <p:nvPr/>
          </p:nvSpPr>
          <p:spPr>
            <a:xfrm>
              <a:off x="9056064" y="2843047"/>
              <a:ext cx="2364989" cy="48076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Urology</a:t>
              </a:r>
            </a:p>
          </p:txBody>
        </p:sp>
      </p:grpSp>
      <p:grpSp>
        <p:nvGrpSpPr>
          <p:cNvPr id="427" name="Group 426">
            <a:extLst>
              <a:ext uri="{FF2B5EF4-FFF2-40B4-BE49-F238E27FC236}">
                <a16:creationId xmlns:a16="http://schemas.microsoft.com/office/drawing/2014/main" id="{FFC9D9A2-331A-EF26-C6F1-6BDB56913FB0}"/>
              </a:ext>
            </a:extLst>
          </p:cNvPr>
          <p:cNvGrpSpPr/>
          <p:nvPr/>
        </p:nvGrpSpPr>
        <p:grpSpPr>
          <a:xfrm>
            <a:off x="7505024" y="3784612"/>
            <a:ext cx="2814000" cy="480760"/>
            <a:chOff x="8607053" y="3021272"/>
            <a:chExt cx="2814000" cy="480760"/>
          </a:xfrm>
        </p:grpSpPr>
        <p:sp>
          <p:nvSpPr>
            <p:cNvPr id="428" name="Ellips 52">
              <a:extLst>
                <a:ext uri="{FF2B5EF4-FFF2-40B4-BE49-F238E27FC236}">
                  <a16:creationId xmlns:a16="http://schemas.microsoft.com/office/drawing/2014/main" id="{E6E56762-A9A9-B6F2-C4E6-FA5EC73860E1}"/>
                </a:ext>
              </a:extLst>
            </p:cNvPr>
            <p:cNvSpPr/>
            <p:nvPr/>
          </p:nvSpPr>
          <p:spPr>
            <a:xfrm>
              <a:off x="8607053" y="3105535"/>
              <a:ext cx="312234" cy="312234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3</a:t>
              </a:r>
            </a:p>
          </p:txBody>
        </p:sp>
        <p:sp>
          <p:nvSpPr>
            <p:cNvPr id="429" name="Rectangle 428">
              <a:extLst>
                <a:ext uri="{FF2B5EF4-FFF2-40B4-BE49-F238E27FC236}">
                  <a16:creationId xmlns:a16="http://schemas.microsoft.com/office/drawing/2014/main" id="{6CF2C337-E65F-2A6D-5AE8-EFA82C27D02E}"/>
                </a:ext>
              </a:extLst>
            </p:cNvPr>
            <p:cNvSpPr/>
            <p:nvPr/>
          </p:nvSpPr>
          <p:spPr>
            <a:xfrm>
              <a:off x="9056064" y="3021272"/>
              <a:ext cx="2364989" cy="48076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Critical care / CVC</a:t>
              </a:r>
            </a:p>
          </p:txBody>
        </p:sp>
      </p:grpSp>
      <p:grpSp>
        <p:nvGrpSpPr>
          <p:cNvPr id="430" name="Group 429">
            <a:extLst>
              <a:ext uri="{FF2B5EF4-FFF2-40B4-BE49-F238E27FC236}">
                <a16:creationId xmlns:a16="http://schemas.microsoft.com/office/drawing/2014/main" id="{C6D75506-0DDD-1686-20B6-74B5C5DBE8CF}"/>
              </a:ext>
            </a:extLst>
          </p:cNvPr>
          <p:cNvGrpSpPr/>
          <p:nvPr/>
        </p:nvGrpSpPr>
        <p:grpSpPr>
          <a:xfrm>
            <a:off x="7505024" y="4302837"/>
            <a:ext cx="2814000" cy="480760"/>
            <a:chOff x="8607053" y="3460977"/>
            <a:chExt cx="2814000" cy="480760"/>
          </a:xfrm>
        </p:grpSpPr>
        <p:sp>
          <p:nvSpPr>
            <p:cNvPr id="431" name="Ellips 52">
              <a:extLst>
                <a:ext uri="{FF2B5EF4-FFF2-40B4-BE49-F238E27FC236}">
                  <a16:creationId xmlns:a16="http://schemas.microsoft.com/office/drawing/2014/main" id="{EAB955F9-D576-3360-642A-5DF83E831930}"/>
                </a:ext>
              </a:extLst>
            </p:cNvPr>
            <p:cNvSpPr/>
            <p:nvPr/>
          </p:nvSpPr>
          <p:spPr>
            <a:xfrm>
              <a:off x="8607053" y="3545240"/>
              <a:ext cx="312234" cy="312234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4</a:t>
              </a:r>
            </a:p>
          </p:txBody>
        </p:sp>
        <p:sp>
          <p:nvSpPr>
            <p:cNvPr id="432" name="Rectangle 431">
              <a:extLst>
                <a:ext uri="{FF2B5EF4-FFF2-40B4-BE49-F238E27FC236}">
                  <a16:creationId xmlns:a16="http://schemas.microsoft.com/office/drawing/2014/main" id="{C3742237-DF1E-05D2-DA15-A082A82BAFA5}"/>
                </a:ext>
              </a:extLst>
            </p:cNvPr>
            <p:cNvSpPr/>
            <p:nvPr/>
          </p:nvSpPr>
          <p:spPr>
            <a:xfrm>
              <a:off x="9056064" y="3460977"/>
              <a:ext cx="2364989" cy="48076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Dental</a:t>
              </a:r>
            </a:p>
          </p:txBody>
        </p:sp>
      </p:grpSp>
      <p:grpSp>
        <p:nvGrpSpPr>
          <p:cNvPr id="433" name="Group 432">
            <a:extLst>
              <a:ext uri="{FF2B5EF4-FFF2-40B4-BE49-F238E27FC236}">
                <a16:creationId xmlns:a16="http://schemas.microsoft.com/office/drawing/2014/main" id="{7F0ABF6E-CDCD-C80A-A589-32CB8DED5A11}"/>
              </a:ext>
            </a:extLst>
          </p:cNvPr>
          <p:cNvGrpSpPr/>
          <p:nvPr/>
        </p:nvGrpSpPr>
        <p:grpSpPr>
          <a:xfrm>
            <a:off x="7505024" y="4821063"/>
            <a:ext cx="2814000" cy="480760"/>
            <a:chOff x="8607053" y="4072481"/>
            <a:chExt cx="2814000" cy="480760"/>
          </a:xfrm>
        </p:grpSpPr>
        <p:sp>
          <p:nvSpPr>
            <p:cNvPr id="434" name="Ellips 52">
              <a:extLst>
                <a:ext uri="{FF2B5EF4-FFF2-40B4-BE49-F238E27FC236}">
                  <a16:creationId xmlns:a16="http://schemas.microsoft.com/office/drawing/2014/main" id="{7FD664E5-C81C-A224-A3BA-37A3DFC8ECC6}"/>
                </a:ext>
              </a:extLst>
            </p:cNvPr>
            <p:cNvSpPr/>
            <p:nvPr/>
          </p:nvSpPr>
          <p:spPr>
            <a:xfrm>
              <a:off x="8607053" y="4151909"/>
              <a:ext cx="312234" cy="312234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5</a:t>
              </a:r>
            </a:p>
          </p:txBody>
        </p:sp>
        <p:sp>
          <p:nvSpPr>
            <p:cNvPr id="435" name="Rectangle 434">
              <a:extLst>
                <a:ext uri="{FF2B5EF4-FFF2-40B4-BE49-F238E27FC236}">
                  <a16:creationId xmlns:a16="http://schemas.microsoft.com/office/drawing/2014/main" id="{19D2236F-5E06-46F1-9434-545519F0F5C0}"/>
                </a:ext>
              </a:extLst>
            </p:cNvPr>
            <p:cNvSpPr/>
            <p:nvPr/>
          </p:nvSpPr>
          <p:spPr>
            <a:xfrm>
              <a:off x="9056064" y="4072481"/>
              <a:ext cx="2364989" cy="48076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Wound management</a:t>
              </a:r>
            </a:p>
          </p:txBody>
        </p:sp>
      </p:grpSp>
      <p:pic>
        <p:nvPicPr>
          <p:cNvPr id="436" name="Picture 4" descr="Centrella Smart+ Hospital Bed | Hillrom">
            <a:extLst>
              <a:ext uri="{FF2B5EF4-FFF2-40B4-BE49-F238E27FC236}">
                <a16:creationId xmlns:a16="http://schemas.microsoft.com/office/drawing/2014/main" id="{5820A5E6-83EF-19A0-9167-7A5CBA73EC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0518" y="3224868"/>
            <a:ext cx="1694751" cy="1694751"/>
          </a:xfrm>
          <a:prstGeom prst="ellipse">
            <a:avLst/>
          </a:prstGeom>
          <a:ln w="63500" cap="rnd">
            <a:noFill/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7119332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D81568-C768-50ED-B345-C0441FB803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Strong </a:t>
            </a:r>
            <a:r>
              <a:rPr lang="sv-SE" err="1"/>
              <a:t>foundation</a:t>
            </a:r>
            <a:r>
              <a:rPr lang="sv-SE"/>
              <a:t> for expans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BD9FC66-EFF4-C994-35C3-926147B0B25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sv-SE"/>
              <a:t>Focus on </a:t>
            </a:r>
            <a:r>
              <a:rPr lang="sv-SE" err="1"/>
              <a:t>large</a:t>
            </a:r>
            <a:r>
              <a:rPr lang="sv-SE"/>
              <a:t> global market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8EF19CA-16AA-73F4-3404-6B68FD78B57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 anchor="b"/>
          <a:lstStyle/>
          <a:p>
            <a:r>
              <a:rPr lang="sv-SE"/>
              <a:t>1 Central </a:t>
            </a:r>
            <a:r>
              <a:rPr lang="sv-SE" err="1"/>
              <a:t>venous</a:t>
            </a:r>
            <a:r>
              <a:rPr lang="sv-SE"/>
              <a:t> </a:t>
            </a:r>
            <a:r>
              <a:rPr lang="sv-SE" err="1"/>
              <a:t>catheter</a:t>
            </a:r>
            <a:endParaRPr lang="sv-SE"/>
          </a:p>
          <a:p>
            <a:r>
              <a:rPr lang="sv-SE"/>
              <a:t>2. </a:t>
            </a:r>
            <a:r>
              <a:rPr lang="sv-SE" err="1"/>
              <a:t>Entotrcheal</a:t>
            </a:r>
            <a:r>
              <a:rPr lang="sv-SE"/>
              <a:t> </a:t>
            </a:r>
            <a:r>
              <a:rPr lang="sv-SE" err="1"/>
              <a:t>tube</a:t>
            </a:r>
            <a:endParaRPr lang="sv-SE"/>
          </a:p>
          <a:p>
            <a:pPr marL="0" indent="0">
              <a:buNone/>
            </a:pPr>
            <a:r>
              <a:rPr lang="sv-SE"/>
              <a:t>* </a:t>
            </a:r>
            <a:r>
              <a:rPr lang="sv-SE" err="1"/>
              <a:t>Dentsiply</a:t>
            </a:r>
            <a:r>
              <a:rPr lang="sv-SE"/>
              <a:t> is a </a:t>
            </a:r>
            <a:r>
              <a:rPr lang="sv-SE" err="1"/>
              <a:t>development</a:t>
            </a:r>
            <a:r>
              <a:rPr lang="sv-SE"/>
              <a:t> </a:t>
            </a:r>
            <a:r>
              <a:rPr lang="sv-SE" err="1"/>
              <a:t>agreement</a:t>
            </a:r>
            <a:r>
              <a:rPr lang="sv-SE"/>
              <a:t> with a </a:t>
            </a:r>
            <a:r>
              <a:rPr lang="sv-SE" err="1"/>
              <a:t>license</a:t>
            </a:r>
            <a:r>
              <a:rPr lang="sv-SE"/>
              <a:t> option</a:t>
            </a:r>
          </a:p>
          <a:p>
            <a:r>
              <a:rPr lang="sv-SE"/>
              <a:t>Source: </a:t>
            </a:r>
            <a:r>
              <a:rPr lang="sv-SE" err="1"/>
              <a:t>GlobalData</a:t>
            </a:r>
            <a:endParaRPr lang="sv-SE"/>
          </a:p>
        </p:txBody>
      </p:sp>
      <p:sp>
        <p:nvSpPr>
          <p:cNvPr id="53" name="Rectangle 1">
            <a:extLst>
              <a:ext uri="{FF2B5EF4-FFF2-40B4-BE49-F238E27FC236}">
                <a16:creationId xmlns:a16="http://schemas.microsoft.com/office/drawing/2014/main" id="{1F601B33-88E2-6E3D-7CF4-C63FAF80AF41}"/>
              </a:ext>
            </a:extLst>
          </p:cNvPr>
          <p:cNvSpPr/>
          <p:nvPr/>
        </p:nvSpPr>
        <p:spPr>
          <a:xfrm>
            <a:off x="2692402" y="2405368"/>
            <a:ext cx="2412876" cy="4034836"/>
          </a:xfrm>
          <a:prstGeom prst="rect">
            <a:avLst/>
          </a:prstGeom>
          <a:solidFill>
            <a:schemeClr val="bg2">
              <a:alpha val="4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solidFill>
                <a:schemeClr val="bg2"/>
              </a:solidFill>
            </a:endParaRPr>
          </a:p>
        </p:txBody>
      </p:sp>
      <p:sp>
        <p:nvSpPr>
          <p:cNvPr id="54" name="Rectangle 1">
            <a:extLst>
              <a:ext uri="{FF2B5EF4-FFF2-40B4-BE49-F238E27FC236}">
                <a16:creationId xmlns:a16="http://schemas.microsoft.com/office/drawing/2014/main" id="{26B26235-ED00-C071-96D3-4BED0235A5CB}"/>
              </a:ext>
            </a:extLst>
          </p:cNvPr>
          <p:cNvSpPr/>
          <p:nvPr/>
        </p:nvSpPr>
        <p:spPr>
          <a:xfrm>
            <a:off x="5186293" y="2405367"/>
            <a:ext cx="1833102" cy="4034837"/>
          </a:xfrm>
          <a:prstGeom prst="rect">
            <a:avLst/>
          </a:prstGeom>
          <a:solidFill>
            <a:schemeClr val="bg2">
              <a:alpha val="4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solidFill>
                <a:schemeClr val="bg2"/>
              </a:solidFill>
            </a:endParaRPr>
          </a:p>
        </p:txBody>
      </p:sp>
      <p:pic>
        <p:nvPicPr>
          <p:cNvPr id="55" name="Graphic 54" descr="Tooth with solid fill">
            <a:extLst>
              <a:ext uri="{FF2B5EF4-FFF2-40B4-BE49-F238E27FC236}">
                <a16:creationId xmlns:a16="http://schemas.microsoft.com/office/drawing/2014/main" id="{3A928FD4-9798-6896-CF8E-195D5CD2FCA1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819151" y="4956266"/>
            <a:ext cx="454025" cy="454025"/>
          </a:xfrm>
          <a:prstGeom prst="rect">
            <a:avLst/>
          </a:prstGeom>
        </p:spPr>
      </p:pic>
      <p:sp>
        <p:nvSpPr>
          <p:cNvPr id="56" name="Rectangle 55">
            <a:extLst>
              <a:ext uri="{FF2B5EF4-FFF2-40B4-BE49-F238E27FC236}">
                <a16:creationId xmlns:a16="http://schemas.microsoft.com/office/drawing/2014/main" id="{CE8CB074-7BD6-DBEB-717B-D6C91D521A47}"/>
              </a:ext>
            </a:extLst>
          </p:cNvPr>
          <p:cNvSpPr/>
          <p:nvPr/>
        </p:nvSpPr>
        <p:spPr>
          <a:xfrm>
            <a:off x="1333500" y="4920216"/>
            <a:ext cx="1276350" cy="4984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tal</a:t>
            </a:r>
          </a:p>
        </p:txBody>
      </p:sp>
      <p:pic>
        <p:nvPicPr>
          <p:cNvPr id="57" name="Picture 4" descr="Urology - Free healthcare and medical icons">
            <a:extLst>
              <a:ext uri="{FF2B5EF4-FFF2-40B4-BE49-F238E27FC236}">
                <a16:creationId xmlns:a16="http://schemas.microsoft.com/office/drawing/2014/main" id="{16D0C169-AAD8-2EC7-9DF4-D1258296AD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4232" y="3407704"/>
            <a:ext cx="423863" cy="4238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8" name="Rectangle 57">
            <a:extLst>
              <a:ext uri="{FF2B5EF4-FFF2-40B4-BE49-F238E27FC236}">
                <a16:creationId xmlns:a16="http://schemas.microsoft.com/office/drawing/2014/main" id="{82E8506F-E754-8FF7-E2BC-69F4D667E09E}"/>
              </a:ext>
            </a:extLst>
          </p:cNvPr>
          <p:cNvSpPr/>
          <p:nvPr/>
        </p:nvSpPr>
        <p:spPr>
          <a:xfrm>
            <a:off x="1333500" y="3362723"/>
            <a:ext cx="1276350" cy="4984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rology</a:t>
            </a:r>
          </a:p>
        </p:txBody>
      </p:sp>
      <p:pic>
        <p:nvPicPr>
          <p:cNvPr id="59" name="Picture 2" descr="Orthopedic Icon #404765 - Free Icons Library">
            <a:extLst>
              <a:ext uri="{FF2B5EF4-FFF2-40B4-BE49-F238E27FC236}">
                <a16:creationId xmlns:a16="http://schemas.microsoft.com/office/drawing/2014/main" id="{47F2326F-0FC2-900D-1E25-4BDC7846E8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6132" y="2488516"/>
            <a:ext cx="500063" cy="5000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0" name="Rectangle 59">
            <a:extLst>
              <a:ext uri="{FF2B5EF4-FFF2-40B4-BE49-F238E27FC236}">
                <a16:creationId xmlns:a16="http://schemas.microsoft.com/office/drawing/2014/main" id="{247B8B14-9A69-A9E4-AFE9-4B95F18D858F}"/>
              </a:ext>
            </a:extLst>
          </p:cNvPr>
          <p:cNvSpPr/>
          <p:nvPr/>
        </p:nvSpPr>
        <p:spPr>
          <a:xfrm>
            <a:off x="1333500" y="2468009"/>
            <a:ext cx="1276350" cy="4984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rthopedics</a:t>
            </a:r>
          </a:p>
        </p:txBody>
      </p:sp>
      <p:pic>
        <p:nvPicPr>
          <p:cNvPr id="61" name="Picture 10" descr="Intensive Care Icons - Download Free Vector Icons | Noun Project">
            <a:extLst>
              <a:ext uri="{FF2B5EF4-FFF2-40B4-BE49-F238E27FC236}">
                <a16:creationId xmlns:a16="http://schemas.microsoft.com/office/drawing/2014/main" id="{47D3BAE0-AA36-DC2E-BFFA-C8B2DD35AF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5188" y="4193366"/>
            <a:ext cx="361950" cy="361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2" name="Rectangle 61">
            <a:extLst>
              <a:ext uri="{FF2B5EF4-FFF2-40B4-BE49-F238E27FC236}">
                <a16:creationId xmlns:a16="http://schemas.microsoft.com/office/drawing/2014/main" id="{E1B14C9F-3668-761C-C5D5-C54E2986170E}"/>
              </a:ext>
            </a:extLst>
          </p:cNvPr>
          <p:cNvSpPr/>
          <p:nvPr/>
        </p:nvSpPr>
        <p:spPr>
          <a:xfrm>
            <a:off x="1333500" y="4128674"/>
            <a:ext cx="1276350" cy="5000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travascular  / Critical care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BC2C436E-C5ED-0655-89DE-3509316538CC}"/>
              </a:ext>
            </a:extLst>
          </p:cNvPr>
          <p:cNvSpPr/>
          <p:nvPr/>
        </p:nvSpPr>
        <p:spPr>
          <a:xfrm>
            <a:off x="1333500" y="5773184"/>
            <a:ext cx="1276350" cy="4984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ound management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9F0F2F10-0656-B30C-DDC4-EE768257B63E}"/>
              </a:ext>
            </a:extLst>
          </p:cNvPr>
          <p:cNvSpPr/>
          <p:nvPr/>
        </p:nvSpPr>
        <p:spPr>
          <a:xfrm>
            <a:off x="7129463" y="2068120"/>
            <a:ext cx="2634492" cy="2141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rket size, Billion USD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70B1EF9E-7DB1-9B39-BBB1-A074F0CF1B2F}"/>
              </a:ext>
            </a:extLst>
          </p:cNvPr>
          <p:cNvSpPr/>
          <p:nvPr/>
        </p:nvSpPr>
        <p:spPr>
          <a:xfrm>
            <a:off x="670926" y="1978666"/>
            <a:ext cx="1904028" cy="30364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erapeutic area</a:t>
            </a:r>
          </a:p>
        </p:txBody>
      </p:sp>
      <p:pic>
        <p:nvPicPr>
          <p:cNvPr id="66" name="Picture 2" descr="Wound in a hand - Free medical icons">
            <a:extLst>
              <a:ext uri="{FF2B5EF4-FFF2-40B4-BE49-F238E27FC236}">
                <a16:creationId xmlns:a16="http://schemas.microsoft.com/office/drawing/2014/main" id="{0D2AA5EA-FC26-79DA-F9D8-3A3041F8A9D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757" b="14913"/>
          <a:stretch/>
        </p:blipFill>
        <p:spPr bwMode="auto">
          <a:xfrm>
            <a:off x="785813" y="5821604"/>
            <a:ext cx="520700" cy="3610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7" name="Picture 4" descr="BD (company) - Wikipedia">
            <a:extLst>
              <a:ext uri="{FF2B5EF4-FFF2-40B4-BE49-F238E27FC236}">
                <a16:creationId xmlns:a16="http://schemas.microsoft.com/office/drawing/2014/main" id="{6FB534B9-565E-278E-500D-0D9FDFAAB9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8440" y="3477660"/>
            <a:ext cx="700088" cy="2701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8" name="Picture 6" descr="Our Partners - Easmed">
            <a:extLst>
              <a:ext uri="{FF2B5EF4-FFF2-40B4-BE49-F238E27FC236}">
                <a16:creationId xmlns:a16="http://schemas.microsoft.com/office/drawing/2014/main" id="{4A65899C-0A18-9E80-F182-11DD989C0B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5065" y="3523698"/>
            <a:ext cx="546224" cy="1296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9" name="Picture 10" descr="upload.wikimedia.org/wikipedia/commons/thumb/9/...">
            <a:extLst>
              <a:ext uri="{FF2B5EF4-FFF2-40B4-BE49-F238E27FC236}">
                <a16:creationId xmlns:a16="http://schemas.microsoft.com/office/drawing/2014/main" id="{353AB14F-B548-DBD6-6725-67E724496F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8440" y="2617508"/>
            <a:ext cx="1627702" cy="295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0" name="Picture 6" descr="Our Partners - Easmed">
            <a:extLst>
              <a:ext uri="{FF2B5EF4-FFF2-40B4-BE49-F238E27FC236}">
                <a16:creationId xmlns:a16="http://schemas.microsoft.com/office/drawing/2014/main" id="{4FC735F0-C724-D405-7762-8597770773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5065" y="4399410"/>
            <a:ext cx="546224" cy="1296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" name="Picture 10" descr="Köp Bactiguard Sårvård Spray 250 ml | Apohem">
            <a:extLst>
              <a:ext uri="{FF2B5EF4-FFF2-40B4-BE49-F238E27FC236}">
                <a16:creationId xmlns:a16="http://schemas.microsoft.com/office/drawing/2014/main" id="{4DED997F-B794-7B54-B336-528591DACC6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4" cstate="print">
            <a:extLst>
              <a:ext uri="{BEBA8EAE-BF5A-486C-A8C5-ECC9F3942E4B}">
                <a14:imgProps xmlns:a14="http://schemas.microsoft.com/office/drawing/2010/main">
                  <a14:imgLayer r:embed="rId25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1836" t="15221" r="24759" b="14663"/>
          <a:stretch/>
        </p:blipFill>
        <p:spPr bwMode="auto">
          <a:xfrm>
            <a:off x="2875578" y="5696336"/>
            <a:ext cx="199948" cy="5198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2" name="Picture 6" descr="Endotracheal tube with double protection">
            <a:extLst>
              <a:ext uri="{FF2B5EF4-FFF2-40B4-BE49-F238E27FC236}">
                <a16:creationId xmlns:a16="http://schemas.microsoft.com/office/drawing/2014/main" id="{9E345F15-28DE-4A1E-5466-E03A9BF1AD4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6" cstate="print">
            <a:extLst>
              <a:ext uri="{BEBA8EAE-BF5A-486C-A8C5-ECC9F3942E4B}">
                <a14:imgProps xmlns:a14="http://schemas.microsoft.com/office/drawing/2010/main">
                  <a14:imgLayer r:embed="rId27">
                    <a14:imgEffect>
                      <a14:backgroundRemoval t="8804" b="79238" l="23151" r="82184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5772" r="10437" b="11958"/>
          <a:stretch/>
        </p:blipFill>
        <p:spPr bwMode="auto">
          <a:xfrm>
            <a:off x="2675062" y="4014071"/>
            <a:ext cx="800929" cy="6370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3" name="Picture 12">
            <a:extLst>
              <a:ext uri="{FF2B5EF4-FFF2-40B4-BE49-F238E27FC236}">
                <a16:creationId xmlns:a16="http://schemas.microsoft.com/office/drawing/2014/main" id="{AC3C9225-0A9E-72AF-A398-AEEDB0056CEC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BEBA8EAE-BF5A-486C-A8C5-ECC9F3942E4B}">
                <a14:imgProps xmlns:a14="http://schemas.microsoft.com/office/drawing/2010/main">
                  <a14:imgLayer r:embed="rId29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2678056">
            <a:off x="2956723" y="2415782"/>
            <a:ext cx="207355" cy="837547"/>
          </a:xfrm>
          <a:prstGeom prst="rect">
            <a:avLst/>
          </a:prstGeom>
        </p:spPr>
      </p:pic>
      <p:pic>
        <p:nvPicPr>
          <p:cNvPr id="74" name="Picture 4" descr="Central venous catheter (CVC) that prevents infection">
            <a:extLst>
              <a:ext uri="{FF2B5EF4-FFF2-40B4-BE49-F238E27FC236}">
                <a16:creationId xmlns:a16="http://schemas.microsoft.com/office/drawing/2014/main" id="{83A96462-7AF2-83E7-B939-4164032945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8215962">
            <a:off x="3266062" y="4174768"/>
            <a:ext cx="679741" cy="4531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5" name="Picture 12">
            <a:extLst>
              <a:ext uri="{FF2B5EF4-FFF2-40B4-BE49-F238E27FC236}">
                <a16:creationId xmlns:a16="http://schemas.microsoft.com/office/drawing/2014/main" id="{3EFDA0BF-E647-F324-44FA-EC5AE56ED5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1" cstate="print">
            <a:extLst>
              <a:ext uri="{BEBA8EAE-BF5A-486C-A8C5-ECC9F3942E4B}">
                <a14:imgProps xmlns:a14="http://schemas.microsoft.com/office/drawing/2010/main">
                  <a14:imgLayer r:embed="rId32">
                    <a14:imgEffect>
                      <a14:backgroundRemoval t="3340" b="96071" l="263" r="98686">
                        <a14:foregroundMark x1="29435" y1="18664" x2="29829" y2="3536"/>
                        <a14:foregroundMark x1="44021" y1="4715" x2="44021" y2="4715"/>
                        <a14:foregroundMark x1="69120" y1="6287" x2="69120" y2="6287"/>
                        <a14:foregroundMark x1="78712" y1="28291" x2="71091" y2="19057"/>
                        <a14:foregroundMark x1="82260" y1="29470" x2="91459" y2="28684"/>
                        <a14:foregroundMark x1="91721" y1="42829" x2="91721" y2="42829"/>
                        <a14:foregroundMark x1="89356" y1="62475" x2="89356" y2="62475"/>
                        <a14:foregroundMark x1="85020" y1="53438" x2="92773" y2="49705"/>
                        <a14:foregroundMark x1="92116" y1="51670" x2="92641" y2="88998"/>
                        <a14:foregroundMark x1="92641" y1="88998" x2="92378" y2="89587"/>
                        <a14:foregroundMark x1="96715" y1="71120" x2="98817" y2="69548"/>
                        <a14:foregroundMark x1="87648" y1="93320" x2="87648" y2="93320"/>
                        <a14:foregroundMark x1="87385" y1="96071" x2="87385" y2="96071"/>
                        <a14:foregroundMark x1="46124" y1="10806" x2="46386" y2="4912"/>
                        <a14:foregroundMark x1="14717" y1="30845" x2="14717" y2="30845"/>
                        <a14:foregroundMark x1="27595" y1="48134" x2="7096" y2="27112"/>
                        <a14:foregroundMark x1="7096" y1="27112" x2="13272" y2="61100"/>
                        <a14:foregroundMark x1="7359" y1="38900" x2="5256" y2="37328"/>
                        <a14:foregroundMark x1="5519" y1="67191" x2="263" y2="58350"/>
                        <a14:foregroundMark x1="63075" y1="53635" x2="61629" y2="67780"/>
                        <a14:foregroundMark x1="61367" y1="49902" x2="52431" y2="39686"/>
                        <a14:foregroundMark x1="54008" y1="40079" x2="63338" y2="41257"/>
                        <a14:foregroundMark x1="60972" y1="41650" x2="37976" y2="38507"/>
                        <a14:foregroundMark x1="38108" y1="38507" x2="60578" y2="65422"/>
                        <a14:foregroundMark x1="60578" y1="65422" x2="19448" y2="63458"/>
                        <a14:foregroundMark x1="19448" y1="63458" x2="16951" y2="66405"/>
                        <a14:foregroundMark x1="33509" y1="63851" x2="5913" y2="65815"/>
                        <a14:foregroundMark x1="5913" y1="65815" x2="5913" y2="67191"/>
                        <a14:foregroundMark x1="13272" y1="68762" x2="13141" y2="72102"/>
                        <a14:foregroundMark x1="55059" y1="59921" x2="64126" y2="6738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4792" y="5785566"/>
            <a:ext cx="522397" cy="3494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6" name="Picture 2" descr="Visa källbilden">
            <a:extLst>
              <a:ext uri="{FF2B5EF4-FFF2-40B4-BE49-F238E27FC236}">
                <a16:creationId xmlns:a16="http://schemas.microsoft.com/office/drawing/2014/main" id="{903292EE-E7A3-7327-BA87-0E5DF7094F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6265" y="3284969"/>
            <a:ext cx="758525" cy="473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7" name="Rectangle 139">
            <a:extLst>
              <a:ext uri="{FF2B5EF4-FFF2-40B4-BE49-F238E27FC236}">
                <a16:creationId xmlns:a16="http://schemas.microsoft.com/office/drawing/2014/main" id="{B2678A60-93DF-3E23-640F-B97B9222838B}"/>
              </a:ext>
            </a:extLst>
          </p:cNvPr>
          <p:cNvSpPr/>
          <p:nvPr/>
        </p:nvSpPr>
        <p:spPr>
          <a:xfrm>
            <a:off x="2696265" y="2001320"/>
            <a:ext cx="2027238" cy="2809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wn products</a:t>
            </a:r>
          </a:p>
        </p:txBody>
      </p:sp>
      <p:sp>
        <p:nvSpPr>
          <p:cNvPr id="78" name="Rectangle 139">
            <a:extLst>
              <a:ext uri="{FF2B5EF4-FFF2-40B4-BE49-F238E27FC236}">
                <a16:creationId xmlns:a16="http://schemas.microsoft.com/office/drawing/2014/main" id="{4062D1A2-2E40-F8B2-62CA-C8F135AB4028}"/>
              </a:ext>
            </a:extLst>
          </p:cNvPr>
          <p:cNvSpPr/>
          <p:nvPr/>
        </p:nvSpPr>
        <p:spPr>
          <a:xfrm>
            <a:off x="5050631" y="2001320"/>
            <a:ext cx="2027238" cy="2809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icense* partners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F1A21C89-1189-98DF-2F90-D35C13767DCB}"/>
              </a:ext>
            </a:extLst>
          </p:cNvPr>
          <p:cNvSpPr/>
          <p:nvPr/>
        </p:nvSpPr>
        <p:spPr>
          <a:xfrm>
            <a:off x="3764933" y="2624730"/>
            <a:ext cx="1190335" cy="2809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rthopedic implants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4F7B6B81-021D-3288-A2EA-0764AF323539}"/>
              </a:ext>
            </a:extLst>
          </p:cNvPr>
          <p:cNvSpPr/>
          <p:nvPr/>
        </p:nvSpPr>
        <p:spPr>
          <a:xfrm>
            <a:off x="3764933" y="3411785"/>
            <a:ext cx="1190335" cy="2809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rinary catheters</a:t>
            </a:r>
          </a:p>
        </p:txBody>
      </p:sp>
      <p:graphicFrame>
        <p:nvGraphicFramePr>
          <p:cNvPr id="81" name="Chart 80">
            <a:extLst>
              <a:ext uri="{FF2B5EF4-FFF2-40B4-BE49-F238E27FC236}">
                <a16:creationId xmlns:a16="http://schemas.microsoft.com/office/drawing/2014/main" id="{0A68406C-D8B4-5B51-1A6C-B203EC74E011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889299"/>
              </p:ext>
            </p:extLst>
          </p:nvPr>
        </p:nvGraphicFramePr>
        <p:xfrm>
          <a:off x="7150100" y="2323817"/>
          <a:ext cx="4524375" cy="819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4"/>
          </a:graphicData>
        </a:graphic>
      </p:graphicFrame>
      <p:sp useBgFill="1">
        <p:nvSpPr>
          <p:cNvPr id="82" name="Freeform: Shape 81">
            <a:extLst>
              <a:ext uri="{FF2B5EF4-FFF2-40B4-BE49-F238E27FC236}">
                <a16:creationId xmlns:a16="http://schemas.microsoft.com/office/drawing/2014/main" id="{39A2F171-8340-7735-CA50-3B44D5631BAD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11366447" y="2523842"/>
            <a:ext cx="169863" cy="417513"/>
          </a:xfrm>
          <a:custGeom>
            <a:avLst/>
            <a:gdLst/>
            <a:ahLst/>
            <a:cxnLst/>
            <a:rect l="0" t="0" r="0" b="0"/>
            <a:pathLst>
              <a:path w="169864" h="417513">
                <a:moveTo>
                  <a:pt x="169863" y="0"/>
                </a:moveTo>
                <a:lnTo>
                  <a:pt x="57150" y="417512"/>
                </a:lnTo>
                <a:lnTo>
                  <a:pt x="0" y="417512"/>
                </a:lnTo>
                <a:lnTo>
                  <a:pt x="112713" y="0"/>
                </a:lnTo>
                <a:close/>
              </a:path>
            </a:pathLst>
          </a:cu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EAE8E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3" name="Freeform: Shape 82">
            <a:extLst>
              <a:ext uri="{FF2B5EF4-FFF2-40B4-BE49-F238E27FC236}">
                <a16:creationId xmlns:a16="http://schemas.microsoft.com/office/drawing/2014/main" id="{EB1FD335-0910-A820-F8C2-DBA3BEE30A23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1366447" y="2523842"/>
            <a:ext cx="112713" cy="417513"/>
          </a:xfrm>
          <a:custGeom>
            <a:avLst/>
            <a:gdLst/>
            <a:ahLst/>
            <a:cxnLst/>
            <a:rect l="0" t="0" r="0" b="0"/>
            <a:pathLst>
              <a:path w="112714" h="417513">
                <a:moveTo>
                  <a:pt x="112713" y="0"/>
                </a:moveTo>
                <a:lnTo>
                  <a:pt x="0" y="417512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4" name="Freeform: Shape 83">
            <a:extLst>
              <a:ext uri="{FF2B5EF4-FFF2-40B4-BE49-F238E27FC236}">
                <a16:creationId xmlns:a16="http://schemas.microsoft.com/office/drawing/2014/main" id="{B219E89C-13EF-91AC-BACA-423978CDE8A1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11423597" y="2523842"/>
            <a:ext cx="112713" cy="417513"/>
          </a:xfrm>
          <a:custGeom>
            <a:avLst/>
            <a:gdLst/>
            <a:ahLst/>
            <a:cxnLst/>
            <a:rect l="0" t="0" r="0" b="0"/>
            <a:pathLst>
              <a:path w="112714" h="417513">
                <a:moveTo>
                  <a:pt x="112713" y="0"/>
                </a:moveTo>
                <a:lnTo>
                  <a:pt x="0" y="417512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5" name="Text Placeholder 2">
            <a:extLst>
              <a:ext uri="{FF2B5EF4-FFF2-40B4-BE49-F238E27FC236}">
                <a16:creationId xmlns:a16="http://schemas.microsoft.com/office/drawing/2014/main" id="{9C4C36EE-7F31-9DB3-4834-577F2B075E93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1617325" y="2625012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24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─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86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─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64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─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2663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─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F2B7EED-9C52-4582-BC9F-5689DA63613C}" type="datetime'''''''''''''''''''''40'''''''''''''''''''''''''''''''''''''''">
              <a:rPr kumimoji="0" lang="en-US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40</a:t>
            </a:fld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86" name="Chart 85">
            <a:extLst>
              <a:ext uri="{FF2B5EF4-FFF2-40B4-BE49-F238E27FC236}">
                <a16:creationId xmlns:a16="http://schemas.microsoft.com/office/drawing/2014/main" id="{E7281FBD-DE93-8C09-CF41-46DD42D00EFA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314040683"/>
              </p:ext>
            </p:extLst>
          </p:nvPr>
        </p:nvGraphicFramePr>
        <p:xfrm>
          <a:off x="7150100" y="3148126"/>
          <a:ext cx="3757614" cy="819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5"/>
          </a:graphicData>
        </a:graphic>
      </p:graphicFrame>
      <p:sp>
        <p:nvSpPr>
          <p:cNvPr id="87" name="Text Placeholder 2">
            <a:extLst>
              <a:ext uri="{FF2B5EF4-FFF2-40B4-BE49-F238E27FC236}">
                <a16:creationId xmlns:a16="http://schemas.microsoft.com/office/drawing/2014/main" id="{AB4DCCB7-1467-A38C-576E-20A313DDA0A7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8008691" y="3458396"/>
            <a:ext cx="1492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24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─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86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─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64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─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2663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─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FA4D602F-4385-49BA-9831-5AF5389C6BB3}" type="datetime'''3'''''''''''''''''''''''''''''''''''''''''''''">
              <a:rPr kumimoji="0" lang="en-US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3</a:t>
            </a:fld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88" name="Chart 87">
            <a:extLst>
              <a:ext uri="{FF2B5EF4-FFF2-40B4-BE49-F238E27FC236}">
                <a16:creationId xmlns:a16="http://schemas.microsoft.com/office/drawing/2014/main" id="{1C6CA659-E41D-84CF-549D-48565C80D8A8}"/>
              </a:ext>
            </a:extLst>
          </p:cNvPr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405968576"/>
              </p:ext>
            </p:extLst>
          </p:nvPr>
        </p:nvGraphicFramePr>
        <p:xfrm>
          <a:off x="7150100" y="4796744"/>
          <a:ext cx="3757614" cy="819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6"/>
          </a:graphicData>
        </a:graphic>
      </p:graphicFrame>
      <p:sp>
        <p:nvSpPr>
          <p:cNvPr id="89" name="Text Placeholder 2">
            <a:extLst>
              <a:ext uri="{FF2B5EF4-FFF2-40B4-BE49-F238E27FC236}">
                <a16:creationId xmlns:a16="http://schemas.microsoft.com/office/drawing/2014/main" id="{AEDECD8E-2AAB-DA97-F10E-1E2B45ADC6F7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9375271" y="5094122"/>
            <a:ext cx="1492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24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─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86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─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64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─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2663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─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77BE3CAE-AE48-4068-A306-5D1F28EC4BFC}" type="datetime'''''''''''''''''''9'''''''''''''''''''''''''''''">
              <a:rPr kumimoji="0" lang="en-US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9</a:t>
            </a:fld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0" name="Chart 89">
            <a:extLst>
              <a:ext uri="{FF2B5EF4-FFF2-40B4-BE49-F238E27FC236}">
                <a16:creationId xmlns:a16="http://schemas.microsoft.com/office/drawing/2014/main" id="{8216982B-A400-F3F5-A3A0-7A590FF655D8}"/>
              </a:ext>
            </a:extLst>
          </p:cNvPr>
          <p:cNvGraphicFramePr/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378200911"/>
              </p:ext>
            </p:extLst>
          </p:nvPr>
        </p:nvGraphicFramePr>
        <p:xfrm>
          <a:off x="7150100" y="3972435"/>
          <a:ext cx="3757614" cy="819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7"/>
          </a:graphicData>
        </a:graphic>
      </p:graphicFrame>
      <p:sp>
        <p:nvSpPr>
          <p:cNvPr id="91" name="Text Placeholder 2">
            <a:extLst>
              <a:ext uri="{FF2B5EF4-FFF2-40B4-BE49-F238E27FC236}">
                <a16:creationId xmlns:a16="http://schemas.microsoft.com/office/drawing/2014/main" id="{EBD81E77-A511-D25B-1A30-CF457DCAE8EE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10907714" y="4260593"/>
            <a:ext cx="2381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24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─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86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─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64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─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2663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─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8</a:t>
            </a:r>
          </a:p>
        </p:txBody>
      </p:sp>
      <p:graphicFrame>
        <p:nvGraphicFramePr>
          <p:cNvPr id="92" name="Chart 91">
            <a:extLst>
              <a:ext uri="{FF2B5EF4-FFF2-40B4-BE49-F238E27FC236}">
                <a16:creationId xmlns:a16="http://schemas.microsoft.com/office/drawing/2014/main" id="{2061CE10-B71D-FAAE-7E78-521993C589A0}"/>
              </a:ext>
            </a:extLst>
          </p:cNvPr>
          <p:cNvGraphicFramePr/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545212233"/>
              </p:ext>
            </p:extLst>
          </p:nvPr>
        </p:nvGraphicFramePr>
        <p:xfrm>
          <a:off x="7150100" y="5621054"/>
          <a:ext cx="3757614" cy="819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8"/>
          </a:graphicData>
        </a:graphic>
      </p:graphicFrame>
      <p:sp>
        <p:nvSpPr>
          <p:cNvPr id="93" name="Text Placeholder 2">
            <a:extLst>
              <a:ext uri="{FF2B5EF4-FFF2-40B4-BE49-F238E27FC236}">
                <a16:creationId xmlns:a16="http://schemas.microsoft.com/office/drawing/2014/main" id="{C730FBC7-FB5C-82AF-24FF-724E75AEC692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9719555" y="5922250"/>
            <a:ext cx="225136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2438" indent="-187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─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86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─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645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─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2663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─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DCED491-BD60-4DEC-9DC8-5BDEBE783DB4}" type="datetime'1''''''''''''0'''''''''''''''''''''''''''''''''''''''">
              <a:rPr kumimoji="0" lang="en-US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0</a:t>
            </a:fld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88B7C00A-D98A-518A-7FA3-4484CA7BEE4E}"/>
              </a:ext>
            </a:extLst>
          </p:cNvPr>
          <p:cNvCxnSpPr>
            <a:cxnSpLocks/>
          </p:cNvCxnSpPr>
          <p:nvPr/>
        </p:nvCxnSpPr>
        <p:spPr>
          <a:xfrm>
            <a:off x="833438" y="3134627"/>
            <a:ext cx="10798692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9A1A4022-433E-0BCF-31C0-AC88A77C7BD7}"/>
              </a:ext>
            </a:extLst>
          </p:cNvPr>
          <p:cNvCxnSpPr>
            <a:cxnSpLocks/>
          </p:cNvCxnSpPr>
          <p:nvPr/>
        </p:nvCxnSpPr>
        <p:spPr>
          <a:xfrm>
            <a:off x="871538" y="3963398"/>
            <a:ext cx="10798692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41AB86CE-3A9C-1C58-FA35-EBE86555A751}"/>
              </a:ext>
            </a:extLst>
          </p:cNvPr>
          <p:cNvCxnSpPr>
            <a:cxnSpLocks/>
          </p:cNvCxnSpPr>
          <p:nvPr/>
        </p:nvCxnSpPr>
        <p:spPr>
          <a:xfrm>
            <a:off x="833438" y="4792169"/>
            <a:ext cx="10798692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id="{AA3569D5-EB2D-F9D4-D232-0758F2125083}"/>
              </a:ext>
            </a:extLst>
          </p:cNvPr>
          <p:cNvCxnSpPr>
            <a:cxnSpLocks/>
          </p:cNvCxnSpPr>
          <p:nvPr/>
        </p:nvCxnSpPr>
        <p:spPr>
          <a:xfrm>
            <a:off x="833438" y="5620941"/>
            <a:ext cx="10798692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tangle 97">
            <a:extLst>
              <a:ext uri="{FF2B5EF4-FFF2-40B4-BE49-F238E27FC236}">
                <a16:creationId xmlns:a16="http://schemas.microsoft.com/office/drawing/2014/main" id="{A3F76C90-7815-DD9C-CF65-79BBFCCD0813}"/>
              </a:ext>
            </a:extLst>
          </p:cNvPr>
          <p:cNvSpPr/>
          <p:nvPr/>
        </p:nvSpPr>
        <p:spPr>
          <a:xfrm>
            <a:off x="3764933" y="4286789"/>
            <a:ext cx="1190335" cy="2809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200"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VC</a:t>
            </a:r>
            <a:r>
              <a:rPr lang="en-US" sz="1200" b="1" baseline="30000">
                <a:solidFill>
                  <a:srgbClr val="000000"/>
                </a:solidFill>
                <a:latin typeface="Arial" panose="020B0604020202020204"/>
              </a:rPr>
              <a:t>1</a:t>
            </a:r>
            <a:endParaRPr kumimoji="0" lang="en-US" sz="1200" b="1" i="0" u="none" strike="noStrike" kern="1200" cap="none" spc="0" normalizeH="0" baseline="3000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TT</a:t>
            </a:r>
            <a:r>
              <a:rPr lang="en-US" sz="1200" b="1" baseline="30000">
                <a:solidFill>
                  <a:srgbClr val="000000"/>
                </a:solidFill>
                <a:latin typeface="Arial" panose="020B0604020202020204"/>
              </a:rPr>
              <a:t>2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6FD07803-4513-6F3F-FA41-344BB1A02AD6}"/>
              </a:ext>
            </a:extLst>
          </p:cNvPr>
          <p:cNvSpPr/>
          <p:nvPr/>
        </p:nvSpPr>
        <p:spPr>
          <a:xfrm>
            <a:off x="3764933" y="5815774"/>
            <a:ext cx="1451950" cy="3668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ound care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urgical sutures</a:t>
            </a:r>
            <a:endParaRPr kumimoji="0" lang="en-US" sz="1200" b="1" i="0" u="none" strike="noStrike" kern="1200" cap="none" spc="0" normalizeH="0" baseline="3000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00" name="Bildobjekt 6">
            <a:extLst>
              <a:ext uri="{FF2B5EF4-FFF2-40B4-BE49-F238E27FC236}">
                <a16:creationId xmlns:a16="http://schemas.microsoft.com/office/drawing/2014/main" id="{0D645284-867D-BB7D-EF66-9DD74DE37CD6}"/>
              </a:ext>
            </a:extLst>
          </p:cNvPr>
          <p:cNvPicPr>
            <a:picLocks noChangeAspect="1"/>
          </p:cNvPicPr>
          <p:nvPr/>
        </p:nvPicPr>
        <p:blipFill>
          <a:blip r:embed="rId39"/>
          <a:stretch>
            <a:fillRect/>
          </a:stretch>
        </p:blipFill>
        <p:spPr>
          <a:xfrm>
            <a:off x="5336018" y="5066601"/>
            <a:ext cx="961174" cy="324904"/>
          </a:xfrm>
          <a:prstGeom prst="rect">
            <a:avLst/>
          </a:prstGeom>
          <a:noFill/>
          <a:ln>
            <a:noFill/>
          </a:ln>
        </p:spPr>
      </p:pic>
      <p:sp>
        <p:nvSpPr>
          <p:cNvPr id="101" name="textruta 58">
            <a:extLst>
              <a:ext uri="{FF2B5EF4-FFF2-40B4-BE49-F238E27FC236}">
                <a16:creationId xmlns:a16="http://schemas.microsoft.com/office/drawing/2014/main" id="{9FB0038F-93F8-1F5F-E883-E2D03E777122}"/>
              </a:ext>
            </a:extLst>
          </p:cNvPr>
          <p:cNvSpPr txBox="1"/>
          <p:nvPr/>
        </p:nvSpPr>
        <p:spPr>
          <a:xfrm>
            <a:off x="7377305" y="6343132"/>
            <a:ext cx="170116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800" b="0" i="1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lease</a:t>
            </a:r>
            <a:r>
              <a:rPr kumimoji="0" lang="sv-SE" sz="8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note, </a:t>
            </a:r>
            <a:r>
              <a:rPr kumimoji="0" lang="sv-SE" sz="800" b="0" i="1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umbers</a:t>
            </a:r>
            <a:r>
              <a:rPr kumimoji="0" lang="sv-SE" sz="8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sv-SE" sz="800" b="0" i="1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eing</a:t>
            </a:r>
            <a:r>
              <a:rPr kumimoji="0" lang="sv-SE" sz="8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sv-SE" sz="800" b="0" i="1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urther</a:t>
            </a:r>
            <a:r>
              <a:rPr kumimoji="0" lang="sv-SE" sz="8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sv-SE" sz="800" b="0" i="1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ssessed</a:t>
            </a:r>
            <a:endParaRPr kumimoji="0" lang="sv-SE" sz="8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2" name="textruta 66">
            <a:extLst>
              <a:ext uri="{FF2B5EF4-FFF2-40B4-BE49-F238E27FC236}">
                <a16:creationId xmlns:a16="http://schemas.microsoft.com/office/drawing/2014/main" id="{BCFFA894-6DC0-673D-1788-6CA3F785DDC3}"/>
              </a:ext>
            </a:extLst>
          </p:cNvPr>
          <p:cNvSpPr txBox="1"/>
          <p:nvPr/>
        </p:nvSpPr>
        <p:spPr>
          <a:xfrm>
            <a:off x="5022978" y="6466242"/>
            <a:ext cx="209246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8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 </a:t>
            </a:r>
            <a:r>
              <a:rPr kumimoji="0" lang="sv-SE" sz="800" b="0" i="1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ardiovascular</a:t>
            </a:r>
            <a:r>
              <a:rPr kumimoji="0" lang="sv-SE" sz="8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: </a:t>
            </a:r>
            <a:r>
              <a:rPr kumimoji="0" lang="sv-SE" sz="800" b="0" i="1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martCella</a:t>
            </a:r>
            <a:endParaRPr kumimoji="0" lang="sv-SE" sz="8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7548380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9B1EBE-495E-21BC-9FFF-4CC5A692F2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Two licence partners with products in the market</a:t>
            </a:r>
            <a:endParaRPr lang="sv-S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FC1CF44-FA56-A9A5-41F1-ACAF021C4BD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en-GB"/>
              <a:t>BD with IC (Infection Control) Urinary Catheters and ZB with ZNN Bactiguard Trauma nai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F262F77-10AB-2BEA-B6D5-8F2661D119B9}"/>
              </a:ext>
            </a:extLst>
          </p:cNvPr>
          <p:cNvSpPr txBox="1">
            <a:spLocks/>
          </p:cNvSpPr>
          <p:nvPr/>
        </p:nvSpPr>
        <p:spPr>
          <a:xfrm>
            <a:off x="791470" y="5769018"/>
            <a:ext cx="2993551" cy="87246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90488" indent="-904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+mj-lt"/>
              <a:buAutoNum type="arabicPeriod"/>
              <a:defRPr sz="6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65113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2437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865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tabLst>
                <a:tab pos="719138" algn="l"/>
              </a:tabLst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0645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+mj-lt"/>
              <a:buNone/>
            </a:pPr>
            <a:r>
              <a:rPr lang="en-GB" sz="1400"/>
              <a:t>Additional licence agreements signed with </a:t>
            </a:r>
            <a:r>
              <a:rPr lang="en-GB" sz="1400" err="1"/>
              <a:t>Smartwise</a:t>
            </a:r>
            <a:r>
              <a:rPr lang="en-GB" sz="1400"/>
              <a:t> in Sweden in 2017 and with Well Lead in China in 2018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EA95359-5B0E-3BF8-C50F-424E25ABAD4A}"/>
              </a:ext>
            </a:extLst>
          </p:cNvPr>
          <p:cNvCxnSpPr>
            <a:cxnSpLocks/>
          </p:cNvCxnSpPr>
          <p:nvPr/>
        </p:nvCxnSpPr>
        <p:spPr>
          <a:xfrm>
            <a:off x="774121" y="3801020"/>
            <a:ext cx="10945931" cy="0"/>
          </a:xfrm>
          <a:prstGeom prst="line">
            <a:avLst/>
          </a:prstGeom>
          <a:ln w="38100" cap="rnd">
            <a:solidFill>
              <a:schemeClr val="tx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2" descr="BD (company) - Wikipedia">
            <a:extLst>
              <a:ext uri="{FF2B5EF4-FFF2-40B4-BE49-F238E27FC236}">
                <a16:creationId xmlns:a16="http://schemas.microsoft.com/office/drawing/2014/main" id="{1B71EF69-D585-CED6-F6EA-7E82FA09CE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0740" y="4588356"/>
            <a:ext cx="1188248" cy="4584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A3AEFA68-AB80-7654-37AE-F063148D2311}"/>
              </a:ext>
            </a:extLst>
          </p:cNvPr>
          <p:cNvSpPr/>
          <p:nvPr/>
        </p:nvSpPr>
        <p:spPr>
          <a:xfrm>
            <a:off x="1171176" y="3903766"/>
            <a:ext cx="1051324" cy="5079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>
                <a:solidFill>
                  <a:schemeClr val="tx2"/>
                </a:solidFill>
              </a:rPr>
              <a:t>1990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D9397D6-30D1-22BE-C35E-31A7464BE845}"/>
              </a:ext>
            </a:extLst>
          </p:cNvPr>
          <p:cNvSpPr/>
          <p:nvPr/>
        </p:nvSpPr>
        <p:spPr>
          <a:xfrm>
            <a:off x="1192079" y="5188597"/>
            <a:ext cx="1652659" cy="2967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>
                <a:solidFill>
                  <a:schemeClr val="tx1"/>
                </a:solidFill>
              </a:rPr>
              <a:t>Foley catheters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85D9F372-D11E-3040-8C23-F32EF0D56106}"/>
              </a:ext>
            </a:extLst>
          </p:cNvPr>
          <p:cNvSpPr/>
          <p:nvPr/>
        </p:nvSpPr>
        <p:spPr>
          <a:xfrm>
            <a:off x="1544913" y="3694215"/>
            <a:ext cx="209551" cy="209551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solidFill>
                <a:schemeClr val="bg2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24119F9-363A-9F6A-332C-6E18B47810E5}"/>
              </a:ext>
            </a:extLst>
          </p:cNvPr>
          <p:cNvSpPr/>
          <p:nvPr/>
        </p:nvSpPr>
        <p:spPr>
          <a:xfrm>
            <a:off x="3327821" y="3466649"/>
            <a:ext cx="689358" cy="6847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solidFill>
                <a:schemeClr val="bg2"/>
              </a:solidFill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2535FAB-795B-6AA2-B654-AAFA80521C89}"/>
              </a:ext>
            </a:extLst>
          </p:cNvPr>
          <p:cNvCxnSpPr/>
          <p:nvPr/>
        </p:nvCxnSpPr>
        <p:spPr>
          <a:xfrm flipH="1">
            <a:off x="3417376" y="3471974"/>
            <a:ext cx="367645" cy="571672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12BFF76-7CAC-94FA-0B1D-6C8C80014EB5}"/>
              </a:ext>
            </a:extLst>
          </p:cNvPr>
          <p:cNvCxnSpPr/>
          <p:nvPr/>
        </p:nvCxnSpPr>
        <p:spPr>
          <a:xfrm flipH="1">
            <a:off x="3602955" y="3474137"/>
            <a:ext cx="367645" cy="571672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B822FE95-FA93-0A11-E98F-A68CF78F6349}"/>
              </a:ext>
            </a:extLst>
          </p:cNvPr>
          <p:cNvSpPr/>
          <p:nvPr/>
        </p:nvSpPr>
        <p:spPr>
          <a:xfrm>
            <a:off x="4960548" y="3903764"/>
            <a:ext cx="914400" cy="50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>
                <a:solidFill>
                  <a:schemeClr val="tx2"/>
                </a:solidFill>
              </a:rPr>
              <a:t>2019</a:t>
            </a:r>
          </a:p>
        </p:txBody>
      </p:sp>
      <p:pic>
        <p:nvPicPr>
          <p:cNvPr id="15" name="Picture 10" descr="Medical Device Companies | Medical Technology | Zimmer Biomet">
            <a:extLst>
              <a:ext uri="{FF2B5EF4-FFF2-40B4-BE49-F238E27FC236}">
                <a16:creationId xmlns:a16="http://schemas.microsoft.com/office/drawing/2014/main" id="{6383885F-CB9A-08A5-BEB2-C49F6C789D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4278" y="4591939"/>
            <a:ext cx="2057867" cy="4584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CBC42B74-E0B5-4FE4-AAF2-CD8E84510FBE}"/>
              </a:ext>
            </a:extLst>
          </p:cNvPr>
          <p:cNvSpPr/>
          <p:nvPr/>
        </p:nvSpPr>
        <p:spPr>
          <a:xfrm>
            <a:off x="4914147" y="5203770"/>
            <a:ext cx="1652659" cy="2967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>
                <a:solidFill>
                  <a:schemeClr val="tx1"/>
                </a:solidFill>
              </a:rPr>
              <a:t>Trauma implants</a:t>
            </a:r>
          </a:p>
        </p:txBody>
      </p:sp>
      <p:pic>
        <p:nvPicPr>
          <p:cNvPr id="18" name="Picture 5">
            <a:extLst>
              <a:ext uri="{FF2B5EF4-FFF2-40B4-BE49-F238E27FC236}">
                <a16:creationId xmlns:a16="http://schemas.microsoft.com/office/drawing/2014/main" id="{7FBDB946-B72F-191C-C9A1-502B7FCDEEE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03805" y="2172964"/>
            <a:ext cx="1119639" cy="632665"/>
          </a:xfrm>
          <a:prstGeom prst="rect">
            <a:avLst/>
          </a:prstGeom>
        </p:spPr>
      </p:pic>
      <p:pic>
        <p:nvPicPr>
          <p:cNvPr id="19" name="Bildobjekt 10">
            <a:extLst>
              <a:ext uri="{FF2B5EF4-FFF2-40B4-BE49-F238E27FC236}">
                <a16:creationId xmlns:a16="http://schemas.microsoft.com/office/drawing/2014/main" id="{4EF81AF0-BB4A-04B1-A475-0DFEE2E2B2F8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5173" b="4804"/>
          <a:stretch/>
        </p:blipFill>
        <p:spPr>
          <a:xfrm>
            <a:off x="1502568" y="2055940"/>
            <a:ext cx="462296" cy="518804"/>
          </a:xfrm>
          <a:prstGeom prst="rect">
            <a:avLst/>
          </a:prstGeom>
        </p:spPr>
      </p:pic>
      <p:sp>
        <p:nvSpPr>
          <p:cNvPr id="25" name="Rectangle 15">
            <a:extLst>
              <a:ext uri="{FF2B5EF4-FFF2-40B4-BE49-F238E27FC236}">
                <a16:creationId xmlns:a16="http://schemas.microsoft.com/office/drawing/2014/main" id="{E38CBE33-9879-9953-4515-DEA56D9B70AD}"/>
              </a:ext>
            </a:extLst>
          </p:cNvPr>
          <p:cNvSpPr/>
          <p:nvPr/>
        </p:nvSpPr>
        <p:spPr>
          <a:xfrm>
            <a:off x="2810065" y="4035623"/>
            <a:ext cx="713856" cy="23374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>
                <a:solidFill>
                  <a:schemeClr val="tx2"/>
                </a:solidFill>
              </a:rPr>
              <a:t>1994</a:t>
            </a:r>
          </a:p>
          <a:p>
            <a:pPr algn="ctr"/>
            <a:r>
              <a:rPr lang="en-US" sz="1100" b="1">
                <a:solidFill>
                  <a:schemeClr val="tx2"/>
                </a:solidFill>
              </a:rPr>
              <a:t>US</a:t>
            </a:r>
          </a:p>
        </p:txBody>
      </p:sp>
      <p:sp>
        <p:nvSpPr>
          <p:cNvPr id="36" name="Rectangle 15">
            <a:extLst>
              <a:ext uri="{FF2B5EF4-FFF2-40B4-BE49-F238E27FC236}">
                <a16:creationId xmlns:a16="http://schemas.microsoft.com/office/drawing/2014/main" id="{39FD1825-7D16-2524-EB4F-43E9CE58A2CD}"/>
              </a:ext>
            </a:extLst>
          </p:cNvPr>
          <p:cNvSpPr/>
          <p:nvPr/>
        </p:nvSpPr>
        <p:spPr>
          <a:xfrm>
            <a:off x="6822241" y="4035623"/>
            <a:ext cx="713856" cy="2337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>
                <a:solidFill>
                  <a:schemeClr val="tx2"/>
                </a:solidFill>
              </a:rPr>
              <a:t>2021</a:t>
            </a:r>
          </a:p>
          <a:p>
            <a:pPr algn="ctr"/>
            <a:r>
              <a:rPr lang="en-US" sz="1100" b="1">
                <a:solidFill>
                  <a:schemeClr val="tx2"/>
                </a:solidFill>
              </a:rPr>
              <a:t>EMEA</a:t>
            </a:r>
          </a:p>
        </p:txBody>
      </p:sp>
      <p:pic>
        <p:nvPicPr>
          <p:cNvPr id="37" name="Picture 36" descr="Shape, circle&#10;&#10;Description automatically generated">
            <a:extLst>
              <a:ext uri="{FF2B5EF4-FFF2-40B4-BE49-F238E27FC236}">
                <a16:creationId xmlns:a16="http://schemas.microsoft.com/office/drawing/2014/main" id="{30BE4078-6857-4728-24E0-8FC5AA909DA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303332" y="2864995"/>
            <a:ext cx="680558" cy="680558"/>
          </a:xfrm>
          <a:prstGeom prst="rect">
            <a:avLst/>
          </a:prstGeom>
        </p:spPr>
      </p:pic>
      <p:grpSp>
        <p:nvGrpSpPr>
          <p:cNvPr id="51" name="Group 50">
            <a:extLst>
              <a:ext uri="{FF2B5EF4-FFF2-40B4-BE49-F238E27FC236}">
                <a16:creationId xmlns:a16="http://schemas.microsoft.com/office/drawing/2014/main" id="{9810A997-E1F4-3B34-5941-D7CDF15EA102}"/>
              </a:ext>
            </a:extLst>
          </p:cNvPr>
          <p:cNvGrpSpPr/>
          <p:nvPr/>
        </p:nvGrpSpPr>
        <p:grpSpPr>
          <a:xfrm>
            <a:off x="5056270" y="2864995"/>
            <a:ext cx="680558" cy="1035056"/>
            <a:chOff x="5056270" y="2864995"/>
            <a:chExt cx="680558" cy="1035056"/>
          </a:xfrm>
        </p:grpSpPr>
        <p:sp>
          <p:nvSpPr>
            <p:cNvPr id="17" name="Oval 49">
              <a:extLst>
                <a:ext uri="{FF2B5EF4-FFF2-40B4-BE49-F238E27FC236}">
                  <a16:creationId xmlns:a16="http://schemas.microsoft.com/office/drawing/2014/main" id="{F78676A8-8E80-99A7-89A1-8942DF14D4C8}"/>
                </a:ext>
              </a:extLst>
            </p:cNvPr>
            <p:cNvSpPr/>
            <p:nvPr/>
          </p:nvSpPr>
          <p:spPr>
            <a:xfrm>
              <a:off x="5291774" y="3690500"/>
              <a:ext cx="209551" cy="209551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>
                <a:solidFill>
                  <a:schemeClr val="bg2"/>
                </a:solidFill>
              </a:endParaRPr>
            </a:p>
          </p:txBody>
        </p:sp>
        <p:pic>
          <p:nvPicPr>
            <p:cNvPr id="38" name="Picture 37" descr="Shape, circle&#10;&#10;Description automatically generated">
              <a:extLst>
                <a:ext uri="{FF2B5EF4-FFF2-40B4-BE49-F238E27FC236}">
                  <a16:creationId xmlns:a16="http://schemas.microsoft.com/office/drawing/2014/main" id="{54CC03D9-68E8-4669-9608-101A361CFCB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6200000">
              <a:off x="5056270" y="2864995"/>
              <a:ext cx="680558" cy="680558"/>
            </a:xfrm>
            <a:prstGeom prst="rect">
              <a:avLst/>
            </a:prstGeom>
          </p:spPr>
        </p:pic>
      </p:grpSp>
      <p:sp>
        <p:nvSpPr>
          <p:cNvPr id="39" name="Rectangle 15">
            <a:extLst>
              <a:ext uri="{FF2B5EF4-FFF2-40B4-BE49-F238E27FC236}">
                <a16:creationId xmlns:a16="http://schemas.microsoft.com/office/drawing/2014/main" id="{D7BF92CC-3014-AD18-AF9A-B9764D6E232F}"/>
              </a:ext>
            </a:extLst>
          </p:cNvPr>
          <p:cNvSpPr/>
          <p:nvPr/>
        </p:nvSpPr>
        <p:spPr>
          <a:xfrm>
            <a:off x="10443719" y="6343132"/>
            <a:ext cx="1790334" cy="3040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100" b="1">
                <a:solidFill>
                  <a:schemeClr val="tx2"/>
                </a:solidFill>
              </a:rPr>
              <a:t>Product launch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62F6742B-2AFE-9FEE-93ED-441621A1DD3A}"/>
              </a:ext>
            </a:extLst>
          </p:cNvPr>
          <p:cNvGrpSpPr/>
          <p:nvPr/>
        </p:nvGrpSpPr>
        <p:grpSpPr>
          <a:xfrm>
            <a:off x="7002145" y="3304273"/>
            <a:ext cx="354048" cy="544471"/>
            <a:chOff x="7752039" y="3304273"/>
            <a:chExt cx="354048" cy="544471"/>
          </a:xfrm>
        </p:grpSpPr>
        <p:sp>
          <p:nvSpPr>
            <p:cNvPr id="30" name="Oval 17">
              <a:extLst>
                <a:ext uri="{FF2B5EF4-FFF2-40B4-BE49-F238E27FC236}">
                  <a16:creationId xmlns:a16="http://schemas.microsoft.com/office/drawing/2014/main" id="{2769503E-8ED3-60DE-893D-0A9976D28839}"/>
                </a:ext>
              </a:extLst>
            </p:cNvPr>
            <p:cNvSpPr/>
            <p:nvPr/>
          </p:nvSpPr>
          <p:spPr>
            <a:xfrm>
              <a:off x="7873771" y="3737339"/>
              <a:ext cx="111405" cy="111405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>
                <a:solidFill>
                  <a:schemeClr val="bg2"/>
                </a:solidFill>
              </a:endParaRPr>
            </a:p>
          </p:txBody>
        </p:sp>
        <p:pic>
          <p:nvPicPr>
            <p:cNvPr id="40" name="Picture 39" descr="Shape, circle&#10;&#10;Description automatically generated">
              <a:extLst>
                <a:ext uri="{FF2B5EF4-FFF2-40B4-BE49-F238E27FC236}">
                  <a16:creationId xmlns:a16="http://schemas.microsoft.com/office/drawing/2014/main" id="{7FA10EDC-865E-5261-E905-53EED6C8981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6200000">
              <a:off x="7752039" y="3304273"/>
              <a:ext cx="354048" cy="354048"/>
            </a:xfrm>
            <a:prstGeom prst="rect">
              <a:avLst/>
            </a:prstGeom>
          </p:spPr>
        </p:pic>
        <p:sp>
          <p:nvSpPr>
            <p:cNvPr id="41" name="Oval 17">
              <a:extLst>
                <a:ext uri="{FF2B5EF4-FFF2-40B4-BE49-F238E27FC236}">
                  <a16:creationId xmlns:a16="http://schemas.microsoft.com/office/drawing/2014/main" id="{E3598033-A12D-9C06-3CDC-16A11A54F89C}"/>
                </a:ext>
              </a:extLst>
            </p:cNvPr>
            <p:cNvSpPr/>
            <p:nvPr/>
          </p:nvSpPr>
          <p:spPr>
            <a:xfrm>
              <a:off x="7873771" y="3392022"/>
              <a:ext cx="111405" cy="111405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>
                <a:solidFill>
                  <a:schemeClr val="bg2"/>
                </a:solidFill>
              </a:endParaRP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51841179-3802-1848-07D8-045C8EADE5FF}"/>
              </a:ext>
            </a:extLst>
          </p:cNvPr>
          <p:cNvGrpSpPr/>
          <p:nvPr/>
        </p:nvGrpSpPr>
        <p:grpSpPr>
          <a:xfrm>
            <a:off x="2989969" y="3304273"/>
            <a:ext cx="354048" cy="544471"/>
            <a:chOff x="7752039" y="3304273"/>
            <a:chExt cx="354048" cy="544471"/>
          </a:xfrm>
        </p:grpSpPr>
        <p:sp>
          <p:nvSpPr>
            <p:cNvPr id="44" name="Oval 17">
              <a:extLst>
                <a:ext uri="{FF2B5EF4-FFF2-40B4-BE49-F238E27FC236}">
                  <a16:creationId xmlns:a16="http://schemas.microsoft.com/office/drawing/2014/main" id="{0004C57E-D37E-40AA-6C4E-208CB7C996C3}"/>
                </a:ext>
              </a:extLst>
            </p:cNvPr>
            <p:cNvSpPr/>
            <p:nvPr/>
          </p:nvSpPr>
          <p:spPr>
            <a:xfrm>
              <a:off x="7873771" y="3737339"/>
              <a:ext cx="111405" cy="111405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>
                <a:solidFill>
                  <a:schemeClr val="bg2"/>
                </a:solidFill>
              </a:endParaRPr>
            </a:p>
          </p:txBody>
        </p:sp>
        <p:pic>
          <p:nvPicPr>
            <p:cNvPr id="45" name="Picture 44" descr="Shape, circle&#10;&#10;Description automatically generated">
              <a:extLst>
                <a:ext uri="{FF2B5EF4-FFF2-40B4-BE49-F238E27FC236}">
                  <a16:creationId xmlns:a16="http://schemas.microsoft.com/office/drawing/2014/main" id="{F375B6A3-2A11-819A-B46D-3DDC467C902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6200000">
              <a:off x="7752039" y="3304273"/>
              <a:ext cx="354048" cy="354048"/>
            </a:xfrm>
            <a:prstGeom prst="rect">
              <a:avLst/>
            </a:prstGeom>
          </p:spPr>
        </p:pic>
        <p:sp>
          <p:nvSpPr>
            <p:cNvPr id="46" name="Oval 17">
              <a:extLst>
                <a:ext uri="{FF2B5EF4-FFF2-40B4-BE49-F238E27FC236}">
                  <a16:creationId xmlns:a16="http://schemas.microsoft.com/office/drawing/2014/main" id="{0D738EDD-490B-F4C5-8A19-9BA0B2052269}"/>
                </a:ext>
              </a:extLst>
            </p:cNvPr>
            <p:cNvSpPr/>
            <p:nvPr/>
          </p:nvSpPr>
          <p:spPr>
            <a:xfrm>
              <a:off x="7873771" y="3392022"/>
              <a:ext cx="111405" cy="111405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>
                <a:solidFill>
                  <a:schemeClr val="bg2"/>
                </a:solidFill>
              </a:endParaRP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02640A14-1BBC-72A3-CD68-335DDCE97082}"/>
              </a:ext>
            </a:extLst>
          </p:cNvPr>
          <p:cNvGrpSpPr/>
          <p:nvPr/>
        </p:nvGrpSpPr>
        <p:grpSpPr>
          <a:xfrm>
            <a:off x="10068108" y="6018360"/>
            <a:ext cx="354048" cy="544471"/>
            <a:chOff x="7752039" y="3304273"/>
            <a:chExt cx="354048" cy="544471"/>
          </a:xfrm>
        </p:grpSpPr>
        <p:sp>
          <p:nvSpPr>
            <p:cNvPr id="48" name="Oval 17">
              <a:extLst>
                <a:ext uri="{FF2B5EF4-FFF2-40B4-BE49-F238E27FC236}">
                  <a16:creationId xmlns:a16="http://schemas.microsoft.com/office/drawing/2014/main" id="{A4382A95-32B9-4B96-840F-B4365F7C5A3A}"/>
                </a:ext>
              </a:extLst>
            </p:cNvPr>
            <p:cNvSpPr/>
            <p:nvPr/>
          </p:nvSpPr>
          <p:spPr>
            <a:xfrm>
              <a:off x="7873771" y="3737339"/>
              <a:ext cx="111405" cy="111405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>
                <a:solidFill>
                  <a:schemeClr val="bg2"/>
                </a:solidFill>
              </a:endParaRPr>
            </a:p>
          </p:txBody>
        </p:sp>
        <p:pic>
          <p:nvPicPr>
            <p:cNvPr id="49" name="Picture 48" descr="Shape, circle&#10;&#10;Description automatically generated">
              <a:extLst>
                <a:ext uri="{FF2B5EF4-FFF2-40B4-BE49-F238E27FC236}">
                  <a16:creationId xmlns:a16="http://schemas.microsoft.com/office/drawing/2014/main" id="{5C1CFCEB-AD40-D73E-970B-E5D30F2CA61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6200000">
              <a:off x="7752039" y="3304273"/>
              <a:ext cx="354048" cy="354048"/>
            </a:xfrm>
            <a:prstGeom prst="rect">
              <a:avLst/>
            </a:prstGeom>
          </p:spPr>
        </p:pic>
        <p:sp>
          <p:nvSpPr>
            <p:cNvPr id="50" name="Oval 17">
              <a:extLst>
                <a:ext uri="{FF2B5EF4-FFF2-40B4-BE49-F238E27FC236}">
                  <a16:creationId xmlns:a16="http://schemas.microsoft.com/office/drawing/2014/main" id="{2C0EE660-3A18-B15D-7170-F107B1D45106}"/>
                </a:ext>
              </a:extLst>
            </p:cNvPr>
            <p:cNvSpPr/>
            <p:nvPr/>
          </p:nvSpPr>
          <p:spPr>
            <a:xfrm>
              <a:off x="7873771" y="3392022"/>
              <a:ext cx="111405" cy="111405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>
                <a:solidFill>
                  <a:schemeClr val="bg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0054753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9B1EBE-495E-21BC-9FFF-4CC5A692F2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Significant acceleration in the licence portfolio</a:t>
            </a:r>
            <a:endParaRPr lang="sv-S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FC1CF44-FA56-A9A5-41F1-ACAF021C4BD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en-US"/>
              <a:t>Significant work ongoing in the two recent agreement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F262F77-10AB-2BEA-B6D5-8F2661D119B9}"/>
              </a:ext>
            </a:extLst>
          </p:cNvPr>
          <p:cNvSpPr txBox="1">
            <a:spLocks/>
          </p:cNvSpPr>
          <p:nvPr/>
        </p:nvSpPr>
        <p:spPr>
          <a:xfrm>
            <a:off x="791470" y="5769018"/>
            <a:ext cx="2993551" cy="87246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90488" indent="-904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+mj-lt"/>
              <a:buAutoNum type="arabicPeriod"/>
              <a:defRPr sz="6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65113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2437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2865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tabLst>
                <a:tab pos="719138" algn="l"/>
              </a:tabLst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0645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+mj-lt"/>
              <a:buNone/>
            </a:pPr>
            <a:r>
              <a:rPr lang="en-GB" sz="1400"/>
              <a:t>Additional licence agreements signed with </a:t>
            </a:r>
            <a:r>
              <a:rPr lang="en-GB" sz="1400" err="1"/>
              <a:t>Smartwise</a:t>
            </a:r>
            <a:r>
              <a:rPr lang="en-GB" sz="1400"/>
              <a:t> in Sweden in 2017 and with Well Lead in China in 2018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EA95359-5B0E-3BF8-C50F-424E25ABAD4A}"/>
              </a:ext>
            </a:extLst>
          </p:cNvPr>
          <p:cNvCxnSpPr>
            <a:cxnSpLocks/>
          </p:cNvCxnSpPr>
          <p:nvPr/>
        </p:nvCxnSpPr>
        <p:spPr>
          <a:xfrm>
            <a:off x="774121" y="3801020"/>
            <a:ext cx="10945931" cy="0"/>
          </a:xfrm>
          <a:prstGeom prst="line">
            <a:avLst/>
          </a:prstGeom>
          <a:ln w="38100" cap="rnd">
            <a:solidFill>
              <a:schemeClr val="tx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2" descr="BD (company) - Wikipedia">
            <a:extLst>
              <a:ext uri="{FF2B5EF4-FFF2-40B4-BE49-F238E27FC236}">
                <a16:creationId xmlns:a16="http://schemas.microsoft.com/office/drawing/2014/main" id="{1B71EF69-D585-CED6-F6EA-7E82FA09CE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0740" y="4588356"/>
            <a:ext cx="1188248" cy="4584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A3AEFA68-AB80-7654-37AE-F063148D2311}"/>
              </a:ext>
            </a:extLst>
          </p:cNvPr>
          <p:cNvSpPr/>
          <p:nvPr/>
        </p:nvSpPr>
        <p:spPr>
          <a:xfrm>
            <a:off x="1171176" y="3903766"/>
            <a:ext cx="1051324" cy="5079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>
                <a:solidFill>
                  <a:schemeClr val="tx2"/>
                </a:solidFill>
              </a:rPr>
              <a:t>1990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D9397D6-30D1-22BE-C35E-31A7464BE845}"/>
              </a:ext>
            </a:extLst>
          </p:cNvPr>
          <p:cNvSpPr/>
          <p:nvPr/>
        </p:nvSpPr>
        <p:spPr>
          <a:xfrm>
            <a:off x="1192079" y="5188597"/>
            <a:ext cx="1652659" cy="2967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>
                <a:solidFill>
                  <a:schemeClr val="tx1"/>
                </a:solidFill>
              </a:rPr>
              <a:t>Foley catheters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85D9F372-D11E-3040-8C23-F32EF0D56106}"/>
              </a:ext>
            </a:extLst>
          </p:cNvPr>
          <p:cNvSpPr/>
          <p:nvPr/>
        </p:nvSpPr>
        <p:spPr>
          <a:xfrm>
            <a:off x="1544913" y="3694215"/>
            <a:ext cx="209551" cy="209551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solidFill>
                <a:schemeClr val="bg2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24119F9-363A-9F6A-332C-6E18B47810E5}"/>
              </a:ext>
            </a:extLst>
          </p:cNvPr>
          <p:cNvSpPr/>
          <p:nvPr/>
        </p:nvSpPr>
        <p:spPr>
          <a:xfrm>
            <a:off x="3327821" y="3466649"/>
            <a:ext cx="689358" cy="6847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solidFill>
                <a:schemeClr val="bg2"/>
              </a:solidFill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2535FAB-795B-6AA2-B654-AAFA80521C89}"/>
              </a:ext>
            </a:extLst>
          </p:cNvPr>
          <p:cNvCxnSpPr/>
          <p:nvPr/>
        </p:nvCxnSpPr>
        <p:spPr>
          <a:xfrm flipH="1">
            <a:off x="3417376" y="3471974"/>
            <a:ext cx="367645" cy="571672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12BFF76-7CAC-94FA-0B1D-6C8C80014EB5}"/>
              </a:ext>
            </a:extLst>
          </p:cNvPr>
          <p:cNvCxnSpPr/>
          <p:nvPr/>
        </p:nvCxnSpPr>
        <p:spPr>
          <a:xfrm flipH="1">
            <a:off x="3602955" y="3474137"/>
            <a:ext cx="367645" cy="571672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B822FE95-FA93-0A11-E98F-A68CF78F6349}"/>
              </a:ext>
            </a:extLst>
          </p:cNvPr>
          <p:cNvSpPr/>
          <p:nvPr/>
        </p:nvSpPr>
        <p:spPr>
          <a:xfrm>
            <a:off x="4960548" y="3903764"/>
            <a:ext cx="914400" cy="50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>
                <a:solidFill>
                  <a:schemeClr val="tx2"/>
                </a:solidFill>
              </a:rPr>
              <a:t>2019</a:t>
            </a:r>
          </a:p>
        </p:txBody>
      </p:sp>
      <p:pic>
        <p:nvPicPr>
          <p:cNvPr id="15" name="Picture 10" descr="Medical Device Companies | Medical Technology | Zimmer Biomet">
            <a:extLst>
              <a:ext uri="{FF2B5EF4-FFF2-40B4-BE49-F238E27FC236}">
                <a16:creationId xmlns:a16="http://schemas.microsoft.com/office/drawing/2014/main" id="{6383885F-CB9A-08A5-BEB2-C49F6C789D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4278" y="4591939"/>
            <a:ext cx="2057867" cy="4584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CBC42B74-E0B5-4FE4-AAF2-CD8E84510FBE}"/>
              </a:ext>
            </a:extLst>
          </p:cNvPr>
          <p:cNvSpPr/>
          <p:nvPr/>
        </p:nvSpPr>
        <p:spPr>
          <a:xfrm>
            <a:off x="4914147" y="5203770"/>
            <a:ext cx="1652659" cy="2967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>
                <a:solidFill>
                  <a:schemeClr val="tx1"/>
                </a:solidFill>
              </a:rPr>
              <a:t>Trauma implants</a:t>
            </a:r>
          </a:p>
        </p:txBody>
      </p:sp>
      <p:pic>
        <p:nvPicPr>
          <p:cNvPr id="18" name="Picture 5">
            <a:extLst>
              <a:ext uri="{FF2B5EF4-FFF2-40B4-BE49-F238E27FC236}">
                <a16:creationId xmlns:a16="http://schemas.microsoft.com/office/drawing/2014/main" id="{7FBDB946-B72F-191C-C9A1-502B7FCDEEE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03805" y="2172964"/>
            <a:ext cx="1119639" cy="632665"/>
          </a:xfrm>
          <a:prstGeom prst="rect">
            <a:avLst/>
          </a:prstGeom>
        </p:spPr>
      </p:pic>
      <p:pic>
        <p:nvPicPr>
          <p:cNvPr id="19" name="Bildobjekt 10">
            <a:extLst>
              <a:ext uri="{FF2B5EF4-FFF2-40B4-BE49-F238E27FC236}">
                <a16:creationId xmlns:a16="http://schemas.microsoft.com/office/drawing/2014/main" id="{4EF81AF0-BB4A-04B1-A475-0DFEE2E2B2F8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5173" b="4804"/>
          <a:stretch/>
        </p:blipFill>
        <p:spPr>
          <a:xfrm>
            <a:off x="1502568" y="2055940"/>
            <a:ext cx="462296" cy="518804"/>
          </a:xfrm>
          <a:prstGeom prst="rect">
            <a:avLst/>
          </a:prstGeom>
        </p:spPr>
      </p:pic>
      <p:sp>
        <p:nvSpPr>
          <p:cNvPr id="25" name="Rectangle 15">
            <a:extLst>
              <a:ext uri="{FF2B5EF4-FFF2-40B4-BE49-F238E27FC236}">
                <a16:creationId xmlns:a16="http://schemas.microsoft.com/office/drawing/2014/main" id="{E38CBE33-9879-9953-4515-DEA56D9B70AD}"/>
              </a:ext>
            </a:extLst>
          </p:cNvPr>
          <p:cNvSpPr/>
          <p:nvPr/>
        </p:nvSpPr>
        <p:spPr>
          <a:xfrm>
            <a:off x="2810065" y="4035623"/>
            <a:ext cx="713856" cy="23374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>
                <a:solidFill>
                  <a:schemeClr val="tx2"/>
                </a:solidFill>
              </a:rPr>
              <a:t>1994</a:t>
            </a:r>
          </a:p>
          <a:p>
            <a:pPr algn="ctr"/>
            <a:r>
              <a:rPr lang="en-US" sz="1100" b="1">
                <a:solidFill>
                  <a:schemeClr val="tx2"/>
                </a:solidFill>
              </a:rPr>
              <a:t>US</a:t>
            </a:r>
          </a:p>
        </p:txBody>
      </p:sp>
      <p:sp>
        <p:nvSpPr>
          <p:cNvPr id="36" name="Rectangle 15">
            <a:extLst>
              <a:ext uri="{FF2B5EF4-FFF2-40B4-BE49-F238E27FC236}">
                <a16:creationId xmlns:a16="http://schemas.microsoft.com/office/drawing/2014/main" id="{39FD1825-7D16-2524-EB4F-43E9CE58A2CD}"/>
              </a:ext>
            </a:extLst>
          </p:cNvPr>
          <p:cNvSpPr/>
          <p:nvPr/>
        </p:nvSpPr>
        <p:spPr>
          <a:xfrm>
            <a:off x="6822241" y="4035623"/>
            <a:ext cx="713856" cy="2337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>
                <a:solidFill>
                  <a:schemeClr val="tx2"/>
                </a:solidFill>
              </a:rPr>
              <a:t>2021</a:t>
            </a:r>
          </a:p>
          <a:p>
            <a:pPr algn="ctr"/>
            <a:r>
              <a:rPr lang="en-US" sz="1100" b="1">
                <a:solidFill>
                  <a:schemeClr val="tx2"/>
                </a:solidFill>
              </a:rPr>
              <a:t>EMEA</a:t>
            </a:r>
          </a:p>
        </p:txBody>
      </p:sp>
      <p:pic>
        <p:nvPicPr>
          <p:cNvPr id="37" name="Picture 36" descr="Shape, circle&#10;&#10;Description automatically generated">
            <a:extLst>
              <a:ext uri="{FF2B5EF4-FFF2-40B4-BE49-F238E27FC236}">
                <a16:creationId xmlns:a16="http://schemas.microsoft.com/office/drawing/2014/main" id="{30BE4078-6857-4728-24E0-8FC5AA909DA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303332" y="2864995"/>
            <a:ext cx="680558" cy="680558"/>
          </a:xfrm>
          <a:prstGeom prst="rect">
            <a:avLst/>
          </a:prstGeom>
        </p:spPr>
      </p:pic>
      <p:grpSp>
        <p:nvGrpSpPr>
          <p:cNvPr id="51" name="Group 50">
            <a:extLst>
              <a:ext uri="{FF2B5EF4-FFF2-40B4-BE49-F238E27FC236}">
                <a16:creationId xmlns:a16="http://schemas.microsoft.com/office/drawing/2014/main" id="{9810A997-E1F4-3B34-5941-D7CDF15EA102}"/>
              </a:ext>
            </a:extLst>
          </p:cNvPr>
          <p:cNvGrpSpPr/>
          <p:nvPr/>
        </p:nvGrpSpPr>
        <p:grpSpPr>
          <a:xfrm>
            <a:off x="5056270" y="2864995"/>
            <a:ext cx="680558" cy="1035056"/>
            <a:chOff x="5056270" y="2864995"/>
            <a:chExt cx="680558" cy="1035056"/>
          </a:xfrm>
        </p:grpSpPr>
        <p:sp>
          <p:nvSpPr>
            <p:cNvPr id="17" name="Oval 49">
              <a:extLst>
                <a:ext uri="{FF2B5EF4-FFF2-40B4-BE49-F238E27FC236}">
                  <a16:creationId xmlns:a16="http://schemas.microsoft.com/office/drawing/2014/main" id="{F78676A8-8E80-99A7-89A1-8942DF14D4C8}"/>
                </a:ext>
              </a:extLst>
            </p:cNvPr>
            <p:cNvSpPr/>
            <p:nvPr/>
          </p:nvSpPr>
          <p:spPr>
            <a:xfrm>
              <a:off x="5291774" y="3690500"/>
              <a:ext cx="209551" cy="209551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>
                <a:solidFill>
                  <a:schemeClr val="bg2"/>
                </a:solidFill>
              </a:endParaRPr>
            </a:p>
          </p:txBody>
        </p:sp>
        <p:pic>
          <p:nvPicPr>
            <p:cNvPr id="38" name="Picture 37" descr="Shape, circle&#10;&#10;Description automatically generated">
              <a:extLst>
                <a:ext uri="{FF2B5EF4-FFF2-40B4-BE49-F238E27FC236}">
                  <a16:creationId xmlns:a16="http://schemas.microsoft.com/office/drawing/2014/main" id="{54CC03D9-68E8-4669-9608-101A361CFCB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6200000">
              <a:off x="5056270" y="2864995"/>
              <a:ext cx="680558" cy="680558"/>
            </a:xfrm>
            <a:prstGeom prst="rect">
              <a:avLst/>
            </a:prstGeom>
          </p:spPr>
        </p:pic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62F6742B-2AFE-9FEE-93ED-441621A1DD3A}"/>
              </a:ext>
            </a:extLst>
          </p:cNvPr>
          <p:cNvGrpSpPr/>
          <p:nvPr/>
        </p:nvGrpSpPr>
        <p:grpSpPr>
          <a:xfrm>
            <a:off x="7002145" y="3304273"/>
            <a:ext cx="354048" cy="544471"/>
            <a:chOff x="7752039" y="3304273"/>
            <a:chExt cx="354048" cy="544471"/>
          </a:xfrm>
        </p:grpSpPr>
        <p:sp>
          <p:nvSpPr>
            <p:cNvPr id="30" name="Oval 17">
              <a:extLst>
                <a:ext uri="{FF2B5EF4-FFF2-40B4-BE49-F238E27FC236}">
                  <a16:creationId xmlns:a16="http://schemas.microsoft.com/office/drawing/2014/main" id="{2769503E-8ED3-60DE-893D-0A9976D28839}"/>
                </a:ext>
              </a:extLst>
            </p:cNvPr>
            <p:cNvSpPr/>
            <p:nvPr/>
          </p:nvSpPr>
          <p:spPr>
            <a:xfrm>
              <a:off x="7873771" y="3737339"/>
              <a:ext cx="111405" cy="111405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>
                <a:solidFill>
                  <a:schemeClr val="bg2"/>
                </a:solidFill>
              </a:endParaRPr>
            </a:p>
          </p:txBody>
        </p:sp>
        <p:pic>
          <p:nvPicPr>
            <p:cNvPr id="40" name="Picture 39" descr="Shape, circle&#10;&#10;Description automatically generated">
              <a:extLst>
                <a:ext uri="{FF2B5EF4-FFF2-40B4-BE49-F238E27FC236}">
                  <a16:creationId xmlns:a16="http://schemas.microsoft.com/office/drawing/2014/main" id="{7FA10EDC-865E-5261-E905-53EED6C8981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6200000">
              <a:off x="7752039" y="3304273"/>
              <a:ext cx="354048" cy="354048"/>
            </a:xfrm>
            <a:prstGeom prst="rect">
              <a:avLst/>
            </a:prstGeom>
          </p:spPr>
        </p:pic>
        <p:sp>
          <p:nvSpPr>
            <p:cNvPr id="41" name="Oval 17">
              <a:extLst>
                <a:ext uri="{FF2B5EF4-FFF2-40B4-BE49-F238E27FC236}">
                  <a16:creationId xmlns:a16="http://schemas.microsoft.com/office/drawing/2014/main" id="{E3598033-A12D-9C06-3CDC-16A11A54F89C}"/>
                </a:ext>
              </a:extLst>
            </p:cNvPr>
            <p:cNvSpPr/>
            <p:nvPr/>
          </p:nvSpPr>
          <p:spPr>
            <a:xfrm>
              <a:off x="7873771" y="3392022"/>
              <a:ext cx="111405" cy="111405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>
                <a:solidFill>
                  <a:schemeClr val="bg2"/>
                </a:solidFill>
              </a:endParaRP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51841179-3802-1848-07D8-045C8EADE5FF}"/>
              </a:ext>
            </a:extLst>
          </p:cNvPr>
          <p:cNvGrpSpPr/>
          <p:nvPr/>
        </p:nvGrpSpPr>
        <p:grpSpPr>
          <a:xfrm>
            <a:off x="2989969" y="3304273"/>
            <a:ext cx="354048" cy="544471"/>
            <a:chOff x="7752039" y="3304273"/>
            <a:chExt cx="354048" cy="544471"/>
          </a:xfrm>
        </p:grpSpPr>
        <p:sp>
          <p:nvSpPr>
            <p:cNvPr id="44" name="Oval 17">
              <a:extLst>
                <a:ext uri="{FF2B5EF4-FFF2-40B4-BE49-F238E27FC236}">
                  <a16:creationId xmlns:a16="http://schemas.microsoft.com/office/drawing/2014/main" id="{0004C57E-D37E-40AA-6C4E-208CB7C996C3}"/>
                </a:ext>
              </a:extLst>
            </p:cNvPr>
            <p:cNvSpPr/>
            <p:nvPr/>
          </p:nvSpPr>
          <p:spPr>
            <a:xfrm>
              <a:off x="7873771" y="3737339"/>
              <a:ext cx="111405" cy="111405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>
                <a:solidFill>
                  <a:schemeClr val="bg2"/>
                </a:solidFill>
              </a:endParaRPr>
            </a:p>
          </p:txBody>
        </p:sp>
        <p:pic>
          <p:nvPicPr>
            <p:cNvPr id="45" name="Picture 44" descr="Shape, circle&#10;&#10;Description automatically generated">
              <a:extLst>
                <a:ext uri="{FF2B5EF4-FFF2-40B4-BE49-F238E27FC236}">
                  <a16:creationId xmlns:a16="http://schemas.microsoft.com/office/drawing/2014/main" id="{F375B6A3-2A11-819A-B46D-3DDC467C902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6200000">
              <a:off x="7752039" y="3304273"/>
              <a:ext cx="354048" cy="354048"/>
            </a:xfrm>
            <a:prstGeom prst="rect">
              <a:avLst/>
            </a:prstGeom>
          </p:spPr>
        </p:pic>
        <p:sp>
          <p:nvSpPr>
            <p:cNvPr id="46" name="Oval 17">
              <a:extLst>
                <a:ext uri="{FF2B5EF4-FFF2-40B4-BE49-F238E27FC236}">
                  <a16:creationId xmlns:a16="http://schemas.microsoft.com/office/drawing/2014/main" id="{0D738EDD-490B-F4C5-8A19-9BA0B2052269}"/>
                </a:ext>
              </a:extLst>
            </p:cNvPr>
            <p:cNvSpPr/>
            <p:nvPr/>
          </p:nvSpPr>
          <p:spPr>
            <a:xfrm>
              <a:off x="7873771" y="3392022"/>
              <a:ext cx="111405" cy="111405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>
                <a:solidFill>
                  <a:schemeClr val="bg2"/>
                </a:solidFill>
              </a:endParaRP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0C4ABA7C-0884-7017-3111-2984D2036986}"/>
              </a:ext>
            </a:extLst>
          </p:cNvPr>
          <p:cNvGrpSpPr/>
          <p:nvPr/>
        </p:nvGrpSpPr>
        <p:grpSpPr>
          <a:xfrm>
            <a:off x="7919299" y="2864995"/>
            <a:ext cx="680558" cy="1035056"/>
            <a:chOff x="5056270" y="2864995"/>
            <a:chExt cx="680558" cy="1035056"/>
          </a:xfrm>
        </p:grpSpPr>
        <p:sp>
          <p:nvSpPr>
            <p:cNvPr id="53" name="Oval 49">
              <a:extLst>
                <a:ext uri="{FF2B5EF4-FFF2-40B4-BE49-F238E27FC236}">
                  <a16:creationId xmlns:a16="http://schemas.microsoft.com/office/drawing/2014/main" id="{DBEF087F-C38E-7384-8506-60CA5B1EB2A5}"/>
                </a:ext>
              </a:extLst>
            </p:cNvPr>
            <p:cNvSpPr/>
            <p:nvPr/>
          </p:nvSpPr>
          <p:spPr>
            <a:xfrm>
              <a:off x="5291774" y="3690500"/>
              <a:ext cx="209551" cy="209551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>
                <a:solidFill>
                  <a:schemeClr val="bg2"/>
                </a:solidFill>
              </a:endParaRPr>
            </a:p>
          </p:txBody>
        </p:sp>
        <p:pic>
          <p:nvPicPr>
            <p:cNvPr id="54" name="Picture 53" descr="Shape, circle&#10;&#10;Description automatically generated">
              <a:extLst>
                <a:ext uri="{FF2B5EF4-FFF2-40B4-BE49-F238E27FC236}">
                  <a16:creationId xmlns:a16="http://schemas.microsoft.com/office/drawing/2014/main" id="{78E4EE2C-8CEE-D95E-13EE-108E4AA3B6C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6200000">
              <a:off x="5056270" y="2864995"/>
              <a:ext cx="680558" cy="680558"/>
            </a:xfrm>
            <a:prstGeom prst="rect">
              <a:avLst/>
            </a:prstGeom>
          </p:spPr>
        </p:pic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F98EB987-E440-4993-EAA9-EB8FF02C34E2}"/>
              </a:ext>
            </a:extLst>
          </p:cNvPr>
          <p:cNvGrpSpPr/>
          <p:nvPr/>
        </p:nvGrpSpPr>
        <p:grpSpPr>
          <a:xfrm>
            <a:off x="8298187" y="2864995"/>
            <a:ext cx="680558" cy="1035056"/>
            <a:chOff x="5056270" y="2864995"/>
            <a:chExt cx="680558" cy="1035056"/>
          </a:xfrm>
        </p:grpSpPr>
        <p:sp>
          <p:nvSpPr>
            <p:cNvPr id="56" name="Oval 49">
              <a:extLst>
                <a:ext uri="{FF2B5EF4-FFF2-40B4-BE49-F238E27FC236}">
                  <a16:creationId xmlns:a16="http://schemas.microsoft.com/office/drawing/2014/main" id="{A554AE96-FF82-8D64-11EE-A465C3A899D7}"/>
                </a:ext>
              </a:extLst>
            </p:cNvPr>
            <p:cNvSpPr/>
            <p:nvPr/>
          </p:nvSpPr>
          <p:spPr>
            <a:xfrm>
              <a:off x="5291774" y="3690500"/>
              <a:ext cx="209551" cy="209551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>
                <a:solidFill>
                  <a:schemeClr val="bg2"/>
                </a:solidFill>
              </a:endParaRPr>
            </a:p>
          </p:txBody>
        </p:sp>
        <p:pic>
          <p:nvPicPr>
            <p:cNvPr id="57" name="Picture 56" descr="Shape, circle&#10;&#10;Description automatically generated">
              <a:extLst>
                <a:ext uri="{FF2B5EF4-FFF2-40B4-BE49-F238E27FC236}">
                  <a16:creationId xmlns:a16="http://schemas.microsoft.com/office/drawing/2014/main" id="{6AFA1342-F275-D05C-F231-51CE201F0C4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6200000">
              <a:off x="5056270" y="2864995"/>
              <a:ext cx="680558" cy="680558"/>
            </a:xfrm>
            <a:prstGeom prst="rect">
              <a:avLst/>
            </a:prstGeom>
          </p:spPr>
        </p:pic>
      </p:grpSp>
      <p:sp>
        <p:nvSpPr>
          <p:cNvPr id="58" name="Rectangle 57">
            <a:extLst>
              <a:ext uri="{FF2B5EF4-FFF2-40B4-BE49-F238E27FC236}">
                <a16:creationId xmlns:a16="http://schemas.microsoft.com/office/drawing/2014/main" id="{0C5CDA47-1521-5E8E-A608-5D20249D8F5B}"/>
              </a:ext>
            </a:extLst>
          </p:cNvPr>
          <p:cNvSpPr/>
          <p:nvPr/>
        </p:nvSpPr>
        <p:spPr>
          <a:xfrm>
            <a:off x="7999938" y="3903766"/>
            <a:ext cx="914400" cy="50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>
                <a:solidFill>
                  <a:schemeClr val="tx2"/>
                </a:solidFill>
              </a:rPr>
              <a:t>2022</a:t>
            </a:r>
          </a:p>
        </p:txBody>
      </p:sp>
      <p:pic>
        <p:nvPicPr>
          <p:cNvPr id="4" name="Picture 10" descr="Medical Device Companies | Medical Technology | Zimmer Biomet">
            <a:extLst>
              <a:ext uri="{FF2B5EF4-FFF2-40B4-BE49-F238E27FC236}">
                <a16:creationId xmlns:a16="http://schemas.microsoft.com/office/drawing/2014/main" id="{18CBE4D7-6592-7CC4-690B-BBA6DAB960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41380" y="4591939"/>
            <a:ext cx="2057867" cy="4584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B7B757AE-F2F9-FE66-6ACC-3277936C0B15}"/>
              </a:ext>
            </a:extLst>
          </p:cNvPr>
          <p:cNvSpPr/>
          <p:nvPr/>
        </p:nvSpPr>
        <p:spPr>
          <a:xfrm>
            <a:off x="7411249" y="5203769"/>
            <a:ext cx="2481781" cy="102237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>
                <a:solidFill>
                  <a:schemeClr val="tx1"/>
                </a:solidFill>
              </a:rPr>
              <a:t>Hips and knees replacemen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>
                <a:solidFill>
                  <a:schemeClr val="tx1"/>
                </a:solidFill>
              </a:rPr>
              <a:t>Sports medicin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>
                <a:solidFill>
                  <a:schemeClr val="tx1"/>
                </a:solidFill>
              </a:rPr>
              <a:t>Craniomaxillofacia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>
                <a:solidFill>
                  <a:schemeClr val="tx1"/>
                </a:solidFill>
              </a:rPr>
              <a:t>Thorax applications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BA310A7-9786-C705-4E2D-5C06DE95B7EC}"/>
              </a:ext>
            </a:extLst>
          </p:cNvPr>
          <p:cNvSpPr/>
          <p:nvPr/>
        </p:nvSpPr>
        <p:spPr>
          <a:xfrm>
            <a:off x="9900236" y="5203770"/>
            <a:ext cx="1652659" cy="2967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>
                <a:solidFill>
                  <a:schemeClr val="tx1"/>
                </a:solidFill>
              </a:rPr>
              <a:t>Dental</a:t>
            </a:r>
          </a:p>
        </p:txBody>
      </p:sp>
      <p:pic>
        <p:nvPicPr>
          <p:cNvPr id="22" name="Picture 12" descr="Dentsply Sirona - Wikidata">
            <a:extLst>
              <a:ext uri="{FF2B5EF4-FFF2-40B4-BE49-F238E27FC236}">
                <a16:creationId xmlns:a16="http://schemas.microsoft.com/office/drawing/2014/main" id="{E27C1FD5-B2E6-91C3-8FEB-769AE4100F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72785" y="4567171"/>
            <a:ext cx="1552454" cy="4618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Rectangle 2068">
            <a:extLst>
              <a:ext uri="{FF2B5EF4-FFF2-40B4-BE49-F238E27FC236}">
                <a16:creationId xmlns:a16="http://schemas.microsoft.com/office/drawing/2014/main" id="{16CEC094-4755-EBBF-1455-99555DF6279E}"/>
              </a:ext>
            </a:extLst>
          </p:cNvPr>
          <p:cNvSpPr/>
          <p:nvPr/>
        </p:nvSpPr>
        <p:spPr>
          <a:xfrm>
            <a:off x="9861715" y="6168821"/>
            <a:ext cx="2154643" cy="4258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>
                <a:solidFill>
                  <a:schemeClr val="tx1"/>
                </a:solidFill>
              </a:rPr>
              <a:t>* Currently a global development partnership with a license option</a:t>
            </a:r>
          </a:p>
        </p:txBody>
      </p:sp>
      <p:pic>
        <p:nvPicPr>
          <p:cNvPr id="24" name="Picture 8">
            <a:extLst>
              <a:ext uri="{FF2B5EF4-FFF2-40B4-BE49-F238E27FC236}">
                <a16:creationId xmlns:a16="http://schemas.microsoft.com/office/drawing/2014/main" id="{D33B8097-5533-8460-9AA7-6DA72443F33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rot="19164882">
            <a:off x="7538288" y="2314249"/>
            <a:ext cx="775789" cy="581842"/>
          </a:xfrm>
          <a:prstGeom prst="rect">
            <a:avLst/>
          </a:prstGeom>
        </p:spPr>
      </p:pic>
      <p:pic>
        <p:nvPicPr>
          <p:cNvPr id="26" name="Graphic 2072" descr="Tooth with solid fill">
            <a:extLst>
              <a:ext uri="{FF2B5EF4-FFF2-40B4-BE49-F238E27FC236}">
                <a16:creationId xmlns:a16="http://schemas.microsoft.com/office/drawing/2014/main" id="{6E2EFBAD-D6DD-0A64-D307-05AD5DBEFE4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855121" y="2407868"/>
            <a:ext cx="405351" cy="405351"/>
          </a:xfrm>
          <a:prstGeom prst="rect">
            <a:avLst/>
          </a:prstGeom>
        </p:spPr>
      </p:pic>
      <p:pic>
        <p:nvPicPr>
          <p:cNvPr id="27" name="Picture 2" descr="Visa källbilden">
            <a:extLst>
              <a:ext uri="{FF2B5EF4-FFF2-40B4-BE49-F238E27FC236}">
                <a16:creationId xmlns:a16="http://schemas.microsoft.com/office/drawing/2014/main" id="{EBA1E937-6A6C-B955-1181-6B9A2DF077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5647" y="1918927"/>
            <a:ext cx="629465" cy="6294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691205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/>
      <p:bldP spid="23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THjsfT22uKVHS80pwEw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DZbNW8eg8hcUl84vnHx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8HgsU_We21qIVOCfjrzg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ffmvCsEGSYTKOKt_i1E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W_6mFKrY9BUwYSBsWK_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X2r137GleB1wjzxGiXI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zu2o_g7N3IVfn9_3e1o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XVdELbXq7TqxQ4Ra3h0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x5TrqX4aecIUXZTEqLz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94SKKx4zvNUe7S9XtU.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rEWZyzWSxMDOo.o0kTP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c5TWNUtWvVVoWUOPvu7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1ApVSmOB1FY_fe2SgQ3r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56vPfkXD6Vv2Ad8UFIgvg"/>
</p:tagLst>
</file>

<file path=ppt/theme/theme1.xml><?xml version="1.0" encoding="utf-8"?>
<a:theme xmlns:a="http://schemas.openxmlformats.org/drawingml/2006/main" name="Standard Slides">
  <a:themeElements>
    <a:clrScheme name="Bactiguard">
      <a:dk1>
        <a:srgbClr val="000000"/>
      </a:dk1>
      <a:lt1>
        <a:srgbClr val="FFFFFF"/>
      </a:lt1>
      <a:dk2>
        <a:srgbClr val="285C4D"/>
      </a:dk2>
      <a:lt2>
        <a:srgbClr val="EAE8E1"/>
      </a:lt2>
      <a:accent1>
        <a:srgbClr val="285C4D"/>
      </a:accent1>
      <a:accent2>
        <a:srgbClr val="DD7975"/>
      </a:accent2>
      <a:accent3>
        <a:srgbClr val="4F8E99"/>
      </a:accent3>
      <a:accent4>
        <a:srgbClr val="71B790"/>
      </a:accent4>
      <a:accent5>
        <a:srgbClr val="A978A0"/>
      </a:accent5>
      <a:accent6>
        <a:srgbClr val="EFB661"/>
      </a:accent6>
      <a:hlink>
        <a:srgbClr val="55895A"/>
      </a:hlink>
      <a:folHlink>
        <a:srgbClr val="EFB66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b="1" dirty="0">
            <a:solidFill>
              <a:schemeClr val="bg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Bactiguard Template.potx" id="{86A0C321-12D8-4082-A182-3BAD9E0EF102}" vid="{505045A3-C958-46C6-8CD4-48270844295F}"/>
    </a:ext>
  </a:extLst>
</a:theme>
</file>

<file path=ppt/theme/theme2.xml><?xml version="1.0" encoding="utf-8"?>
<a:theme xmlns:a="http://schemas.openxmlformats.org/drawingml/2006/main" name="Special Slides">
  <a:themeElements>
    <a:clrScheme name="Bactiguard">
      <a:dk1>
        <a:srgbClr val="000000"/>
      </a:dk1>
      <a:lt1>
        <a:srgbClr val="FFFFFF"/>
      </a:lt1>
      <a:dk2>
        <a:srgbClr val="285C4D"/>
      </a:dk2>
      <a:lt2>
        <a:srgbClr val="EAE8E1"/>
      </a:lt2>
      <a:accent1>
        <a:srgbClr val="285C4D"/>
      </a:accent1>
      <a:accent2>
        <a:srgbClr val="DD7975"/>
      </a:accent2>
      <a:accent3>
        <a:srgbClr val="4F8E99"/>
      </a:accent3>
      <a:accent4>
        <a:srgbClr val="71B790"/>
      </a:accent4>
      <a:accent5>
        <a:srgbClr val="A978A0"/>
      </a:accent5>
      <a:accent6>
        <a:srgbClr val="EFB661"/>
      </a:accent6>
      <a:hlink>
        <a:srgbClr val="55895A"/>
      </a:hlink>
      <a:folHlink>
        <a:srgbClr val="EFB66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b="1" dirty="0">
            <a:solidFill>
              <a:schemeClr val="bg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Bactiguard Template.potx" id="{86A0C321-12D8-4082-A182-3BAD9E0EF102}" vid="{8E8685F0-E973-4CA4-B9BA-EEA0E9F76FE8}"/>
    </a:ext>
  </a:extLst>
</a:theme>
</file>

<file path=ppt/theme/theme3.xml><?xml version="1.0" encoding="utf-8"?>
<a:theme xmlns:a="http://schemas.openxmlformats.org/drawingml/2006/main" name="Office Theme">
  <a:themeElements>
    <a:clrScheme name="Bactiguard">
      <a:dk1>
        <a:srgbClr val="000000"/>
      </a:dk1>
      <a:lt1>
        <a:srgbClr val="FFFFFF"/>
      </a:lt1>
      <a:dk2>
        <a:srgbClr val="285C4D"/>
      </a:dk2>
      <a:lt2>
        <a:srgbClr val="EAE8E1"/>
      </a:lt2>
      <a:accent1>
        <a:srgbClr val="285C4D"/>
      </a:accent1>
      <a:accent2>
        <a:srgbClr val="4F8E99"/>
      </a:accent2>
      <a:accent3>
        <a:srgbClr val="EFB661"/>
      </a:accent3>
      <a:accent4>
        <a:srgbClr val="A978A0"/>
      </a:accent4>
      <a:accent5>
        <a:srgbClr val="DD7975"/>
      </a:accent5>
      <a:accent6>
        <a:srgbClr val="71B790"/>
      </a:accent6>
      <a:hlink>
        <a:srgbClr val="55895A"/>
      </a:hlink>
      <a:folHlink>
        <a:srgbClr val="EFB66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Bactiguard">
      <a:dk1>
        <a:srgbClr val="000000"/>
      </a:dk1>
      <a:lt1>
        <a:srgbClr val="FFFFFF"/>
      </a:lt1>
      <a:dk2>
        <a:srgbClr val="285C4D"/>
      </a:dk2>
      <a:lt2>
        <a:srgbClr val="EAE8E1"/>
      </a:lt2>
      <a:accent1>
        <a:srgbClr val="285C4D"/>
      </a:accent1>
      <a:accent2>
        <a:srgbClr val="4F8E99"/>
      </a:accent2>
      <a:accent3>
        <a:srgbClr val="EFB661"/>
      </a:accent3>
      <a:accent4>
        <a:srgbClr val="A978A0"/>
      </a:accent4>
      <a:accent5>
        <a:srgbClr val="DD7975"/>
      </a:accent5>
      <a:accent6>
        <a:srgbClr val="71B790"/>
      </a:accent6>
      <a:hlink>
        <a:srgbClr val="55895A"/>
      </a:hlink>
      <a:folHlink>
        <a:srgbClr val="EFB66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157a4840-2169-4d6d-a1d7-232b30c3939f" xsi:nil="true"/>
    <lcf76f155ced4ddcb4097134ff3c332f xmlns="ea78aade-6c30-42e0-b742-2f54d40b71cb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E43C082F58FB14284D01D43360CE6DA" ma:contentTypeVersion="17" ma:contentTypeDescription="Create a new document." ma:contentTypeScope="" ma:versionID="0044b313c950e4292eb020060a2bf382">
  <xsd:schema xmlns:xsd="http://www.w3.org/2001/XMLSchema" xmlns:xs="http://www.w3.org/2001/XMLSchema" xmlns:p="http://schemas.microsoft.com/office/2006/metadata/properties" xmlns:ns2="ea78aade-6c30-42e0-b742-2f54d40b71cb" xmlns:ns3="157a4840-2169-4d6d-a1d7-232b30c3939f" targetNamespace="http://schemas.microsoft.com/office/2006/metadata/properties" ma:root="true" ma:fieldsID="33e8386c855aee5ea62e0765508e72a0" ns2:_="" ns3:_="">
    <xsd:import namespace="ea78aade-6c30-42e0-b742-2f54d40b71cb"/>
    <xsd:import namespace="157a4840-2169-4d6d-a1d7-232b30c3939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OCR" minOccurs="0"/>
                <xsd:element ref="ns2:MediaServiceAutoKeyPoints" minOccurs="0"/>
                <xsd:element ref="ns2:MediaServiceKeyPoints" minOccurs="0"/>
                <xsd:element ref="ns2:MediaServiceLocation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78aade-6c30-42e0-b742-2f54d40b71c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d87c848d-e29d-4eba-87ac-4eae826c13c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57a4840-2169-4d6d-a1d7-232b30c3939f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684ca255-feac-4ae7-8537-b47706d7db00}" ma:internalName="TaxCatchAll" ma:showField="CatchAllData" ma:web="157a4840-2169-4d6d-a1d7-232b30c3939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634C301-A741-4EF6-8001-1DC271349033}">
  <ds:schemaRefs>
    <ds:schemaRef ds:uri="355d99a3-08c7-4333-9253-28214b487967"/>
    <ds:schemaRef ds:uri="5d0c037e-8c0a-4116-8b7c-d7879cccfa81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85A5A3C0-A182-4599-9DD4-BA87DCEB14E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83C22BB-967D-4D57-95EB-6F02424BD043}"/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Application>Microsoft Office PowerPoint</Application>
  <PresentationFormat>Widescreen</PresentationFormat>
  <Slides>16</Slides>
  <Notes>5</Notes>
  <HiddenSlides>0</HiddenSlide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16</vt:i4>
      </vt:variant>
    </vt:vector>
  </HeadingPairs>
  <TitlesOfParts>
    <vt:vector size="18" baseType="lpstr">
      <vt:lpstr>Standard Slides</vt:lpstr>
      <vt:lpstr>Special Slides</vt:lpstr>
      <vt:lpstr>Erik Pensers Bank Temadag Healthcare</vt:lpstr>
      <vt:lpstr>The need for infection prevention has never been greater</vt:lpstr>
      <vt:lpstr>OUR VISION  Keeping people safe from infections</vt:lpstr>
      <vt:lpstr>Bactiguard at a glance</vt:lpstr>
      <vt:lpstr>The Bactiguard® technology &amp; extended portfolio</vt:lpstr>
      <vt:lpstr>Patient focused strategy</vt:lpstr>
      <vt:lpstr>Strong foundation for expansion</vt:lpstr>
      <vt:lpstr>Two licence partners with products in the market</vt:lpstr>
      <vt:lpstr>Significant acceleration in the licence portfolio</vt:lpstr>
      <vt:lpstr>Bactiguard – third quarter 2022</vt:lpstr>
      <vt:lpstr>Right timing to fuel growth</vt:lpstr>
      <vt:lpstr>Three key growth drivers </vt:lpstr>
      <vt:lpstr>PowerPoint Presentation</vt:lpstr>
      <vt:lpstr>Ten reasons to invest in Bactiguard</vt:lpstr>
      <vt:lpstr>Questions &amp; Answer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rik Pensers Bank Temadag Healthcare</dc:title>
  <dc:creator>Edward Nordendahl</dc:creator>
  <cp:revision>1</cp:revision>
  <dcterms:created xsi:type="dcterms:W3CDTF">2022-11-30T09:13:34Z</dcterms:created>
  <dcterms:modified xsi:type="dcterms:W3CDTF">2022-11-30T11:44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A6AD6EC0EC0DA4592D7275C7948D49A</vt:lpwstr>
  </property>
  <property fmtid="{D5CDD505-2E9C-101B-9397-08002B2CF9AE}" pid="3" name="MediaServiceImageTags">
    <vt:lpwstr/>
  </property>
</Properties>
</file>